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media/image135.jpg" ContentType="image/png"/>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94"/>
  </p:notesMasterIdLst>
  <p:sldIdLst>
    <p:sldId id="528" r:id="rId2"/>
    <p:sldId id="529" r:id="rId3"/>
    <p:sldId id="485" r:id="rId4"/>
    <p:sldId id="527" r:id="rId5"/>
    <p:sldId id="297" r:id="rId6"/>
    <p:sldId id="377" r:id="rId7"/>
    <p:sldId id="378" r:id="rId8"/>
    <p:sldId id="473" r:id="rId9"/>
    <p:sldId id="321" r:id="rId10"/>
    <p:sldId id="511" r:id="rId11"/>
    <p:sldId id="513" r:id="rId12"/>
    <p:sldId id="514" r:id="rId13"/>
    <p:sldId id="515" r:id="rId14"/>
    <p:sldId id="517" r:id="rId15"/>
    <p:sldId id="388" r:id="rId16"/>
    <p:sldId id="389" r:id="rId17"/>
    <p:sldId id="390" r:id="rId18"/>
    <p:sldId id="391" r:id="rId19"/>
    <p:sldId id="401" r:id="rId20"/>
    <p:sldId id="394" r:id="rId21"/>
    <p:sldId id="427" r:id="rId22"/>
    <p:sldId id="387" r:id="rId23"/>
    <p:sldId id="344" r:id="rId24"/>
    <p:sldId id="366" r:id="rId25"/>
    <p:sldId id="503" r:id="rId26"/>
    <p:sldId id="504" r:id="rId27"/>
    <p:sldId id="482" r:id="rId28"/>
    <p:sldId id="505" r:id="rId29"/>
    <p:sldId id="499" r:id="rId30"/>
    <p:sldId id="506" r:id="rId31"/>
    <p:sldId id="402" r:id="rId32"/>
    <p:sldId id="489" r:id="rId33"/>
    <p:sldId id="524" r:id="rId34"/>
    <p:sldId id="519" r:id="rId35"/>
    <p:sldId id="441" r:id="rId36"/>
    <p:sldId id="445" r:id="rId37"/>
    <p:sldId id="520" r:id="rId38"/>
    <p:sldId id="403" r:id="rId39"/>
    <p:sldId id="457" r:id="rId40"/>
    <p:sldId id="454" r:id="rId41"/>
    <p:sldId id="460" r:id="rId42"/>
    <p:sldId id="486" r:id="rId43"/>
    <p:sldId id="483" r:id="rId44"/>
    <p:sldId id="507" r:id="rId45"/>
    <p:sldId id="518" r:id="rId46"/>
    <p:sldId id="404" r:id="rId47"/>
    <p:sldId id="492" r:id="rId48"/>
    <p:sldId id="498" r:id="rId49"/>
    <p:sldId id="496" r:id="rId50"/>
    <p:sldId id="495" r:id="rId51"/>
    <p:sldId id="470" r:id="rId52"/>
    <p:sldId id="497" r:id="rId53"/>
    <p:sldId id="525" r:id="rId54"/>
    <p:sldId id="465" r:id="rId55"/>
    <p:sldId id="466" r:id="rId56"/>
    <p:sldId id="399" r:id="rId57"/>
    <p:sldId id="508" r:id="rId58"/>
    <p:sldId id="341" r:id="rId59"/>
    <p:sldId id="502" r:id="rId60"/>
    <p:sldId id="392" r:id="rId61"/>
    <p:sldId id="400" r:id="rId62"/>
    <p:sldId id="393" r:id="rId63"/>
    <p:sldId id="423" r:id="rId64"/>
    <p:sldId id="329" r:id="rId65"/>
    <p:sldId id="395" r:id="rId66"/>
    <p:sldId id="468" r:id="rId67"/>
    <p:sldId id="416" r:id="rId68"/>
    <p:sldId id="418" r:id="rId69"/>
    <p:sldId id="419" r:id="rId70"/>
    <p:sldId id="509" r:id="rId71"/>
    <p:sldId id="510" r:id="rId72"/>
    <p:sldId id="420" r:id="rId73"/>
    <p:sldId id="414" r:id="rId74"/>
    <p:sldId id="365" r:id="rId75"/>
    <p:sldId id="364" r:id="rId76"/>
    <p:sldId id="363" r:id="rId77"/>
    <p:sldId id="367" r:id="rId78"/>
    <p:sldId id="408" r:id="rId79"/>
    <p:sldId id="409" r:id="rId80"/>
    <p:sldId id="415" r:id="rId81"/>
    <p:sldId id="405" r:id="rId82"/>
    <p:sldId id="406" r:id="rId83"/>
    <p:sldId id="407" r:id="rId84"/>
    <p:sldId id="424" r:id="rId85"/>
    <p:sldId id="413" r:id="rId86"/>
    <p:sldId id="412" r:id="rId87"/>
    <p:sldId id="411" r:id="rId88"/>
    <p:sldId id="373" r:id="rId89"/>
    <p:sldId id="374" r:id="rId90"/>
    <p:sldId id="299" r:id="rId91"/>
    <p:sldId id="269" r:id="rId92"/>
    <p:sldId id="273" r:id="rId93"/>
  </p:sldIdLst>
  <p:sldSz cx="12192000" cy="6858000"/>
  <p:notesSz cx="6858000" cy="9144000"/>
  <p:custDataLst>
    <p:tags r:id="rId9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 id="{87926754-0DE0-4666-B5F7-D739362FE2A8}">
          <p14:sldIdLst>
            <p14:sldId id="528"/>
            <p14:sldId id="529"/>
            <p14:sldId id="485"/>
            <p14:sldId id="527"/>
            <p14:sldId id="297"/>
            <p14:sldId id="377"/>
            <p14:sldId id="378"/>
            <p14:sldId id="473"/>
            <p14:sldId id="321"/>
          </p14:sldIdLst>
        </p14:section>
        <p14:section name="目录" id="{546FB03C-C631-44CA-82C9-89DEB29D2A66}">
          <p14:sldIdLst>
            <p14:sldId id="511"/>
            <p14:sldId id="513"/>
            <p14:sldId id="514"/>
            <p14:sldId id="515"/>
            <p14:sldId id="517"/>
          </p14:sldIdLst>
        </p14:section>
        <p14:section name="过渡页" id="{BC58D2B8-64A8-4F21-AF6A-58125ABAD473}">
          <p14:sldIdLst>
            <p14:sldId id="388"/>
            <p14:sldId id="389"/>
            <p14:sldId id="390"/>
            <p14:sldId id="391"/>
          </p14:sldIdLst>
        </p14:section>
        <p14:section name="内页" id="{35A2A70F-4F5A-41B3-9BAE-E229A9D15E21}">
          <p14:sldIdLst>
            <p14:sldId id="401"/>
            <p14:sldId id="394"/>
            <p14:sldId id="427"/>
            <p14:sldId id="387"/>
            <p14:sldId id="344"/>
            <p14:sldId id="366"/>
            <p14:sldId id="503"/>
            <p14:sldId id="504"/>
            <p14:sldId id="482"/>
            <p14:sldId id="505"/>
            <p14:sldId id="499"/>
            <p14:sldId id="506"/>
            <p14:sldId id="402"/>
            <p14:sldId id="489"/>
            <p14:sldId id="524"/>
            <p14:sldId id="519"/>
            <p14:sldId id="441"/>
            <p14:sldId id="445"/>
            <p14:sldId id="520"/>
            <p14:sldId id="403"/>
            <p14:sldId id="457"/>
            <p14:sldId id="454"/>
            <p14:sldId id="460"/>
            <p14:sldId id="486"/>
            <p14:sldId id="483"/>
            <p14:sldId id="507"/>
            <p14:sldId id="518"/>
            <p14:sldId id="404"/>
            <p14:sldId id="492"/>
            <p14:sldId id="498"/>
            <p14:sldId id="496"/>
            <p14:sldId id="495"/>
            <p14:sldId id="470"/>
            <p14:sldId id="497"/>
            <p14:sldId id="525"/>
            <p14:sldId id="465"/>
            <p14:sldId id="466"/>
            <p14:sldId id="399"/>
            <p14:sldId id="508"/>
            <p14:sldId id="341"/>
            <p14:sldId id="502"/>
          </p14:sldIdLst>
        </p14:section>
        <p14:section name="封底" id="{D0E4C932-1F73-4240-AA01-D9EB80EE0521}">
          <p14:sldIdLst>
            <p14:sldId id="392"/>
            <p14:sldId id="400"/>
            <p14:sldId id="393"/>
            <p14:sldId id="423"/>
            <p14:sldId id="329"/>
          </p14:sldIdLst>
        </p14:section>
        <p14:section name="附录" id="{97BFDC39-2EB5-4FDC-9AEA-E9393D70100C}">
          <p14:sldIdLst>
            <p14:sldId id="395"/>
            <p14:sldId id="468"/>
            <p14:sldId id="416"/>
            <p14:sldId id="418"/>
            <p14:sldId id="419"/>
            <p14:sldId id="509"/>
            <p14:sldId id="510"/>
            <p14:sldId id="420"/>
            <p14:sldId id="414"/>
            <p14:sldId id="365"/>
            <p14:sldId id="364"/>
            <p14:sldId id="363"/>
            <p14:sldId id="367"/>
            <p14:sldId id="408"/>
            <p14:sldId id="409"/>
            <p14:sldId id="415"/>
            <p14:sldId id="405"/>
            <p14:sldId id="406"/>
            <p14:sldId id="407"/>
            <p14:sldId id="424"/>
            <p14:sldId id="413"/>
            <p14:sldId id="412"/>
            <p14:sldId id="411"/>
            <p14:sldId id="373"/>
            <p14:sldId id="374"/>
            <p14:sldId id="299"/>
            <p14:sldId id="269"/>
            <p14:sldId id="2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595959"/>
    <a:srgbClr val="575757"/>
    <a:srgbClr val="010101"/>
    <a:srgbClr val="262626"/>
    <a:srgbClr val="346A97"/>
    <a:srgbClr val="E6D590"/>
    <a:srgbClr val="0B2239"/>
    <a:srgbClr val="016D9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90" autoAdjust="0"/>
    <p:restoredTop sz="94660"/>
  </p:normalViewPr>
  <p:slideViewPr>
    <p:cSldViewPr snapToGrid="0" showGuides="1">
      <p:cViewPr varScale="1">
        <p:scale>
          <a:sx n="74" d="100"/>
          <a:sy n="74" d="100"/>
        </p:scale>
        <p:origin x="562" y="72"/>
      </p:cViewPr>
      <p:guideLst/>
    </p:cSldViewPr>
  </p:slideViewPr>
  <p:notesTextViewPr>
    <p:cViewPr>
      <p:scale>
        <a:sx n="1" d="1"/>
        <a:sy n="1" d="1"/>
      </p:scale>
      <p:origin x="0" y="0"/>
    </p:cViewPr>
  </p:notesTextViewPr>
  <p:sorterViewPr>
    <p:cViewPr>
      <p:scale>
        <a:sx n="100" d="100"/>
        <a:sy n="100" d="100"/>
      </p:scale>
      <p:origin x="0" y="-17434"/>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0"/>
          <c:tx>
            <c:strRef>
              <c:f>Sheet1!$C$1</c:f>
              <c:strCache>
                <c:ptCount val="1"/>
                <c:pt idx="0">
                  <c:v>列1</c:v>
                </c:pt>
              </c:strCache>
            </c:strRef>
          </c:tx>
          <c:spPr>
            <a:solidFill>
              <a:schemeClr val="accent3"/>
            </a:solidFill>
            <a:ln>
              <a:noFill/>
            </a:ln>
            <a:effectLst/>
          </c:spPr>
          <c:invertIfNegative val="0"/>
          <c:dPt>
            <c:idx val="0"/>
            <c:invertIfNegative val="0"/>
            <c:bubble3D val="0"/>
            <c:spPr>
              <a:solidFill>
                <a:schemeClr val="bg1">
                  <a:lumMod val="85000"/>
                </a:schemeClr>
              </a:solidFill>
              <a:ln>
                <a:noFill/>
              </a:ln>
              <a:effectLst/>
            </c:spPr>
            <c:extLst>
              <c:ext xmlns:c16="http://schemas.microsoft.com/office/drawing/2014/chart" uri="{C3380CC4-5D6E-409C-BE32-E72D297353CC}">
                <c16:uniqueId val="{00000001-B809-4314-825E-A1414ED90C0B}"/>
              </c:ext>
            </c:extLst>
          </c:dPt>
          <c:dPt>
            <c:idx val="1"/>
            <c:invertIfNegative val="0"/>
            <c:bubble3D val="0"/>
            <c:spPr>
              <a:solidFill>
                <a:schemeClr val="bg1">
                  <a:lumMod val="85000"/>
                </a:schemeClr>
              </a:solidFill>
              <a:ln>
                <a:noFill/>
              </a:ln>
              <a:effectLst/>
            </c:spPr>
            <c:extLst>
              <c:ext xmlns:c16="http://schemas.microsoft.com/office/drawing/2014/chart" uri="{C3380CC4-5D6E-409C-BE32-E72D297353CC}">
                <c16:uniqueId val="{00000003-B809-4314-825E-A1414ED90C0B}"/>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B809-4314-825E-A1414ED90C0B}"/>
              </c:ext>
            </c:extLst>
          </c:dPt>
          <c:dPt>
            <c:idx val="3"/>
            <c:invertIfNegative val="0"/>
            <c:bubble3D val="0"/>
            <c:spPr>
              <a:solidFill>
                <a:schemeClr val="bg1">
                  <a:lumMod val="85000"/>
                </a:schemeClr>
              </a:solidFill>
              <a:ln>
                <a:noFill/>
              </a:ln>
              <a:effectLst/>
            </c:spPr>
            <c:extLst>
              <c:ext xmlns:c16="http://schemas.microsoft.com/office/drawing/2014/chart" uri="{C3380CC4-5D6E-409C-BE32-E72D297353CC}">
                <c16:uniqueId val="{00000007-B809-4314-825E-A1414ED90C0B}"/>
              </c:ext>
            </c:extLst>
          </c:dPt>
          <c:dPt>
            <c:idx val="4"/>
            <c:invertIfNegative val="0"/>
            <c:bubble3D val="0"/>
            <c:spPr>
              <a:solidFill>
                <a:schemeClr val="bg1">
                  <a:lumMod val="85000"/>
                </a:schemeClr>
              </a:solidFill>
              <a:ln>
                <a:noFill/>
              </a:ln>
              <a:effectLst/>
            </c:spPr>
            <c:extLst>
              <c:ext xmlns:c16="http://schemas.microsoft.com/office/drawing/2014/chart" uri="{C3380CC4-5D6E-409C-BE32-E72D297353CC}">
                <c16:uniqueId val="{00000009-B809-4314-825E-A1414ED90C0B}"/>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B809-4314-825E-A1414ED90C0B}"/>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D-B809-4314-825E-A1414ED90C0B}"/>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F-B809-4314-825E-A1414ED90C0B}"/>
              </c:ext>
            </c:extLst>
          </c:dPt>
          <c:dPt>
            <c:idx val="8"/>
            <c:invertIfNegative val="0"/>
            <c:bubble3D val="0"/>
            <c:spPr>
              <a:solidFill>
                <a:schemeClr val="accent1"/>
              </a:solidFill>
              <a:ln>
                <a:noFill/>
              </a:ln>
              <a:effectLst/>
            </c:spPr>
            <c:extLst>
              <c:ext xmlns:c16="http://schemas.microsoft.com/office/drawing/2014/chart" uri="{C3380CC4-5D6E-409C-BE32-E72D297353CC}">
                <c16:uniqueId val="{00000011-B809-4314-825E-A1414ED90C0B}"/>
              </c:ext>
            </c:extLst>
          </c:dPt>
          <c:dPt>
            <c:idx val="9"/>
            <c:invertIfNegative val="0"/>
            <c:bubble3D val="0"/>
            <c:spPr>
              <a:solidFill>
                <a:schemeClr val="bg1">
                  <a:lumMod val="85000"/>
                </a:schemeClr>
              </a:solidFill>
              <a:ln>
                <a:noFill/>
              </a:ln>
              <a:effectLst/>
            </c:spPr>
            <c:extLst>
              <c:ext xmlns:c16="http://schemas.microsoft.com/office/drawing/2014/chart" uri="{C3380CC4-5D6E-409C-BE32-E72D297353CC}">
                <c16:uniqueId val="{00000013-B809-4314-825E-A1414ED90C0B}"/>
              </c:ext>
            </c:extLst>
          </c:dPt>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809-4314-825E-A1414ED90C0B}"/>
                </c:ext>
              </c:extLst>
            </c:dLbl>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809-4314-825E-A1414ED90C0B}"/>
                </c:ext>
              </c:extLst>
            </c:dLbl>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809-4314-825E-A1414ED90C0B}"/>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809-4314-825E-A1414ED90C0B}"/>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9</c:v>
                </c:pt>
                <c:pt idx="1">
                  <c:v>8</c:v>
                </c:pt>
                <c:pt idx="2">
                  <c:v>7</c:v>
                </c:pt>
                <c:pt idx="3">
                  <c:v>6</c:v>
                </c:pt>
                <c:pt idx="4">
                  <c:v>5</c:v>
                </c:pt>
                <c:pt idx="5">
                  <c:v>4</c:v>
                </c:pt>
                <c:pt idx="6">
                  <c:v>3</c:v>
                </c:pt>
                <c:pt idx="7">
                  <c:v>2</c:v>
                </c:pt>
                <c:pt idx="8">
                  <c:v>1</c:v>
                </c:pt>
                <c:pt idx="9">
                  <c:v>0</c:v>
                </c:pt>
              </c:numCache>
            </c:numRef>
          </c:cat>
          <c:val>
            <c:numRef>
              <c:f>Sheet1!$B$2:$B$11</c:f>
              <c:numCache>
                <c:formatCode>0.00%</c:formatCode>
                <c:ptCount val="10"/>
                <c:pt idx="0">
                  <c:v>1.2999999999999999E-2</c:v>
                </c:pt>
                <c:pt idx="1">
                  <c:v>2.7E-2</c:v>
                </c:pt>
                <c:pt idx="2">
                  <c:v>4.2999999999999997E-2</c:v>
                </c:pt>
                <c:pt idx="3">
                  <c:v>6.5000000000000002E-2</c:v>
                </c:pt>
                <c:pt idx="4">
                  <c:v>9.0999999999999998E-2</c:v>
                </c:pt>
                <c:pt idx="5">
                  <c:v>0.13200000000000001</c:v>
                </c:pt>
                <c:pt idx="6">
                  <c:v>0.17799999999999999</c:v>
                </c:pt>
                <c:pt idx="7">
                  <c:v>0.22800000000000001</c:v>
                </c:pt>
                <c:pt idx="8">
                  <c:v>0.221</c:v>
                </c:pt>
                <c:pt idx="9">
                  <c:v>0.01</c:v>
                </c:pt>
              </c:numCache>
            </c:numRef>
          </c:val>
          <c:extLst>
            <c:ext xmlns:c16="http://schemas.microsoft.com/office/drawing/2014/chart" uri="{C3380CC4-5D6E-409C-BE32-E72D297353CC}">
              <c16:uniqueId val="{00000014-B809-4314-825E-A1414ED90C0B}"/>
            </c:ext>
          </c:extLst>
        </c:ser>
        <c:ser>
          <c:idx val="2"/>
          <c:order val="1"/>
          <c:tx>
            <c:strRef>
              <c:f>Sheet1!$D$1</c:f>
              <c:strCache>
                <c:ptCount val="1"/>
                <c:pt idx="0">
                  <c:v>列2</c:v>
                </c:pt>
              </c:strCache>
            </c:strRef>
          </c:tx>
          <c:spPr>
            <a:solidFill>
              <a:schemeClr val="accent5"/>
            </a:solidFill>
            <a:ln>
              <a:noFill/>
            </a:ln>
            <a:effectLst/>
          </c:spPr>
          <c:invertIfNegative val="0"/>
          <c:cat>
            <c:numRef>
              <c:f>Sheet1!$A$2:$A$11</c:f>
              <c:numCache>
                <c:formatCode>General</c:formatCode>
                <c:ptCount val="10"/>
                <c:pt idx="0">
                  <c:v>9</c:v>
                </c:pt>
                <c:pt idx="1">
                  <c:v>8</c:v>
                </c:pt>
                <c:pt idx="2">
                  <c:v>7</c:v>
                </c:pt>
                <c:pt idx="3">
                  <c:v>6</c:v>
                </c:pt>
                <c:pt idx="4">
                  <c:v>5</c:v>
                </c:pt>
                <c:pt idx="5">
                  <c:v>4</c:v>
                </c:pt>
                <c:pt idx="6">
                  <c:v>3</c:v>
                </c:pt>
                <c:pt idx="7">
                  <c:v>2</c:v>
                </c:pt>
                <c:pt idx="8">
                  <c:v>1</c:v>
                </c:pt>
                <c:pt idx="9">
                  <c:v>0</c:v>
                </c:pt>
              </c:numCache>
            </c:numRef>
          </c:cat>
          <c:val>
            <c:numRef>
              <c:f>Sheet1!$D$2:$D$11</c:f>
              <c:numCache>
                <c:formatCode>General</c:formatCode>
                <c:ptCount val="10"/>
              </c:numCache>
            </c:numRef>
          </c:val>
          <c:extLst>
            <c:ext xmlns:c16="http://schemas.microsoft.com/office/drawing/2014/chart" uri="{C3380CC4-5D6E-409C-BE32-E72D297353CC}">
              <c16:uniqueId val="{00000015-B809-4314-825E-A1414ED90C0B}"/>
            </c:ext>
          </c:extLst>
        </c:ser>
        <c:dLbls>
          <c:showLegendKey val="0"/>
          <c:showVal val="0"/>
          <c:showCatName val="0"/>
          <c:showSerName val="0"/>
          <c:showPercent val="0"/>
          <c:showBubbleSize val="0"/>
        </c:dLbls>
        <c:gapWidth val="30"/>
        <c:overlap val="100"/>
        <c:axId val="1096244064"/>
        <c:axId val="1096240128"/>
      </c:barChart>
      <c:catAx>
        <c:axId val="10962440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1"/>
          <a:lstStyle/>
          <a:p>
            <a:pPr>
              <a:defRPr sz="1800" b="0" i="0" u="none" strike="noStrike" kern="1200" baseline="0">
                <a:solidFill>
                  <a:schemeClr val="tx1">
                    <a:lumMod val="65000"/>
                    <a:lumOff val="35000"/>
                  </a:schemeClr>
                </a:solidFill>
                <a:latin typeface="+mn-lt"/>
                <a:ea typeface="+mn-ea"/>
                <a:cs typeface="+mn-cs"/>
              </a:defRPr>
            </a:pPr>
            <a:endParaRPr lang="zh-CN"/>
          </a:p>
        </c:txPr>
        <c:crossAx val="1096240128"/>
        <c:crosses val="autoZero"/>
        <c:auto val="1"/>
        <c:lblAlgn val="ctr"/>
        <c:lblOffset val="100"/>
        <c:noMultiLvlLbl val="0"/>
      </c:catAx>
      <c:valAx>
        <c:axId val="1096240128"/>
        <c:scaling>
          <c:orientation val="minMax"/>
        </c:scaling>
        <c:delete val="1"/>
        <c:axPos val="b"/>
        <c:numFmt formatCode="0%" sourceLinked="0"/>
        <c:majorTickMark val="none"/>
        <c:minorTickMark val="none"/>
        <c:tickLblPos val="nextTo"/>
        <c:crossAx val="1096244064"/>
        <c:crosses val="autoZero"/>
        <c:crossBetween val="between"/>
      </c:valAx>
      <c:spPr>
        <a:noFill/>
        <a:ln w="25400">
          <a:noFill/>
        </a:ln>
        <a:effectLst/>
      </c:spPr>
    </c:plotArea>
    <c:plotVisOnly val="1"/>
    <c:dispBlanksAs val="gap"/>
    <c:showDLblsOverMax val="0"/>
  </c:chart>
  <c:spPr>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prstClr val="white"/>
          </a:solidFill>
          <a:prstDash val="solid"/>
          <a:round/>
          <a:headEnd type="none" w="med" len="med"/>
          <a:tailEnd type="none" w="med" len="med"/>
        </a14:hiddenLine>
      </a:ext>
    </a:extLst>
  </c:spPr>
  <c:txPr>
    <a:bodyPr/>
    <a:lstStyle/>
    <a:p>
      <a:pPr>
        <a:defRPr sz="1800"/>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04513170885842"/>
          <c:y val="3.0991735537190084E-2"/>
          <c:w val="0.81141808966245654"/>
          <c:h val="0.9242424242424242"/>
        </c:manualLayout>
      </c:layout>
      <c:barChart>
        <c:barDir val="bar"/>
        <c:grouping val="clustered"/>
        <c:varyColors val="0"/>
        <c:ser>
          <c:idx val="0"/>
          <c:order val="0"/>
          <c:tx>
            <c:strRef>
              <c:f>Sheet1!$B$1</c:f>
              <c:strCache>
                <c:ptCount val="1"/>
                <c:pt idx="0">
                  <c:v>系列 1</c:v>
                </c:pt>
              </c:strCache>
            </c:strRef>
          </c:tx>
          <c:spPr>
            <a:solidFill>
              <a:schemeClr val="bg1">
                <a:lumMod val="75000"/>
              </a:schemeClr>
            </a:solidFill>
            <a:ln>
              <a:solidFill>
                <a:schemeClr val="bg1">
                  <a:lumMod val="65000"/>
                </a:schemeClr>
              </a:solidFill>
            </a:ln>
            <a:effectLst/>
          </c:spPr>
          <c:invertIfNegative val="0"/>
          <c:dPt>
            <c:idx val="3"/>
            <c:invertIfNegative val="0"/>
            <c:bubble3D val="0"/>
            <c:spPr>
              <a:solidFill>
                <a:schemeClr val="accent1"/>
              </a:solidFill>
              <a:ln>
                <a:solidFill>
                  <a:schemeClr val="accent1">
                    <a:lumMod val="50000"/>
                  </a:schemeClr>
                </a:solidFill>
              </a:ln>
              <a:effectLst/>
            </c:spPr>
            <c:extLst>
              <c:ext xmlns:c16="http://schemas.microsoft.com/office/drawing/2014/chart" uri="{C3380CC4-5D6E-409C-BE32-E72D297353CC}">
                <c16:uniqueId val="{00000003-1F7B-4188-936A-F1B58A65CD87}"/>
              </c:ext>
            </c:extLst>
          </c:dPt>
          <c:cat>
            <c:strRef>
              <c:f>Sheet1!$A$2:$A$5</c:f>
              <c:strCache>
                <c:ptCount val="4"/>
                <c:pt idx="0">
                  <c:v>日本</c:v>
                </c:pt>
                <c:pt idx="1">
                  <c:v>德国</c:v>
                </c:pt>
                <c:pt idx="2">
                  <c:v>美国</c:v>
                </c:pt>
                <c:pt idx="3">
                  <c:v>中国</c:v>
                </c:pt>
              </c:strCache>
            </c:strRef>
          </c:cat>
          <c:val>
            <c:numRef>
              <c:f>Sheet1!$B$2:$B$5</c:f>
              <c:numCache>
                <c:formatCode>General</c:formatCode>
                <c:ptCount val="4"/>
                <c:pt idx="0">
                  <c:v>2</c:v>
                </c:pt>
                <c:pt idx="1">
                  <c:v>4</c:v>
                </c:pt>
                <c:pt idx="2">
                  <c:v>6</c:v>
                </c:pt>
                <c:pt idx="3">
                  <c:v>10</c:v>
                </c:pt>
              </c:numCache>
            </c:numRef>
          </c:val>
          <c:extLst>
            <c:ext xmlns:c16="http://schemas.microsoft.com/office/drawing/2014/chart" uri="{C3380CC4-5D6E-409C-BE32-E72D297353CC}">
              <c16:uniqueId val="{00000000-1F7B-4188-936A-F1B58A65CD87}"/>
            </c:ext>
          </c:extLst>
        </c:ser>
        <c:dLbls>
          <c:showLegendKey val="0"/>
          <c:showVal val="0"/>
          <c:showCatName val="0"/>
          <c:showSerName val="0"/>
          <c:showPercent val="0"/>
          <c:showBubbleSize val="0"/>
        </c:dLbls>
        <c:gapWidth val="62"/>
        <c:axId val="742168008"/>
        <c:axId val="742167688"/>
      </c:barChart>
      <c:catAx>
        <c:axId val="74216800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crossAx val="742167688"/>
        <c:crosses val="autoZero"/>
        <c:auto val="1"/>
        <c:lblAlgn val="ctr"/>
        <c:lblOffset val="100"/>
        <c:noMultiLvlLbl val="0"/>
      </c:catAx>
      <c:valAx>
        <c:axId val="742167688"/>
        <c:scaling>
          <c:orientation val="minMax"/>
        </c:scaling>
        <c:delete val="1"/>
        <c:axPos val="b"/>
        <c:numFmt formatCode="General" sourceLinked="1"/>
        <c:majorTickMark val="out"/>
        <c:minorTickMark val="none"/>
        <c:tickLblPos val="nextTo"/>
        <c:crossAx val="742168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系列 1</c:v>
                </c:pt>
              </c:strCache>
            </c:strRef>
          </c:tx>
          <c:spPr>
            <a:solidFill>
              <a:schemeClr val="bg1">
                <a:lumMod val="85000"/>
              </a:schemeClr>
            </a:solidFill>
            <a:ln>
              <a:solidFill>
                <a:schemeClr val="bg1">
                  <a:lumMod val="50000"/>
                </a:schemeClr>
              </a:solidFill>
            </a:ln>
            <a:effectLst/>
            <a:sp3d>
              <a:contourClr>
                <a:schemeClr val="bg1">
                  <a:lumMod val="50000"/>
                </a:schemeClr>
              </a:contourClr>
            </a:sp3d>
          </c:spPr>
          <c:invertIfNegative val="0"/>
          <c:dPt>
            <c:idx val="8"/>
            <c:invertIfNegative val="0"/>
            <c:bubble3D val="0"/>
            <c:spPr>
              <a:solidFill>
                <a:schemeClr val="accent1"/>
              </a:solidFill>
              <a:ln>
                <a:solidFill>
                  <a:schemeClr val="bg1">
                    <a:lumMod val="50000"/>
                  </a:schemeClr>
                </a:solidFill>
              </a:ln>
              <a:effectLst/>
              <a:sp3d>
                <a:contourClr>
                  <a:schemeClr val="bg1">
                    <a:lumMod val="50000"/>
                  </a:schemeClr>
                </a:contourClr>
              </a:sp3d>
            </c:spPr>
            <c:extLst>
              <c:ext xmlns:c16="http://schemas.microsoft.com/office/drawing/2014/chart" uri="{C3380CC4-5D6E-409C-BE32-E72D297353CC}">
                <c16:uniqueId val="{00000001-887F-4D0A-9F83-B46F8F0B932C}"/>
              </c:ext>
            </c:extLst>
          </c:dPt>
          <c:dLbls>
            <c:dLbl>
              <c:idx val="8"/>
              <c:delete val="1"/>
              <c:extLst>
                <c:ext xmlns:c15="http://schemas.microsoft.com/office/drawing/2012/chart" uri="{CE6537A1-D6FC-4f65-9D91-7224C49458BB}"/>
                <c:ext xmlns:c16="http://schemas.microsoft.com/office/drawing/2014/chart" uri="{C3380CC4-5D6E-409C-BE32-E72D297353CC}">
                  <c16:uniqueId val="{00000001-887F-4D0A-9F83-B46F8F0B932C}"/>
                </c:ext>
              </c:extLst>
            </c:dLbl>
            <c:spPr>
              <a:noFill/>
              <a:ln>
                <a:noFill/>
              </a:ln>
              <a:effectLst/>
            </c:spPr>
            <c:txPr>
              <a:bodyPr rot="0" spcFirstLastPara="1" vertOverflow="ellipsis" vert="horz" wrap="square" lIns="38100" tIns="19050" rIns="38100" bIns="19050" anchor="ctr" anchorCtr="0">
                <a:spAutoFit/>
              </a:bodyPr>
              <a:lstStyle/>
              <a:p>
                <a:pPr algn="r">
                  <a:defRPr sz="16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一月</c:v>
                </c:pt>
                <c:pt idx="1">
                  <c:v>二月</c:v>
                </c:pt>
                <c:pt idx="2">
                  <c:v>三月</c:v>
                </c:pt>
                <c:pt idx="3">
                  <c:v>四月</c:v>
                </c:pt>
                <c:pt idx="4">
                  <c:v>五月</c:v>
                </c:pt>
                <c:pt idx="5">
                  <c:v>六月</c:v>
                </c:pt>
                <c:pt idx="6">
                  <c:v>七月</c:v>
                </c:pt>
                <c:pt idx="7">
                  <c:v>八月</c:v>
                </c:pt>
                <c:pt idx="8">
                  <c:v>九月</c:v>
                </c:pt>
                <c:pt idx="9">
                  <c:v>十月</c:v>
                </c:pt>
                <c:pt idx="10">
                  <c:v>十一月</c:v>
                </c:pt>
                <c:pt idx="11">
                  <c:v>十二月</c:v>
                </c:pt>
              </c:strCache>
            </c:strRef>
          </c:cat>
          <c:val>
            <c:numRef>
              <c:f>Sheet1!$B$2:$B$13</c:f>
              <c:numCache>
                <c:formatCode>General</c:formatCode>
                <c:ptCount val="12"/>
                <c:pt idx="0">
                  <c:v>15</c:v>
                </c:pt>
                <c:pt idx="1">
                  <c:v>28</c:v>
                </c:pt>
                <c:pt idx="2">
                  <c:v>15</c:v>
                </c:pt>
                <c:pt idx="3">
                  <c:v>34</c:v>
                </c:pt>
                <c:pt idx="4">
                  <c:v>60</c:v>
                </c:pt>
                <c:pt idx="5">
                  <c:v>24</c:v>
                </c:pt>
                <c:pt idx="6">
                  <c:v>67</c:v>
                </c:pt>
                <c:pt idx="7">
                  <c:v>75</c:v>
                </c:pt>
                <c:pt idx="8">
                  <c:v>98</c:v>
                </c:pt>
                <c:pt idx="9">
                  <c:v>52</c:v>
                </c:pt>
                <c:pt idx="10">
                  <c:v>45</c:v>
                </c:pt>
                <c:pt idx="11">
                  <c:v>35</c:v>
                </c:pt>
              </c:numCache>
            </c:numRef>
          </c:val>
          <c:extLst>
            <c:ext xmlns:c16="http://schemas.microsoft.com/office/drawing/2014/chart" uri="{C3380CC4-5D6E-409C-BE32-E72D297353CC}">
              <c16:uniqueId val="{00000000-887F-4D0A-9F83-B46F8F0B932C}"/>
            </c:ext>
          </c:extLst>
        </c:ser>
        <c:dLbls>
          <c:showLegendKey val="0"/>
          <c:showVal val="0"/>
          <c:showCatName val="0"/>
          <c:showSerName val="0"/>
          <c:showPercent val="0"/>
          <c:showBubbleSize val="0"/>
        </c:dLbls>
        <c:gapWidth val="92"/>
        <c:shape val="box"/>
        <c:axId val="742146568"/>
        <c:axId val="742148488"/>
        <c:axId val="0"/>
      </c:bar3DChart>
      <c:catAx>
        <c:axId val="742146568"/>
        <c:scaling>
          <c:orientation val="minMax"/>
        </c:scaling>
        <c:delete val="1"/>
        <c:axPos val="b"/>
        <c:numFmt formatCode="General" sourceLinked="1"/>
        <c:majorTickMark val="none"/>
        <c:minorTickMark val="none"/>
        <c:tickLblPos val="nextTo"/>
        <c:crossAx val="742148488"/>
        <c:crosses val="autoZero"/>
        <c:auto val="1"/>
        <c:lblAlgn val="ctr"/>
        <c:lblOffset val="100"/>
        <c:noMultiLvlLbl val="0"/>
      </c:catAx>
      <c:valAx>
        <c:axId val="742148488"/>
        <c:scaling>
          <c:orientation val="minMax"/>
        </c:scaling>
        <c:delete val="1"/>
        <c:axPos val="l"/>
        <c:numFmt formatCode="General" sourceLinked="1"/>
        <c:majorTickMark val="none"/>
        <c:minorTickMark val="none"/>
        <c:tickLblPos val="nextTo"/>
        <c:crossAx val="742146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dPt>
            <c:idx val="0"/>
            <c:bubble3D val="0"/>
            <c:spPr>
              <a:solidFill>
                <a:schemeClr val="accent1">
                  <a:lumMod val="20000"/>
                  <a:lumOff val="80000"/>
                </a:schemeClr>
              </a:solidFill>
              <a:ln w="19050">
                <a:noFill/>
              </a:ln>
              <a:effectLst/>
            </c:spPr>
            <c:extLst>
              <c:ext xmlns:c16="http://schemas.microsoft.com/office/drawing/2014/chart" uri="{C3380CC4-5D6E-409C-BE32-E72D297353CC}">
                <c16:uniqueId val="{00000001-6BF3-44D8-A0F2-5EF4BBAB2B00}"/>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6BF3-44D8-A0F2-5EF4BBAB2B00}"/>
              </c:ext>
            </c:extLst>
          </c:dPt>
          <c:cat>
            <c:strRef>
              <c:f>Sheet1!$A$2:$A$3</c:f>
              <c:strCache>
                <c:ptCount val="2"/>
                <c:pt idx="0">
                  <c:v>第一季度</c:v>
                </c:pt>
                <c:pt idx="1">
                  <c:v>第二季度</c:v>
                </c:pt>
              </c:strCache>
            </c:strRef>
          </c:cat>
          <c:val>
            <c:numRef>
              <c:f>Sheet1!$B$2:$B$3</c:f>
              <c:numCache>
                <c:formatCode>General</c:formatCode>
                <c:ptCount val="2"/>
                <c:pt idx="0">
                  <c:v>14</c:v>
                </c:pt>
                <c:pt idx="1">
                  <c:v>46</c:v>
                </c:pt>
              </c:numCache>
            </c:numRef>
          </c:val>
          <c:extLst>
            <c:ext xmlns:c16="http://schemas.microsoft.com/office/drawing/2014/chart" uri="{C3380CC4-5D6E-409C-BE32-E72D297353CC}">
              <c16:uniqueId val="{00000006-6BF3-44D8-A0F2-5EF4BBAB2B00}"/>
            </c:ext>
          </c:extLst>
        </c:ser>
        <c:dLbls>
          <c:showLegendKey val="0"/>
          <c:showVal val="0"/>
          <c:showCatName val="0"/>
          <c:showSerName val="0"/>
          <c:showPercent val="0"/>
          <c:showBubbleSize val="0"/>
          <c:showLeaderLines val="1"/>
        </c:dLbls>
        <c:firstSliceAng val="0"/>
        <c:holeSize val="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CEA-4F98-8CE5-A2C7BE5748BD}"/>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ECEA-4F98-8CE5-A2C7BE5748BD}"/>
              </c:ext>
            </c:extLst>
          </c:dPt>
          <c:cat>
            <c:strRef>
              <c:f>Sheet1!$A$2:$A$3</c:f>
              <c:strCache>
                <c:ptCount val="2"/>
                <c:pt idx="0">
                  <c:v>第一季度</c:v>
                </c:pt>
                <c:pt idx="1">
                  <c:v>第二季度</c:v>
                </c:pt>
              </c:strCache>
            </c:strRef>
          </c:cat>
          <c:val>
            <c:numRef>
              <c:f>Sheet1!$B$2:$B$3</c:f>
              <c:numCache>
                <c:formatCode>General</c:formatCode>
                <c:ptCount val="2"/>
                <c:pt idx="0">
                  <c:v>14</c:v>
                </c:pt>
                <c:pt idx="1">
                  <c:v>46</c:v>
                </c:pt>
              </c:numCache>
            </c:numRef>
          </c:val>
          <c:extLst>
            <c:ext xmlns:c16="http://schemas.microsoft.com/office/drawing/2014/chart" uri="{C3380CC4-5D6E-409C-BE32-E72D297353CC}">
              <c16:uniqueId val="{00000006-ECEA-4F98-8CE5-A2C7BE5748BD}"/>
            </c:ext>
          </c:extLst>
        </c:ser>
        <c:dLbls>
          <c:showLegendKey val="0"/>
          <c:showVal val="0"/>
          <c:showCatName val="0"/>
          <c:showSerName val="0"/>
          <c:showPercent val="0"/>
          <c:showBubbleSize val="0"/>
          <c:showLeaderLines val="1"/>
        </c:dLbls>
        <c:firstSliceAng val="0"/>
        <c:holeSize val="8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tx>
            <c:strRef>
              <c:f>Sheet1!$B$1</c:f>
              <c:strCache>
                <c:ptCount val="1"/>
                <c:pt idx="0">
                  <c:v>Series 1</c:v>
                </c:pt>
              </c:strCache>
            </c:strRef>
          </c:tx>
          <c:spPr>
            <a:ln w="28575" cap="rnd">
              <a:solidFill>
                <a:schemeClr val="bg1">
                  <a:lumMod val="50000"/>
                </a:schemeClr>
              </a:solidFill>
              <a:round/>
            </a:ln>
            <a:effectLst/>
          </c:spPr>
          <c:marker>
            <c:symbol val="circle"/>
            <c:size val="5"/>
            <c:spPr>
              <a:solidFill>
                <a:schemeClr val="tx1">
                  <a:lumMod val="75000"/>
                  <a:lumOff val="25000"/>
                </a:schemeClr>
              </a:solidFill>
              <a:ln w="9525">
                <a:solidFill>
                  <a:schemeClr val="bg1">
                    <a:lumMod val="50000"/>
                  </a:schemeClr>
                </a:solidFill>
              </a:ln>
              <a:effectLst/>
            </c:spPr>
          </c:marker>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1F05-4036-A54F-7E8A33D28AB7}"/>
            </c:ext>
          </c:extLst>
        </c:ser>
        <c:ser>
          <c:idx val="1"/>
          <c:order val="1"/>
          <c:tx>
            <c:strRef>
              <c:f>Sheet1!$C$1</c:f>
              <c:strCache>
                <c:ptCount val="1"/>
                <c:pt idx="0">
                  <c:v>Series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1F05-4036-A54F-7E8A33D28AB7}"/>
            </c:ext>
          </c:extLst>
        </c:ser>
        <c:ser>
          <c:idx val="2"/>
          <c:order val="2"/>
          <c:tx>
            <c:strRef>
              <c:f>Sheet1!$D$1</c:f>
              <c:strCache>
                <c:ptCount val="1"/>
                <c:pt idx="0">
                  <c:v>Series 3</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1F05-4036-A54F-7E8A33D28AB7}"/>
            </c:ext>
          </c:extLst>
        </c:ser>
        <c:dLbls>
          <c:showLegendKey val="0"/>
          <c:showVal val="0"/>
          <c:showCatName val="0"/>
          <c:showSerName val="0"/>
          <c:showPercent val="0"/>
          <c:showBubbleSize val="0"/>
        </c:dLbls>
        <c:marker val="1"/>
        <c:smooth val="0"/>
        <c:axId val="1005150160"/>
        <c:axId val="1005150552"/>
      </c:lineChart>
      <c:catAx>
        <c:axId val="1005150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ea"/>
                <a:sym typeface="+mn-lt"/>
              </a:defRPr>
            </a:pPr>
            <a:endParaRPr lang="zh-CN"/>
          </a:p>
        </c:txPr>
        <c:crossAx val="1005150552"/>
        <c:crosses val="autoZero"/>
        <c:auto val="1"/>
        <c:lblAlgn val="ctr"/>
        <c:lblOffset val="100"/>
        <c:noMultiLvlLbl val="0"/>
      </c:catAx>
      <c:valAx>
        <c:axId val="1005150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ea"/>
                <a:sym typeface="+mn-lt"/>
              </a:defRPr>
            </a:pPr>
            <a:endParaRPr lang="zh-CN"/>
          </a:p>
        </c:txPr>
        <c:crossAx val="1005150160"/>
        <c:crosses val="autoZero"/>
        <c:crossBetween val="between"/>
      </c:valAx>
      <c:spPr>
        <a:noFill/>
        <a:ln>
          <a:noFill/>
        </a:ln>
        <a:effectLst/>
      </c:spPr>
    </c:plotArea>
    <c:plotVisOnly val="1"/>
    <c:dispBlanksAs val="zero"/>
    <c:showDLblsOverMax val="0"/>
  </c:chart>
  <c:spPr>
    <a:noFill/>
    <a:ln>
      <a:noFill/>
    </a:ln>
    <a:effectLst/>
  </c:spPr>
  <c:txPr>
    <a:bodyPr/>
    <a:lstStyle/>
    <a:p>
      <a:pPr>
        <a:defRPr sz="1800">
          <a:latin typeface="+mn-lt"/>
          <a:ea typeface="+mn-ea"/>
          <a:cs typeface="+mn-ea"/>
          <a:sym typeface="+mn-lt"/>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50.png"/><Relationship Id="rId1" Type="http://schemas.openxmlformats.org/officeDocument/2006/relationships/image" Target="../media/image49.jpg"/><Relationship Id="rId4" Type="http://schemas.openxmlformats.org/officeDocument/2006/relationships/image" Target="../media/image51.png"/></Relationships>
</file>

<file path=ppt/diagrams/_rels/drawing2.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50.png"/><Relationship Id="rId1" Type="http://schemas.openxmlformats.org/officeDocument/2006/relationships/image" Target="../media/image49.jpg"/><Relationship Id="rId4" Type="http://schemas.openxmlformats.org/officeDocument/2006/relationships/image" Target="../media/image5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EAB017-9B3C-4367-9270-3933399315A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FB822B86-9E68-43E4-947A-1880980E6B98}">
      <dgm:prSet phldrT="[文本]" custT="1"/>
      <dgm:spPr>
        <a:solidFill>
          <a:schemeClr val="accent1"/>
        </a:solidFill>
        <a:ln w="19050" cap="flat" cmpd="sng" algn="ctr">
          <a:solidFill>
            <a:srgbClr val="FFFFFF"/>
          </a:solidFill>
          <a:prstDash val="solid"/>
          <a:miter lim="800000"/>
        </a:ln>
        <a:effectLst>
          <a:outerShdw blurRad="50800" dist="38100" dir="2700000" algn="tl" rotWithShape="0">
            <a:prstClr val="black">
              <a:alpha val="40000"/>
            </a:prstClr>
          </a:outerShdw>
        </a:effectLst>
      </dgm:spPr>
      <dgm:t>
        <a:bodyPr/>
        <a:lstStyle/>
        <a:p>
          <a:pPr marL="0" lvl="0" indent="0" algn="ctr" defTabSz="889000">
            <a:lnSpc>
              <a:spcPct val="90000"/>
            </a:lnSpc>
            <a:spcBef>
              <a:spcPct val="0"/>
            </a:spcBef>
            <a:spcAft>
              <a:spcPct val="35000"/>
            </a:spcAft>
          </a:pPr>
          <a:r>
            <a:rPr lang="zh-CN" altLang="en-US" sz="2000" kern="1200" dirty="0"/>
            <a:t>具体项目</a:t>
          </a:r>
          <a:endParaRPr lang="en-US" sz="2000" kern="1200" dirty="0">
            <a:solidFill>
              <a:srgbClr val="FFFFFF"/>
            </a:solidFill>
            <a:latin typeface="Arial"/>
            <a:ea typeface="阿里巴巴普惠体"/>
            <a:cs typeface="+mn-cs"/>
          </a:endParaRPr>
        </a:p>
      </dgm:t>
    </dgm:pt>
    <dgm:pt modelId="{583A2A48-D40C-47AC-8EBA-6A23A6CABE4C}" type="parTrans" cxnId="{FF3EFC4B-008A-447D-ACC7-25D9BD1A2936}">
      <dgm:prSet/>
      <dgm:spPr/>
      <dgm:t>
        <a:bodyPr/>
        <a:lstStyle/>
        <a:p>
          <a:endParaRPr lang="en-US"/>
        </a:p>
      </dgm:t>
    </dgm:pt>
    <dgm:pt modelId="{356E48D0-FE2C-42C5-867F-5D87B4EAA5A3}" type="sibTrans" cxnId="{FF3EFC4B-008A-447D-ACC7-25D9BD1A2936}">
      <dgm:prSet/>
      <dgm:spPr/>
      <dgm:t>
        <a:bodyPr/>
        <a:lstStyle/>
        <a:p>
          <a:endParaRPr lang="en-US"/>
        </a:p>
      </dgm:t>
    </dgm:pt>
    <dgm:pt modelId="{A41A3C63-916D-42CD-8FB4-1F42E0F72162}">
      <dgm:prSet phldrT="[文本]" custT="1"/>
      <dgm:spPr>
        <a:solidFill>
          <a:srgbClr val="000000">
            <a:lumMod val="65000"/>
            <a:lumOff val="35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zh-CN" altLang="en-US" sz="1800" b="1" kern="120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gm:t>
    </dgm:pt>
    <dgm:pt modelId="{7FF9ABDB-AA2F-4D71-B7FE-D89760744AAB}" type="parTrans" cxnId="{0FC95DE2-96AF-4CEF-8C95-52F969386676}">
      <dgm:prSet/>
      <dgm:spPr/>
      <dgm:t>
        <a:bodyPr/>
        <a:lstStyle/>
        <a:p>
          <a:endParaRPr lang="en-US"/>
        </a:p>
      </dgm:t>
    </dgm:pt>
    <dgm:pt modelId="{345C9771-7CBD-48D4-8CEA-DDBA4D94C21A}" type="sibTrans" cxnId="{0FC95DE2-96AF-4CEF-8C95-52F969386676}">
      <dgm:prSet/>
      <dgm:spPr/>
      <dgm:t>
        <a:bodyPr/>
        <a:lstStyle/>
        <a:p>
          <a:endParaRPr lang="en-US"/>
        </a:p>
      </dgm:t>
    </dgm:pt>
    <dgm:pt modelId="{48A14184-ED2E-472E-86A8-4160E9BB2D67}">
      <dgm:prSet phldrT="[文本]" custT="1"/>
      <dgm:spPr>
        <a:solidFill>
          <a:srgbClr val="000000">
            <a:lumMod val="65000"/>
            <a:lumOff val="35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zh-CN" altLang="en-US" sz="1800" b="1" kern="120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gm:t>
    </dgm:pt>
    <dgm:pt modelId="{A413A518-D875-4DEA-9C1E-250AAB2D6A1D}" type="parTrans" cxnId="{CD5C2197-EA7F-4346-9F2B-53EAE9F8C858}">
      <dgm:prSet/>
      <dgm:spPr/>
      <dgm:t>
        <a:bodyPr/>
        <a:lstStyle/>
        <a:p>
          <a:endParaRPr lang="en-US"/>
        </a:p>
      </dgm:t>
    </dgm:pt>
    <dgm:pt modelId="{715DFA6D-1DBA-453F-B04F-60956C1C1E7D}" type="sibTrans" cxnId="{CD5C2197-EA7F-4346-9F2B-53EAE9F8C858}">
      <dgm:prSet/>
      <dgm:spPr/>
      <dgm:t>
        <a:bodyPr/>
        <a:lstStyle/>
        <a:p>
          <a:endParaRPr lang="en-US"/>
        </a:p>
      </dgm:t>
    </dgm:pt>
    <dgm:pt modelId="{F20717FF-F247-4657-ABF5-6EFD88BA73BB}">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dirty="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1AA78699-F7DF-421F-B093-67F2BE22B7E5}" type="parTrans" cxnId="{FA0279F5-7F72-41AE-9672-D3AB6D6F2129}">
      <dgm:prSet/>
      <dgm:spPr/>
      <dgm:t>
        <a:bodyPr/>
        <a:lstStyle/>
        <a:p>
          <a:endParaRPr lang="en-US"/>
        </a:p>
      </dgm:t>
    </dgm:pt>
    <dgm:pt modelId="{85BBEEA2-F169-4F29-AEE2-9F9037D72C7D}" type="sibTrans" cxnId="{FA0279F5-7F72-41AE-9672-D3AB6D6F2129}">
      <dgm:prSet/>
      <dgm:spPr/>
      <dgm:t>
        <a:bodyPr/>
        <a:lstStyle/>
        <a:p>
          <a:endParaRPr lang="en-US"/>
        </a:p>
      </dgm:t>
    </dgm:pt>
    <dgm:pt modelId="{97DE9EB1-ABFD-4CE6-A72E-75BE7611374E}">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1FB8EA31-0656-4F13-BDDA-6A7A0B75D388}" type="parTrans" cxnId="{3999B15B-BBEA-4A41-B614-183DA5E7F8A5}">
      <dgm:prSet/>
      <dgm:spPr/>
      <dgm:t>
        <a:bodyPr/>
        <a:lstStyle/>
        <a:p>
          <a:endParaRPr lang="en-US"/>
        </a:p>
      </dgm:t>
    </dgm:pt>
    <dgm:pt modelId="{00DE4FEE-FB69-411A-9469-E38A23024E96}" type="sibTrans" cxnId="{3999B15B-BBEA-4A41-B614-183DA5E7F8A5}">
      <dgm:prSet/>
      <dgm:spPr/>
      <dgm:t>
        <a:bodyPr/>
        <a:lstStyle/>
        <a:p>
          <a:endParaRPr lang="en-US"/>
        </a:p>
      </dgm:t>
    </dgm:pt>
    <dgm:pt modelId="{C31D214F-0890-44EF-8048-2CE9A5A9BDA6}">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70AFC458-3FA4-41F0-BFA1-DD186E47B356}" type="parTrans" cxnId="{42F16483-BD54-4D1A-871D-9FA59C8C776F}">
      <dgm:prSet/>
      <dgm:spPr/>
      <dgm:t>
        <a:bodyPr/>
        <a:lstStyle/>
        <a:p>
          <a:endParaRPr lang="en-US"/>
        </a:p>
      </dgm:t>
    </dgm:pt>
    <dgm:pt modelId="{407E64F8-4B99-46A6-BC8A-A5B8B4C1A194}" type="sibTrans" cxnId="{42F16483-BD54-4D1A-871D-9FA59C8C776F}">
      <dgm:prSet/>
      <dgm:spPr/>
      <dgm:t>
        <a:bodyPr/>
        <a:lstStyle/>
        <a:p>
          <a:endParaRPr lang="en-US"/>
        </a:p>
      </dgm:t>
    </dgm:pt>
    <dgm:pt modelId="{AC439372-E74A-4D06-9BE1-E6109365D87B}">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dirty="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ABBA3D03-71CD-4F16-A4A0-8D9F64700B03}" type="parTrans" cxnId="{14903DA7-1BCA-46EB-806B-FEC9EC286371}">
      <dgm:prSet/>
      <dgm:spPr/>
      <dgm:t>
        <a:bodyPr/>
        <a:lstStyle/>
        <a:p>
          <a:endParaRPr lang="en-US"/>
        </a:p>
      </dgm:t>
    </dgm:pt>
    <dgm:pt modelId="{5637B4D3-80A1-4CE8-830A-3CE822219431}" type="sibTrans" cxnId="{14903DA7-1BCA-46EB-806B-FEC9EC286371}">
      <dgm:prSet/>
      <dgm:spPr/>
      <dgm:t>
        <a:bodyPr/>
        <a:lstStyle/>
        <a:p>
          <a:endParaRPr lang="en-US"/>
        </a:p>
      </dgm:t>
    </dgm:pt>
    <dgm:pt modelId="{AFFCFC63-F6ED-4995-98D9-B84A90758399}">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DEDE36B4-F1C7-4A8E-A459-2992FDEDAE8E}" type="parTrans" cxnId="{A02BC21E-82C6-4C9F-9CEA-0A104B4072B2}">
      <dgm:prSet/>
      <dgm:spPr/>
      <dgm:t>
        <a:bodyPr/>
        <a:lstStyle/>
        <a:p>
          <a:endParaRPr lang="en-US"/>
        </a:p>
      </dgm:t>
    </dgm:pt>
    <dgm:pt modelId="{8DD615E0-87A3-46A4-A9ED-6F5C4C64E17A}" type="sibTrans" cxnId="{A02BC21E-82C6-4C9F-9CEA-0A104B4072B2}">
      <dgm:prSet/>
      <dgm:spPr/>
      <dgm:t>
        <a:bodyPr/>
        <a:lstStyle/>
        <a:p>
          <a:endParaRPr lang="en-US"/>
        </a:p>
      </dgm:t>
    </dgm:pt>
    <dgm:pt modelId="{612D2647-8CB5-4804-96D9-2FDF1909C765}">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3844EB4B-FEF1-4DDF-8937-5C3C891B89F4}" type="parTrans" cxnId="{2327F45D-856A-4C01-AD26-31A1B27BC803}">
      <dgm:prSet/>
      <dgm:spPr/>
      <dgm:t>
        <a:bodyPr/>
        <a:lstStyle/>
        <a:p>
          <a:endParaRPr lang="en-US"/>
        </a:p>
      </dgm:t>
    </dgm:pt>
    <dgm:pt modelId="{579B5C49-0D65-4EDA-9FA1-A3C208D919D7}" type="sibTrans" cxnId="{2327F45D-856A-4C01-AD26-31A1B27BC803}">
      <dgm:prSet/>
      <dgm:spPr/>
      <dgm:t>
        <a:bodyPr/>
        <a:lstStyle/>
        <a:p>
          <a:endParaRPr lang="en-US"/>
        </a:p>
      </dgm:t>
    </dgm:pt>
    <dgm:pt modelId="{07EBD7C6-3333-42C7-9A5F-A2A1D76EABD5}">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3E17D59F-C0F5-44F6-8794-E188ADE01B75}" type="parTrans" cxnId="{CE360B21-DF2B-4301-BE2B-31A2BAB0DBED}">
      <dgm:prSet/>
      <dgm:spPr/>
      <dgm:t>
        <a:bodyPr/>
        <a:lstStyle/>
        <a:p>
          <a:endParaRPr lang="en-US"/>
        </a:p>
      </dgm:t>
    </dgm:pt>
    <dgm:pt modelId="{12660714-54CC-4659-ACA1-1A67DFE980DE}" type="sibTrans" cxnId="{CE360B21-DF2B-4301-BE2B-31A2BAB0DBED}">
      <dgm:prSet/>
      <dgm:spPr/>
      <dgm:t>
        <a:bodyPr/>
        <a:lstStyle/>
        <a:p>
          <a:endParaRPr lang="en-US"/>
        </a:p>
      </dgm:t>
    </dgm:pt>
    <dgm:pt modelId="{E050EBD7-2130-4112-9D56-2B34AB1D5176}">
      <dgm:prSet phldrT="[文本]" custT="1"/>
      <dgm:spPr>
        <a:solidFill>
          <a:srgbClr val="000000">
            <a:lumMod val="65000"/>
            <a:lumOff val="35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zh-CN" altLang="en-US" sz="1800" b="1" kern="120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gm:t>
    </dgm:pt>
    <dgm:pt modelId="{9A9F6AF0-6527-4274-A17A-C7D0E592A845}" type="parTrans" cxnId="{72AE4B4F-F247-4E3F-93AE-68BD2338DBC4}">
      <dgm:prSet/>
      <dgm:spPr/>
      <dgm:t>
        <a:bodyPr/>
        <a:lstStyle/>
        <a:p>
          <a:endParaRPr lang="en-US"/>
        </a:p>
      </dgm:t>
    </dgm:pt>
    <dgm:pt modelId="{A197E4C0-AA46-46AD-BF91-37635812552B}" type="sibTrans" cxnId="{72AE4B4F-F247-4E3F-93AE-68BD2338DBC4}">
      <dgm:prSet/>
      <dgm:spPr/>
      <dgm:t>
        <a:bodyPr/>
        <a:lstStyle/>
        <a:p>
          <a:endParaRPr lang="en-US"/>
        </a:p>
      </dgm:t>
    </dgm:pt>
    <dgm:pt modelId="{4019F9F0-967F-4C7A-9800-C0D78D51A085}">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9B4983E7-FE32-44A7-8C70-7E5FD92F45CC}" type="parTrans" cxnId="{BD15A15D-63D5-49FE-A345-FE4E33035025}">
      <dgm:prSet/>
      <dgm:spPr/>
      <dgm:t>
        <a:bodyPr/>
        <a:lstStyle/>
        <a:p>
          <a:endParaRPr lang="en-US"/>
        </a:p>
      </dgm:t>
    </dgm:pt>
    <dgm:pt modelId="{80FF216C-F7B6-49BB-836C-E5D945C4FFE0}" type="sibTrans" cxnId="{BD15A15D-63D5-49FE-A345-FE4E33035025}">
      <dgm:prSet/>
      <dgm:spPr/>
      <dgm:t>
        <a:bodyPr/>
        <a:lstStyle/>
        <a:p>
          <a:endParaRPr lang="en-US"/>
        </a:p>
      </dgm:t>
    </dgm:pt>
    <dgm:pt modelId="{0B156372-7B0E-499E-B4F3-1EE6A6760C1B}">
      <dgm:prSet phldrT="[文本]" custT="1"/>
      <dgm:spPr>
        <a:solidFill>
          <a:srgbClr val="000000">
            <a:lumMod val="65000"/>
            <a:lumOff val="35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zh-CN" altLang="en-US" sz="1800" b="1" kern="1200" dirty="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gm:t>
    </dgm:pt>
    <dgm:pt modelId="{FE54C6DE-4471-45A9-928E-E3C8A24E9FE8}" type="parTrans" cxnId="{BDE27444-47B0-45D9-A6AB-33063DCC8E5D}">
      <dgm:prSet/>
      <dgm:spPr/>
      <dgm:t>
        <a:bodyPr/>
        <a:lstStyle/>
        <a:p>
          <a:endParaRPr lang="en-US"/>
        </a:p>
      </dgm:t>
    </dgm:pt>
    <dgm:pt modelId="{838E6768-0F16-4C68-BB43-5F4E892F521D}" type="sibTrans" cxnId="{BDE27444-47B0-45D9-A6AB-33063DCC8E5D}">
      <dgm:prSet/>
      <dgm:spPr/>
      <dgm:t>
        <a:bodyPr/>
        <a:lstStyle/>
        <a:p>
          <a:endParaRPr lang="en-US"/>
        </a:p>
      </dgm:t>
    </dgm:pt>
    <dgm:pt modelId="{868290E1-FBE6-46B6-98DA-21464D817CF9}">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1916B360-7001-4FBB-A7E3-484CC6291202}" type="parTrans" cxnId="{3BA01AC5-8E40-4236-9302-BF7B61C08EB4}">
      <dgm:prSet/>
      <dgm:spPr/>
      <dgm:t>
        <a:bodyPr/>
        <a:lstStyle/>
        <a:p>
          <a:endParaRPr lang="en-US"/>
        </a:p>
      </dgm:t>
    </dgm:pt>
    <dgm:pt modelId="{DBD1981F-FEDE-4492-B6C6-17CAF8C3E52A}" type="sibTrans" cxnId="{3BA01AC5-8E40-4236-9302-BF7B61C08EB4}">
      <dgm:prSet/>
      <dgm:spPr/>
      <dgm:t>
        <a:bodyPr/>
        <a:lstStyle/>
        <a:p>
          <a:endParaRPr lang="en-US"/>
        </a:p>
      </dgm:t>
    </dgm:pt>
    <dgm:pt modelId="{E61FC7FE-8A92-49FB-8502-23FFB9E58E7D}">
      <dgm:prSet phldrT="[文本]" custT="1"/>
      <dgm:spPr>
        <a:solidFill>
          <a:srgbClr val="000000">
            <a:lumMod val="65000"/>
            <a:lumOff val="35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zh-CN" altLang="en-US" sz="1800" b="1" kern="1200" dirty="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gm:t>
    </dgm:pt>
    <dgm:pt modelId="{F5BA331F-51F7-4D1E-9661-74E5041DE6FC}" type="parTrans" cxnId="{4F30C7D4-BFC4-433A-B6C3-F1B885C6911C}">
      <dgm:prSet/>
      <dgm:spPr/>
      <dgm:t>
        <a:bodyPr/>
        <a:lstStyle/>
        <a:p>
          <a:endParaRPr lang="en-US"/>
        </a:p>
      </dgm:t>
    </dgm:pt>
    <dgm:pt modelId="{3BA67C63-9858-4AD7-BEDC-54CE61C2D48F}" type="sibTrans" cxnId="{4F30C7D4-BFC4-433A-B6C3-F1B885C6911C}">
      <dgm:prSet/>
      <dgm:spPr/>
      <dgm:t>
        <a:bodyPr/>
        <a:lstStyle/>
        <a:p>
          <a:endParaRPr lang="en-US"/>
        </a:p>
      </dgm:t>
    </dgm:pt>
    <dgm:pt modelId="{A2044A6B-40E4-45D8-8C1F-D0A717CA1D1D}">
      <dgm:prSet phldrT="[文本]" custT="1"/>
      <dgm:spPr>
        <a:solidFill>
          <a:srgbClr val="FFFFFF">
            <a:lumMod val="85000"/>
          </a:srgbClr>
        </a:solidFill>
        <a:ln w="12700" cap="flat" cmpd="sng" algn="ctr">
          <a:solidFill>
            <a:srgbClr val="000000">
              <a:lumMod val="65000"/>
              <a:lumOff val="35000"/>
            </a:srgbClr>
          </a:solidFill>
          <a:prstDash val="solid"/>
          <a:miter lim="800000"/>
        </a:ln>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gm:t>
    </dgm:pt>
    <dgm:pt modelId="{56226831-CDE0-4C8A-97B4-1B4EB43F8E86}" type="parTrans" cxnId="{FD8F6277-1971-4BCC-8EEE-4B771E17EEC8}">
      <dgm:prSet/>
      <dgm:spPr/>
      <dgm:t>
        <a:bodyPr/>
        <a:lstStyle/>
        <a:p>
          <a:endParaRPr lang="en-US"/>
        </a:p>
      </dgm:t>
    </dgm:pt>
    <dgm:pt modelId="{7FF8D075-6A7F-445B-9C6E-18CDD5C0E8B3}" type="sibTrans" cxnId="{FD8F6277-1971-4BCC-8EEE-4B771E17EEC8}">
      <dgm:prSet/>
      <dgm:spPr/>
      <dgm:t>
        <a:bodyPr/>
        <a:lstStyle/>
        <a:p>
          <a:endParaRPr lang="en-US"/>
        </a:p>
      </dgm:t>
    </dgm:pt>
    <dgm:pt modelId="{15CC75E6-5177-4CEA-AA21-90710471C205}" type="pres">
      <dgm:prSet presAssocID="{BFEAB017-9B3C-4367-9270-3933399315AD}" presName="hierChild1" presStyleCnt="0">
        <dgm:presLayoutVars>
          <dgm:orgChart val="1"/>
          <dgm:chPref val="1"/>
          <dgm:dir/>
          <dgm:animOne val="branch"/>
          <dgm:animLvl val="lvl"/>
          <dgm:resizeHandles/>
        </dgm:presLayoutVars>
      </dgm:prSet>
      <dgm:spPr/>
    </dgm:pt>
    <dgm:pt modelId="{A89FE0C4-30F0-43BA-8B53-2C6D99BAA141}" type="pres">
      <dgm:prSet presAssocID="{FB822B86-9E68-43E4-947A-1880980E6B98}" presName="hierRoot1" presStyleCnt="0">
        <dgm:presLayoutVars>
          <dgm:hierBranch val="init"/>
        </dgm:presLayoutVars>
      </dgm:prSet>
      <dgm:spPr/>
    </dgm:pt>
    <dgm:pt modelId="{C44AC1AE-C6C9-4CA1-A5FC-08BD20A2E4B0}" type="pres">
      <dgm:prSet presAssocID="{FB822B86-9E68-43E4-947A-1880980E6B98}" presName="rootComposite1" presStyleCnt="0"/>
      <dgm:spPr/>
    </dgm:pt>
    <dgm:pt modelId="{1572188E-1214-4D3F-A6CF-BBE5AF822E72}" type="pres">
      <dgm:prSet presAssocID="{FB822B86-9E68-43E4-947A-1880980E6B98}" presName="rootText1" presStyleLbl="node0" presStyleIdx="0" presStyleCnt="1" custScaleX="134710" custScaleY="85265" custLinFactNeighborY="-35251">
        <dgm:presLayoutVars>
          <dgm:chPref val="3"/>
        </dgm:presLayoutVars>
      </dgm:prSet>
      <dgm:spPr>
        <a:xfrm>
          <a:off x="4681082" y="1835"/>
          <a:ext cx="1467576" cy="733788"/>
        </a:xfrm>
        <a:prstGeom prst="roundRect">
          <a:avLst/>
        </a:prstGeom>
      </dgm:spPr>
    </dgm:pt>
    <dgm:pt modelId="{9E22AB4E-8768-4D66-9110-273341AB7E9D}" type="pres">
      <dgm:prSet presAssocID="{FB822B86-9E68-43E4-947A-1880980E6B98}" presName="rootConnector1" presStyleLbl="node1" presStyleIdx="0" presStyleCnt="0"/>
      <dgm:spPr/>
    </dgm:pt>
    <dgm:pt modelId="{AA10D8C0-C99D-4664-A692-3054BAA08BFA}" type="pres">
      <dgm:prSet presAssocID="{FB822B86-9E68-43E4-947A-1880980E6B98}" presName="hierChild2" presStyleCnt="0"/>
      <dgm:spPr/>
    </dgm:pt>
    <dgm:pt modelId="{E1331972-AB5B-4BFA-BBAF-B43FA0FFF18A}" type="pres">
      <dgm:prSet presAssocID="{7FF9ABDB-AA2F-4D71-B7FE-D89760744AAB}" presName="Name37" presStyleLbl="parChTrans1D2" presStyleIdx="0" presStyleCnt="5"/>
      <dgm:spPr/>
    </dgm:pt>
    <dgm:pt modelId="{9FA8F224-6E18-4E7F-99A6-FE548722D991}" type="pres">
      <dgm:prSet presAssocID="{A41A3C63-916D-42CD-8FB4-1F42E0F72162}" presName="hierRoot2" presStyleCnt="0">
        <dgm:presLayoutVars>
          <dgm:hierBranch val="init"/>
        </dgm:presLayoutVars>
      </dgm:prSet>
      <dgm:spPr/>
    </dgm:pt>
    <dgm:pt modelId="{ECFB4EBC-04AA-4D3C-BE2B-02370F1F1F99}" type="pres">
      <dgm:prSet presAssocID="{A41A3C63-916D-42CD-8FB4-1F42E0F72162}" presName="rootComposite" presStyleCnt="0"/>
      <dgm:spPr/>
    </dgm:pt>
    <dgm:pt modelId="{FE4ECB99-FF1A-4645-B1FD-8B4E8E6C1C2A}" type="pres">
      <dgm:prSet presAssocID="{A41A3C63-916D-42CD-8FB4-1F42E0F72162}" presName="rootText" presStyleLbl="node2" presStyleIdx="0" presStyleCnt="5" custScaleX="136660">
        <dgm:presLayoutVars>
          <dgm:chPref val="3"/>
        </dgm:presLayoutVars>
      </dgm:prSet>
      <dgm:spPr>
        <a:xfrm>
          <a:off x="1129547" y="1043815"/>
          <a:ext cx="1467576" cy="733788"/>
        </a:xfrm>
        <a:prstGeom prst="roundRect">
          <a:avLst/>
        </a:prstGeom>
      </dgm:spPr>
    </dgm:pt>
    <dgm:pt modelId="{E64B431F-9F6A-4D5B-8616-9F87D9C5ED6A}" type="pres">
      <dgm:prSet presAssocID="{A41A3C63-916D-42CD-8FB4-1F42E0F72162}" presName="rootConnector" presStyleLbl="node2" presStyleIdx="0" presStyleCnt="5"/>
      <dgm:spPr/>
    </dgm:pt>
    <dgm:pt modelId="{E8CD1D9E-CA0B-4851-A422-303A68671FEE}" type="pres">
      <dgm:prSet presAssocID="{A41A3C63-916D-42CD-8FB4-1F42E0F72162}" presName="hierChild4" presStyleCnt="0"/>
      <dgm:spPr/>
    </dgm:pt>
    <dgm:pt modelId="{F5085920-D68B-49C8-AFC9-484363E7B030}" type="pres">
      <dgm:prSet presAssocID="{DEDE36B4-F1C7-4A8E-A459-2992FDEDAE8E}" presName="Name37" presStyleLbl="parChTrans1D3" presStyleIdx="0" presStyleCnt="10"/>
      <dgm:spPr/>
    </dgm:pt>
    <dgm:pt modelId="{FE836BF9-CCC1-443C-A614-A566CEB28FB5}" type="pres">
      <dgm:prSet presAssocID="{AFFCFC63-F6ED-4995-98D9-B84A90758399}" presName="hierRoot2" presStyleCnt="0">
        <dgm:presLayoutVars>
          <dgm:hierBranch val="init"/>
        </dgm:presLayoutVars>
      </dgm:prSet>
      <dgm:spPr/>
    </dgm:pt>
    <dgm:pt modelId="{E1CBB932-4069-4184-8443-B6B3C7DA9160}" type="pres">
      <dgm:prSet presAssocID="{AFFCFC63-F6ED-4995-98D9-B84A90758399}" presName="rootComposite" presStyleCnt="0"/>
      <dgm:spPr/>
    </dgm:pt>
    <dgm:pt modelId="{A16D05D1-DA71-43F6-A23C-14848A8FED28}" type="pres">
      <dgm:prSet presAssocID="{AFFCFC63-F6ED-4995-98D9-B84A90758399}" presName="rootText" presStyleLbl="node3" presStyleIdx="0" presStyleCnt="10" custScaleY="96916" custLinFactNeighborY="-11395">
        <dgm:presLayoutVars>
          <dgm:chPref val="3"/>
        </dgm:presLayoutVars>
      </dgm:prSet>
      <dgm:spPr>
        <a:xfrm>
          <a:off x="1496441" y="2085794"/>
          <a:ext cx="1467576" cy="733788"/>
        </a:xfrm>
        <a:prstGeom prst="rect">
          <a:avLst/>
        </a:prstGeom>
      </dgm:spPr>
    </dgm:pt>
    <dgm:pt modelId="{4AF0CB76-DF7F-45B4-9ECF-AB7F8F3B1083}" type="pres">
      <dgm:prSet presAssocID="{AFFCFC63-F6ED-4995-98D9-B84A90758399}" presName="rootConnector" presStyleLbl="node3" presStyleIdx="0" presStyleCnt="10"/>
      <dgm:spPr/>
    </dgm:pt>
    <dgm:pt modelId="{A4BBE317-383A-450C-9476-84332F4B7A69}" type="pres">
      <dgm:prSet presAssocID="{AFFCFC63-F6ED-4995-98D9-B84A90758399}" presName="hierChild4" presStyleCnt="0"/>
      <dgm:spPr/>
    </dgm:pt>
    <dgm:pt modelId="{83F40392-6485-4E0E-A72D-9ADAB32334BE}" type="pres">
      <dgm:prSet presAssocID="{AFFCFC63-F6ED-4995-98D9-B84A90758399}" presName="hierChild5" presStyleCnt="0"/>
      <dgm:spPr/>
    </dgm:pt>
    <dgm:pt modelId="{04056457-6849-411D-9338-DDE1DB5468CB}" type="pres">
      <dgm:prSet presAssocID="{ABBA3D03-71CD-4F16-A4A0-8D9F64700B03}" presName="Name37" presStyleLbl="parChTrans1D3" presStyleIdx="1" presStyleCnt="10"/>
      <dgm:spPr/>
    </dgm:pt>
    <dgm:pt modelId="{C3A017F8-BAC8-41C7-918F-3B03757A7389}" type="pres">
      <dgm:prSet presAssocID="{AC439372-E74A-4D06-9BE1-E6109365D87B}" presName="hierRoot2" presStyleCnt="0">
        <dgm:presLayoutVars>
          <dgm:hierBranch val="init"/>
        </dgm:presLayoutVars>
      </dgm:prSet>
      <dgm:spPr/>
    </dgm:pt>
    <dgm:pt modelId="{25BC00EB-9907-451A-ACC0-7835B9A3F702}" type="pres">
      <dgm:prSet presAssocID="{AC439372-E74A-4D06-9BE1-E6109365D87B}" presName="rootComposite" presStyleCnt="0"/>
      <dgm:spPr/>
    </dgm:pt>
    <dgm:pt modelId="{4D7BE04C-8181-40D6-84D4-E8A3F1EEAC9B}" type="pres">
      <dgm:prSet presAssocID="{AC439372-E74A-4D06-9BE1-E6109365D87B}" presName="rootText" presStyleLbl="node3" presStyleIdx="1" presStyleCnt="10" custScaleY="96916" custLinFactNeighborY="-11395">
        <dgm:presLayoutVars>
          <dgm:chPref val="3"/>
        </dgm:presLayoutVars>
      </dgm:prSet>
      <dgm:spPr>
        <a:xfrm>
          <a:off x="1496441" y="3127773"/>
          <a:ext cx="1467576" cy="733788"/>
        </a:xfrm>
        <a:prstGeom prst="rect">
          <a:avLst/>
        </a:prstGeom>
      </dgm:spPr>
    </dgm:pt>
    <dgm:pt modelId="{945C8DE1-12FF-409B-B82E-8D5F5305BC1D}" type="pres">
      <dgm:prSet presAssocID="{AC439372-E74A-4D06-9BE1-E6109365D87B}" presName="rootConnector" presStyleLbl="node3" presStyleIdx="1" presStyleCnt="10"/>
      <dgm:spPr/>
    </dgm:pt>
    <dgm:pt modelId="{1E0C27FF-B737-436C-B606-E468039D484B}" type="pres">
      <dgm:prSet presAssocID="{AC439372-E74A-4D06-9BE1-E6109365D87B}" presName="hierChild4" presStyleCnt="0"/>
      <dgm:spPr/>
    </dgm:pt>
    <dgm:pt modelId="{CEC08C0D-C27C-48E3-B1ED-BAEA60571411}" type="pres">
      <dgm:prSet presAssocID="{AC439372-E74A-4D06-9BE1-E6109365D87B}" presName="hierChild5" presStyleCnt="0"/>
      <dgm:spPr/>
    </dgm:pt>
    <dgm:pt modelId="{3A00A5B4-F0B7-4237-8E4C-414177EFCC50}" type="pres">
      <dgm:prSet presAssocID="{A41A3C63-916D-42CD-8FB4-1F42E0F72162}" presName="hierChild5" presStyleCnt="0"/>
      <dgm:spPr/>
    </dgm:pt>
    <dgm:pt modelId="{852CA155-C73D-43ED-9CC6-BD1EB05753B0}" type="pres">
      <dgm:prSet presAssocID="{A413A518-D875-4DEA-9C1E-250AAB2D6A1D}" presName="Name37" presStyleLbl="parChTrans1D2" presStyleIdx="1" presStyleCnt="5"/>
      <dgm:spPr/>
    </dgm:pt>
    <dgm:pt modelId="{7F67498B-F780-4685-BD44-F1223F5A2A7F}" type="pres">
      <dgm:prSet presAssocID="{48A14184-ED2E-472E-86A8-4160E9BB2D67}" presName="hierRoot2" presStyleCnt="0">
        <dgm:presLayoutVars>
          <dgm:hierBranch val="init"/>
        </dgm:presLayoutVars>
      </dgm:prSet>
      <dgm:spPr/>
    </dgm:pt>
    <dgm:pt modelId="{D60A9985-6908-48A7-92A5-63F49944B564}" type="pres">
      <dgm:prSet presAssocID="{48A14184-ED2E-472E-86A8-4160E9BB2D67}" presName="rootComposite" presStyleCnt="0"/>
      <dgm:spPr/>
    </dgm:pt>
    <dgm:pt modelId="{1793E7E1-3289-4668-B8E8-B688F0D5300F}" type="pres">
      <dgm:prSet presAssocID="{48A14184-ED2E-472E-86A8-4160E9BB2D67}" presName="rootText" presStyleLbl="node2" presStyleIdx="1" presStyleCnt="5" custScaleX="136660">
        <dgm:presLayoutVars>
          <dgm:chPref val="3"/>
        </dgm:presLayoutVars>
      </dgm:prSet>
      <dgm:spPr>
        <a:xfrm>
          <a:off x="2905314" y="1043815"/>
          <a:ext cx="1467576" cy="733788"/>
        </a:xfrm>
        <a:prstGeom prst="roundRect">
          <a:avLst/>
        </a:prstGeom>
      </dgm:spPr>
    </dgm:pt>
    <dgm:pt modelId="{F841795A-2C00-4BE4-B68E-8BD1945EBDDD}" type="pres">
      <dgm:prSet presAssocID="{48A14184-ED2E-472E-86A8-4160E9BB2D67}" presName="rootConnector" presStyleLbl="node2" presStyleIdx="1" presStyleCnt="5"/>
      <dgm:spPr/>
    </dgm:pt>
    <dgm:pt modelId="{D241ED9B-173F-4EB1-B79E-3D6B084B58F7}" type="pres">
      <dgm:prSet presAssocID="{48A14184-ED2E-472E-86A8-4160E9BB2D67}" presName="hierChild4" presStyleCnt="0"/>
      <dgm:spPr/>
    </dgm:pt>
    <dgm:pt modelId="{A0C79DD4-7E6D-42B1-8909-AE7A3EFE20EF}" type="pres">
      <dgm:prSet presAssocID="{3E17D59F-C0F5-44F6-8794-E188ADE01B75}" presName="Name37" presStyleLbl="parChTrans1D3" presStyleIdx="2" presStyleCnt="10"/>
      <dgm:spPr/>
    </dgm:pt>
    <dgm:pt modelId="{6384315F-79E2-4056-A0DD-C32403F1C02C}" type="pres">
      <dgm:prSet presAssocID="{07EBD7C6-3333-42C7-9A5F-A2A1D76EABD5}" presName="hierRoot2" presStyleCnt="0">
        <dgm:presLayoutVars>
          <dgm:hierBranch val="init"/>
        </dgm:presLayoutVars>
      </dgm:prSet>
      <dgm:spPr/>
    </dgm:pt>
    <dgm:pt modelId="{E0BC79C3-AA93-4490-B7F2-8FA41F1ABFFE}" type="pres">
      <dgm:prSet presAssocID="{07EBD7C6-3333-42C7-9A5F-A2A1D76EABD5}" presName="rootComposite" presStyleCnt="0"/>
      <dgm:spPr/>
    </dgm:pt>
    <dgm:pt modelId="{166A73DC-A977-4B76-AECA-EA2A99ADB1A0}" type="pres">
      <dgm:prSet presAssocID="{07EBD7C6-3333-42C7-9A5F-A2A1D76EABD5}" presName="rootText" presStyleLbl="node3" presStyleIdx="2" presStyleCnt="10" custScaleY="96916" custLinFactNeighborY="-11395">
        <dgm:presLayoutVars>
          <dgm:chPref val="3"/>
        </dgm:presLayoutVars>
      </dgm:prSet>
      <dgm:spPr>
        <a:xfrm>
          <a:off x="3272209" y="2085794"/>
          <a:ext cx="1467576" cy="733788"/>
        </a:xfrm>
        <a:prstGeom prst="rect">
          <a:avLst/>
        </a:prstGeom>
      </dgm:spPr>
    </dgm:pt>
    <dgm:pt modelId="{76EDAC7B-7CD7-49AE-BE9A-92868967BB86}" type="pres">
      <dgm:prSet presAssocID="{07EBD7C6-3333-42C7-9A5F-A2A1D76EABD5}" presName="rootConnector" presStyleLbl="node3" presStyleIdx="2" presStyleCnt="10"/>
      <dgm:spPr/>
    </dgm:pt>
    <dgm:pt modelId="{55E61219-D1A8-443A-B1D5-286469BB81A6}" type="pres">
      <dgm:prSet presAssocID="{07EBD7C6-3333-42C7-9A5F-A2A1D76EABD5}" presName="hierChild4" presStyleCnt="0"/>
      <dgm:spPr/>
    </dgm:pt>
    <dgm:pt modelId="{F5CD6178-9B06-4AA7-9B1A-C12B75B0E774}" type="pres">
      <dgm:prSet presAssocID="{07EBD7C6-3333-42C7-9A5F-A2A1D76EABD5}" presName="hierChild5" presStyleCnt="0"/>
      <dgm:spPr/>
    </dgm:pt>
    <dgm:pt modelId="{F1F2B89E-BFFB-40B2-B7FF-BCDB27B5503E}" type="pres">
      <dgm:prSet presAssocID="{3844EB4B-FEF1-4DDF-8937-5C3C891B89F4}" presName="Name37" presStyleLbl="parChTrans1D3" presStyleIdx="3" presStyleCnt="10"/>
      <dgm:spPr/>
    </dgm:pt>
    <dgm:pt modelId="{CBEEEBD3-9AF2-43E2-95AD-72FB88768875}" type="pres">
      <dgm:prSet presAssocID="{612D2647-8CB5-4804-96D9-2FDF1909C765}" presName="hierRoot2" presStyleCnt="0">
        <dgm:presLayoutVars>
          <dgm:hierBranch val="init"/>
        </dgm:presLayoutVars>
      </dgm:prSet>
      <dgm:spPr/>
    </dgm:pt>
    <dgm:pt modelId="{15519FB4-5678-454B-B6C4-97D267278B24}" type="pres">
      <dgm:prSet presAssocID="{612D2647-8CB5-4804-96D9-2FDF1909C765}" presName="rootComposite" presStyleCnt="0"/>
      <dgm:spPr/>
    </dgm:pt>
    <dgm:pt modelId="{7F5E82F5-1733-4962-BB4D-C0D5AE8652D0}" type="pres">
      <dgm:prSet presAssocID="{612D2647-8CB5-4804-96D9-2FDF1909C765}" presName="rootText" presStyleLbl="node3" presStyleIdx="3" presStyleCnt="10" custScaleY="96916" custLinFactNeighborY="-11395">
        <dgm:presLayoutVars>
          <dgm:chPref val="3"/>
        </dgm:presLayoutVars>
      </dgm:prSet>
      <dgm:spPr>
        <a:xfrm>
          <a:off x="3272209" y="3127773"/>
          <a:ext cx="1467576" cy="733788"/>
        </a:xfrm>
        <a:prstGeom prst="rect">
          <a:avLst/>
        </a:prstGeom>
      </dgm:spPr>
    </dgm:pt>
    <dgm:pt modelId="{DDDB56E2-5DDB-4190-9015-1B42DABB4307}" type="pres">
      <dgm:prSet presAssocID="{612D2647-8CB5-4804-96D9-2FDF1909C765}" presName="rootConnector" presStyleLbl="node3" presStyleIdx="3" presStyleCnt="10"/>
      <dgm:spPr/>
    </dgm:pt>
    <dgm:pt modelId="{5442CA56-D111-4F91-AFEA-96B6A3C9B810}" type="pres">
      <dgm:prSet presAssocID="{612D2647-8CB5-4804-96D9-2FDF1909C765}" presName="hierChild4" presStyleCnt="0"/>
      <dgm:spPr/>
    </dgm:pt>
    <dgm:pt modelId="{CDA18182-906F-48E5-9366-D8A93C6A2590}" type="pres">
      <dgm:prSet presAssocID="{612D2647-8CB5-4804-96D9-2FDF1909C765}" presName="hierChild5" presStyleCnt="0"/>
      <dgm:spPr/>
    </dgm:pt>
    <dgm:pt modelId="{86D3F7B7-198E-4375-A5AD-27945D4DD483}" type="pres">
      <dgm:prSet presAssocID="{48A14184-ED2E-472E-86A8-4160E9BB2D67}" presName="hierChild5" presStyleCnt="0"/>
      <dgm:spPr/>
    </dgm:pt>
    <dgm:pt modelId="{B9A67DDB-DE0F-4C2C-84D8-B8680A191C73}" type="pres">
      <dgm:prSet presAssocID="{9A9F6AF0-6527-4274-A17A-C7D0E592A845}" presName="Name37" presStyleLbl="parChTrans1D2" presStyleIdx="2" presStyleCnt="5"/>
      <dgm:spPr/>
    </dgm:pt>
    <dgm:pt modelId="{5802980B-185D-4C23-A935-B012D18E0502}" type="pres">
      <dgm:prSet presAssocID="{E050EBD7-2130-4112-9D56-2B34AB1D5176}" presName="hierRoot2" presStyleCnt="0">
        <dgm:presLayoutVars>
          <dgm:hierBranch val="init"/>
        </dgm:presLayoutVars>
      </dgm:prSet>
      <dgm:spPr/>
    </dgm:pt>
    <dgm:pt modelId="{5BD2397C-F97E-47DE-B84A-2A12A025887C}" type="pres">
      <dgm:prSet presAssocID="{E050EBD7-2130-4112-9D56-2B34AB1D5176}" presName="rootComposite" presStyleCnt="0"/>
      <dgm:spPr/>
    </dgm:pt>
    <dgm:pt modelId="{BE5B5CAA-8120-4134-9700-6C4EE1F54D21}" type="pres">
      <dgm:prSet presAssocID="{E050EBD7-2130-4112-9D56-2B34AB1D5176}" presName="rootText" presStyleLbl="node2" presStyleIdx="2" presStyleCnt="5" custScaleX="136660">
        <dgm:presLayoutVars>
          <dgm:chPref val="3"/>
        </dgm:presLayoutVars>
      </dgm:prSet>
      <dgm:spPr>
        <a:xfrm>
          <a:off x="4681082" y="1043815"/>
          <a:ext cx="1467576" cy="733788"/>
        </a:xfrm>
        <a:prstGeom prst="roundRect">
          <a:avLst/>
        </a:prstGeom>
      </dgm:spPr>
    </dgm:pt>
    <dgm:pt modelId="{9E9F214C-5FEE-4017-AF56-0E9F10652B75}" type="pres">
      <dgm:prSet presAssocID="{E050EBD7-2130-4112-9D56-2B34AB1D5176}" presName="rootConnector" presStyleLbl="node2" presStyleIdx="2" presStyleCnt="5"/>
      <dgm:spPr/>
    </dgm:pt>
    <dgm:pt modelId="{0CDB3EED-B300-4352-9E02-0475CF080212}" type="pres">
      <dgm:prSet presAssocID="{E050EBD7-2130-4112-9D56-2B34AB1D5176}" presName="hierChild4" presStyleCnt="0"/>
      <dgm:spPr/>
    </dgm:pt>
    <dgm:pt modelId="{6C0ACA97-3B04-444E-95BA-9229F4A2277F}" type="pres">
      <dgm:prSet presAssocID="{9B4983E7-FE32-44A7-8C70-7E5FD92F45CC}" presName="Name37" presStyleLbl="parChTrans1D3" presStyleIdx="4" presStyleCnt="10"/>
      <dgm:spPr/>
    </dgm:pt>
    <dgm:pt modelId="{4EAAA6BB-DF70-4061-85B5-D9F7271DC810}" type="pres">
      <dgm:prSet presAssocID="{4019F9F0-967F-4C7A-9800-C0D78D51A085}" presName="hierRoot2" presStyleCnt="0">
        <dgm:presLayoutVars>
          <dgm:hierBranch val="init"/>
        </dgm:presLayoutVars>
      </dgm:prSet>
      <dgm:spPr/>
    </dgm:pt>
    <dgm:pt modelId="{4DC5FD05-AB11-4D77-8123-A367D766A66F}" type="pres">
      <dgm:prSet presAssocID="{4019F9F0-967F-4C7A-9800-C0D78D51A085}" presName="rootComposite" presStyleCnt="0"/>
      <dgm:spPr/>
    </dgm:pt>
    <dgm:pt modelId="{42CD4AB0-55D6-4B98-BB31-AB26A026D22F}" type="pres">
      <dgm:prSet presAssocID="{4019F9F0-967F-4C7A-9800-C0D78D51A085}" presName="rootText" presStyleLbl="node3" presStyleIdx="4" presStyleCnt="10" custScaleY="96916" custLinFactNeighborY="-11395">
        <dgm:presLayoutVars>
          <dgm:chPref val="3"/>
        </dgm:presLayoutVars>
      </dgm:prSet>
      <dgm:spPr>
        <a:xfrm>
          <a:off x="5047976" y="2085794"/>
          <a:ext cx="1467576" cy="733788"/>
        </a:xfrm>
        <a:prstGeom prst="rect">
          <a:avLst/>
        </a:prstGeom>
      </dgm:spPr>
    </dgm:pt>
    <dgm:pt modelId="{56FC8695-66A9-413D-837A-483220B85D53}" type="pres">
      <dgm:prSet presAssocID="{4019F9F0-967F-4C7A-9800-C0D78D51A085}" presName="rootConnector" presStyleLbl="node3" presStyleIdx="4" presStyleCnt="10"/>
      <dgm:spPr/>
    </dgm:pt>
    <dgm:pt modelId="{FFAC531D-A44A-4458-BCC9-1F5423262F95}" type="pres">
      <dgm:prSet presAssocID="{4019F9F0-967F-4C7A-9800-C0D78D51A085}" presName="hierChild4" presStyleCnt="0"/>
      <dgm:spPr/>
    </dgm:pt>
    <dgm:pt modelId="{DE73F394-3AC0-4BB1-BE6C-96A09684B2E5}" type="pres">
      <dgm:prSet presAssocID="{4019F9F0-967F-4C7A-9800-C0D78D51A085}" presName="hierChild5" presStyleCnt="0"/>
      <dgm:spPr/>
    </dgm:pt>
    <dgm:pt modelId="{80BF546C-57C0-4B5A-BA8B-C644170D2527}" type="pres">
      <dgm:prSet presAssocID="{70AFC458-3FA4-41F0-BFA1-DD186E47B356}" presName="Name37" presStyleLbl="parChTrans1D3" presStyleIdx="5" presStyleCnt="10"/>
      <dgm:spPr/>
    </dgm:pt>
    <dgm:pt modelId="{3ADDCF8B-BFCD-4415-B211-4C203404997B}" type="pres">
      <dgm:prSet presAssocID="{C31D214F-0890-44EF-8048-2CE9A5A9BDA6}" presName="hierRoot2" presStyleCnt="0">
        <dgm:presLayoutVars>
          <dgm:hierBranch val="init"/>
        </dgm:presLayoutVars>
      </dgm:prSet>
      <dgm:spPr/>
    </dgm:pt>
    <dgm:pt modelId="{B0BC35EE-5401-4E72-AAAB-617085E063CD}" type="pres">
      <dgm:prSet presAssocID="{C31D214F-0890-44EF-8048-2CE9A5A9BDA6}" presName="rootComposite" presStyleCnt="0"/>
      <dgm:spPr/>
    </dgm:pt>
    <dgm:pt modelId="{B0E9FE80-96BF-4104-886A-E0AAB7ECF742}" type="pres">
      <dgm:prSet presAssocID="{C31D214F-0890-44EF-8048-2CE9A5A9BDA6}" presName="rootText" presStyleLbl="node3" presStyleIdx="5" presStyleCnt="10" custScaleY="96916" custLinFactNeighborY="-11395">
        <dgm:presLayoutVars>
          <dgm:chPref val="3"/>
        </dgm:presLayoutVars>
      </dgm:prSet>
      <dgm:spPr>
        <a:xfrm>
          <a:off x="5047976" y="3127773"/>
          <a:ext cx="1467576" cy="733788"/>
        </a:xfrm>
        <a:prstGeom prst="rect">
          <a:avLst/>
        </a:prstGeom>
      </dgm:spPr>
    </dgm:pt>
    <dgm:pt modelId="{DCE341F8-1777-4CF0-97B9-0E39B3941DD0}" type="pres">
      <dgm:prSet presAssocID="{C31D214F-0890-44EF-8048-2CE9A5A9BDA6}" presName="rootConnector" presStyleLbl="node3" presStyleIdx="5" presStyleCnt="10"/>
      <dgm:spPr/>
    </dgm:pt>
    <dgm:pt modelId="{076259DE-98DD-440E-BE4E-88374C997238}" type="pres">
      <dgm:prSet presAssocID="{C31D214F-0890-44EF-8048-2CE9A5A9BDA6}" presName="hierChild4" presStyleCnt="0"/>
      <dgm:spPr/>
    </dgm:pt>
    <dgm:pt modelId="{1D52387D-EA47-47BB-90CC-1266B0FA70EC}" type="pres">
      <dgm:prSet presAssocID="{C31D214F-0890-44EF-8048-2CE9A5A9BDA6}" presName="hierChild5" presStyleCnt="0"/>
      <dgm:spPr/>
    </dgm:pt>
    <dgm:pt modelId="{A90729AB-EDD0-406F-BB37-EB6B6C7DC76B}" type="pres">
      <dgm:prSet presAssocID="{E050EBD7-2130-4112-9D56-2B34AB1D5176}" presName="hierChild5" presStyleCnt="0"/>
      <dgm:spPr/>
    </dgm:pt>
    <dgm:pt modelId="{A00CB14D-6EA0-463E-9E4C-878FE0DE6C0B}" type="pres">
      <dgm:prSet presAssocID="{FE54C6DE-4471-45A9-928E-E3C8A24E9FE8}" presName="Name37" presStyleLbl="parChTrans1D2" presStyleIdx="3" presStyleCnt="5"/>
      <dgm:spPr/>
    </dgm:pt>
    <dgm:pt modelId="{289BB0D8-DC22-478C-A27E-25365AA3D746}" type="pres">
      <dgm:prSet presAssocID="{0B156372-7B0E-499E-B4F3-1EE6A6760C1B}" presName="hierRoot2" presStyleCnt="0">
        <dgm:presLayoutVars>
          <dgm:hierBranch val="init"/>
        </dgm:presLayoutVars>
      </dgm:prSet>
      <dgm:spPr/>
    </dgm:pt>
    <dgm:pt modelId="{721A0E8A-D6A3-400B-8189-0F8A1661268D}" type="pres">
      <dgm:prSet presAssocID="{0B156372-7B0E-499E-B4F3-1EE6A6760C1B}" presName="rootComposite" presStyleCnt="0"/>
      <dgm:spPr/>
    </dgm:pt>
    <dgm:pt modelId="{F6594D46-C731-4FA4-98DD-8B1F34BDBEA6}" type="pres">
      <dgm:prSet presAssocID="{0B156372-7B0E-499E-B4F3-1EE6A6760C1B}" presName="rootText" presStyleLbl="node2" presStyleIdx="3" presStyleCnt="5" custScaleX="136660">
        <dgm:presLayoutVars>
          <dgm:chPref val="3"/>
        </dgm:presLayoutVars>
      </dgm:prSet>
      <dgm:spPr>
        <a:xfrm>
          <a:off x="6456850" y="1043815"/>
          <a:ext cx="1467576" cy="733788"/>
        </a:xfrm>
        <a:prstGeom prst="roundRect">
          <a:avLst/>
        </a:prstGeom>
      </dgm:spPr>
    </dgm:pt>
    <dgm:pt modelId="{C705EAC6-5405-41E1-9FD1-22C9C12EDC04}" type="pres">
      <dgm:prSet presAssocID="{0B156372-7B0E-499E-B4F3-1EE6A6760C1B}" presName="rootConnector" presStyleLbl="node2" presStyleIdx="3" presStyleCnt="5"/>
      <dgm:spPr/>
    </dgm:pt>
    <dgm:pt modelId="{AA057ABE-8BB8-408C-8188-5FDB03C2F8F4}" type="pres">
      <dgm:prSet presAssocID="{0B156372-7B0E-499E-B4F3-1EE6A6760C1B}" presName="hierChild4" presStyleCnt="0"/>
      <dgm:spPr/>
    </dgm:pt>
    <dgm:pt modelId="{2CD5C9F4-8886-430E-8C31-F717B808C984}" type="pres">
      <dgm:prSet presAssocID="{1916B360-7001-4FBB-A7E3-484CC6291202}" presName="Name37" presStyleLbl="parChTrans1D3" presStyleIdx="6" presStyleCnt="10"/>
      <dgm:spPr/>
    </dgm:pt>
    <dgm:pt modelId="{260420B4-5AD0-495A-8CFB-002B5C3DAB2E}" type="pres">
      <dgm:prSet presAssocID="{868290E1-FBE6-46B6-98DA-21464D817CF9}" presName="hierRoot2" presStyleCnt="0">
        <dgm:presLayoutVars>
          <dgm:hierBranch val="init"/>
        </dgm:presLayoutVars>
      </dgm:prSet>
      <dgm:spPr/>
    </dgm:pt>
    <dgm:pt modelId="{2FEBA696-AB1D-4F4D-82BD-110BC521B599}" type="pres">
      <dgm:prSet presAssocID="{868290E1-FBE6-46B6-98DA-21464D817CF9}" presName="rootComposite" presStyleCnt="0"/>
      <dgm:spPr/>
    </dgm:pt>
    <dgm:pt modelId="{3F91848C-58E4-49E8-9A14-12C230562BE4}" type="pres">
      <dgm:prSet presAssocID="{868290E1-FBE6-46B6-98DA-21464D817CF9}" presName="rootText" presStyleLbl="node3" presStyleIdx="6" presStyleCnt="10" custScaleY="96916" custLinFactNeighborY="-11395">
        <dgm:presLayoutVars>
          <dgm:chPref val="3"/>
        </dgm:presLayoutVars>
      </dgm:prSet>
      <dgm:spPr>
        <a:xfrm>
          <a:off x="6823744" y="2085794"/>
          <a:ext cx="1467576" cy="733788"/>
        </a:xfrm>
        <a:prstGeom prst="rect">
          <a:avLst/>
        </a:prstGeom>
      </dgm:spPr>
    </dgm:pt>
    <dgm:pt modelId="{F5FC7C27-3221-4E9D-862B-203489A7CF41}" type="pres">
      <dgm:prSet presAssocID="{868290E1-FBE6-46B6-98DA-21464D817CF9}" presName="rootConnector" presStyleLbl="node3" presStyleIdx="6" presStyleCnt="10"/>
      <dgm:spPr/>
    </dgm:pt>
    <dgm:pt modelId="{6D949552-B229-407E-BB3B-A514801C6688}" type="pres">
      <dgm:prSet presAssocID="{868290E1-FBE6-46B6-98DA-21464D817CF9}" presName="hierChild4" presStyleCnt="0"/>
      <dgm:spPr/>
    </dgm:pt>
    <dgm:pt modelId="{2BF40082-AB71-4783-AA61-02BB98E75C5A}" type="pres">
      <dgm:prSet presAssocID="{868290E1-FBE6-46B6-98DA-21464D817CF9}" presName="hierChild5" presStyleCnt="0"/>
      <dgm:spPr/>
    </dgm:pt>
    <dgm:pt modelId="{6B9AA54C-7C5A-49C4-B0E0-529AE5232E49}" type="pres">
      <dgm:prSet presAssocID="{1FB8EA31-0656-4F13-BDDA-6A7A0B75D388}" presName="Name37" presStyleLbl="parChTrans1D3" presStyleIdx="7" presStyleCnt="10"/>
      <dgm:spPr/>
    </dgm:pt>
    <dgm:pt modelId="{38F87954-F9A2-497F-8EB2-75E6A5E63525}" type="pres">
      <dgm:prSet presAssocID="{97DE9EB1-ABFD-4CE6-A72E-75BE7611374E}" presName="hierRoot2" presStyleCnt="0">
        <dgm:presLayoutVars>
          <dgm:hierBranch val="init"/>
        </dgm:presLayoutVars>
      </dgm:prSet>
      <dgm:spPr/>
    </dgm:pt>
    <dgm:pt modelId="{57933307-E95E-43CE-91E3-0BCE1A130A26}" type="pres">
      <dgm:prSet presAssocID="{97DE9EB1-ABFD-4CE6-A72E-75BE7611374E}" presName="rootComposite" presStyleCnt="0"/>
      <dgm:spPr/>
    </dgm:pt>
    <dgm:pt modelId="{9AFFCE29-1E33-4711-868F-8865769C6B1B}" type="pres">
      <dgm:prSet presAssocID="{97DE9EB1-ABFD-4CE6-A72E-75BE7611374E}" presName="rootText" presStyleLbl="node3" presStyleIdx="7" presStyleCnt="10" custScaleY="96916" custLinFactNeighborY="-11395">
        <dgm:presLayoutVars>
          <dgm:chPref val="3"/>
        </dgm:presLayoutVars>
      </dgm:prSet>
      <dgm:spPr>
        <a:xfrm>
          <a:off x="6823744" y="3127773"/>
          <a:ext cx="1467576" cy="733788"/>
        </a:xfrm>
        <a:prstGeom prst="rect">
          <a:avLst/>
        </a:prstGeom>
      </dgm:spPr>
    </dgm:pt>
    <dgm:pt modelId="{7FCFDE6C-47F6-43DB-A79E-6D68A6D8C323}" type="pres">
      <dgm:prSet presAssocID="{97DE9EB1-ABFD-4CE6-A72E-75BE7611374E}" presName="rootConnector" presStyleLbl="node3" presStyleIdx="7" presStyleCnt="10"/>
      <dgm:spPr/>
    </dgm:pt>
    <dgm:pt modelId="{1DEBD606-F55A-411A-820C-3BE1A501CAB1}" type="pres">
      <dgm:prSet presAssocID="{97DE9EB1-ABFD-4CE6-A72E-75BE7611374E}" presName="hierChild4" presStyleCnt="0"/>
      <dgm:spPr/>
    </dgm:pt>
    <dgm:pt modelId="{88750B62-AB9E-4B7E-A9EC-176BCA32A245}" type="pres">
      <dgm:prSet presAssocID="{97DE9EB1-ABFD-4CE6-A72E-75BE7611374E}" presName="hierChild5" presStyleCnt="0"/>
      <dgm:spPr/>
    </dgm:pt>
    <dgm:pt modelId="{EE5F99FA-9B9A-48FB-A748-BA97ABB2C794}" type="pres">
      <dgm:prSet presAssocID="{0B156372-7B0E-499E-B4F3-1EE6A6760C1B}" presName="hierChild5" presStyleCnt="0"/>
      <dgm:spPr/>
    </dgm:pt>
    <dgm:pt modelId="{C717B6B4-376A-4274-A225-23DD6DB7944F}" type="pres">
      <dgm:prSet presAssocID="{F5BA331F-51F7-4D1E-9661-74E5041DE6FC}" presName="Name37" presStyleLbl="parChTrans1D2" presStyleIdx="4" presStyleCnt="5"/>
      <dgm:spPr/>
    </dgm:pt>
    <dgm:pt modelId="{6D5D2748-5DF5-4022-9618-C88A3D0E3270}" type="pres">
      <dgm:prSet presAssocID="{E61FC7FE-8A92-49FB-8502-23FFB9E58E7D}" presName="hierRoot2" presStyleCnt="0">
        <dgm:presLayoutVars>
          <dgm:hierBranch val="init"/>
        </dgm:presLayoutVars>
      </dgm:prSet>
      <dgm:spPr/>
    </dgm:pt>
    <dgm:pt modelId="{A3A1A8F5-A5D3-4932-97EC-AE9A67F132D6}" type="pres">
      <dgm:prSet presAssocID="{E61FC7FE-8A92-49FB-8502-23FFB9E58E7D}" presName="rootComposite" presStyleCnt="0"/>
      <dgm:spPr/>
    </dgm:pt>
    <dgm:pt modelId="{575BCF8D-E25A-4F03-ACD7-35BEF0DBD079}" type="pres">
      <dgm:prSet presAssocID="{E61FC7FE-8A92-49FB-8502-23FFB9E58E7D}" presName="rootText" presStyleLbl="node2" presStyleIdx="4" presStyleCnt="5" custScaleX="136660">
        <dgm:presLayoutVars>
          <dgm:chPref val="3"/>
        </dgm:presLayoutVars>
      </dgm:prSet>
      <dgm:spPr>
        <a:xfrm>
          <a:off x="8232618" y="1043815"/>
          <a:ext cx="1467576" cy="733788"/>
        </a:xfrm>
        <a:prstGeom prst="roundRect">
          <a:avLst/>
        </a:prstGeom>
      </dgm:spPr>
    </dgm:pt>
    <dgm:pt modelId="{CF80CEF6-4540-4973-9D24-66464F2D35BB}" type="pres">
      <dgm:prSet presAssocID="{E61FC7FE-8A92-49FB-8502-23FFB9E58E7D}" presName="rootConnector" presStyleLbl="node2" presStyleIdx="4" presStyleCnt="5"/>
      <dgm:spPr/>
    </dgm:pt>
    <dgm:pt modelId="{115A63A5-4924-403E-A920-F81C0921A33F}" type="pres">
      <dgm:prSet presAssocID="{E61FC7FE-8A92-49FB-8502-23FFB9E58E7D}" presName="hierChild4" presStyleCnt="0"/>
      <dgm:spPr/>
    </dgm:pt>
    <dgm:pt modelId="{01716479-DCD7-410D-90E2-FDEBF7B3501A}" type="pres">
      <dgm:prSet presAssocID="{56226831-CDE0-4C8A-97B4-1B4EB43F8E86}" presName="Name37" presStyleLbl="parChTrans1D3" presStyleIdx="8" presStyleCnt="10"/>
      <dgm:spPr/>
    </dgm:pt>
    <dgm:pt modelId="{DD61553E-171E-469C-A4F8-A5BFC4E11FF8}" type="pres">
      <dgm:prSet presAssocID="{A2044A6B-40E4-45D8-8C1F-D0A717CA1D1D}" presName="hierRoot2" presStyleCnt="0">
        <dgm:presLayoutVars>
          <dgm:hierBranch val="init"/>
        </dgm:presLayoutVars>
      </dgm:prSet>
      <dgm:spPr/>
    </dgm:pt>
    <dgm:pt modelId="{DB80AFEF-5F64-46C4-9072-C8656818192E}" type="pres">
      <dgm:prSet presAssocID="{A2044A6B-40E4-45D8-8C1F-D0A717CA1D1D}" presName="rootComposite" presStyleCnt="0"/>
      <dgm:spPr/>
    </dgm:pt>
    <dgm:pt modelId="{A21D2C43-7861-4E50-AAEB-80CE77C8DC89}" type="pres">
      <dgm:prSet presAssocID="{A2044A6B-40E4-45D8-8C1F-D0A717CA1D1D}" presName="rootText" presStyleLbl="node3" presStyleIdx="8" presStyleCnt="10" custScaleY="96916" custLinFactNeighborY="-11395">
        <dgm:presLayoutVars>
          <dgm:chPref val="3"/>
        </dgm:presLayoutVars>
      </dgm:prSet>
      <dgm:spPr>
        <a:xfrm>
          <a:off x="8599512" y="2085794"/>
          <a:ext cx="1467576" cy="733788"/>
        </a:xfrm>
        <a:prstGeom prst="rect">
          <a:avLst/>
        </a:prstGeom>
      </dgm:spPr>
    </dgm:pt>
    <dgm:pt modelId="{FA0916FD-984C-485A-9BC6-E0EC6973F9E2}" type="pres">
      <dgm:prSet presAssocID="{A2044A6B-40E4-45D8-8C1F-D0A717CA1D1D}" presName="rootConnector" presStyleLbl="node3" presStyleIdx="8" presStyleCnt="10"/>
      <dgm:spPr/>
    </dgm:pt>
    <dgm:pt modelId="{0D33DFA8-2269-4073-A1F3-65DD5A28EF47}" type="pres">
      <dgm:prSet presAssocID="{A2044A6B-40E4-45D8-8C1F-D0A717CA1D1D}" presName="hierChild4" presStyleCnt="0"/>
      <dgm:spPr/>
    </dgm:pt>
    <dgm:pt modelId="{96E124D1-C753-4B0C-BC37-A44B3528DA2D}" type="pres">
      <dgm:prSet presAssocID="{A2044A6B-40E4-45D8-8C1F-D0A717CA1D1D}" presName="hierChild5" presStyleCnt="0"/>
      <dgm:spPr/>
    </dgm:pt>
    <dgm:pt modelId="{FDEEE2C5-3836-4BC6-B27C-770CA924A823}" type="pres">
      <dgm:prSet presAssocID="{1AA78699-F7DF-421F-B093-67F2BE22B7E5}" presName="Name37" presStyleLbl="parChTrans1D3" presStyleIdx="9" presStyleCnt="10"/>
      <dgm:spPr/>
    </dgm:pt>
    <dgm:pt modelId="{D71CB3C3-AE1E-4A62-AD4B-5B14C16082EA}" type="pres">
      <dgm:prSet presAssocID="{F20717FF-F247-4657-ABF5-6EFD88BA73BB}" presName="hierRoot2" presStyleCnt="0">
        <dgm:presLayoutVars>
          <dgm:hierBranch val="init"/>
        </dgm:presLayoutVars>
      </dgm:prSet>
      <dgm:spPr/>
    </dgm:pt>
    <dgm:pt modelId="{197D7F25-200C-4D01-83EF-81CE40860B14}" type="pres">
      <dgm:prSet presAssocID="{F20717FF-F247-4657-ABF5-6EFD88BA73BB}" presName="rootComposite" presStyleCnt="0"/>
      <dgm:spPr/>
    </dgm:pt>
    <dgm:pt modelId="{AB99CA82-268E-41CE-9925-BC3C5BA82527}" type="pres">
      <dgm:prSet presAssocID="{F20717FF-F247-4657-ABF5-6EFD88BA73BB}" presName="rootText" presStyleLbl="node3" presStyleIdx="9" presStyleCnt="10" custScaleY="96916" custLinFactNeighborY="-11395">
        <dgm:presLayoutVars>
          <dgm:chPref val="3"/>
        </dgm:presLayoutVars>
      </dgm:prSet>
      <dgm:spPr>
        <a:xfrm>
          <a:off x="8599512" y="3127773"/>
          <a:ext cx="1467576" cy="733788"/>
        </a:xfrm>
        <a:prstGeom prst="rect">
          <a:avLst/>
        </a:prstGeom>
      </dgm:spPr>
    </dgm:pt>
    <dgm:pt modelId="{44C8D69D-46ED-4341-AE42-BDB36ECB72A0}" type="pres">
      <dgm:prSet presAssocID="{F20717FF-F247-4657-ABF5-6EFD88BA73BB}" presName="rootConnector" presStyleLbl="node3" presStyleIdx="9" presStyleCnt="10"/>
      <dgm:spPr/>
    </dgm:pt>
    <dgm:pt modelId="{ACB30E7B-B7F5-42DC-9B5F-892E7D920659}" type="pres">
      <dgm:prSet presAssocID="{F20717FF-F247-4657-ABF5-6EFD88BA73BB}" presName="hierChild4" presStyleCnt="0"/>
      <dgm:spPr/>
    </dgm:pt>
    <dgm:pt modelId="{A1B8ADDD-5AF1-42C2-BFBF-CEC70E833323}" type="pres">
      <dgm:prSet presAssocID="{F20717FF-F247-4657-ABF5-6EFD88BA73BB}" presName="hierChild5" presStyleCnt="0"/>
      <dgm:spPr/>
    </dgm:pt>
    <dgm:pt modelId="{0B07B634-0BB2-4540-850A-2EC3E848CBB5}" type="pres">
      <dgm:prSet presAssocID="{E61FC7FE-8A92-49FB-8502-23FFB9E58E7D}" presName="hierChild5" presStyleCnt="0"/>
      <dgm:spPr/>
    </dgm:pt>
    <dgm:pt modelId="{43CC379A-5F7F-48A8-BE7D-C72D08E89F2A}" type="pres">
      <dgm:prSet presAssocID="{FB822B86-9E68-43E4-947A-1880980E6B98}" presName="hierChild3" presStyleCnt="0"/>
      <dgm:spPr/>
    </dgm:pt>
  </dgm:ptLst>
  <dgm:cxnLst>
    <dgm:cxn modelId="{2C238600-2BDD-45FA-B2C6-183975B2FFFD}" type="presOf" srcId="{A2044A6B-40E4-45D8-8C1F-D0A717CA1D1D}" destId="{A21D2C43-7861-4E50-AAEB-80CE77C8DC89}" srcOrd="0" destOrd="0" presId="urn:microsoft.com/office/officeart/2005/8/layout/orgChart1"/>
    <dgm:cxn modelId="{12FA6009-BB49-431E-B294-1E5ADD6BD5CC}" type="presOf" srcId="{0B156372-7B0E-499E-B4F3-1EE6A6760C1B}" destId="{F6594D46-C731-4FA4-98DD-8B1F34BDBEA6}" srcOrd="0" destOrd="0" presId="urn:microsoft.com/office/officeart/2005/8/layout/orgChart1"/>
    <dgm:cxn modelId="{B0D9010A-450F-4817-AD01-F118100A23B2}" type="presOf" srcId="{FE54C6DE-4471-45A9-928E-E3C8A24E9FE8}" destId="{A00CB14D-6EA0-463E-9E4C-878FE0DE6C0B}" srcOrd="0" destOrd="0" presId="urn:microsoft.com/office/officeart/2005/8/layout/orgChart1"/>
    <dgm:cxn modelId="{E429820F-3E86-462D-97F2-7DD6A661F342}" type="presOf" srcId="{F5BA331F-51F7-4D1E-9661-74E5041DE6FC}" destId="{C717B6B4-376A-4274-A225-23DD6DB7944F}" srcOrd="0" destOrd="0" presId="urn:microsoft.com/office/officeart/2005/8/layout/orgChart1"/>
    <dgm:cxn modelId="{DF685E17-165B-4779-B218-830B10B97CF6}" type="presOf" srcId="{56226831-CDE0-4C8A-97B4-1B4EB43F8E86}" destId="{01716479-DCD7-410D-90E2-FDEBF7B3501A}" srcOrd="0" destOrd="0" presId="urn:microsoft.com/office/officeart/2005/8/layout/orgChart1"/>
    <dgm:cxn modelId="{C907E31A-0409-4E66-B92F-28FB9C3061B4}" type="presOf" srcId="{BFEAB017-9B3C-4367-9270-3933399315AD}" destId="{15CC75E6-5177-4CEA-AA21-90710471C205}" srcOrd="0" destOrd="0" presId="urn:microsoft.com/office/officeart/2005/8/layout/orgChart1"/>
    <dgm:cxn modelId="{A02BC21E-82C6-4C9F-9CEA-0A104B4072B2}" srcId="{A41A3C63-916D-42CD-8FB4-1F42E0F72162}" destId="{AFFCFC63-F6ED-4995-98D9-B84A90758399}" srcOrd="0" destOrd="0" parTransId="{DEDE36B4-F1C7-4A8E-A459-2992FDEDAE8E}" sibTransId="{8DD615E0-87A3-46A4-A9ED-6F5C4C64E17A}"/>
    <dgm:cxn modelId="{F95E021F-AF7F-406E-8BCE-0CB4D1B2F72C}" type="presOf" srcId="{9B4983E7-FE32-44A7-8C70-7E5FD92F45CC}" destId="{6C0ACA97-3B04-444E-95BA-9229F4A2277F}" srcOrd="0" destOrd="0" presId="urn:microsoft.com/office/officeart/2005/8/layout/orgChart1"/>
    <dgm:cxn modelId="{CE360B21-DF2B-4301-BE2B-31A2BAB0DBED}" srcId="{48A14184-ED2E-472E-86A8-4160E9BB2D67}" destId="{07EBD7C6-3333-42C7-9A5F-A2A1D76EABD5}" srcOrd="0" destOrd="0" parTransId="{3E17D59F-C0F5-44F6-8794-E188ADE01B75}" sibTransId="{12660714-54CC-4659-ACA1-1A67DFE980DE}"/>
    <dgm:cxn modelId="{39A1AA21-F902-42F0-8058-9AC12E0377D9}" type="presOf" srcId="{E050EBD7-2130-4112-9D56-2B34AB1D5176}" destId="{BE5B5CAA-8120-4134-9700-6C4EE1F54D21}" srcOrd="0" destOrd="0" presId="urn:microsoft.com/office/officeart/2005/8/layout/orgChart1"/>
    <dgm:cxn modelId="{C0E55428-6141-4443-9B02-BE04640EE2B2}" type="presOf" srcId="{1FB8EA31-0656-4F13-BDDA-6A7A0B75D388}" destId="{6B9AA54C-7C5A-49C4-B0E0-529AE5232E49}" srcOrd="0" destOrd="0" presId="urn:microsoft.com/office/officeart/2005/8/layout/orgChart1"/>
    <dgm:cxn modelId="{D83C9B2C-3E31-45CF-8D25-F234E9539296}" type="presOf" srcId="{ABBA3D03-71CD-4F16-A4A0-8D9F64700B03}" destId="{04056457-6849-411D-9338-DDE1DB5468CB}" srcOrd="0" destOrd="0" presId="urn:microsoft.com/office/officeart/2005/8/layout/orgChart1"/>
    <dgm:cxn modelId="{33942035-9BD9-40E2-A529-BE2CB23F2F5D}" type="presOf" srcId="{70AFC458-3FA4-41F0-BFA1-DD186E47B356}" destId="{80BF546C-57C0-4B5A-BA8B-C644170D2527}" srcOrd="0" destOrd="0" presId="urn:microsoft.com/office/officeart/2005/8/layout/orgChart1"/>
    <dgm:cxn modelId="{7CA37B38-4947-453C-AC67-655C579B32D9}" type="presOf" srcId="{7FF9ABDB-AA2F-4D71-B7FE-D89760744AAB}" destId="{E1331972-AB5B-4BFA-BBAF-B43FA0FFF18A}" srcOrd="0" destOrd="0" presId="urn:microsoft.com/office/officeart/2005/8/layout/orgChart1"/>
    <dgm:cxn modelId="{BB5C113E-3036-4AB5-B240-996954BD2413}" type="presOf" srcId="{C31D214F-0890-44EF-8048-2CE9A5A9BDA6}" destId="{B0E9FE80-96BF-4104-886A-E0AAB7ECF742}" srcOrd="0" destOrd="0" presId="urn:microsoft.com/office/officeart/2005/8/layout/orgChart1"/>
    <dgm:cxn modelId="{33267C3F-7DEF-497B-9DFF-99E1AEB8594D}" type="presOf" srcId="{48A14184-ED2E-472E-86A8-4160E9BB2D67}" destId="{1793E7E1-3289-4668-B8E8-B688F0D5300F}" srcOrd="0" destOrd="0" presId="urn:microsoft.com/office/officeart/2005/8/layout/orgChart1"/>
    <dgm:cxn modelId="{3999B15B-BBEA-4A41-B614-183DA5E7F8A5}" srcId="{0B156372-7B0E-499E-B4F3-1EE6A6760C1B}" destId="{97DE9EB1-ABFD-4CE6-A72E-75BE7611374E}" srcOrd="1" destOrd="0" parTransId="{1FB8EA31-0656-4F13-BDDA-6A7A0B75D388}" sibTransId="{00DE4FEE-FB69-411A-9469-E38A23024E96}"/>
    <dgm:cxn modelId="{BD15A15D-63D5-49FE-A345-FE4E33035025}" srcId="{E050EBD7-2130-4112-9D56-2B34AB1D5176}" destId="{4019F9F0-967F-4C7A-9800-C0D78D51A085}" srcOrd="0" destOrd="0" parTransId="{9B4983E7-FE32-44A7-8C70-7E5FD92F45CC}" sibTransId="{80FF216C-F7B6-49BB-836C-E5D945C4FFE0}"/>
    <dgm:cxn modelId="{2327F45D-856A-4C01-AD26-31A1B27BC803}" srcId="{48A14184-ED2E-472E-86A8-4160E9BB2D67}" destId="{612D2647-8CB5-4804-96D9-2FDF1909C765}" srcOrd="1" destOrd="0" parTransId="{3844EB4B-FEF1-4DDF-8937-5C3C891B89F4}" sibTransId="{579B5C49-0D65-4EDA-9FA1-A3C208D919D7}"/>
    <dgm:cxn modelId="{E16F1F5E-AB35-4888-AA8D-47C9F82F9FC5}" type="presOf" srcId="{A41A3C63-916D-42CD-8FB4-1F42E0F72162}" destId="{E64B431F-9F6A-4D5B-8616-9F87D9C5ED6A}" srcOrd="1" destOrd="0" presId="urn:microsoft.com/office/officeart/2005/8/layout/orgChart1"/>
    <dgm:cxn modelId="{C2655D61-3068-402B-A24B-613457F5B1D3}" type="presOf" srcId="{1916B360-7001-4FBB-A7E3-484CC6291202}" destId="{2CD5C9F4-8886-430E-8C31-F717B808C984}" srcOrd="0" destOrd="0" presId="urn:microsoft.com/office/officeart/2005/8/layout/orgChart1"/>
    <dgm:cxn modelId="{13D5A242-8445-4583-BCFD-48EADF581CC8}" type="presOf" srcId="{07EBD7C6-3333-42C7-9A5F-A2A1D76EABD5}" destId="{76EDAC7B-7CD7-49AE-BE9A-92868967BB86}" srcOrd="1" destOrd="0" presId="urn:microsoft.com/office/officeart/2005/8/layout/orgChart1"/>
    <dgm:cxn modelId="{86605B64-1D63-44EB-83C9-19312ED0A215}" type="presOf" srcId="{97DE9EB1-ABFD-4CE6-A72E-75BE7611374E}" destId="{9AFFCE29-1E33-4711-868F-8865769C6B1B}" srcOrd="0" destOrd="0" presId="urn:microsoft.com/office/officeart/2005/8/layout/orgChart1"/>
    <dgm:cxn modelId="{BDE27444-47B0-45D9-A6AB-33063DCC8E5D}" srcId="{FB822B86-9E68-43E4-947A-1880980E6B98}" destId="{0B156372-7B0E-499E-B4F3-1EE6A6760C1B}" srcOrd="3" destOrd="0" parTransId="{FE54C6DE-4471-45A9-928E-E3C8A24E9FE8}" sibTransId="{838E6768-0F16-4C68-BB43-5F4E892F521D}"/>
    <dgm:cxn modelId="{536EDA48-117E-44C1-9388-EF4C823F2C47}" type="presOf" srcId="{97DE9EB1-ABFD-4CE6-A72E-75BE7611374E}" destId="{7FCFDE6C-47F6-43DB-A79E-6D68A6D8C323}" srcOrd="1" destOrd="0" presId="urn:microsoft.com/office/officeart/2005/8/layout/orgChart1"/>
    <dgm:cxn modelId="{FF3EFC4B-008A-447D-ACC7-25D9BD1A2936}" srcId="{BFEAB017-9B3C-4367-9270-3933399315AD}" destId="{FB822B86-9E68-43E4-947A-1880980E6B98}" srcOrd="0" destOrd="0" parTransId="{583A2A48-D40C-47AC-8EBA-6A23A6CABE4C}" sibTransId="{356E48D0-FE2C-42C5-867F-5D87B4EAA5A3}"/>
    <dgm:cxn modelId="{72AE4B4F-F247-4E3F-93AE-68BD2338DBC4}" srcId="{FB822B86-9E68-43E4-947A-1880980E6B98}" destId="{E050EBD7-2130-4112-9D56-2B34AB1D5176}" srcOrd="2" destOrd="0" parTransId="{9A9F6AF0-6527-4274-A17A-C7D0E592A845}" sibTransId="{A197E4C0-AA46-46AD-BF91-37635812552B}"/>
    <dgm:cxn modelId="{17780477-2717-436D-8710-B5791AAAF4C2}" type="presOf" srcId="{A2044A6B-40E4-45D8-8C1F-D0A717CA1D1D}" destId="{FA0916FD-984C-485A-9BC6-E0EC6973F9E2}" srcOrd="1" destOrd="0" presId="urn:microsoft.com/office/officeart/2005/8/layout/orgChart1"/>
    <dgm:cxn modelId="{FD8F6277-1971-4BCC-8EEE-4B771E17EEC8}" srcId="{E61FC7FE-8A92-49FB-8502-23FFB9E58E7D}" destId="{A2044A6B-40E4-45D8-8C1F-D0A717CA1D1D}" srcOrd="0" destOrd="0" parTransId="{56226831-CDE0-4C8A-97B4-1B4EB43F8E86}" sibTransId="{7FF8D075-6A7F-445B-9C6E-18CDD5C0E8B3}"/>
    <dgm:cxn modelId="{D7E2F057-832E-471A-BB77-CB901EDB0C56}" type="presOf" srcId="{868290E1-FBE6-46B6-98DA-21464D817CF9}" destId="{3F91848C-58E4-49E8-9A14-12C230562BE4}" srcOrd="0" destOrd="0" presId="urn:microsoft.com/office/officeart/2005/8/layout/orgChart1"/>
    <dgm:cxn modelId="{368AFD77-7711-45FC-AEBA-4A893AE7626F}" type="presOf" srcId="{E61FC7FE-8A92-49FB-8502-23FFB9E58E7D}" destId="{575BCF8D-E25A-4F03-ACD7-35BEF0DBD079}" srcOrd="0" destOrd="0" presId="urn:microsoft.com/office/officeart/2005/8/layout/orgChart1"/>
    <dgm:cxn modelId="{C8D90A7B-CEEE-487C-88CA-9BCFB51C5310}" type="presOf" srcId="{AC439372-E74A-4D06-9BE1-E6109365D87B}" destId="{4D7BE04C-8181-40D6-84D4-E8A3F1EEAC9B}" srcOrd="0" destOrd="0" presId="urn:microsoft.com/office/officeart/2005/8/layout/orgChart1"/>
    <dgm:cxn modelId="{2C785E7F-63DE-459E-AE6F-9DCE1022F36F}" type="presOf" srcId="{A413A518-D875-4DEA-9C1E-250AAB2D6A1D}" destId="{852CA155-C73D-43ED-9CC6-BD1EB05753B0}" srcOrd="0" destOrd="0" presId="urn:microsoft.com/office/officeart/2005/8/layout/orgChart1"/>
    <dgm:cxn modelId="{6570C382-EF61-4F5A-B8DF-8AA20DC0BF13}" type="presOf" srcId="{9A9F6AF0-6527-4274-A17A-C7D0E592A845}" destId="{B9A67DDB-DE0F-4C2C-84D8-B8680A191C73}" srcOrd="0" destOrd="0" presId="urn:microsoft.com/office/officeart/2005/8/layout/orgChart1"/>
    <dgm:cxn modelId="{42F16483-BD54-4D1A-871D-9FA59C8C776F}" srcId="{E050EBD7-2130-4112-9D56-2B34AB1D5176}" destId="{C31D214F-0890-44EF-8048-2CE9A5A9BDA6}" srcOrd="1" destOrd="0" parTransId="{70AFC458-3FA4-41F0-BFA1-DD186E47B356}" sibTransId="{407E64F8-4B99-46A6-BC8A-A5B8B4C1A194}"/>
    <dgm:cxn modelId="{FCD58083-7D0D-480F-8B5E-4FED3084E48D}" type="presOf" srcId="{AC439372-E74A-4D06-9BE1-E6109365D87B}" destId="{945C8DE1-12FF-409B-B82E-8D5F5305BC1D}" srcOrd="1" destOrd="0" presId="urn:microsoft.com/office/officeart/2005/8/layout/orgChart1"/>
    <dgm:cxn modelId="{0F0CE886-7895-4F9E-B02E-60593BE5EAEC}" type="presOf" srcId="{612D2647-8CB5-4804-96D9-2FDF1909C765}" destId="{DDDB56E2-5DDB-4190-9015-1B42DABB4307}" srcOrd="1" destOrd="0" presId="urn:microsoft.com/office/officeart/2005/8/layout/orgChart1"/>
    <dgm:cxn modelId="{7EC87688-B1C9-4024-A770-D72015F089DA}" type="presOf" srcId="{3E17D59F-C0F5-44F6-8794-E188ADE01B75}" destId="{A0C79DD4-7E6D-42B1-8909-AE7A3EFE20EF}" srcOrd="0" destOrd="0" presId="urn:microsoft.com/office/officeart/2005/8/layout/orgChart1"/>
    <dgm:cxn modelId="{CB5C4B8A-D6DB-4807-B8FF-5B7B314CAD32}" type="presOf" srcId="{868290E1-FBE6-46B6-98DA-21464D817CF9}" destId="{F5FC7C27-3221-4E9D-862B-203489A7CF41}" srcOrd="1" destOrd="0" presId="urn:microsoft.com/office/officeart/2005/8/layout/orgChart1"/>
    <dgm:cxn modelId="{AD3EFF8A-35FA-4932-9879-7E4139D3C1B9}" type="presOf" srcId="{0B156372-7B0E-499E-B4F3-1EE6A6760C1B}" destId="{C705EAC6-5405-41E1-9FD1-22C9C12EDC04}" srcOrd="1" destOrd="0" presId="urn:microsoft.com/office/officeart/2005/8/layout/orgChart1"/>
    <dgm:cxn modelId="{654D2C8E-3E41-4175-BC97-B4C5DFE9C9DC}" type="presOf" srcId="{F20717FF-F247-4657-ABF5-6EFD88BA73BB}" destId="{AB99CA82-268E-41CE-9925-BC3C5BA82527}" srcOrd="0" destOrd="0" presId="urn:microsoft.com/office/officeart/2005/8/layout/orgChart1"/>
    <dgm:cxn modelId="{CD5C2197-EA7F-4346-9F2B-53EAE9F8C858}" srcId="{FB822B86-9E68-43E4-947A-1880980E6B98}" destId="{48A14184-ED2E-472E-86A8-4160E9BB2D67}" srcOrd="1" destOrd="0" parTransId="{A413A518-D875-4DEA-9C1E-250AAB2D6A1D}" sibTransId="{715DFA6D-1DBA-453F-B04F-60956C1C1E7D}"/>
    <dgm:cxn modelId="{DCBCF19E-D6FE-4021-994F-4F0699BE327C}" type="presOf" srcId="{4019F9F0-967F-4C7A-9800-C0D78D51A085}" destId="{42CD4AB0-55D6-4B98-BB31-AB26A026D22F}" srcOrd="0" destOrd="0" presId="urn:microsoft.com/office/officeart/2005/8/layout/orgChart1"/>
    <dgm:cxn modelId="{5C236FA1-D0E8-4934-B871-52AF770268FC}" type="presOf" srcId="{4019F9F0-967F-4C7A-9800-C0D78D51A085}" destId="{56FC8695-66A9-413D-837A-483220B85D53}" srcOrd="1" destOrd="0" presId="urn:microsoft.com/office/officeart/2005/8/layout/orgChart1"/>
    <dgm:cxn modelId="{14903DA7-1BCA-46EB-806B-FEC9EC286371}" srcId="{A41A3C63-916D-42CD-8FB4-1F42E0F72162}" destId="{AC439372-E74A-4D06-9BE1-E6109365D87B}" srcOrd="1" destOrd="0" parTransId="{ABBA3D03-71CD-4F16-A4A0-8D9F64700B03}" sibTransId="{5637B4D3-80A1-4CE8-830A-3CE822219431}"/>
    <dgm:cxn modelId="{AF1CCFB6-974A-47D5-8279-42DF68F6D2FC}" type="presOf" srcId="{3844EB4B-FEF1-4DDF-8937-5C3C891B89F4}" destId="{F1F2B89E-BFFB-40B2-B7FF-BCDB27B5503E}" srcOrd="0" destOrd="0" presId="urn:microsoft.com/office/officeart/2005/8/layout/orgChart1"/>
    <dgm:cxn modelId="{3C9196B8-E19E-4AAE-B01F-AF175D549738}" type="presOf" srcId="{E050EBD7-2130-4112-9D56-2B34AB1D5176}" destId="{9E9F214C-5FEE-4017-AF56-0E9F10652B75}" srcOrd="1" destOrd="0" presId="urn:microsoft.com/office/officeart/2005/8/layout/orgChart1"/>
    <dgm:cxn modelId="{89872BBA-7528-4403-A6F5-F4C99531496A}" type="presOf" srcId="{AFFCFC63-F6ED-4995-98D9-B84A90758399}" destId="{4AF0CB76-DF7F-45B4-9ECF-AB7F8F3B1083}" srcOrd="1" destOrd="0" presId="urn:microsoft.com/office/officeart/2005/8/layout/orgChart1"/>
    <dgm:cxn modelId="{1450A7BA-351F-4A08-8832-0AFBD513225B}" type="presOf" srcId="{F20717FF-F247-4657-ABF5-6EFD88BA73BB}" destId="{44C8D69D-46ED-4341-AE42-BDB36ECB72A0}" srcOrd="1" destOrd="0" presId="urn:microsoft.com/office/officeart/2005/8/layout/orgChart1"/>
    <dgm:cxn modelId="{86543BBD-55DE-4907-9B3F-5E0CB77B18BE}" type="presOf" srcId="{07EBD7C6-3333-42C7-9A5F-A2A1D76EABD5}" destId="{166A73DC-A977-4B76-AECA-EA2A99ADB1A0}" srcOrd="0" destOrd="0" presId="urn:microsoft.com/office/officeart/2005/8/layout/orgChart1"/>
    <dgm:cxn modelId="{3BA01AC5-8E40-4236-9302-BF7B61C08EB4}" srcId="{0B156372-7B0E-499E-B4F3-1EE6A6760C1B}" destId="{868290E1-FBE6-46B6-98DA-21464D817CF9}" srcOrd="0" destOrd="0" parTransId="{1916B360-7001-4FBB-A7E3-484CC6291202}" sibTransId="{DBD1981F-FEDE-4492-B6C6-17CAF8C3E52A}"/>
    <dgm:cxn modelId="{DB416BC5-24FF-4CBE-9899-6B71B9D18DD7}" type="presOf" srcId="{A41A3C63-916D-42CD-8FB4-1F42E0F72162}" destId="{FE4ECB99-FF1A-4645-B1FD-8B4E8E6C1C2A}" srcOrd="0" destOrd="0" presId="urn:microsoft.com/office/officeart/2005/8/layout/orgChart1"/>
    <dgm:cxn modelId="{5F0E63C9-041F-4BFE-AA6A-F1F41DD94D75}" type="presOf" srcId="{1AA78699-F7DF-421F-B093-67F2BE22B7E5}" destId="{FDEEE2C5-3836-4BC6-B27C-770CA924A823}" srcOrd="0" destOrd="0" presId="urn:microsoft.com/office/officeart/2005/8/layout/orgChart1"/>
    <dgm:cxn modelId="{73C332CD-412D-4789-8F1B-34DB3148A659}" type="presOf" srcId="{AFFCFC63-F6ED-4995-98D9-B84A90758399}" destId="{A16D05D1-DA71-43F6-A23C-14848A8FED28}" srcOrd="0" destOrd="0" presId="urn:microsoft.com/office/officeart/2005/8/layout/orgChart1"/>
    <dgm:cxn modelId="{82D8A6D0-6D01-4103-AFD9-485489ACB77A}" type="presOf" srcId="{FB822B86-9E68-43E4-947A-1880980E6B98}" destId="{1572188E-1214-4D3F-A6CF-BBE5AF822E72}" srcOrd="0" destOrd="0" presId="urn:microsoft.com/office/officeart/2005/8/layout/orgChart1"/>
    <dgm:cxn modelId="{4F30C7D4-BFC4-433A-B6C3-F1B885C6911C}" srcId="{FB822B86-9E68-43E4-947A-1880980E6B98}" destId="{E61FC7FE-8A92-49FB-8502-23FFB9E58E7D}" srcOrd="4" destOrd="0" parTransId="{F5BA331F-51F7-4D1E-9661-74E5041DE6FC}" sibTransId="{3BA67C63-9858-4AD7-BEDC-54CE61C2D48F}"/>
    <dgm:cxn modelId="{ED0081DE-F1E5-4FF5-9B0B-4935486904E3}" type="presOf" srcId="{612D2647-8CB5-4804-96D9-2FDF1909C765}" destId="{7F5E82F5-1733-4962-BB4D-C0D5AE8652D0}" srcOrd="0" destOrd="0" presId="urn:microsoft.com/office/officeart/2005/8/layout/orgChart1"/>
    <dgm:cxn modelId="{E10350E0-D324-4F17-A723-7A9864E95513}" type="presOf" srcId="{48A14184-ED2E-472E-86A8-4160E9BB2D67}" destId="{F841795A-2C00-4BE4-B68E-8BD1945EBDDD}" srcOrd="1" destOrd="0" presId="urn:microsoft.com/office/officeart/2005/8/layout/orgChart1"/>
    <dgm:cxn modelId="{0FC95DE2-96AF-4CEF-8C95-52F969386676}" srcId="{FB822B86-9E68-43E4-947A-1880980E6B98}" destId="{A41A3C63-916D-42CD-8FB4-1F42E0F72162}" srcOrd="0" destOrd="0" parTransId="{7FF9ABDB-AA2F-4D71-B7FE-D89760744AAB}" sibTransId="{345C9771-7CBD-48D4-8CEA-DDBA4D94C21A}"/>
    <dgm:cxn modelId="{375FB7E3-1D08-4244-A867-F39A54620538}" type="presOf" srcId="{DEDE36B4-F1C7-4A8E-A459-2992FDEDAE8E}" destId="{F5085920-D68B-49C8-AFC9-484363E7B030}" srcOrd="0" destOrd="0" presId="urn:microsoft.com/office/officeart/2005/8/layout/orgChart1"/>
    <dgm:cxn modelId="{EB0B9AE6-86F9-4FF0-BA4C-9BA52DEF831F}" type="presOf" srcId="{C31D214F-0890-44EF-8048-2CE9A5A9BDA6}" destId="{DCE341F8-1777-4CF0-97B9-0E39B3941DD0}" srcOrd="1" destOrd="0" presId="urn:microsoft.com/office/officeart/2005/8/layout/orgChart1"/>
    <dgm:cxn modelId="{FA0279F5-7F72-41AE-9672-D3AB6D6F2129}" srcId="{E61FC7FE-8A92-49FB-8502-23FFB9E58E7D}" destId="{F20717FF-F247-4657-ABF5-6EFD88BA73BB}" srcOrd="1" destOrd="0" parTransId="{1AA78699-F7DF-421F-B093-67F2BE22B7E5}" sibTransId="{85BBEEA2-F169-4F29-AEE2-9F9037D72C7D}"/>
    <dgm:cxn modelId="{449690F9-70F4-459A-9D65-144F563D5DFE}" type="presOf" srcId="{E61FC7FE-8A92-49FB-8502-23FFB9E58E7D}" destId="{CF80CEF6-4540-4973-9D24-66464F2D35BB}" srcOrd="1" destOrd="0" presId="urn:microsoft.com/office/officeart/2005/8/layout/orgChart1"/>
    <dgm:cxn modelId="{BB270EFA-3CFC-444B-AA82-06DDB963FCD9}" type="presOf" srcId="{FB822B86-9E68-43E4-947A-1880980E6B98}" destId="{9E22AB4E-8768-4D66-9110-273341AB7E9D}" srcOrd="1" destOrd="0" presId="urn:microsoft.com/office/officeart/2005/8/layout/orgChart1"/>
    <dgm:cxn modelId="{D1C8AA08-3D99-42BB-AE3A-2EE5E6A551B3}" type="presParOf" srcId="{15CC75E6-5177-4CEA-AA21-90710471C205}" destId="{A89FE0C4-30F0-43BA-8B53-2C6D99BAA141}" srcOrd="0" destOrd="0" presId="urn:microsoft.com/office/officeart/2005/8/layout/orgChart1"/>
    <dgm:cxn modelId="{4F07DCA6-5AC5-487E-B78A-48FA329D2CB8}" type="presParOf" srcId="{A89FE0C4-30F0-43BA-8B53-2C6D99BAA141}" destId="{C44AC1AE-C6C9-4CA1-A5FC-08BD20A2E4B0}" srcOrd="0" destOrd="0" presId="urn:microsoft.com/office/officeart/2005/8/layout/orgChart1"/>
    <dgm:cxn modelId="{B3BC6EA7-2955-4E24-9076-576E09AB8949}" type="presParOf" srcId="{C44AC1AE-C6C9-4CA1-A5FC-08BD20A2E4B0}" destId="{1572188E-1214-4D3F-A6CF-BBE5AF822E72}" srcOrd="0" destOrd="0" presId="urn:microsoft.com/office/officeart/2005/8/layout/orgChart1"/>
    <dgm:cxn modelId="{A16C50EF-CF91-45FE-B2A1-6EAADF0D0360}" type="presParOf" srcId="{C44AC1AE-C6C9-4CA1-A5FC-08BD20A2E4B0}" destId="{9E22AB4E-8768-4D66-9110-273341AB7E9D}" srcOrd="1" destOrd="0" presId="urn:microsoft.com/office/officeart/2005/8/layout/orgChart1"/>
    <dgm:cxn modelId="{382507C5-DB1B-4467-95F5-B6318538E3C4}" type="presParOf" srcId="{A89FE0C4-30F0-43BA-8B53-2C6D99BAA141}" destId="{AA10D8C0-C99D-4664-A692-3054BAA08BFA}" srcOrd="1" destOrd="0" presId="urn:microsoft.com/office/officeart/2005/8/layout/orgChart1"/>
    <dgm:cxn modelId="{8592CA64-781A-494C-A62B-0A74C2FFC4B8}" type="presParOf" srcId="{AA10D8C0-C99D-4664-A692-3054BAA08BFA}" destId="{E1331972-AB5B-4BFA-BBAF-B43FA0FFF18A}" srcOrd="0" destOrd="0" presId="urn:microsoft.com/office/officeart/2005/8/layout/orgChart1"/>
    <dgm:cxn modelId="{76C33A7C-2022-472E-93C5-D31F3F375972}" type="presParOf" srcId="{AA10D8C0-C99D-4664-A692-3054BAA08BFA}" destId="{9FA8F224-6E18-4E7F-99A6-FE548722D991}" srcOrd="1" destOrd="0" presId="urn:microsoft.com/office/officeart/2005/8/layout/orgChart1"/>
    <dgm:cxn modelId="{60247F15-27D6-42C0-893C-39C1B049F33A}" type="presParOf" srcId="{9FA8F224-6E18-4E7F-99A6-FE548722D991}" destId="{ECFB4EBC-04AA-4D3C-BE2B-02370F1F1F99}" srcOrd="0" destOrd="0" presId="urn:microsoft.com/office/officeart/2005/8/layout/orgChart1"/>
    <dgm:cxn modelId="{BBD5B39E-C92F-4C79-9AF5-AAFEEEB035C7}" type="presParOf" srcId="{ECFB4EBC-04AA-4D3C-BE2B-02370F1F1F99}" destId="{FE4ECB99-FF1A-4645-B1FD-8B4E8E6C1C2A}" srcOrd="0" destOrd="0" presId="urn:microsoft.com/office/officeart/2005/8/layout/orgChart1"/>
    <dgm:cxn modelId="{C973C38C-1390-46A1-B965-38BD9B44CEBA}" type="presParOf" srcId="{ECFB4EBC-04AA-4D3C-BE2B-02370F1F1F99}" destId="{E64B431F-9F6A-4D5B-8616-9F87D9C5ED6A}" srcOrd="1" destOrd="0" presId="urn:microsoft.com/office/officeart/2005/8/layout/orgChart1"/>
    <dgm:cxn modelId="{A7827905-D444-4F83-9BC0-16F498139C04}" type="presParOf" srcId="{9FA8F224-6E18-4E7F-99A6-FE548722D991}" destId="{E8CD1D9E-CA0B-4851-A422-303A68671FEE}" srcOrd="1" destOrd="0" presId="urn:microsoft.com/office/officeart/2005/8/layout/orgChart1"/>
    <dgm:cxn modelId="{FBE39BC4-4691-47A3-8231-F6DB139FF4CD}" type="presParOf" srcId="{E8CD1D9E-CA0B-4851-A422-303A68671FEE}" destId="{F5085920-D68B-49C8-AFC9-484363E7B030}" srcOrd="0" destOrd="0" presId="urn:microsoft.com/office/officeart/2005/8/layout/orgChart1"/>
    <dgm:cxn modelId="{62B9A6EA-BC8B-4052-8804-FC890835A84F}" type="presParOf" srcId="{E8CD1D9E-CA0B-4851-A422-303A68671FEE}" destId="{FE836BF9-CCC1-443C-A614-A566CEB28FB5}" srcOrd="1" destOrd="0" presId="urn:microsoft.com/office/officeart/2005/8/layout/orgChart1"/>
    <dgm:cxn modelId="{D02C4180-16F5-4DDC-95F9-1CFB990CCC7E}" type="presParOf" srcId="{FE836BF9-CCC1-443C-A614-A566CEB28FB5}" destId="{E1CBB932-4069-4184-8443-B6B3C7DA9160}" srcOrd="0" destOrd="0" presId="urn:microsoft.com/office/officeart/2005/8/layout/orgChart1"/>
    <dgm:cxn modelId="{46CD8668-5126-4EAB-A245-62458613B74C}" type="presParOf" srcId="{E1CBB932-4069-4184-8443-B6B3C7DA9160}" destId="{A16D05D1-DA71-43F6-A23C-14848A8FED28}" srcOrd="0" destOrd="0" presId="urn:microsoft.com/office/officeart/2005/8/layout/orgChart1"/>
    <dgm:cxn modelId="{C5D91453-806C-4142-8D82-2E1714DB678B}" type="presParOf" srcId="{E1CBB932-4069-4184-8443-B6B3C7DA9160}" destId="{4AF0CB76-DF7F-45B4-9ECF-AB7F8F3B1083}" srcOrd="1" destOrd="0" presId="urn:microsoft.com/office/officeart/2005/8/layout/orgChart1"/>
    <dgm:cxn modelId="{10103828-2E04-4BC2-B7C7-4B12A2E2CC9A}" type="presParOf" srcId="{FE836BF9-CCC1-443C-A614-A566CEB28FB5}" destId="{A4BBE317-383A-450C-9476-84332F4B7A69}" srcOrd="1" destOrd="0" presId="urn:microsoft.com/office/officeart/2005/8/layout/orgChart1"/>
    <dgm:cxn modelId="{1FE9A946-D1F6-4DD3-8590-2A9571A77B51}" type="presParOf" srcId="{FE836BF9-CCC1-443C-A614-A566CEB28FB5}" destId="{83F40392-6485-4E0E-A72D-9ADAB32334BE}" srcOrd="2" destOrd="0" presId="urn:microsoft.com/office/officeart/2005/8/layout/orgChart1"/>
    <dgm:cxn modelId="{5982912C-894D-4400-B730-5155DE9CF445}" type="presParOf" srcId="{E8CD1D9E-CA0B-4851-A422-303A68671FEE}" destId="{04056457-6849-411D-9338-DDE1DB5468CB}" srcOrd="2" destOrd="0" presId="urn:microsoft.com/office/officeart/2005/8/layout/orgChart1"/>
    <dgm:cxn modelId="{D3650584-AA89-4622-9ADA-22505975525C}" type="presParOf" srcId="{E8CD1D9E-CA0B-4851-A422-303A68671FEE}" destId="{C3A017F8-BAC8-41C7-918F-3B03757A7389}" srcOrd="3" destOrd="0" presId="urn:microsoft.com/office/officeart/2005/8/layout/orgChart1"/>
    <dgm:cxn modelId="{78F31246-A776-4BB0-B6EF-42C9C1713AA8}" type="presParOf" srcId="{C3A017F8-BAC8-41C7-918F-3B03757A7389}" destId="{25BC00EB-9907-451A-ACC0-7835B9A3F702}" srcOrd="0" destOrd="0" presId="urn:microsoft.com/office/officeart/2005/8/layout/orgChart1"/>
    <dgm:cxn modelId="{258E03FA-05B0-4714-B9CE-4A8B661D7680}" type="presParOf" srcId="{25BC00EB-9907-451A-ACC0-7835B9A3F702}" destId="{4D7BE04C-8181-40D6-84D4-E8A3F1EEAC9B}" srcOrd="0" destOrd="0" presId="urn:microsoft.com/office/officeart/2005/8/layout/orgChart1"/>
    <dgm:cxn modelId="{7D6F52F2-F601-43E0-B43A-A9F1F75FCAF9}" type="presParOf" srcId="{25BC00EB-9907-451A-ACC0-7835B9A3F702}" destId="{945C8DE1-12FF-409B-B82E-8D5F5305BC1D}" srcOrd="1" destOrd="0" presId="urn:microsoft.com/office/officeart/2005/8/layout/orgChart1"/>
    <dgm:cxn modelId="{A06EEBA3-0ADC-4286-8DD5-16D96093E237}" type="presParOf" srcId="{C3A017F8-BAC8-41C7-918F-3B03757A7389}" destId="{1E0C27FF-B737-436C-B606-E468039D484B}" srcOrd="1" destOrd="0" presId="urn:microsoft.com/office/officeart/2005/8/layout/orgChart1"/>
    <dgm:cxn modelId="{9EFAC8AB-5691-40D1-B9CD-29A4802B9BFC}" type="presParOf" srcId="{C3A017F8-BAC8-41C7-918F-3B03757A7389}" destId="{CEC08C0D-C27C-48E3-B1ED-BAEA60571411}" srcOrd="2" destOrd="0" presId="urn:microsoft.com/office/officeart/2005/8/layout/orgChart1"/>
    <dgm:cxn modelId="{0B3CE159-DA99-4C43-9A89-EFA68117077D}" type="presParOf" srcId="{9FA8F224-6E18-4E7F-99A6-FE548722D991}" destId="{3A00A5B4-F0B7-4237-8E4C-414177EFCC50}" srcOrd="2" destOrd="0" presId="urn:microsoft.com/office/officeart/2005/8/layout/orgChart1"/>
    <dgm:cxn modelId="{86C2188A-2853-4649-9919-3D3DEBBE256A}" type="presParOf" srcId="{AA10D8C0-C99D-4664-A692-3054BAA08BFA}" destId="{852CA155-C73D-43ED-9CC6-BD1EB05753B0}" srcOrd="2" destOrd="0" presId="urn:microsoft.com/office/officeart/2005/8/layout/orgChart1"/>
    <dgm:cxn modelId="{CA217A50-FB93-4230-BCEF-62A73E60C04A}" type="presParOf" srcId="{AA10D8C0-C99D-4664-A692-3054BAA08BFA}" destId="{7F67498B-F780-4685-BD44-F1223F5A2A7F}" srcOrd="3" destOrd="0" presId="urn:microsoft.com/office/officeart/2005/8/layout/orgChart1"/>
    <dgm:cxn modelId="{E1B8072A-EFF1-411E-BEAE-941CDE6B7FD2}" type="presParOf" srcId="{7F67498B-F780-4685-BD44-F1223F5A2A7F}" destId="{D60A9985-6908-48A7-92A5-63F49944B564}" srcOrd="0" destOrd="0" presId="urn:microsoft.com/office/officeart/2005/8/layout/orgChart1"/>
    <dgm:cxn modelId="{0DD0C70D-A9B2-4659-9360-63EE3847467B}" type="presParOf" srcId="{D60A9985-6908-48A7-92A5-63F49944B564}" destId="{1793E7E1-3289-4668-B8E8-B688F0D5300F}" srcOrd="0" destOrd="0" presId="urn:microsoft.com/office/officeart/2005/8/layout/orgChart1"/>
    <dgm:cxn modelId="{E71C3F8C-2E46-4AB4-AF62-B5FC8531852F}" type="presParOf" srcId="{D60A9985-6908-48A7-92A5-63F49944B564}" destId="{F841795A-2C00-4BE4-B68E-8BD1945EBDDD}" srcOrd="1" destOrd="0" presId="urn:microsoft.com/office/officeart/2005/8/layout/orgChart1"/>
    <dgm:cxn modelId="{B5A50423-1D1A-4A72-B973-52DB05CC3CF0}" type="presParOf" srcId="{7F67498B-F780-4685-BD44-F1223F5A2A7F}" destId="{D241ED9B-173F-4EB1-B79E-3D6B084B58F7}" srcOrd="1" destOrd="0" presId="urn:microsoft.com/office/officeart/2005/8/layout/orgChart1"/>
    <dgm:cxn modelId="{4C14D038-2115-4065-9E8D-CB8BD9B4587A}" type="presParOf" srcId="{D241ED9B-173F-4EB1-B79E-3D6B084B58F7}" destId="{A0C79DD4-7E6D-42B1-8909-AE7A3EFE20EF}" srcOrd="0" destOrd="0" presId="urn:microsoft.com/office/officeart/2005/8/layout/orgChart1"/>
    <dgm:cxn modelId="{E741F02E-8D3D-4021-95D3-729D46C03598}" type="presParOf" srcId="{D241ED9B-173F-4EB1-B79E-3D6B084B58F7}" destId="{6384315F-79E2-4056-A0DD-C32403F1C02C}" srcOrd="1" destOrd="0" presId="urn:microsoft.com/office/officeart/2005/8/layout/orgChart1"/>
    <dgm:cxn modelId="{460107E4-5A37-45C1-9EF8-91D9468B8EA5}" type="presParOf" srcId="{6384315F-79E2-4056-A0DD-C32403F1C02C}" destId="{E0BC79C3-AA93-4490-B7F2-8FA41F1ABFFE}" srcOrd="0" destOrd="0" presId="urn:microsoft.com/office/officeart/2005/8/layout/orgChart1"/>
    <dgm:cxn modelId="{4DCC25D8-74D1-45B7-B0C4-D5A422B90502}" type="presParOf" srcId="{E0BC79C3-AA93-4490-B7F2-8FA41F1ABFFE}" destId="{166A73DC-A977-4B76-AECA-EA2A99ADB1A0}" srcOrd="0" destOrd="0" presId="urn:microsoft.com/office/officeart/2005/8/layout/orgChart1"/>
    <dgm:cxn modelId="{52D594B9-E040-4548-9CA6-4F3552999A8D}" type="presParOf" srcId="{E0BC79C3-AA93-4490-B7F2-8FA41F1ABFFE}" destId="{76EDAC7B-7CD7-49AE-BE9A-92868967BB86}" srcOrd="1" destOrd="0" presId="urn:microsoft.com/office/officeart/2005/8/layout/orgChart1"/>
    <dgm:cxn modelId="{06DB839E-9B01-4557-B991-70B2F9B293B3}" type="presParOf" srcId="{6384315F-79E2-4056-A0DD-C32403F1C02C}" destId="{55E61219-D1A8-443A-B1D5-286469BB81A6}" srcOrd="1" destOrd="0" presId="urn:microsoft.com/office/officeart/2005/8/layout/orgChart1"/>
    <dgm:cxn modelId="{68E8B222-EEFB-444E-BF55-074AAD7A96DA}" type="presParOf" srcId="{6384315F-79E2-4056-A0DD-C32403F1C02C}" destId="{F5CD6178-9B06-4AA7-9B1A-C12B75B0E774}" srcOrd="2" destOrd="0" presId="urn:microsoft.com/office/officeart/2005/8/layout/orgChart1"/>
    <dgm:cxn modelId="{E28D418E-6C4A-4EFC-96A1-6D5818F58E8B}" type="presParOf" srcId="{D241ED9B-173F-4EB1-B79E-3D6B084B58F7}" destId="{F1F2B89E-BFFB-40B2-B7FF-BCDB27B5503E}" srcOrd="2" destOrd="0" presId="urn:microsoft.com/office/officeart/2005/8/layout/orgChart1"/>
    <dgm:cxn modelId="{6B815B95-A691-490C-B673-5BC229590034}" type="presParOf" srcId="{D241ED9B-173F-4EB1-B79E-3D6B084B58F7}" destId="{CBEEEBD3-9AF2-43E2-95AD-72FB88768875}" srcOrd="3" destOrd="0" presId="urn:microsoft.com/office/officeart/2005/8/layout/orgChart1"/>
    <dgm:cxn modelId="{94145320-B919-4E42-8D29-A902DC84EB32}" type="presParOf" srcId="{CBEEEBD3-9AF2-43E2-95AD-72FB88768875}" destId="{15519FB4-5678-454B-B6C4-97D267278B24}" srcOrd="0" destOrd="0" presId="urn:microsoft.com/office/officeart/2005/8/layout/orgChart1"/>
    <dgm:cxn modelId="{7E3488B6-5696-4106-BE40-F1DF5DB41621}" type="presParOf" srcId="{15519FB4-5678-454B-B6C4-97D267278B24}" destId="{7F5E82F5-1733-4962-BB4D-C0D5AE8652D0}" srcOrd="0" destOrd="0" presId="urn:microsoft.com/office/officeart/2005/8/layout/orgChart1"/>
    <dgm:cxn modelId="{E4F32807-3D49-4768-B191-79A139EE8878}" type="presParOf" srcId="{15519FB4-5678-454B-B6C4-97D267278B24}" destId="{DDDB56E2-5DDB-4190-9015-1B42DABB4307}" srcOrd="1" destOrd="0" presId="urn:microsoft.com/office/officeart/2005/8/layout/orgChart1"/>
    <dgm:cxn modelId="{26E512A9-FF65-4B33-8B85-6DCFD952E9FB}" type="presParOf" srcId="{CBEEEBD3-9AF2-43E2-95AD-72FB88768875}" destId="{5442CA56-D111-4F91-AFEA-96B6A3C9B810}" srcOrd="1" destOrd="0" presId="urn:microsoft.com/office/officeart/2005/8/layout/orgChart1"/>
    <dgm:cxn modelId="{3CA7B4EE-C0EE-4B76-8F20-D8EBD2EA3017}" type="presParOf" srcId="{CBEEEBD3-9AF2-43E2-95AD-72FB88768875}" destId="{CDA18182-906F-48E5-9366-D8A93C6A2590}" srcOrd="2" destOrd="0" presId="urn:microsoft.com/office/officeart/2005/8/layout/orgChart1"/>
    <dgm:cxn modelId="{F1AF594D-38CF-428B-9324-0B511D6C7A93}" type="presParOf" srcId="{7F67498B-F780-4685-BD44-F1223F5A2A7F}" destId="{86D3F7B7-198E-4375-A5AD-27945D4DD483}" srcOrd="2" destOrd="0" presId="urn:microsoft.com/office/officeart/2005/8/layout/orgChart1"/>
    <dgm:cxn modelId="{80A20842-22A1-4B73-AA38-E168CA98D456}" type="presParOf" srcId="{AA10D8C0-C99D-4664-A692-3054BAA08BFA}" destId="{B9A67DDB-DE0F-4C2C-84D8-B8680A191C73}" srcOrd="4" destOrd="0" presId="urn:microsoft.com/office/officeart/2005/8/layout/orgChart1"/>
    <dgm:cxn modelId="{A2F6D387-5447-45EE-82A0-555E44755AAF}" type="presParOf" srcId="{AA10D8C0-C99D-4664-A692-3054BAA08BFA}" destId="{5802980B-185D-4C23-A935-B012D18E0502}" srcOrd="5" destOrd="0" presId="urn:microsoft.com/office/officeart/2005/8/layout/orgChart1"/>
    <dgm:cxn modelId="{E7B478B4-3108-4677-B31C-0F0E89CD734E}" type="presParOf" srcId="{5802980B-185D-4C23-A935-B012D18E0502}" destId="{5BD2397C-F97E-47DE-B84A-2A12A025887C}" srcOrd="0" destOrd="0" presId="urn:microsoft.com/office/officeart/2005/8/layout/orgChart1"/>
    <dgm:cxn modelId="{46CB666C-65D9-465F-9EAF-C27D65BC876F}" type="presParOf" srcId="{5BD2397C-F97E-47DE-B84A-2A12A025887C}" destId="{BE5B5CAA-8120-4134-9700-6C4EE1F54D21}" srcOrd="0" destOrd="0" presId="urn:microsoft.com/office/officeart/2005/8/layout/orgChart1"/>
    <dgm:cxn modelId="{3A254F10-C420-476C-AF3A-A131DB736F5E}" type="presParOf" srcId="{5BD2397C-F97E-47DE-B84A-2A12A025887C}" destId="{9E9F214C-5FEE-4017-AF56-0E9F10652B75}" srcOrd="1" destOrd="0" presId="urn:microsoft.com/office/officeart/2005/8/layout/orgChart1"/>
    <dgm:cxn modelId="{3D4ED6A7-1E09-4564-B033-B5A4A64050ED}" type="presParOf" srcId="{5802980B-185D-4C23-A935-B012D18E0502}" destId="{0CDB3EED-B300-4352-9E02-0475CF080212}" srcOrd="1" destOrd="0" presId="urn:microsoft.com/office/officeart/2005/8/layout/orgChart1"/>
    <dgm:cxn modelId="{3F4214C0-7410-4D0A-B1A6-AD89FC2336C5}" type="presParOf" srcId="{0CDB3EED-B300-4352-9E02-0475CF080212}" destId="{6C0ACA97-3B04-444E-95BA-9229F4A2277F}" srcOrd="0" destOrd="0" presId="urn:microsoft.com/office/officeart/2005/8/layout/orgChart1"/>
    <dgm:cxn modelId="{9141BD1D-9AE1-4902-85F6-2ABAB890FA84}" type="presParOf" srcId="{0CDB3EED-B300-4352-9E02-0475CF080212}" destId="{4EAAA6BB-DF70-4061-85B5-D9F7271DC810}" srcOrd="1" destOrd="0" presId="urn:microsoft.com/office/officeart/2005/8/layout/orgChart1"/>
    <dgm:cxn modelId="{300A4B42-2553-455D-85C7-D85C8391EC92}" type="presParOf" srcId="{4EAAA6BB-DF70-4061-85B5-D9F7271DC810}" destId="{4DC5FD05-AB11-4D77-8123-A367D766A66F}" srcOrd="0" destOrd="0" presId="urn:microsoft.com/office/officeart/2005/8/layout/orgChart1"/>
    <dgm:cxn modelId="{3891E88C-E44F-4CC0-8F70-89598474D1B9}" type="presParOf" srcId="{4DC5FD05-AB11-4D77-8123-A367D766A66F}" destId="{42CD4AB0-55D6-4B98-BB31-AB26A026D22F}" srcOrd="0" destOrd="0" presId="urn:microsoft.com/office/officeart/2005/8/layout/orgChart1"/>
    <dgm:cxn modelId="{6CC1EE5D-0F77-4A8A-AD5C-A570CD8BF1DC}" type="presParOf" srcId="{4DC5FD05-AB11-4D77-8123-A367D766A66F}" destId="{56FC8695-66A9-413D-837A-483220B85D53}" srcOrd="1" destOrd="0" presId="urn:microsoft.com/office/officeart/2005/8/layout/orgChart1"/>
    <dgm:cxn modelId="{B3A0C4FA-B1FB-4D85-BFC0-E861744AF219}" type="presParOf" srcId="{4EAAA6BB-DF70-4061-85B5-D9F7271DC810}" destId="{FFAC531D-A44A-4458-BCC9-1F5423262F95}" srcOrd="1" destOrd="0" presId="urn:microsoft.com/office/officeart/2005/8/layout/orgChart1"/>
    <dgm:cxn modelId="{5B4D0D70-27EF-48A6-8307-9BF41A0D68D7}" type="presParOf" srcId="{4EAAA6BB-DF70-4061-85B5-D9F7271DC810}" destId="{DE73F394-3AC0-4BB1-BE6C-96A09684B2E5}" srcOrd="2" destOrd="0" presId="urn:microsoft.com/office/officeart/2005/8/layout/orgChart1"/>
    <dgm:cxn modelId="{5DF5E345-5016-4525-9AE1-A5736E1633FC}" type="presParOf" srcId="{0CDB3EED-B300-4352-9E02-0475CF080212}" destId="{80BF546C-57C0-4B5A-BA8B-C644170D2527}" srcOrd="2" destOrd="0" presId="urn:microsoft.com/office/officeart/2005/8/layout/orgChart1"/>
    <dgm:cxn modelId="{5B62EF2F-93F2-48C2-B919-1FD451247490}" type="presParOf" srcId="{0CDB3EED-B300-4352-9E02-0475CF080212}" destId="{3ADDCF8B-BFCD-4415-B211-4C203404997B}" srcOrd="3" destOrd="0" presId="urn:microsoft.com/office/officeart/2005/8/layout/orgChart1"/>
    <dgm:cxn modelId="{D2B9E8AD-AA1D-4E48-A1CD-D4F191827D3B}" type="presParOf" srcId="{3ADDCF8B-BFCD-4415-B211-4C203404997B}" destId="{B0BC35EE-5401-4E72-AAAB-617085E063CD}" srcOrd="0" destOrd="0" presId="urn:microsoft.com/office/officeart/2005/8/layout/orgChart1"/>
    <dgm:cxn modelId="{0D4E5A4E-675A-436A-BE20-52F141C0E6F9}" type="presParOf" srcId="{B0BC35EE-5401-4E72-AAAB-617085E063CD}" destId="{B0E9FE80-96BF-4104-886A-E0AAB7ECF742}" srcOrd="0" destOrd="0" presId="urn:microsoft.com/office/officeart/2005/8/layout/orgChart1"/>
    <dgm:cxn modelId="{53A71E62-2DA4-484E-87DF-08E29E0EA2BF}" type="presParOf" srcId="{B0BC35EE-5401-4E72-AAAB-617085E063CD}" destId="{DCE341F8-1777-4CF0-97B9-0E39B3941DD0}" srcOrd="1" destOrd="0" presId="urn:microsoft.com/office/officeart/2005/8/layout/orgChart1"/>
    <dgm:cxn modelId="{A53DF217-D0E5-4AF0-ABC5-89E72BF64348}" type="presParOf" srcId="{3ADDCF8B-BFCD-4415-B211-4C203404997B}" destId="{076259DE-98DD-440E-BE4E-88374C997238}" srcOrd="1" destOrd="0" presId="urn:microsoft.com/office/officeart/2005/8/layout/orgChart1"/>
    <dgm:cxn modelId="{5E58579B-03F7-4B3C-BA7A-601DA076C04F}" type="presParOf" srcId="{3ADDCF8B-BFCD-4415-B211-4C203404997B}" destId="{1D52387D-EA47-47BB-90CC-1266B0FA70EC}" srcOrd="2" destOrd="0" presId="urn:microsoft.com/office/officeart/2005/8/layout/orgChart1"/>
    <dgm:cxn modelId="{B0E07300-9140-4695-A4F6-AD734603A744}" type="presParOf" srcId="{5802980B-185D-4C23-A935-B012D18E0502}" destId="{A90729AB-EDD0-406F-BB37-EB6B6C7DC76B}" srcOrd="2" destOrd="0" presId="urn:microsoft.com/office/officeart/2005/8/layout/orgChart1"/>
    <dgm:cxn modelId="{A1B0E8AA-0862-4580-87E3-2A1A84F3DB2C}" type="presParOf" srcId="{AA10D8C0-C99D-4664-A692-3054BAA08BFA}" destId="{A00CB14D-6EA0-463E-9E4C-878FE0DE6C0B}" srcOrd="6" destOrd="0" presId="urn:microsoft.com/office/officeart/2005/8/layout/orgChart1"/>
    <dgm:cxn modelId="{548769AE-F8EF-4B7D-9E96-2F6CE7CD9565}" type="presParOf" srcId="{AA10D8C0-C99D-4664-A692-3054BAA08BFA}" destId="{289BB0D8-DC22-478C-A27E-25365AA3D746}" srcOrd="7" destOrd="0" presId="urn:microsoft.com/office/officeart/2005/8/layout/orgChart1"/>
    <dgm:cxn modelId="{DCDB15B4-5105-4077-BB52-7184E9A484B4}" type="presParOf" srcId="{289BB0D8-DC22-478C-A27E-25365AA3D746}" destId="{721A0E8A-D6A3-400B-8189-0F8A1661268D}" srcOrd="0" destOrd="0" presId="urn:microsoft.com/office/officeart/2005/8/layout/orgChart1"/>
    <dgm:cxn modelId="{F9522035-91A5-43F6-ADD0-36E0B5402F04}" type="presParOf" srcId="{721A0E8A-D6A3-400B-8189-0F8A1661268D}" destId="{F6594D46-C731-4FA4-98DD-8B1F34BDBEA6}" srcOrd="0" destOrd="0" presId="urn:microsoft.com/office/officeart/2005/8/layout/orgChart1"/>
    <dgm:cxn modelId="{A1166743-6CE8-4D3A-B18A-84662DCFBB6D}" type="presParOf" srcId="{721A0E8A-D6A3-400B-8189-0F8A1661268D}" destId="{C705EAC6-5405-41E1-9FD1-22C9C12EDC04}" srcOrd="1" destOrd="0" presId="urn:microsoft.com/office/officeart/2005/8/layout/orgChart1"/>
    <dgm:cxn modelId="{70FDD3E8-96CC-4D34-B5AF-575A1F057274}" type="presParOf" srcId="{289BB0D8-DC22-478C-A27E-25365AA3D746}" destId="{AA057ABE-8BB8-408C-8188-5FDB03C2F8F4}" srcOrd="1" destOrd="0" presId="urn:microsoft.com/office/officeart/2005/8/layout/orgChart1"/>
    <dgm:cxn modelId="{63C99AFD-5B9A-4B32-86E4-7CD8852D2353}" type="presParOf" srcId="{AA057ABE-8BB8-408C-8188-5FDB03C2F8F4}" destId="{2CD5C9F4-8886-430E-8C31-F717B808C984}" srcOrd="0" destOrd="0" presId="urn:microsoft.com/office/officeart/2005/8/layout/orgChart1"/>
    <dgm:cxn modelId="{A244E1F9-909E-43DC-B949-8DFAFEB4D444}" type="presParOf" srcId="{AA057ABE-8BB8-408C-8188-5FDB03C2F8F4}" destId="{260420B4-5AD0-495A-8CFB-002B5C3DAB2E}" srcOrd="1" destOrd="0" presId="urn:microsoft.com/office/officeart/2005/8/layout/orgChart1"/>
    <dgm:cxn modelId="{30A96561-873C-4E5A-8F77-94E8E64DEA7F}" type="presParOf" srcId="{260420B4-5AD0-495A-8CFB-002B5C3DAB2E}" destId="{2FEBA696-AB1D-4F4D-82BD-110BC521B599}" srcOrd="0" destOrd="0" presId="urn:microsoft.com/office/officeart/2005/8/layout/orgChart1"/>
    <dgm:cxn modelId="{074D0E0A-AE19-4D36-AC6F-6061171B0546}" type="presParOf" srcId="{2FEBA696-AB1D-4F4D-82BD-110BC521B599}" destId="{3F91848C-58E4-49E8-9A14-12C230562BE4}" srcOrd="0" destOrd="0" presId="urn:microsoft.com/office/officeart/2005/8/layout/orgChart1"/>
    <dgm:cxn modelId="{664DF5DC-9FAF-4158-84B0-CDD1BDC2550B}" type="presParOf" srcId="{2FEBA696-AB1D-4F4D-82BD-110BC521B599}" destId="{F5FC7C27-3221-4E9D-862B-203489A7CF41}" srcOrd="1" destOrd="0" presId="urn:microsoft.com/office/officeart/2005/8/layout/orgChart1"/>
    <dgm:cxn modelId="{0D9C4315-1E57-467A-8C0C-667A58370186}" type="presParOf" srcId="{260420B4-5AD0-495A-8CFB-002B5C3DAB2E}" destId="{6D949552-B229-407E-BB3B-A514801C6688}" srcOrd="1" destOrd="0" presId="urn:microsoft.com/office/officeart/2005/8/layout/orgChart1"/>
    <dgm:cxn modelId="{C264253D-0EB7-4DA4-927D-B18A4388ADA0}" type="presParOf" srcId="{260420B4-5AD0-495A-8CFB-002B5C3DAB2E}" destId="{2BF40082-AB71-4783-AA61-02BB98E75C5A}" srcOrd="2" destOrd="0" presId="urn:microsoft.com/office/officeart/2005/8/layout/orgChart1"/>
    <dgm:cxn modelId="{AB3F3493-0F52-4E74-A338-8CCEDFC0BF71}" type="presParOf" srcId="{AA057ABE-8BB8-408C-8188-5FDB03C2F8F4}" destId="{6B9AA54C-7C5A-49C4-B0E0-529AE5232E49}" srcOrd="2" destOrd="0" presId="urn:microsoft.com/office/officeart/2005/8/layout/orgChart1"/>
    <dgm:cxn modelId="{D5DC5AB3-026F-453E-B8CF-3031BE9FEADF}" type="presParOf" srcId="{AA057ABE-8BB8-408C-8188-5FDB03C2F8F4}" destId="{38F87954-F9A2-497F-8EB2-75E6A5E63525}" srcOrd="3" destOrd="0" presId="urn:microsoft.com/office/officeart/2005/8/layout/orgChart1"/>
    <dgm:cxn modelId="{10D1A53E-D490-4180-B101-5781905BE7B1}" type="presParOf" srcId="{38F87954-F9A2-497F-8EB2-75E6A5E63525}" destId="{57933307-E95E-43CE-91E3-0BCE1A130A26}" srcOrd="0" destOrd="0" presId="urn:microsoft.com/office/officeart/2005/8/layout/orgChart1"/>
    <dgm:cxn modelId="{D9081928-6788-4DFB-884C-803622F26CB5}" type="presParOf" srcId="{57933307-E95E-43CE-91E3-0BCE1A130A26}" destId="{9AFFCE29-1E33-4711-868F-8865769C6B1B}" srcOrd="0" destOrd="0" presId="urn:microsoft.com/office/officeart/2005/8/layout/orgChart1"/>
    <dgm:cxn modelId="{66DA4B10-3501-4A6B-AB5D-B72FD721024C}" type="presParOf" srcId="{57933307-E95E-43CE-91E3-0BCE1A130A26}" destId="{7FCFDE6C-47F6-43DB-A79E-6D68A6D8C323}" srcOrd="1" destOrd="0" presId="urn:microsoft.com/office/officeart/2005/8/layout/orgChart1"/>
    <dgm:cxn modelId="{B5E2E939-CFFB-4E7E-9A8C-A6C35140BEF0}" type="presParOf" srcId="{38F87954-F9A2-497F-8EB2-75E6A5E63525}" destId="{1DEBD606-F55A-411A-820C-3BE1A501CAB1}" srcOrd="1" destOrd="0" presId="urn:microsoft.com/office/officeart/2005/8/layout/orgChart1"/>
    <dgm:cxn modelId="{E97F3CA9-CE89-4BAC-AB7A-878F1C637BF8}" type="presParOf" srcId="{38F87954-F9A2-497F-8EB2-75E6A5E63525}" destId="{88750B62-AB9E-4B7E-A9EC-176BCA32A245}" srcOrd="2" destOrd="0" presId="urn:microsoft.com/office/officeart/2005/8/layout/orgChart1"/>
    <dgm:cxn modelId="{8A4B90BD-A15F-446F-89DB-F8D5E49CE70F}" type="presParOf" srcId="{289BB0D8-DC22-478C-A27E-25365AA3D746}" destId="{EE5F99FA-9B9A-48FB-A748-BA97ABB2C794}" srcOrd="2" destOrd="0" presId="urn:microsoft.com/office/officeart/2005/8/layout/orgChart1"/>
    <dgm:cxn modelId="{B2ECC4B5-EF33-4264-9E22-523064A3882C}" type="presParOf" srcId="{AA10D8C0-C99D-4664-A692-3054BAA08BFA}" destId="{C717B6B4-376A-4274-A225-23DD6DB7944F}" srcOrd="8" destOrd="0" presId="urn:microsoft.com/office/officeart/2005/8/layout/orgChart1"/>
    <dgm:cxn modelId="{0E792318-EEF7-4A3A-9E24-41942F2828BC}" type="presParOf" srcId="{AA10D8C0-C99D-4664-A692-3054BAA08BFA}" destId="{6D5D2748-5DF5-4022-9618-C88A3D0E3270}" srcOrd="9" destOrd="0" presId="urn:microsoft.com/office/officeart/2005/8/layout/orgChart1"/>
    <dgm:cxn modelId="{F648C930-6720-4D79-B5B1-B50271629318}" type="presParOf" srcId="{6D5D2748-5DF5-4022-9618-C88A3D0E3270}" destId="{A3A1A8F5-A5D3-4932-97EC-AE9A67F132D6}" srcOrd="0" destOrd="0" presId="urn:microsoft.com/office/officeart/2005/8/layout/orgChart1"/>
    <dgm:cxn modelId="{36AC5C9C-F41D-4D1C-A628-C5D4250B12B3}" type="presParOf" srcId="{A3A1A8F5-A5D3-4932-97EC-AE9A67F132D6}" destId="{575BCF8D-E25A-4F03-ACD7-35BEF0DBD079}" srcOrd="0" destOrd="0" presId="urn:microsoft.com/office/officeart/2005/8/layout/orgChart1"/>
    <dgm:cxn modelId="{718B118A-6E88-4C80-9240-4338C01FA43E}" type="presParOf" srcId="{A3A1A8F5-A5D3-4932-97EC-AE9A67F132D6}" destId="{CF80CEF6-4540-4973-9D24-66464F2D35BB}" srcOrd="1" destOrd="0" presId="urn:microsoft.com/office/officeart/2005/8/layout/orgChart1"/>
    <dgm:cxn modelId="{438B4842-1323-48EB-86DF-15386FF5C327}" type="presParOf" srcId="{6D5D2748-5DF5-4022-9618-C88A3D0E3270}" destId="{115A63A5-4924-403E-A920-F81C0921A33F}" srcOrd="1" destOrd="0" presId="urn:microsoft.com/office/officeart/2005/8/layout/orgChart1"/>
    <dgm:cxn modelId="{BD99C19D-2F30-4673-AB54-A5A63B146C0B}" type="presParOf" srcId="{115A63A5-4924-403E-A920-F81C0921A33F}" destId="{01716479-DCD7-410D-90E2-FDEBF7B3501A}" srcOrd="0" destOrd="0" presId="urn:microsoft.com/office/officeart/2005/8/layout/orgChart1"/>
    <dgm:cxn modelId="{77D5B533-115B-43EF-9AAD-AAFD5EB37721}" type="presParOf" srcId="{115A63A5-4924-403E-A920-F81C0921A33F}" destId="{DD61553E-171E-469C-A4F8-A5BFC4E11FF8}" srcOrd="1" destOrd="0" presId="urn:microsoft.com/office/officeart/2005/8/layout/orgChart1"/>
    <dgm:cxn modelId="{735D2365-E5C0-43C0-A36E-6CE74C539B0C}" type="presParOf" srcId="{DD61553E-171E-469C-A4F8-A5BFC4E11FF8}" destId="{DB80AFEF-5F64-46C4-9072-C8656818192E}" srcOrd="0" destOrd="0" presId="urn:microsoft.com/office/officeart/2005/8/layout/orgChart1"/>
    <dgm:cxn modelId="{9D029171-01CB-41CE-ABF0-8D4922724C0D}" type="presParOf" srcId="{DB80AFEF-5F64-46C4-9072-C8656818192E}" destId="{A21D2C43-7861-4E50-AAEB-80CE77C8DC89}" srcOrd="0" destOrd="0" presId="urn:microsoft.com/office/officeart/2005/8/layout/orgChart1"/>
    <dgm:cxn modelId="{9F97677C-0868-4636-826F-9F1941456816}" type="presParOf" srcId="{DB80AFEF-5F64-46C4-9072-C8656818192E}" destId="{FA0916FD-984C-485A-9BC6-E0EC6973F9E2}" srcOrd="1" destOrd="0" presId="urn:microsoft.com/office/officeart/2005/8/layout/orgChart1"/>
    <dgm:cxn modelId="{6D2454B5-ED70-49A6-AB77-C0359E6AD6D3}" type="presParOf" srcId="{DD61553E-171E-469C-A4F8-A5BFC4E11FF8}" destId="{0D33DFA8-2269-4073-A1F3-65DD5A28EF47}" srcOrd="1" destOrd="0" presId="urn:microsoft.com/office/officeart/2005/8/layout/orgChart1"/>
    <dgm:cxn modelId="{194F0016-2675-4B3F-A390-73DB8B200657}" type="presParOf" srcId="{DD61553E-171E-469C-A4F8-A5BFC4E11FF8}" destId="{96E124D1-C753-4B0C-BC37-A44B3528DA2D}" srcOrd="2" destOrd="0" presId="urn:microsoft.com/office/officeart/2005/8/layout/orgChart1"/>
    <dgm:cxn modelId="{EAB27F32-184C-4492-80DB-44AB0F9222D5}" type="presParOf" srcId="{115A63A5-4924-403E-A920-F81C0921A33F}" destId="{FDEEE2C5-3836-4BC6-B27C-770CA924A823}" srcOrd="2" destOrd="0" presId="urn:microsoft.com/office/officeart/2005/8/layout/orgChart1"/>
    <dgm:cxn modelId="{A2063678-1355-4981-A2D2-8B939159A673}" type="presParOf" srcId="{115A63A5-4924-403E-A920-F81C0921A33F}" destId="{D71CB3C3-AE1E-4A62-AD4B-5B14C16082EA}" srcOrd="3" destOrd="0" presId="urn:microsoft.com/office/officeart/2005/8/layout/orgChart1"/>
    <dgm:cxn modelId="{E09BE788-E5E7-4969-AB5E-92EC6E1A5A8E}" type="presParOf" srcId="{D71CB3C3-AE1E-4A62-AD4B-5B14C16082EA}" destId="{197D7F25-200C-4D01-83EF-81CE40860B14}" srcOrd="0" destOrd="0" presId="urn:microsoft.com/office/officeart/2005/8/layout/orgChart1"/>
    <dgm:cxn modelId="{01D57C04-2F5B-4DFA-9C2F-1FCFA365728D}" type="presParOf" srcId="{197D7F25-200C-4D01-83EF-81CE40860B14}" destId="{AB99CA82-268E-41CE-9925-BC3C5BA82527}" srcOrd="0" destOrd="0" presId="urn:microsoft.com/office/officeart/2005/8/layout/orgChart1"/>
    <dgm:cxn modelId="{B96899A7-FB7A-4BC4-B85D-12F480BD827B}" type="presParOf" srcId="{197D7F25-200C-4D01-83EF-81CE40860B14}" destId="{44C8D69D-46ED-4341-AE42-BDB36ECB72A0}" srcOrd="1" destOrd="0" presId="urn:microsoft.com/office/officeart/2005/8/layout/orgChart1"/>
    <dgm:cxn modelId="{CB3D8C34-0DB8-4F55-99FA-24EA462EE99B}" type="presParOf" srcId="{D71CB3C3-AE1E-4A62-AD4B-5B14C16082EA}" destId="{ACB30E7B-B7F5-42DC-9B5F-892E7D920659}" srcOrd="1" destOrd="0" presId="urn:microsoft.com/office/officeart/2005/8/layout/orgChart1"/>
    <dgm:cxn modelId="{8A722AA1-D864-4B92-A71C-0099024E809D}" type="presParOf" srcId="{D71CB3C3-AE1E-4A62-AD4B-5B14C16082EA}" destId="{A1B8ADDD-5AF1-42C2-BFBF-CEC70E833323}" srcOrd="2" destOrd="0" presId="urn:microsoft.com/office/officeart/2005/8/layout/orgChart1"/>
    <dgm:cxn modelId="{DAB4CA19-7BC1-49F3-93CB-E2E1646BC9FC}" type="presParOf" srcId="{6D5D2748-5DF5-4022-9618-C88A3D0E3270}" destId="{0B07B634-0BB2-4540-850A-2EC3E848CBB5}" srcOrd="2" destOrd="0" presId="urn:microsoft.com/office/officeart/2005/8/layout/orgChart1"/>
    <dgm:cxn modelId="{90DCD50F-98D0-4D1F-8CED-2BEBAD884D3D}" type="presParOf" srcId="{A89FE0C4-30F0-43BA-8B53-2C6D99BAA141}" destId="{43CC379A-5F7F-48A8-BE7D-C72D08E89F2A}"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12C512F-2683-442B-B7A0-5F2E995C5B92}" type="doc">
      <dgm:prSet loTypeId="urn:microsoft.com/office/officeart/2009/layout/CirclePictureHierarchy" loCatId="hierarchy" qsTypeId="urn:microsoft.com/office/officeart/2005/8/quickstyle/simple1" qsCatId="simple" csTypeId="urn:microsoft.com/office/officeart/2005/8/colors/accent1_2" csCatId="accent1" phldr="1"/>
      <dgm:spPr/>
      <dgm:t>
        <a:bodyPr/>
        <a:lstStyle/>
        <a:p>
          <a:endParaRPr lang="en-US"/>
        </a:p>
      </dgm:t>
    </dgm:pt>
    <dgm:pt modelId="{F10E9D6A-1F5F-45DA-B11A-5BB5D4300CBB}">
      <dgm:prSet phldrT="[文本]" custT="1"/>
      <dgm:spPr/>
      <dgm:t>
        <a:bodyPr/>
        <a:lstStyle/>
        <a:p>
          <a:r>
            <a:rPr lang="zh-CN" altLang="en-US" sz="1800" b="1" dirty="0">
              <a:solidFill>
                <a:schemeClr val="accent1"/>
              </a:solidFill>
            </a:rPr>
            <a:t>总负责人姓名</a:t>
          </a:r>
          <a:endParaRPr lang="en-US" sz="1800" b="1" dirty="0">
            <a:solidFill>
              <a:schemeClr val="accent1"/>
            </a:solidFill>
          </a:endParaRPr>
        </a:p>
      </dgm:t>
    </dgm:pt>
    <dgm:pt modelId="{1081CE2F-CCDA-4BA7-9B7B-A0C194CFE6B3}" type="parTrans" cxnId="{62651581-FB24-4FA2-9593-9B8CA7DA0FA9}">
      <dgm:prSet/>
      <dgm:spPr/>
      <dgm:t>
        <a:bodyPr/>
        <a:lstStyle/>
        <a:p>
          <a:endParaRPr lang="en-US"/>
        </a:p>
      </dgm:t>
    </dgm:pt>
    <dgm:pt modelId="{333FA5C1-8DD7-4EB8-B89E-D6966666F808}" type="sibTrans" cxnId="{62651581-FB24-4FA2-9593-9B8CA7DA0FA9}">
      <dgm:prSet/>
      <dgm:spPr/>
      <dgm:t>
        <a:bodyPr/>
        <a:lstStyle/>
        <a:p>
          <a:endParaRPr lang="en-US"/>
        </a:p>
      </dgm:t>
    </dgm:pt>
    <dgm:pt modelId="{36E6EEAD-04F9-48D8-B9FD-9A041135299F}">
      <dgm:prSet phldrT="[文本]" custT="1"/>
      <dgm:spPr/>
      <dgm:t>
        <a:bodyPr/>
        <a:lstStyle/>
        <a:p>
          <a:r>
            <a:rPr lang="zh-CN" altLang="en-US" sz="1600" b="1" dirty="0">
              <a:solidFill>
                <a:schemeClr val="tx1">
                  <a:lumMod val="75000"/>
                  <a:lumOff val="25000"/>
                </a:schemeClr>
              </a:solidFill>
            </a:rPr>
            <a:t>人物姓名</a:t>
          </a:r>
          <a:endParaRPr lang="en-US" sz="1600" b="1" dirty="0">
            <a:solidFill>
              <a:schemeClr val="tx1">
                <a:lumMod val="75000"/>
                <a:lumOff val="25000"/>
              </a:schemeClr>
            </a:solidFill>
          </a:endParaRPr>
        </a:p>
      </dgm:t>
    </dgm:pt>
    <dgm:pt modelId="{8944EB3E-E230-4495-9B23-910867079706}" type="parTrans" cxnId="{210FC1BC-49F5-4A05-91B7-3135899E453C}">
      <dgm:prSet/>
      <dgm:spPr>
        <a:ln>
          <a:solidFill>
            <a:schemeClr val="bg1">
              <a:lumMod val="50000"/>
            </a:schemeClr>
          </a:solidFill>
        </a:ln>
      </dgm:spPr>
      <dgm:t>
        <a:bodyPr/>
        <a:lstStyle/>
        <a:p>
          <a:endParaRPr lang="en-US"/>
        </a:p>
      </dgm:t>
    </dgm:pt>
    <dgm:pt modelId="{B585D331-8798-4B4E-9143-BF3C737C27E6}" type="sibTrans" cxnId="{210FC1BC-49F5-4A05-91B7-3135899E453C}">
      <dgm:prSet/>
      <dgm:spPr/>
      <dgm:t>
        <a:bodyPr/>
        <a:lstStyle/>
        <a:p>
          <a:endParaRPr lang="en-US"/>
        </a:p>
      </dgm:t>
    </dgm:pt>
    <dgm:pt modelId="{FEF35927-FA7D-46D2-B1D8-E05271A04E54}">
      <dgm:prSet phldrT="[文本]" custT="1"/>
      <dgm:spPr/>
      <dgm:t>
        <a:bodyPr/>
        <a:lstStyle/>
        <a:p>
          <a:r>
            <a:rPr lang="zh-CN" altLang="en-US" sz="1600" dirty="0">
              <a:solidFill>
                <a:schemeClr val="tx1">
                  <a:lumMod val="75000"/>
                  <a:lumOff val="25000"/>
                </a:schemeClr>
              </a:solidFill>
            </a:rPr>
            <a:t>人物姓名</a:t>
          </a:r>
          <a:endParaRPr lang="en-US" sz="1600" dirty="0">
            <a:solidFill>
              <a:schemeClr val="tx1">
                <a:lumMod val="75000"/>
                <a:lumOff val="25000"/>
              </a:schemeClr>
            </a:solidFill>
          </a:endParaRPr>
        </a:p>
      </dgm:t>
    </dgm:pt>
    <dgm:pt modelId="{264BA5D3-3742-413E-BAF7-FE485DCD2C9D}" type="parTrans" cxnId="{44F2A630-B2B1-40D1-82DE-F3456C04D93A}">
      <dgm:prSet/>
      <dgm:spPr>
        <a:ln>
          <a:solidFill>
            <a:schemeClr val="bg1">
              <a:lumMod val="50000"/>
            </a:schemeClr>
          </a:solidFill>
        </a:ln>
      </dgm:spPr>
      <dgm:t>
        <a:bodyPr/>
        <a:lstStyle/>
        <a:p>
          <a:endParaRPr lang="en-US"/>
        </a:p>
      </dgm:t>
    </dgm:pt>
    <dgm:pt modelId="{B1DE5E55-962C-4D0C-B09E-CA1D410FE760}" type="sibTrans" cxnId="{44F2A630-B2B1-40D1-82DE-F3456C04D93A}">
      <dgm:prSet/>
      <dgm:spPr/>
      <dgm:t>
        <a:bodyPr/>
        <a:lstStyle/>
        <a:p>
          <a:endParaRPr lang="en-US"/>
        </a:p>
      </dgm:t>
    </dgm:pt>
    <dgm:pt modelId="{95DF005C-9D27-43BB-9065-D527E6641205}">
      <dgm:prSet phldrT="[文本]" custT="1"/>
      <dgm:spPr/>
      <dgm:t>
        <a:bodyPr/>
        <a:lstStyle/>
        <a:p>
          <a:r>
            <a:rPr lang="zh-CN" altLang="en-US" sz="1600" dirty="0">
              <a:solidFill>
                <a:schemeClr val="tx1">
                  <a:lumMod val="75000"/>
                  <a:lumOff val="25000"/>
                </a:schemeClr>
              </a:solidFill>
            </a:rPr>
            <a:t>人物姓名</a:t>
          </a:r>
          <a:endParaRPr lang="en-US" sz="1600" dirty="0">
            <a:solidFill>
              <a:schemeClr val="tx1">
                <a:lumMod val="75000"/>
                <a:lumOff val="25000"/>
              </a:schemeClr>
            </a:solidFill>
          </a:endParaRPr>
        </a:p>
      </dgm:t>
    </dgm:pt>
    <dgm:pt modelId="{BCD7B2B1-F44B-4FD5-BE06-F37F913E3C31}" type="parTrans" cxnId="{932B7392-4EB3-4249-95AE-743DB436DB87}">
      <dgm:prSet/>
      <dgm:spPr>
        <a:ln>
          <a:solidFill>
            <a:schemeClr val="bg1">
              <a:lumMod val="50000"/>
            </a:schemeClr>
          </a:solidFill>
        </a:ln>
      </dgm:spPr>
      <dgm:t>
        <a:bodyPr/>
        <a:lstStyle/>
        <a:p>
          <a:endParaRPr lang="en-US"/>
        </a:p>
      </dgm:t>
    </dgm:pt>
    <dgm:pt modelId="{BB916D72-66CE-4576-B527-1A87CD39CC0D}" type="sibTrans" cxnId="{932B7392-4EB3-4249-95AE-743DB436DB87}">
      <dgm:prSet/>
      <dgm:spPr/>
      <dgm:t>
        <a:bodyPr/>
        <a:lstStyle/>
        <a:p>
          <a:endParaRPr lang="en-US"/>
        </a:p>
      </dgm:t>
    </dgm:pt>
    <dgm:pt modelId="{D318DF4A-31F2-42BE-B65E-D6D14AD95C5F}">
      <dgm:prSet phldrT="[文本]" custT="1"/>
      <dgm:spPr/>
      <dgm:t>
        <a:bodyPr/>
        <a:lstStyle/>
        <a:p>
          <a:r>
            <a:rPr lang="zh-CN" altLang="en-US" sz="1600" b="1" dirty="0">
              <a:solidFill>
                <a:schemeClr val="tx1">
                  <a:lumMod val="75000"/>
                  <a:lumOff val="25000"/>
                </a:schemeClr>
              </a:solidFill>
            </a:rPr>
            <a:t>人物姓名</a:t>
          </a:r>
          <a:endParaRPr lang="en-US" sz="1600" b="1" dirty="0">
            <a:solidFill>
              <a:schemeClr val="tx1">
                <a:lumMod val="75000"/>
                <a:lumOff val="25000"/>
              </a:schemeClr>
            </a:solidFill>
          </a:endParaRPr>
        </a:p>
      </dgm:t>
    </dgm:pt>
    <dgm:pt modelId="{4EAB204F-B85B-4444-ACD5-8B6E89CA1049}" type="parTrans" cxnId="{75628324-078E-447E-934C-DE9340F929D6}">
      <dgm:prSet/>
      <dgm:spPr>
        <a:ln>
          <a:solidFill>
            <a:schemeClr val="tx1">
              <a:lumMod val="65000"/>
              <a:lumOff val="35000"/>
            </a:schemeClr>
          </a:solidFill>
        </a:ln>
      </dgm:spPr>
      <dgm:t>
        <a:bodyPr/>
        <a:lstStyle/>
        <a:p>
          <a:endParaRPr lang="en-US"/>
        </a:p>
      </dgm:t>
    </dgm:pt>
    <dgm:pt modelId="{502F08AB-BF50-48C9-9F37-FF7C716C98F7}" type="sibTrans" cxnId="{75628324-078E-447E-934C-DE9340F929D6}">
      <dgm:prSet/>
      <dgm:spPr/>
      <dgm:t>
        <a:bodyPr/>
        <a:lstStyle/>
        <a:p>
          <a:endParaRPr lang="en-US"/>
        </a:p>
      </dgm:t>
    </dgm:pt>
    <dgm:pt modelId="{DBCC8DEC-4F23-4826-992B-CE1C48701411}">
      <dgm:prSet phldrT="[文本]" custT="1"/>
      <dgm:spPr/>
      <dgm:t>
        <a:bodyPr/>
        <a:lstStyle/>
        <a:p>
          <a:r>
            <a:rPr lang="zh-CN" altLang="en-US" sz="1600" dirty="0">
              <a:solidFill>
                <a:schemeClr val="tx1">
                  <a:lumMod val="75000"/>
                  <a:lumOff val="25000"/>
                </a:schemeClr>
              </a:solidFill>
            </a:rPr>
            <a:t>人物姓名</a:t>
          </a:r>
          <a:endParaRPr lang="en-US" sz="1600" dirty="0">
            <a:solidFill>
              <a:schemeClr val="tx1">
                <a:lumMod val="75000"/>
                <a:lumOff val="25000"/>
              </a:schemeClr>
            </a:solidFill>
          </a:endParaRPr>
        </a:p>
      </dgm:t>
    </dgm:pt>
    <dgm:pt modelId="{7ACD48BC-19B0-4F76-948B-43D359774B10}" type="parTrans" cxnId="{1A0FD9AA-1BD0-4C37-97A4-974C7C303D30}">
      <dgm:prSet/>
      <dgm:spPr>
        <a:ln>
          <a:solidFill>
            <a:schemeClr val="bg1">
              <a:lumMod val="50000"/>
            </a:schemeClr>
          </a:solidFill>
        </a:ln>
      </dgm:spPr>
      <dgm:t>
        <a:bodyPr/>
        <a:lstStyle/>
        <a:p>
          <a:endParaRPr lang="en-US"/>
        </a:p>
      </dgm:t>
    </dgm:pt>
    <dgm:pt modelId="{68ADF413-645C-4784-81E8-C6B082E99F83}" type="sibTrans" cxnId="{1A0FD9AA-1BD0-4C37-97A4-974C7C303D30}">
      <dgm:prSet/>
      <dgm:spPr/>
      <dgm:t>
        <a:bodyPr/>
        <a:lstStyle/>
        <a:p>
          <a:endParaRPr lang="en-US"/>
        </a:p>
      </dgm:t>
    </dgm:pt>
    <dgm:pt modelId="{AA7626A6-4DFE-4398-B9D6-25FFB031EC9C}">
      <dgm:prSet phldrT="[文本]" custT="1"/>
      <dgm:spPr/>
      <dgm:t>
        <a:bodyPr/>
        <a:lstStyle/>
        <a:p>
          <a:r>
            <a:rPr lang="zh-CN" altLang="en-US" sz="1600" b="1">
              <a:solidFill>
                <a:schemeClr val="tx1">
                  <a:lumMod val="75000"/>
                  <a:lumOff val="25000"/>
                </a:schemeClr>
              </a:solidFill>
            </a:rPr>
            <a:t>人物姓名</a:t>
          </a:r>
          <a:endParaRPr lang="en-US" sz="1600" b="1" dirty="0">
            <a:solidFill>
              <a:schemeClr val="tx1">
                <a:lumMod val="75000"/>
                <a:lumOff val="25000"/>
              </a:schemeClr>
            </a:solidFill>
          </a:endParaRPr>
        </a:p>
      </dgm:t>
    </dgm:pt>
    <dgm:pt modelId="{DEFCC59A-B5B4-4234-B382-CEBE44CF2A07}" type="parTrans" cxnId="{3595D60F-3021-402B-8D12-34490809908D}">
      <dgm:prSet/>
      <dgm:spPr>
        <a:noFill/>
        <a:ln w="12700" cap="flat" cmpd="sng" algn="ctr">
          <a:solidFill>
            <a:schemeClr val="bg1">
              <a:lumMod val="50000"/>
            </a:schemeClr>
          </a:solidFill>
          <a:prstDash val="solid"/>
          <a:miter lim="800000"/>
        </a:ln>
        <a:effectLst/>
      </dgm:spPr>
      <dgm:t>
        <a:bodyPr/>
        <a:lstStyle/>
        <a:p>
          <a:endParaRPr lang="en-US"/>
        </a:p>
      </dgm:t>
    </dgm:pt>
    <dgm:pt modelId="{35042AB0-F875-4CC0-B90E-257FCF504B61}" type="sibTrans" cxnId="{3595D60F-3021-402B-8D12-34490809908D}">
      <dgm:prSet/>
      <dgm:spPr/>
      <dgm:t>
        <a:bodyPr/>
        <a:lstStyle/>
        <a:p>
          <a:endParaRPr lang="en-US"/>
        </a:p>
      </dgm:t>
    </dgm:pt>
    <dgm:pt modelId="{5E29B81D-39D2-439F-8533-EFA98ABB52A8}">
      <dgm:prSet phldrT="[文本]" custT="1"/>
      <dgm:spPr/>
      <dgm:t>
        <a:bodyPr/>
        <a:lstStyle/>
        <a:p>
          <a:r>
            <a:rPr lang="zh-CN" altLang="en-US" sz="1600">
              <a:solidFill>
                <a:schemeClr val="tx1">
                  <a:lumMod val="75000"/>
                  <a:lumOff val="25000"/>
                </a:schemeClr>
              </a:solidFill>
            </a:rPr>
            <a:t>人物姓名</a:t>
          </a:r>
          <a:endParaRPr lang="en-US" sz="1600" dirty="0">
            <a:solidFill>
              <a:schemeClr val="tx1">
                <a:lumMod val="75000"/>
                <a:lumOff val="25000"/>
              </a:schemeClr>
            </a:solidFill>
          </a:endParaRPr>
        </a:p>
      </dgm:t>
    </dgm:pt>
    <dgm:pt modelId="{6C4C0A4C-EC57-4CED-A6AC-56475841F782}" type="parTrans" cxnId="{DDDF257C-9EE1-4492-B931-68504E650250}">
      <dgm:prSet/>
      <dgm:spPr>
        <a:ln>
          <a:solidFill>
            <a:schemeClr val="bg1">
              <a:lumMod val="50000"/>
            </a:schemeClr>
          </a:solidFill>
        </a:ln>
      </dgm:spPr>
      <dgm:t>
        <a:bodyPr/>
        <a:lstStyle/>
        <a:p>
          <a:endParaRPr lang="en-US"/>
        </a:p>
      </dgm:t>
    </dgm:pt>
    <dgm:pt modelId="{D753FA7E-F558-4FCF-8A9B-B389903C05CD}" type="sibTrans" cxnId="{DDDF257C-9EE1-4492-B931-68504E650250}">
      <dgm:prSet/>
      <dgm:spPr/>
      <dgm:t>
        <a:bodyPr/>
        <a:lstStyle/>
        <a:p>
          <a:endParaRPr lang="en-US"/>
        </a:p>
      </dgm:t>
    </dgm:pt>
    <dgm:pt modelId="{339295AA-D2E9-4D2F-85D5-15445F9658EA}">
      <dgm:prSet phldrT="[文本]" custT="1"/>
      <dgm:spPr/>
      <dgm:t>
        <a:bodyPr/>
        <a:lstStyle/>
        <a:p>
          <a:r>
            <a:rPr lang="zh-CN" altLang="en-US" sz="1600">
              <a:solidFill>
                <a:schemeClr val="tx1">
                  <a:lumMod val="75000"/>
                  <a:lumOff val="25000"/>
                </a:schemeClr>
              </a:solidFill>
            </a:rPr>
            <a:t>人物姓名</a:t>
          </a:r>
          <a:endParaRPr lang="en-US" sz="1600" dirty="0">
            <a:solidFill>
              <a:schemeClr val="tx1">
                <a:lumMod val="75000"/>
                <a:lumOff val="25000"/>
              </a:schemeClr>
            </a:solidFill>
          </a:endParaRPr>
        </a:p>
      </dgm:t>
    </dgm:pt>
    <dgm:pt modelId="{A0AD2054-61C1-47A1-8CB3-78DB3A34B9C0}" type="parTrans" cxnId="{B260974B-20F0-4644-AC6F-96E5B410DBAC}">
      <dgm:prSet/>
      <dgm:spPr>
        <a:ln>
          <a:solidFill>
            <a:schemeClr val="bg1">
              <a:lumMod val="50000"/>
            </a:schemeClr>
          </a:solidFill>
        </a:ln>
      </dgm:spPr>
      <dgm:t>
        <a:bodyPr/>
        <a:lstStyle/>
        <a:p>
          <a:endParaRPr lang="en-US"/>
        </a:p>
      </dgm:t>
    </dgm:pt>
    <dgm:pt modelId="{5A08AA2F-9EBB-4033-A1B2-68017F3FE9F6}" type="sibTrans" cxnId="{B260974B-20F0-4644-AC6F-96E5B410DBAC}">
      <dgm:prSet/>
      <dgm:spPr/>
      <dgm:t>
        <a:bodyPr/>
        <a:lstStyle/>
        <a:p>
          <a:endParaRPr lang="en-US"/>
        </a:p>
      </dgm:t>
    </dgm:pt>
    <dgm:pt modelId="{25A66624-76E1-462E-B2B0-6A49571F4BE4}" type="pres">
      <dgm:prSet presAssocID="{112C512F-2683-442B-B7A0-5F2E995C5B92}" presName="hierChild1" presStyleCnt="0">
        <dgm:presLayoutVars>
          <dgm:chPref val="1"/>
          <dgm:dir/>
          <dgm:animOne val="branch"/>
          <dgm:animLvl val="lvl"/>
          <dgm:resizeHandles/>
        </dgm:presLayoutVars>
      </dgm:prSet>
      <dgm:spPr/>
    </dgm:pt>
    <dgm:pt modelId="{0F580450-DE2F-4F66-BC6F-C215D5C06716}" type="pres">
      <dgm:prSet presAssocID="{F10E9D6A-1F5F-45DA-B11A-5BB5D4300CBB}" presName="hierRoot1" presStyleCnt="0"/>
      <dgm:spPr/>
    </dgm:pt>
    <dgm:pt modelId="{C96C6308-60F2-4690-B1EE-28DB1D18A377}" type="pres">
      <dgm:prSet presAssocID="{F10E9D6A-1F5F-45DA-B11A-5BB5D4300CBB}" presName="composite" presStyleCnt="0"/>
      <dgm:spPr/>
    </dgm:pt>
    <dgm:pt modelId="{D7AEFA7C-25F2-4BC0-A132-C3AAC3F664D2}" type="pres">
      <dgm:prSet presAssocID="{F10E9D6A-1F5F-45DA-B11A-5BB5D4300CBB}" presName="image" presStyleLbl="node0" presStyleIdx="0" presStyleCnt="1" custScaleX="141156" custScaleY="141156" custLinFactNeighborY="-53734"/>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28575">
          <a:solidFill>
            <a:schemeClr val="bg1"/>
          </a:solidFill>
        </a:ln>
        <a:effectLst>
          <a:outerShdw blurRad="50800" dist="38100" dir="2700000" algn="tl" rotWithShape="0">
            <a:prstClr val="black">
              <a:alpha val="40000"/>
            </a:prstClr>
          </a:outerShdw>
        </a:effectLst>
      </dgm:spPr>
    </dgm:pt>
    <dgm:pt modelId="{20867FFB-F5AD-44B2-B5EB-D494418359A5}" type="pres">
      <dgm:prSet presAssocID="{F10E9D6A-1F5F-45DA-B11A-5BB5D4300CBB}" presName="text" presStyleLbl="revTx" presStyleIdx="0" presStyleCnt="9" custScaleX="133804" custLinFactNeighborX="31657" custLinFactNeighborY="-47486">
        <dgm:presLayoutVars>
          <dgm:chPref val="3"/>
        </dgm:presLayoutVars>
      </dgm:prSet>
      <dgm:spPr/>
    </dgm:pt>
    <dgm:pt modelId="{5082A66F-645E-4D5B-A096-2F447A812D06}" type="pres">
      <dgm:prSet presAssocID="{F10E9D6A-1F5F-45DA-B11A-5BB5D4300CBB}" presName="hierChild2" presStyleCnt="0"/>
      <dgm:spPr/>
    </dgm:pt>
    <dgm:pt modelId="{6D22345D-FD5E-40A9-B814-A346242DAD59}" type="pres">
      <dgm:prSet presAssocID="{8944EB3E-E230-4495-9B23-910867079706}" presName="Name10" presStyleLbl="parChTrans1D2" presStyleIdx="0" presStyleCnt="3"/>
      <dgm:spPr/>
    </dgm:pt>
    <dgm:pt modelId="{1C49466A-D462-4FE6-B2BC-051726B3B1A3}" type="pres">
      <dgm:prSet presAssocID="{36E6EEAD-04F9-48D8-B9FD-9A041135299F}" presName="hierRoot2" presStyleCnt="0"/>
      <dgm:spPr/>
    </dgm:pt>
    <dgm:pt modelId="{35DC3DA0-A7FC-41C0-9763-217EBBACB57C}" type="pres">
      <dgm:prSet presAssocID="{36E6EEAD-04F9-48D8-B9FD-9A041135299F}" presName="composite2" presStyleCnt="0"/>
      <dgm:spPr/>
    </dgm:pt>
    <dgm:pt modelId="{059F8D18-5002-4560-8E77-E5F71A7D5335}" type="pres">
      <dgm:prSet presAssocID="{36E6EEAD-04F9-48D8-B9FD-9A041135299F}" presName="image2" presStyleLbl="node2" presStyleIdx="0" presStyleCnt="3"/>
      <dgm:spPr>
        <a:blipFill>
          <a:blip xmlns:r="http://schemas.openxmlformats.org/officeDocument/2006/relationships" r:embed="rId2">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a:solidFill>
            <a:schemeClr val="bg1">
              <a:lumMod val="85000"/>
            </a:schemeClr>
          </a:solidFill>
        </a:ln>
      </dgm:spPr>
    </dgm:pt>
    <dgm:pt modelId="{722CD637-7FA0-49A0-AE6C-531FD98562FB}" type="pres">
      <dgm:prSet presAssocID="{36E6EEAD-04F9-48D8-B9FD-9A041135299F}" presName="text2" presStyleLbl="revTx" presStyleIdx="1" presStyleCnt="9">
        <dgm:presLayoutVars>
          <dgm:chPref val="3"/>
        </dgm:presLayoutVars>
      </dgm:prSet>
      <dgm:spPr/>
    </dgm:pt>
    <dgm:pt modelId="{8AE5EFAC-C994-47B5-857C-CA4A32C56CA8}" type="pres">
      <dgm:prSet presAssocID="{36E6EEAD-04F9-48D8-B9FD-9A041135299F}" presName="hierChild3" presStyleCnt="0"/>
      <dgm:spPr/>
    </dgm:pt>
    <dgm:pt modelId="{F7D1D07D-5176-4D33-A207-FBBDE1273ECA}" type="pres">
      <dgm:prSet presAssocID="{264BA5D3-3742-413E-BAF7-FE485DCD2C9D}" presName="Name17" presStyleLbl="parChTrans1D3" presStyleIdx="0" presStyleCnt="5"/>
      <dgm:spPr/>
    </dgm:pt>
    <dgm:pt modelId="{43131C7D-0D4F-466F-8950-BDD04FF29F53}" type="pres">
      <dgm:prSet presAssocID="{FEF35927-FA7D-46D2-B1D8-E05271A04E54}" presName="hierRoot3" presStyleCnt="0"/>
      <dgm:spPr/>
    </dgm:pt>
    <dgm:pt modelId="{A69C3240-CD41-48C9-9346-6B613C2EA872}" type="pres">
      <dgm:prSet presAssocID="{FEF35927-FA7D-46D2-B1D8-E05271A04E54}" presName="composite3" presStyleCnt="0"/>
      <dgm:spPr/>
    </dgm:pt>
    <dgm:pt modelId="{D454C81C-0AE5-483B-A34C-F5C8EC0DA6FD}" type="pres">
      <dgm:prSet presAssocID="{FEF35927-FA7D-46D2-B1D8-E05271A04E54}" presName="image3" presStyleLbl="node3" presStyleIdx="0" presStyleCnt="5"/>
      <dgm:spPr>
        <a:xfrm>
          <a:off x="0" y="3538643"/>
          <a:ext cx="1016000" cy="101600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gm:spPr>
    </dgm:pt>
    <dgm:pt modelId="{89787F1A-371C-4FD4-98BF-43B433B66AD3}" type="pres">
      <dgm:prSet presAssocID="{FEF35927-FA7D-46D2-B1D8-E05271A04E54}" presName="text3" presStyleLbl="revTx" presStyleIdx="2" presStyleCnt="9">
        <dgm:presLayoutVars>
          <dgm:chPref val="3"/>
        </dgm:presLayoutVars>
      </dgm:prSet>
      <dgm:spPr/>
    </dgm:pt>
    <dgm:pt modelId="{777C753A-C879-4643-BF9F-FA4B5C727C16}" type="pres">
      <dgm:prSet presAssocID="{FEF35927-FA7D-46D2-B1D8-E05271A04E54}" presName="hierChild4" presStyleCnt="0"/>
      <dgm:spPr/>
    </dgm:pt>
    <dgm:pt modelId="{5B69CAF8-C2CC-41C5-B634-A8A11BA52904}" type="pres">
      <dgm:prSet presAssocID="{BCD7B2B1-F44B-4FD5-BE06-F37F913E3C31}" presName="Name17" presStyleLbl="parChTrans1D3" presStyleIdx="1" presStyleCnt="5"/>
      <dgm:spPr/>
    </dgm:pt>
    <dgm:pt modelId="{ADB567B1-79A8-4415-BFD6-4E2EE8B549E4}" type="pres">
      <dgm:prSet presAssocID="{95DF005C-9D27-43BB-9065-D527E6641205}" presName="hierRoot3" presStyleCnt="0"/>
      <dgm:spPr/>
    </dgm:pt>
    <dgm:pt modelId="{FE805ADE-62BC-4BA7-90C9-F5A27455D11A}" type="pres">
      <dgm:prSet presAssocID="{95DF005C-9D27-43BB-9065-D527E6641205}" presName="composite3" presStyleCnt="0"/>
      <dgm:spPr/>
    </dgm:pt>
    <dgm:pt modelId="{03CA0F6B-91BD-467D-8909-B80FB94263E1}" type="pres">
      <dgm:prSet presAssocID="{95DF005C-9D27-43BB-9065-D527E6641205}" presName="image3" presStyleLbl="node3" presStyleIdx="1" presStyleCnt="5"/>
      <dgm:spPr>
        <a:xfrm>
          <a:off x="2793999" y="3538643"/>
          <a:ext cx="1016000" cy="101600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gm:spPr>
    </dgm:pt>
    <dgm:pt modelId="{41DC5FBF-40E0-48D0-BF06-3239CECFC907}" type="pres">
      <dgm:prSet presAssocID="{95DF005C-9D27-43BB-9065-D527E6641205}" presName="text3" presStyleLbl="revTx" presStyleIdx="3" presStyleCnt="9">
        <dgm:presLayoutVars>
          <dgm:chPref val="3"/>
        </dgm:presLayoutVars>
      </dgm:prSet>
      <dgm:spPr/>
    </dgm:pt>
    <dgm:pt modelId="{27FC0F6B-1EFA-4DB2-9AE2-9A12FE223BB6}" type="pres">
      <dgm:prSet presAssocID="{95DF005C-9D27-43BB-9065-D527E6641205}" presName="hierChild4" presStyleCnt="0"/>
      <dgm:spPr/>
    </dgm:pt>
    <dgm:pt modelId="{24F247C7-5545-4AAB-AD10-61C43AEC5707}" type="pres">
      <dgm:prSet presAssocID="{4EAB204F-B85B-4444-ACD5-8B6E89CA1049}" presName="Name10" presStyleLbl="parChTrans1D2" presStyleIdx="1" presStyleCnt="3"/>
      <dgm:spPr/>
    </dgm:pt>
    <dgm:pt modelId="{AA0AD13E-EBBD-47E5-865C-03C8FF4821D1}" type="pres">
      <dgm:prSet presAssocID="{D318DF4A-31F2-42BE-B65E-D6D14AD95C5F}" presName="hierRoot2" presStyleCnt="0"/>
      <dgm:spPr/>
    </dgm:pt>
    <dgm:pt modelId="{B37CC30B-99F1-405A-BAC0-7A4E3C6DF536}" type="pres">
      <dgm:prSet presAssocID="{D318DF4A-31F2-42BE-B65E-D6D14AD95C5F}" presName="composite2" presStyleCnt="0"/>
      <dgm:spPr/>
    </dgm:pt>
    <dgm:pt modelId="{C48774B3-7759-4E26-9F45-1669631C119A}" type="pres">
      <dgm:prSet presAssocID="{D318DF4A-31F2-42BE-B65E-D6D14AD95C5F}" presName="image2" presStyleLbl="node2" presStyleIdx="1" presStyleCnt="3"/>
      <dgm:spPr>
        <a:xfrm>
          <a:off x="5587999" y="2202603"/>
          <a:ext cx="1016000" cy="101600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gm:spPr>
    </dgm:pt>
    <dgm:pt modelId="{3391420B-CDB2-49C9-9BCE-D49CFD713190}" type="pres">
      <dgm:prSet presAssocID="{D318DF4A-31F2-42BE-B65E-D6D14AD95C5F}" presName="text2" presStyleLbl="revTx" presStyleIdx="4" presStyleCnt="9">
        <dgm:presLayoutVars>
          <dgm:chPref val="3"/>
        </dgm:presLayoutVars>
      </dgm:prSet>
      <dgm:spPr/>
    </dgm:pt>
    <dgm:pt modelId="{F59F57A7-B37C-4183-8EBB-3A68D5A6D415}" type="pres">
      <dgm:prSet presAssocID="{D318DF4A-31F2-42BE-B65E-D6D14AD95C5F}" presName="hierChild3" presStyleCnt="0"/>
      <dgm:spPr/>
    </dgm:pt>
    <dgm:pt modelId="{D55F1ADB-B9E9-4EA2-89B1-33680B79FBBB}" type="pres">
      <dgm:prSet presAssocID="{6C4C0A4C-EC57-4CED-A6AC-56475841F782}" presName="Name17" presStyleLbl="parChTrans1D3" presStyleIdx="2" presStyleCnt="5"/>
      <dgm:spPr/>
    </dgm:pt>
    <dgm:pt modelId="{81CA2478-D5DB-4769-8B2F-E19B07E0DFE6}" type="pres">
      <dgm:prSet presAssocID="{5E29B81D-39D2-439F-8533-EFA98ABB52A8}" presName="hierRoot3" presStyleCnt="0"/>
      <dgm:spPr/>
    </dgm:pt>
    <dgm:pt modelId="{4D1AA575-803C-42EC-89C8-CAA6EE07ED9D}" type="pres">
      <dgm:prSet presAssocID="{5E29B81D-39D2-439F-8533-EFA98ABB52A8}" presName="composite3" presStyleCnt="0"/>
      <dgm:spPr/>
    </dgm:pt>
    <dgm:pt modelId="{880428E6-ACEE-4BBE-8EED-D6E7348E4041}" type="pres">
      <dgm:prSet presAssocID="{5E29B81D-39D2-439F-8533-EFA98ABB52A8}" presName="image3" presStyleLbl="node3" presStyleIdx="2" presStyleCnt="5"/>
      <dgm:spPr>
        <a:xfrm>
          <a:off x="3311921" y="3200440"/>
          <a:ext cx="601662" cy="601662"/>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gm:spPr>
    </dgm:pt>
    <dgm:pt modelId="{F09137B6-B865-4F7E-A3AD-F32B85915821}" type="pres">
      <dgm:prSet presAssocID="{5E29B81D-39D2-439F-8533-EFA98ABB52A8}" presName="text3" presStyleLbl="revTx" presStyleIdx="5" presStyleCnt="9">
        <dgm:presLayoutVars>
          <dgm:chPref val="3"/>
        </dgm:presLayoutVars>
      </dgm:prSet>
      <dgm:spPr/>
    </dgm:pt>
    <dgm:pt modelId="{1FBC92A5-DDC3-4408-BA61-AF6A86952167}" type="pres">
      <dgm:prSet presAssocID="{5E29B81D-39D2-439F-8533-EFA98ABB52A8}" presName="hierChild4" presStyleCnt="0"/>
      <dgm:spPr/>
    </dgm:pt>
    <dgm:pt modelId="{22492666-C399-41E0-9532-EFFA6C1F1115}" type="pres">
      <dgm:prSet presAssocID="{A0AD2054-61C1-47A1-8CB3-78DB3A34B9C0}" presName="Name17" presStyleLbl="parChTrans1D3" presStyleIdx="3" presStyleCnt="5"/>
      <dgm:spPr/>
    </dgm:pt>
    <dgm:pt modelId="{C95A8F66-5CEE-476B-B47B-B7C56B2A0085}" type="pres">
      <dgm:prSet presAssocID="{339295AA-D2E9-4D2F-85D5-15445F9658EA}" presName="hierRoot3" presStyleCnt="0"/>
      <dgm:spPr/>
    </dgm:pt>
    <dgm:pt modelId="{9E33BAF3-74F1-44A4-9EC9-39B24096DC8B}" type="pres">
      <dgm:prSet presAssocID="{339295AA-D2E9-4D2F-85D5-15445F9658EA}" presName="composite3" presStyleCnt="0"/>
      <dgm:spPr/>
    </dgm:pt>
    <dgm:pt modelId="{5BBA1906-7AA2-45C8-AD2C-BC5A27B9ACA0}" type="pres">
      <dgm:prSet presAssocID="{339295AA-D2E9-4D2F-85D5-15445F9658EA}" presName="image3" presStyleLbl="node3" presStyleIdx="3" presStyleCnt="5"/>
      <dgm:spPr>
        <a:xfrm>
          <a:off x="4966493" y="3200440"/>
          <a:ext cx="601662" cy="601662"/>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gm:spPr>
    </dgm:pt>
    <dgm:pt modelId="{DFA2180E-27E3-4F91-B4A4-7BEF023E60D3}" type="pres">
      <dgm:prSet presAssocID="{339295AA-D2E9-4D2F-85D5-15445F9658EA}" presName="text3" presStyleLbl="revTx" presStyleIdx="6" presStyleCnt="9">
        <dgm:presLayoutVars>
          <dgm:chPref val="3"/>
        </dgm:presLayoutVars>
      </dgm:prSet>
      <dgm:spPr/>
    </dgm:pt>
    <dgm:pt modelId="{2437D6B2-A4B9-4D1D-A4A5-ADC426F9DF6E}" type="pres">
      <dgm:prSet presAssocID="{339295AA-D2E9-4D2F-85D5-15445F9658EA}" presName="hierChild4" presStyleCnt="0"/>
      <dgm:spPr/>
    </dgm:pt>
    <dgm:pt modelId="{6B8D7428-BD3D-4111-B2B2-E8DDA54AE177}" type="pres">
      <dgm:prSet presAssocID="{DEFCC59A-B5B4-4234-B382-CEBE44CF2A07}" presName="Name10" presStyleLbl="parChTrans1D2" presStyleIdx="2" presStyleCnt="3"/>
      <dgm:spPr>
        <a:xfrm>
          <a:off x="5400142" y="1542160"/>
          <a:ext cx="3916641" cy="690250"/>
        </a:xfrm>
        <a:custGeom>
          <a:avLst/>
          <a:gdLst/>
          <a:ahLst/>
          <a:cxnLst/>
          <a:rect l="0" t="0" r="0" b="0"/>
          <a:pathLst>
            <a:path>
              <a:moveTo>
                <a:pt x="0" y="0"/>
              </a:moveTo>
              <a:lnTo>
                <a:pt x="0" y="563714"/>
              </a:lnTo>
              <a:lnTo>
                <a:pt x="3916641" y="563714"/>
              </a:lnTo>
              <a:lnTo>
                <a:pt x="3916641" y="690250"/>
              </a:lnTo>
            </a:path>
          </a:pathLst>
        </a:custGeom>
      </dgm:spPr>
    </dgm:pt>
    <dgm:pt modelId="{051AB078-5AAE-4F73-BC29-754A71F09280}" type="pres">
      <dgm:prSet presAssocID="{AA7626A6-4DFE-4398-B9D6-25FFB031EC9C}" presName="hierRoot2" presStyleCnt="0"/>
      <dgm:spPr/>
    </dgm:pt>
    <dgm:pt modelId="{4EA14C5B-D664-47E6-8383-0D2454D85F68}" type="pres">
      <dgm:prSet presAssocID="{AA7626A6-4DFE-4398-B9D6-25FFB031EC9C}" presName="composite2" presStyleCnt="0"/>
      <dgm:spPr/>
    </dgm:pt>
    <dgm:pt modelId="{E7AAFC44-1147-4217-8BC5-90B89E891B6E}" type="pres">
      <dgm:prSet presAssocID="{AA7626A6-4DFE-4398-B9D6-25FFB031EC9C}" presName="image2" presStyleLbl="node2" presStyleIdx="2" presStyleCnt="3"/>
      <dgm:spPr>
        <a:xfrm>
          <a:off x="6621065" y="2409254"/>
          <a:ext cx="601662" cy="601662"/>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gm:spPr>
    </dgm:pt>
    <dgm:pt modelId="{5F1943FA-E7A6-4508-942C-65E0F60FAC0D}" type="pres">
      <dgm:prSet presAssocID="{AA7626A6-4DFE-4398-B9D6-25FFB031EC9C}" presName="text2" presStyleLbl="revTx" presStyleIdx="7" presStyleCnt="9">
        <dgm:presLayoutVars>
          <dgm:chPref val="3"/>
        </dgm:presLayoutVars>
      </dgm:prSet>
      <dgm:spPr/>
    </dgm:pt>
    <dgm:pt modelId="{156FB2B6-C17F-4256-AE70-4D306B814ED3}" type="pres">
      <dgm:prSet presAssocID="{AA7626A6-4DFE-4398-B9D6-25FFB031EC9C}" presName="hierChild3" presStyleCnt="0"/>
      <dgm:spPr/>
    </dgm:pt>
    <dgm:pt modelId="{8E034242-9C94-4A59-B9DD-4A6016E5B646}" type="pres">
      <dgm:prSet presAssocID="{7ACD48BC-19B0-4F76-948B-43D359774B10}" presName="Name17" presStyleLbl="parChTrans1D3" presStyleIdx="4" presStyleCnt="5"/>
      <dgm:spPr/>
    </dgm:pt>
    <dgm:pt modelId="{EFE32B88-2CCB-45B9-9AD1-BA26F883FB2D}" type="pres">
      <dgm:prSet presAssocID="{DBCC8DEC-4F23-4826-992B-CE1C48701411}" presName="hierRoot3" presStyleCnt="0"/>
      <dgm:spPr/>
    </dgm:pt>
    <dgm:pt modelId="{F6996382-A5A6-4910-B05F-6A7C0711A24F}" type="pres">
      <dgm:prSet presAssocID="{DBCC8DEC-4F23-4826-992B-CE1C48701411}" presName="composite3" presStyleCnt="0"/>
      <dgm:spPr/>
    </dgm:pt>
    <dgm:pt modelId="{F54DDB5D-EA35-4E02-A40F-02489CECF78C}" type="pres">
      <dgm:prSet presAssocID="{DBCC8DEC-4F23-4826-992B-CE1C48701411}" presName="image3" presStyleLbl="node3" presStyleIdx="4" presStyleCnt="5"/>
      <dgm:spPr>
        <a:xfrm>
          <a:off x="5587999" y="3538643"/>
          <a:ext cx="1016000" cy="101600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gm:spPr>
    </dgm:pt>
    <dgm:pt modelId="{BD560765-399D-4642-BCE4-C85F8875EB08}" type="pres">
      <dgm:prSet presAssocID="{DBCC8DEC-4F23-4826-992B-CE1C48701411}" presName="text3" presStyleLbl="revTx" presStyleIdx="8" presStyleCnt="9">
        <dgm:presLayoutVars>
          <dgm:chPref val="3"/>
        </dgm:presLayoutVars>
      </dgm:prSet>
      <dgm:spPr/>
    </dgm:pt>
    <dgm:pt modelId="{80571B83-3C35-4E86-A85A-08FE0DF9608A}" type="pres">
      <dgm:prSet presAssocID="{DBCC8DEC-4F23-4826-992B-CE1C48701411}" presName="hierChild4" presStyleCnt="0"/>
      <dgm:spPr/>
    </dgm:pt>
  </dgm:ptLst>
  <dgm:cxnLst>
    <dgm:cxn modelId="{BC20DB02-1759-4863-9616-7A54A21830DD}" type="presOf" srcId="{BCD7B2B1-F44B-4FD5-BE06-F37F913E3C31}" destId="{5B69CAF8-C2CC-41C5-B634-A8A11BA52904}" srcOrd="0" destOrd="0" presId="urn:microsoft.com/office/officeart/2009/layout/CirclePictureHierarchy"/>
    <dgm:cxn modelId="{3595D60F-3021-402B-8D12-34490809908D}" srcId="{F10E9D6A-1F5F-45DA-B11A-5BB5D4300CBB}" destId="{AA7626A6-4DFE-4398-B9D6-25FFB031EC9C}" srcOrd="2" destOrd="0" parTransId="{DEFCC59A-B5B4-4234-B382-CEBE44CF2A07}" sibTransId="{35042AB0-F875-4CC0-B90E-257FCF504B61}"/>
    <dgm:cxn modelId="{A47D1013-B7E3-4F39-8274-7895A889220B}" type="presOf" srcId="{112C512F-2683-442B-B7A0-5F2E995C5B92}" destId="{25A66624-76E1-462E-B2B0-6A49571F4BE4}" srcOrd="0" destOrd="0" presId="urn:microsoft.com/office/officeart/2009/layout/CirclePictureHierarchy"/>
    <dgm:cxn modelId="{AD0DEE21-6DCD-4658-BE51-C22C794D2E50}" type="presOf" srcId="{264BA5D3-3742-413E-BAF7-FE485DCD2C9D}" destId="{F7D1D07D-5176-4D33-A207-FBBDE1273ECA}" srcOrd="0" destOrd="0" presId="urn:microsoft.com/office/officeart/2009/layout/CirclePictureHierarchy"/>
    <dgm:cxn modelId="{75628324-078E-447E-934C-DE9340F929D6}" srcId="{F10E9D6A-1F5F-45DA-B11A-5BB5D4300CBB}" destId="{D318DF4A-31F2-42BE-B65E-D6D14AD95C5F}" srcOrd="1" destOrd="0" parTransId="{4EAB204F-B85B-4444-ACD5-8B6E89CA1049}" sibTransId="{502F08AB-BF50-48C9-9F37-FF7C716C98F7}"/>
    <dgm:cxn modelId="{DB290828-8222-458B-9554-D0EAF39137A9}" type="presOf" srcId="{FEF35927-FA7D-46D2-B1D8-E05271A04E54}" destId="{89787F1A-371C-4FD4-98BF-43B433B66AD3}" srcOrd="0" destOrd="0" presId="urn:microsoft.com/office/officeart/2009/layout/CirclePictureHierarchy"/>
    <dgm:cxn modelId="{44F2A630-B2B1-40D1-82DE-F3456C04D93A}" srcId="{36E6EEAD-04F9-48D8-B9FD-9A041135299F}" destId="{FEF35927-FA7D-46D2-B1D8-E05271A04E54}" srcOrd="0" destOrd="0" parTransId="{264BA5D3-3742-413E-BAF7-FE485DCD2C9D}" sibTransId="{B1DE5E55-962C-4D0C-B09E-CA1D410FE760}"/>
    <dgm:cxn modelId="{0F724735-1E63-45E2-8255-98C1BB51BCAC}" type="presOf" srcId="{DEFCC59A-B5B4-4234-B382-CEBE44CF2A07}" destId="{6B8D7428-BD3D-4111-B2B2-E8DDA54AE177}" srcOrd="0" destOrd="0" presId="urn:microsoft.com/office/officeart/2009/layout/CirclePictureHierarchy"/>
    <dgm:cxn modelId="{DAF29568-074C-46E2-A615-5F5DAAFD7D76}" type="presOf" srcId="{7ACD48BC-19B0-4F76-948B-43D359774B10}" destId="{8E034242-9C94-4A59-B9DD-4A6016E5B646}" srcOrd="0" destOrd="0" presId="urn:microsoft.com/office/officeart/2009/layout/CirclePictureHierarchy"/>
    <dgm:cxn modelId="{A2D23C49-04CA-405C-A08F-F1DF39D1CFE7}" type="presOf" srcId="{4EAB204F-B85B-4444-ACD5-8B6E89CA1049}" destId="{24F247C7-5545-4AAB-AD10-61C43AEC5707}" srcOrd="0" destOrd="0" presId="urn:microsoft.com/office/officeart/2009/layout/CirclePictureHierarchy"/>
    <dgm:cxn modelId="{B260974B-20F0-4644-AC6F-96E5B410DBAC}" srcId="{D318DF4A-31F2-42BE-B65E-D6D14AD95C5F}" destId="{339295AA-D2E9-4D2F-85D5-15445F9658EA}" srcOrd="1" destOrd="0" parTransId="{A0AD2054-61C1-47A1-8CB3-78DB3A34B9C0}" sibTransId="{5A08AA2F-9EBB-4033-A1B2-68017F3FE9F6}"/>
    <dgm:cxn modelId="{EC0FB179-60DD-469A-8A60-B5225B4664BC}" type="presOf" srcId="{8944EB3E-E230-4495-9B23-910867079706}" destId="{6D22345D-FD5E-40A9-B814-A346242DAD59}" srcOrd="0" destOrd="0" presId="urn:microsoft.com/office/officeart/2009/layout/CirclePictureHierarchy"/>
    <dgm:cxn modelId="{988C0B7A-A49B-4768-9968-6FFDAF8DC06C}" type="presOf" srcId="{5E29B81D-39D2-439F-8533-EFA98ABB52A8}" destId="{F09137B6-B865-4F7E-A3AD-F32B85915821}" srcOrd="0" destOrd="0" presId="urn:microsoft.com/office/officeart/2009/layout/CirclePictureHierarchy"/>
    <dgm:cxn modelId="{DDDF257C-9EE1-4492-B931-68504E650250}" srcId="{D318DF4A-31F2-42BE-B65E-D6D14AD95C5F}" destId="{5E29B81D-39D2-439F-8533-EFA98ABB52A8}" srcOrd="0" destOrd="0" parTransId="{6C4C0A4C-EC57-4CED-A6AC-56475841F782}" sibTransId="{D753FA7E-F558-4FCF-8A9B-B389903C05CD}"/>
    <dgm:cxn modelId="{62651581-FB24-4FA2-9593-9B8CA7DA0FA9}" srcId="{112C512F-2683-442B-B7A0-5F2E995C5B92}" destId="{F10E9D6A-1F5F-45DA-B11A-5BB5D4300CBB}" srcOrd="0" destOrd="0" parTransId="{1081CE2F-CCDA-4BA7-9B7B-A0C194CFE6B3}" sibTransId="{333FA5C1-8DD7-4EB8-B89E-D6966666F808}"/>
    <dgm:cxn modelId="{4F010386-02BC-41F4-A160-1809DC6B818C}" type="presOf" srcId="{D318DF4A-31F2-42BE-B65E-D6D14AD95C5F}" destId="{3391420B-CDB2-49C9-9BCE-D49CFD713190}" srcOrd="0" destOrd="0" presId="urn:microsoft.com/office/officeart/2009/layout/CirclePictureHierarchy"/>
    <dgm:cxn modelId="{A46E348A-C105-4C21-8C45-9237A6E4C2B5}" type="presOf" srcId="{6C4C0A4C-EC57-4CED-A6AC-56475841F782}" destId="{D55F1ADB-B9E9-4EA2-89B1-33680B79FBBB}" srcOrd="0" destOrd="0" presId="urn:microsoft.com/office/officeart/2009/layout/CirclePictureHierarchy"/>
    <dgm:cxn modelId="{2B8FAA8D-B977-46D0-9BDE-53BD2DF5FBB1}" type="presOf" srcId="{95DF005C-9D27-43BB-9065-D527E6641205}" destId="{41DC5FBF-40E0-48D0-BF06-3239CECFC907}" srcOrd="0" destOrd="0" presId="urn:microsoft.com/office/officeart/2009/layout/CirclePictureHierarchy"/>
    <dgm:cxn modelId="{932B7392-4EB3-4249-95AE-743DB436DB87}" srcId="{36E6EEAD-04F9-48D8-B9FD-9A041135299F}" destId="{95DF005C-9D27-43BB-9065-D527E6641205}" srcOrd="1" destOrd="0" parTransId="{BCD7B2B1-F44B-4FD5-BE06-F37F913E3C31}" sibTransId="{BB916D72-66CE-4576-B527-1A87CD39CC0D}"/>
    <dgm:cxn modelId="{FE130996-E22E-46CD-8E3F-E44B3FD66C24}" type="presOf" srcId="{AA7626A6-4DFE-4398-B9D6-25FFB031EC9C}" destId="{5F1943FA-E7A6-4508-942C-65E0F60FAC0D}" srcOrd="0" destOrd="0" presId="urn:microsoft.com/office/officeart/2009/layout/CirclePictureHierarchy"/>
    <dgm:cxn modelId="{97746BA5-5CF0-4634-8E3B-BBB9276B12EB}" type="presOf" srcId="{F10E9D6A-1F5F-45DA-B11A-5BB5D4300CBB}" destId="{20867FFB-F5AD-44B2-B5EB-D494418359A5}" srcOrd="0" destOrd="0" presId="urn:microsoft.com/office/officeart/2009/layout/CirclePictureHierarchy"/>
    <dgm:cxn modelId="{1A0FD9AA-1BD0-4C37-97A4-974C7C303D30}" srcId="{AA7626A6-4DFE-4398-B9D6-25FFB031EC9C}" destId="{DBCC8DEC-4F23-4826-992B-CE1C48701411}" srcOrd="0" destOrd="0" parTransId="{7ACD48BC-19B0-4F76-948B-43D359774B10}" sibTransId="{68ADF413-645C-4784-81E8-C6B082E99F83}"/>
    <dgm:cxn modelId="{8D454EAC-1BDE-45B2-85BF-2E3FEC15493D}" type="presOf" srcId="{36E6EEAD-04F9-48D8-B9FD-9A041135299F}" destId="{722CD637-7FA0-49A0-AE6C-531FD98562FB}" srcOrd="0" destOrd="0" presId="urn:microsoft.com/office/officeart/2009/layout/CirclePictureHierarchy"/>
    <dgm:cxn modelId="{210FC1BC-49F5-4A05-91B7-3135899E453C}" srcId="{F10E9D6A-1F5F-45DA-B11A-5BB5D4300CBB}" destId="{36E6EEAD-04F9-48D8-B9FD-9A041135299F}" srcOrd="0" destOrd="0" parTransId="{8944EB3E-E230-4495-9B23-910867079706}" sibTransId="{B585D331-8798-4B4E-9143-BF3C737C27E6}"/>
    <dgm:cxn modelId="{B65DDBBF-BDF3-436D-BC49-A6F311C4347D}" type="presOf" srcId="{A0AD2054-61C1-47A1-8CB3-78DB3A34B9C0}" destId="{22492666-C399-41E0-9532-EFFA6C1F1115}" srcOrd="0" destOrd="0" presId="urn:microsoft.com/office/officeart/2009/layout/CirclePictureHierarchy"/>
    <dgm:cxn modelId="{5F9954C9-E478-4DAC-9A50-798AE4C6C095}" type="presOf" srcId="{DBCC8DEC-4F23-4826-992B-CE1C48701411}" destId="{BD560765-399D-4642-BCE4-C85F8875EB08}" srcOrd="0" destOrd="0" presId="urn:microsoft.com/office/officeart/2009/layout/CirclePictureHierarchy"/>
    <dgm:cxn modelId="{A9455FE8-102E-48F6-A05F-509F6AF38DE2}" type="presOf" srcId="{339295AA-D2E9-4D2F-85D5-15445F9658EA}" destId="{DFA2180E-27E3-4F91-B4A4-7BEF023E60D3}" srcOrd="0" destOrd="0" presId="urn:microsoft.com/office/officeart/2009/layout/CirclePictureHierarchy"/>
    <dgm:cxn modelId="{3D9DCA93-DA15-43D4-9669-A3D30FA42285}" type="presParOf" srcId="{25A66624-76E1-462E-B2B0-6A49571F4BE4}" destId="{0F580450-DE2F-4F66-BC6F-C215D5C06716}" srcOrd="0" destOrd="0" presId="urn:microsoft.com/office/officeart/2009/layout/CirclePictureHierarchy"/>
    <dgm:cxn modelId="{28422527-AE34-4656-9FEB-C5A36F990210}" type="presParOf" srcId="{0F580450-DE2F-4F66-BC6F-C215D5C06716}" destId="{C96C6308-60F2-4690-B1EE-28DB1D18A377}" srcOrd="0" destOrd="0" presId="urn:microsoft.com/office/officeart/2009/layout/CirclePictureHierarchy"/>
    <dgm:cxn modelId="{45246E2A-4403-4853-8870-5E3198557951}" type="presParOf" srcId="{C96C6308-60F2-4690-B1EE-28DB1D18A377}" destId="{D7AEFA7C-25F2-4BC0-A132-C3AAC3F664D2}" srcOrd="0" destOrd="0" presId="urn:microsoft.com/office/officeart/2009/layout/CirclePictureHierarchy"/>
    <dgm:cxn modelId="{4E940B0E-55FF-4C15-8BB1-0A742DE454E3}" type="presParOf" srcId="{C96C6308-60F2-4690-B1EE-28DB1D18A377}" destId="{20867FFB-F5AD-44B2-B5EB-D494418359A5}" srcOrd="1" destOrd="0" presId="urn:microsoft.com/office/officeart/2009/layout/CirclePictureHierarchy"/>
    <dgm:cxn modelId="{02341E0E-F5CC-4F5B-8F77-D24A3C4192C1}" type="presParOf" srcId="{0F580450-DE2F-4F66-BC6F-C215D5C06716}" destId="{5082A66F-645E-4D5B-A096-2F447A812D06}" srcOrd="1" destOrd="0" presId="urn:microsoft.com/office/officeart/2009/layout/CirclePictureHierarchy"/>
    <dgm:cxn modelId="{56813E6A-7460-4DAA-B29A-47BF8B3E364F}" type="presParOf" srcId="{5082A66F-645E-4D5B-A096-2F447A812D06}" destId="{6D22345D-FD5E-40A9-B814-A346242DAD59}" srcOrd="0" destOrd="0" presId="urn:microsoft.com/office/officeart/2009/layout/CirclePictureHierarchy"/>
    <dgm:cxn modelId="{6F605483-5578-4848-B2D0-7032184D612A}" type="presParOf" srcId="{5082A66F-645E-4D5B-A096-2F447A812D06}" destId="{1C49466A-D462-4FE6-B2BC-051726B3B1A3}" srcOrd="1" destOrd="0" presId="urn:microsoft.com/office/officeart/2009/layout/CirclePictureHierarchy"/>
    <dgm:cxn modelId="{4C000D1E-5632-4160-8E6A-FFB4E0078E1B}" type="presParOf" srcId="{1C49466A-D462-4FE6-B2BC-051726B3B1A3}" destId="{35DC3DA0-A7FC-41C0-9763-217EBBACB57C}" srcOrd="0" destOrd="0" presId="urn:microsoft.com/office/officeart/2009/layout/CirclePictureHierarchy"/>
    <dgm:cxn modelId="{03D82B6D-CE2F-42D1-8F7E-083204A59060}" type="presParOf" srcId="{35DC3DA0-A7FC-41C0-9763-217EBBACB57C}" destId="{059F8D18-5002-4560-8E77-E5F71A7D5335}" srcOrd="0" destOrd="0" presId="urn:microsoft.com/office/officeart/2009/layout/CirclePictureHierarchy"/>
    <dgm:cxn modelId="{65697917-0CDA-45BC-8081-6CBD6E6AC2CF}" type="presParOf" srcId="{35DC3DA0-A7FC-41C0-9763-217EBBACB57C}" destId="{722CD637-7FA0-49A0-AE6C-531FD98562FB}" srcOrd="1" destOrd="0" presId="urn:microsoft.com/office/officeart/2009/layout/CirclePictureHierarchy"/>
    <dgm:cxn modelId="{FFC7DEB6-222D-4EA0-A4F1-88473D5080B8}" type="presParOf" srcId="{1C49466A-D462-4FE6-B2BC-051726B3B1A3}" destId="{8AE5EFAC-C994-47B5-857C-CA4A32C56CA8}" srcOrd="1" destOrd="0" presId="urn:microsoft.com/office/officeart/2009/layout/CirclePictureHierarchy"/>
    <dgm:cxn modelId="{C1162BD6-CBCC-4358-B98D-E1AD3A341DC3}" type="presParOf" srcId="{8AE5EFAC-C994-47B5-857C-CA4A32C56CA8}" destId="{F7D1D07D-5176-4D33-A207-FBBDE1273ECA}" srcOrd="0" destOrd="0" presId="urn:microsoft.com/office/officeart/2009/layout/CirclePictureHierarchy"/>
    <dgm:cxn modelId="{0048286A-ACBD-475B-8DF3-9932091C1B0F}" type="presParOf" srcId="{8AE5EFAC-C994-47B5-857C-CA4A32C56CA8}" destId="{43131C7D-0D4F-466F-8950-BDD04FF29F53}" srcOrd="1" destOrd="0" presId="urn:microsoft.com/office/officeart/2009/layout/CirclePictureHierarchy"/>
    <dgm:cxn modelId="{E74EE82B-C3DC-40DC-A13D-41F776E8259E}" type="presParOf" srcId="{43131C7D-0D4F-466F-8950-BDD04FF29F53}" destId="{A69C3240-CD41-48C9-9346-6B613C2EA872}" srcOrd="0" destOrd="0" presId="urn:microsoft.com/office/officeart/2009/layout/CirclePictureHierarchy"/>
    <dgm:cxn modelId="{31BF79A3-503C-4109-BBCA-6804BCF8519E}" type="presParOf" srcId="{A69C3240-CD41-48C9-9346-6B613C2EA872}" destId="{D454C81C-0AE5-483B-A34C-F5C8EC0DA6FD}" srcOrd="0" destOrd="0" presId="urn:microsoft.com/office/officeart/2009/layout/CirclePictureHierarchy"/>
    <dgm:cxn modelId="{BB88F1F4-CA87-4666-9B53-08A7EAADC09C}" type="presParOf" srcId="{A69C3240-CD41-48C9-9346-6B613C2EA872}" destId="{89787F1A-371C-4FD4-98BF-43B433B66AD3}" srcOrd="1" destOrd="0" presId="urn:microsoft.com/office/officeart/2009/layout/CirclePictureHierarchy"/>
    <dgm:cxn modelId="{7A7189F5-B822-4688-ADBE-B3AE9A63D388}" type="presParOf" srcId="{43131C7D-0D4F-466F-8950-BDD04FF29F53}" destId="{777C753A-C879-4643-BF9F-FA4B5C727C16}" srcOrd="1" destOrd="0" presId="urn:microsoft.com/office/officeart/2009/layout/CirclePictureHierarchy"/>
    <dgm:cxn modelId="{69EB9A4F-E44E-463D-954B-2E6AE582D9F9}" type="presParOf" srcId="{8AE5EFAC-C994-47B5-857C-CA4A32C56CA8}" destId="{5B69CAF8-C2CC-41C5-B634-A8A11BA52904}" srcOrd="2" destOrd="0" presId="urn:microsoft.com/office/officeart/2009/layout/CirclePictureHierarchy"/>
    <dgm:cxn modelId="{A744C4D9-8785-4A1B-851D-46EB965A13F0}" type="presParOf" srcId="{8AE5EFAC-C994-47B5-857C-CA4A32C56CA8}" destId="{ADB567B1-79A8-4415-BFD6-4E2EE8B549E4}" srcOrd="3" destOrd="0" presId="urn:microsoft.com/office/officeart/2009/layout/CirclePictureHierarchy"/>
    <dgm:cxn modelId="{67751B97-F08C-4AD9-B365-35A604D2288B}" type="presParOf" srcId="{ADB567B1-79A8-4415-BFD6-4E2EE8B549E4}" destId="{FE805ADE-62BC-4BA7-90C9-F5A27455D11A}" srcOrd="0" destOrd="0" presId="urn:microsoft.com/office/officeart/2009/layout/CirclePictureHierarchy"/>
    <dgm:cxn modelId="{E31D7001-BEB7-49D3-AC26-B2E4DD5C819D}" type="presParOf" srcId="{FE805ADE-62BC-4BA7-90C9-F5A27455D11A}" destId="{03CA0F6B-91BD-467D-8909-B80FB94263E1}" srcOrd="0" destOrd="0" presId="urn:microsoft.com/office/officeart/2009/layout/CirclePictureHierarchy"/>
    <dgm:cxn modelId="{4B0C2793-06C8-4477-A0C0-0B70D9732AE9}" type="presParOf" srcId="{FE805ADE-62BC-4BA7-90C9-F5A27455D11A}" destId="{41DC5FBF-40E0-48D0-BF06-3239CECFC907}" srcOrd="1" destOrd="0" presId="urn:microsoft.com/office/officeart/2009/layout/CirclePictureHierarchy"/>
    <dgm:cxn modelId="{0C575A8A-3DFA-411F-8318-621DFFC73C89}" type="presParOf" srcId="{ADB567B1-79A8-4415-BFD6-4E2EE8B549E4}" destId="{27FC0F6B-1EFA-4DB2-9AE2-9A12FE223BB6}" srcOrd="1" destOrd="0" presId="urn:microsoft.com/office/officeart/2009/layout/CirclePictureHierarchy"/>
    <dgm:cxn modelId="{A587A6AC-7AE8-4490-8C03-CB5BA54C464A}" type="presParOf" srcId="{5082A66F-645E-4D5B-A096-2F447A812D06}" destId="{24F247C7-5545-4AAB-AD10-61C43AEC5707}" srcOrd="2" destOrd="0" presId="urn:microsoft.com/office/officeart/2009/layout/CirclePictureHierarchy"/>
    <dgm:cxn modelId="{439E28BD-6EFE-47AB-AC22-F690D15A4B2B}" type="presParOf" srcId="{5082A66F-645E-4D5B-A096-2F447A812D06}" destId="{AA0AD13E-EBBD-47E5-865C-03C8FF4821D1}" srcOrd="3" destOrd="0" presId="urn:microsoft.com/office/officeart/2009/layout/CirclePictureHierarchy"/>
    <dgm:cxn modelId="{939BBD44-14B5-46CB-ABD2-8C624C09EB6D}" type="presParOf" srcId="{AA0AD13E-EBBD-47E5-865C-03C8FF4821D1}" destId="{B37CC30B-99F1-405A-BAC0-7A4E3C6DF536}" srcOrd="0" destOrd="0" presId="urn:microsoft.com/office/officeart/2009/layout/CirclePictureHierarchy"/>
    <dgm:cxn modelId="{9DA617BD-17F0-46C2-99BE-024F1B0001A4}" type="presParOf" srcId="{B37CC30B-99F1-405A-BAC0-7A4E3C6DF536}" destId="{C48774B3-7759-4E26-9F45-1669631C119A}" srcOrd="0" destOrd="0" presId="urn:microsoft.com/office/officeart/2009/layout/CirclePictureHierarchy"/>
    <dgm:cxn modelId="{A1BD2A21-D488-4617-8520-C65B37E88ACC}" type="presParOf" srcId="{B37CC30B-99F1-405A-BAC0-7A4E3C6DF536}" destId="{3391420B-CDB2-49C9-9BCE-D49CFD713190}" srcOrd="1" destOrd="0" presId="urn:microsoft.com/office/officeart/2009/layout/CirclePictureHierarchy"/>
    <dgm:cxn modelId="{57B3B8B5-14CE-4C07-AF10-63B639B6053E}" type="presParOf" srcId="{AA0AD13E-EBBD-47E5-865C-03C8FF4821D1}" destId="{F59F57A7-B37C-4183-8EBB-3A68D5A6D415}" srcOrd="1" destOrd="0" presId="urn:microsoft.com/office/officeart/2009/layout/CirclePictureHierarchy"/>
    <dgm:cxn modelId="{B5F25AC4-F5AE-4A29-A516-78E2DD2E594A}" type="presParOf" srcId="{F59F57A7-B37C-4183-8EBB-3A68D5A6D415}" destId="{D55F1ADB-B9E9-4EA2-89B1-33680B79FBBB}" srcOrd="0" destOrd="0" presId="urn:microsoft.com/office/officeart/2009/layout/CirclePictureHierarchy"/>
    <dgm:cxn modelId="{C0B7963A-DCC8-461E-A3C4-BB6331666786}" type="presParOf" srcId="{F59F57A7-B37C-4183-8EBB-3A68D5A6D415}" destId="{81CA2478-D5DB-4769-8B2F-E19B07E0DFE6}" srcOrd="1" destOrd="0" presId="urn:microsoft.com/office/officeart/2009/layout/CirclePictureHierarchy"/>
    <dgm:cxn modelId="{4ACAD7AD-7396-4A0C-B599-A964FF74311C}" type="presParOf" srcId="{81CA2478-D5DB-4769-8B2F-E19B07E0DFE6}" destId="{4D1AA575-803C-42EC-89C8-CAA6EE07ED9D}" srcOrd="0" destOrd="0" presId="urn:microsoft.com/office/officeart/2009/layout/CirclePictureHierarchy"/>
    <dgm:cxn modelId="{910ED0A2-4B1E-4E61-B7FD-E4AB9C6C330E}" type="presParOf" srcId="{4D1AA575-803C-42EC-89C8-CAA6EE07ED9D}" destId="{880428E6-ACEE-4BBE-8EED-D6E7348E4041}" srcOrd="0" destOrd="0" presId="urn:microsoft.com/office/officeart/2009/layout/CirclePictureHierarchy"/>
    <dgm:cxn modelId="{A795F84F-4387-4162-AEDE-E70B29361FE5}" type="presParOf" srcId="{4D1AA575-803C-42EC-89C8-CAA6EE07ED9D}" destId="{F09137B6-B865-4F7E-A3AD-F32B85915821}" srcOrd="1" destOrd="0" presId="urn:microsoft.com/office/officeart/2009/layout/CirclePictureHierarchy"/>
    <dgm:cxn modelId="{C4ED5C53-6B20-4DB7-A716-74AA8C034439}" type="presParOf" srcId="{81CA2478-D5DB-4769-8B2F-E19B07E0DFE6}" destId="{1FBC92A5-DDC3-4408-BA61-AF6A86952167}" srcOrd="1" destOrd="0" presId="urn:microsoft.com/office/officeart/2009/layout/CirclePictureHierarchy"/>
    <dgm:cxn modelId="{748464F2-E199-41ED-8B3F-96397F96430C}" type="presParOf" srcId="{F59F57A7-B37C-4183-8EBB-3A68D5A6D415}" destId="{22492666-C399-41E0-9532-EFFA6C1F1115}" srcOrd="2" destOrd="0" presId="urn:microsoft.com/office/officeart/2009/layout/CirclePictureHierarchy"/>
    <dgm:cxn modelId="{C3AEE19E-1B6E-4BFC-B328-0EEA7D1A3F6C}" type="presParOf" srcId="{F59F57A7-B37C-4183-8EBB-3A68D5A6D415}" destId="{C95A8F66-5CEE-476B-B47B-B7C56B2A0085}" srcOrd="3" destOrd="0" presId="urn:microsoft.com/office/officeart/2009/layout/CirclePictureHierarchy"/>
    <dgm:cxn modelId="{D24A045D-0774-4795-9EB4-5AF3232B7154}" type="presParOf" srcId="{C95A8F66-5CEE-476B-B47B-B7C56B2A0085}" destId="{9E33BAF3-74F1-44A4-9EC9-39B24096DC8B}" srcOrd="0" destOrd="0" presId="urn:microsoft.com/office/officeart/2009/layout/CirclePictureHierarchy"/>
    <dgm:cxn modelId="{EE7DFC56-4B02-4A9F-9577-5BA0AF6C2F5D}" type="presParOf" srcId="{9E33BAF3-74F1-44A4-9EC9-39B24096DC8B}" destId="{5BBA1906-7AA2-45C8-AD2C-BC5A27B9ACA0}" srcOrd="0" destOrd="0" presId="urn:microsoft.com/office/officeart/2009/layout/CirclePictureHierarchy"/>
    <dgm:cxn modelId="{CA64F4E1-525E-49E9-A80F-AA4C0138CD3A}" type="presParOf" srcId="{9E33BAF3-74F1-44A4-9EC9-39B24096DC8B}" destId="{DFA2180E-27E3-4F91-B4A4-7BEF023E60D3}" srcOrd="1" destOrd="0" presId="urn:microsoft.com/office/officeart/2009/layout/CirclePictureHierarchy"/>
    <dgm:cxn modelId="{ED9765C6-B162-4412-B09A-B6A2A4CFE45C}" type="presParOf" srcId="{C95A8F66-5CEE-476B-B47B-B7C56B2A0085}" destId="{2437D6B2-A4B9-4D1D-A4A5-ADC426F9DF6E}" srcOrd="1" destOrd="0" presId="urn:microsoft.com/office/officeart/2009/layout/CirclePictureHierarchy"/>
    <dgm:cxn modelId="{2F87F68D-9FF9-4804-B49E-6669F66AB5D4}" type="presParOf" srcId="{5082A66F-645E-4D5B-A096-2F447A812D06}" destId="{6B8D7428-BD3D-4111-B2B2-E8DDA54AE177}" srcOrd="4" destOrd="0" presId="urn:microsoft.com/office/officeart/2009/layout/CirclePictureHierarchy"/>
    <dgm:cxn modelId="{BAABADB9-84E9-4907-92B3-95A4A6D200C1}" type="presParOf" srcId="{5082A66F-645E-4D5B-A096-2F447A812D06}" destId="{051AB078-5AAE-4F73-BC29-754A71F09280}" srcOrd="5" destOrd="0" presId="urn:microsoft.com/office/officeart/2009/layout/CirclePictureHierarchy"/>
    <dgm:cxn modelId="{0AAE554A-6C66-4FE6-996B-F240B5D3C80A}" type="presParOf" srcId="{051AB078-5AAE-4F73-BC29-754A71F09280}" destId="{4EA14C5B-D664-47E6-8383-0D2454D85F68}" srcOrd="0" destOrd="0" presId="urn:microsoft.com/office/officeart/2009/layout/CirclePictureHierarchy"/>
    <dgm:cxn modelId="{92886449-3F4C-48FE-9535-4A4BC8D73700}" type="presParOf" srcId="{4EA14C5B-D664-47E6-8383-0D2454D85F68}" destId="{E7AAFC44-1147-4217-8BC5-90B89E891B6E}" srcOrd="0" destOrd="0" presId="urn:microsoft.com/office/officeart/2009/layout/CirclePictureHierarchy"/>
    <dgm:cxn modelId="{D943D764-0133-4728-8206-BBC55B9A596D}" type="presParOf" srcId="{4EA14C5B-D664-47E6-8383-0D2454D85F68}" destId="{5F1943FA-E7A6-4508-942C-65E0F60FAC0D}" srcOrd="1" destOrd="0" presId="urn:microsoft.com/office/officeart/2009/layout/CirclePictureHierarchy"/>
    <dgm:cxn modelId="{C4014611-D5F6-43AF-A83D-A4756E39F1D6}" type="presParOf" srcId="{051AB078-5AAE-4F73-BC29-754A71F09280}" destId="{156FB2B6-C17F-4256-AE70-4D306B814ED3}" srcOrd="1" destOrd="0" presId="urn:microsoft.com/office/officeart/2009/layout/CirclePictureHierarchy"/>
    <dgm:cxn modelId="{BC9F9072-B46C-4C10-B310-9B2702DAD33D}" type="presParOf" srcId="{156FB2B6-C17F-4256-AE70-4D306B814ED3}" destId="{8E034242-9C94-4A59-B9DD-4A6016E5B646}" srcOrd="0" destOrd="0" presId="urn:microsoft.com/office/officeart/2009/layout/CirclePictureHierarchy"/>
    <dgm:cxn modelId="{523D40BA-1251-4659-89CB-1D1558570F4D}" type="presParOf" srcId="{156FB2B6-C17F-4256-AE70-4D306B814ED3}" destId="{EFE32B88-2CCB-45B9-9AD1-BA26F883FB2D}" srcOrd="1" destOrd="0" presId="urn:microsoft.com/office/officeart/2009/layout/CirclePictureHierarchy"/>
    <dgm:cxn modelId="{B1C10E53-6285-4B76-B0FF-182DEC847DBB}" type="presParOf" srcId="{EFE32B88-2CCB-45B9-9AD1-BA26F883FB2D}" destId="{F6996382-A5A6-4910-B05F-6A7C0711A24F}" srcOrd="0" destOrd="0" presId="urn:microsoft.com/office/officeart/2009/layout/CirclePictureHierarchy"/>
    <dgm:cxn modelId="{0BC281B2-01AF-4F13-9F2A-5A08300606D2}" type="presParOf" srcId="{F6996382-A5A6-4910-B05F-6A7C0711A24F}" destId="{F54DDB5D-EA35-4E02-A40F-02489CECF78C}" srcOrd="0" destOrd="0" presId="urn:microsoft.com/office/officeart/2009/layout/CirclePictureHierarchy"/>
    <dgm:cxn modelId="{6002118D-BAB6-4D74-B1AC-A5F371256036}" type="presParOf" srcId="{F6996382-A5A6-4910-B05F-6A7C0711A24F}" destId="{BD560765-399D-4642-BCE4-C85F8875EB08}" srcOrd="1" destOrd="0" presId="urn:microsoft.com/office/officeart/2009/layout/CirclePictureHierarchy"/>
    <dgm:cxn modelId="{DC93310F-4D4B-491F-A6E7-BD46FAED927F}" type="presParOf" srcId="{EFE32B88-2CCB-45B9-9AD1-BA26F883FB2D}" destId="{80571B83-3C35-4E86-A85A-08FE0DF9608A}" srcOrd="1" destOrd="0" presId="urn:microsoft.com/office/officeart/2009/layout/CirclePicture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084144C-E2B2-49D5-864F-E85842BD9296}"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en-US"/>
        </a:p>
      </dgm:t>
    </dgm:pt>
    <dgm:pt modelId="{5105F219-6A6B-4A5F-822E-CB0DE7C3BFA2}">
      <dgm:prSet phldrT="[文本]" custT="1">
        <dgm:style>
          <a:lnRef idx="2">
            <a:schemeClr val="accent1">
              <a:shade val="50000"/>
            </a:schemeClr>
          </a:lnRef>
          <a:fillRef idx="1">
            <a:schemeClr val="accent1"/>
          </a:fillRef>
          <a:effectRef idx="0">
            <a:schemeClr val="accent1"/>
          </a:effectRef>
          <a:fontRef idx="minor">
            <a:schemeClr val="lt1"/>
          </a:fontRef>
        </dgm:style>
      </dgm:prSet>
      <dgm:spPr>
        <a:ln/>
      </dgm:spPr>
      <dgm:t>
        <a:bodyPr spcFirstLastPara="0" vert="horz" wrap="square" lIns="68580" tIns="68580" rIns="68580" bIns="68580" numCol="1" spcCol="1270" anchor="ctr" anchorCtr="0"/>
        <a:lstStyle/>
        <a:p>
          <a:pPr marL="0" lvl="0" indent="0" algn="ctr" defTabSz="457200" rtl="0" eaLnBrk="1" latinLnBrk="0" hangingPunct="1">
            <a:lnSpc>
              <a:spcPct val="90000"/>
            </a:lnSpc>
            <a:spcBef>
              <a:spcPct val="0"/>
            </a:spcBef>
            <a:spcAft>
              <a:spcPct val="35000"/>
            </a:spcAft>
            <a:buNone/>
          </a:pPr>
          <a:r>
            <a:rPr lang="zh-CN" altLang="en-US" sz="2000" b="1" kern="1200" dirty="0">
              <a:solidFill>
                <a:srgbClr val="FFFFFF"/>
              </a:solidFill>
              <a:latin typeface="Arial"/>
              <a:ea typeface="阿里巴巴普惠体"/>
              <a:cs typeface="阿里巴巴普惠体"/>
            </a:rPr>
            <a:t>优点</a:t>
          </a:r>
          <a:endParaRPr lang="en-US" sz="2000" b="1" kern="1200" dirty="0">
            <a:solidFill>
              <a:srgbClr val="FFFFFF"/>
            </a:solidFill>
            <a:latin typeface="Arial"/>
            <a:ea typeface="阿里巴巴普惠体"/>
            <a:cs typeface="阿里巴巴普惠体"/>
          </a:endParaRPr>
        </a:p>
      </dgm:t>
    </dgm:pt>
    <dgm:pt modelId="{5C1D0E90-080F-490F-A232-6FDFA4A74E22}" type="parTrans" cxnId="{2B9925DD-0B6F-4EEC-84F7-B2D662409EA3}">
      <dgm:prSet/>
      <dgm:spPr/>
      <dgm:t>
        <a:bodyPr/>
        <a:lstStyle/>
        <a:p>
          <a:endParaRPr lang="en-US"/>
        </a:p>
      </dgm:t>
    </dgm:pt>
    <dgm:pt modelId="{18E7A667-B36F-41C2-88E4-49203BC001D2}" type="sibTrans" cxnId="{2B9925DD-0B6F-4EEC-84F7-B2D662409EA3}">
      <dgm:prSet/>
      <dgm:spPr/>
      <dgm:t>
        <a:bodyPr/>
        <a:lstStyle/>
        <a:p>
          <a:endParaRPr lang="en-US"/>
        </a:p>
      </dgm:t>
    </dgm:pt>
    <dgm:pt modelId="{E8937880-7709-4760-B139-F658E4DCB200}">
      <dgm:prSet phldrT="[文本]" phldr="1" custT="1"/>
      <dgm:spPr>
        <a:ln>
          <a:noFill/>
        </a:ln>
      </dgm:spPr>
      <dgm:t>
        <a:bodyPr anchor="ctr"/>
        <a:lstStyle/>
        <a:p>
          <a:pPr marL="0" algn="ctr" defTabSz="457200" rtl="0" eaLnBrk="1" latinLnBrk="0" hangingPunct="1"/>
          <a:endParaRPr lang="en-US" sz="1800" kern="1200" dirty="0">
            <a:solidFill>
              <a:schemeClr val="accent1"/>
            </a:solidFill>
            <a:latin typeface="+mn-lt"/>
            <a:ea typeface="+mn-ea"/>
            <a:cs typeface="+mn-ea"/>
          </a:endParaRPr>
        </a:p>
      </dgm:t>
    </dgm:pt>
    <dgm:pt modelId="{0DB5C863-F084-4A92-A111-5ABE40B21CCF}" type="parTrans" cxnId="{52B34787-9936-4309-874C-79852390590F}">
      <dgm:prSet/>
      <dgm:spPr/>
      <dgm:t>
        <a:bodyPr/>
        <a:lstStyle/>
        <a:p>
          <a:endParaRPr lang="en-US"/>
        </a:p>
      </dgm:t>
    </dgm:pt>
    <dgm:pt modelId="{A9A99010-B8E3-4841-8DE1-6A20F547126C}" type="sibTrans" cxnId="{52B34787-9936-4309-874C-79852390590F}">
      <dgm:prSet/>
      <dgm:spPr/>
      <dgm:t>
        <a:bodyPr/>
        <a:lstStyle/>
        <a:p>
          <a:endParaRPr lang="en-US"/>
        </a:p>
      </dgm:t>
    </dgm:pt>
    <dgm:pt modelId="{117E14ED-55FA-40F7-A73B-291628CEFA54}">
      <dgm:prSet phldrT="[文本]" phldr="1" custT="1"/>
      <dgm:spPr>
        <a:solidFill>
          <a:schemeClr val="tx1">
            <a:lumMod val="65000"/>
            <a:lumOff val="35000"/>
          </a:schemeClr>
        </a:solidFill>
        <a:ln>
          <a:noFill/>
        </a:ln>
      </dgm:spPr>
      <dgm:t>
        <a:bodyPr spcFirstLastPara="0" vert="horz" wrap="square" lIns="68580" tIns="68580" rIns="68580" bIns="68580" numCol="1" spcCol="1270" anchor="ctr" anchorCtr="0"/>
        <a:lstStyle/>
        <a:p>
          <a:pPr marL="0" lvl="0" indent="0" algn="ctr" defTabSz="457200" rtl="0" eaLnBrk="1" latinLnBrk="0" hangingPunct="1">
            <a:lnSpc>
              <a:spcPct val="90000"/>
            </a:lnSpc>
            <a:spcBef>
              <a:spcPct val="0"/>
            </a:spcBef>
            <a:spcAft>
              <a:spcPct val="35000"/>
            </a:spcAft>
            <a:buNone/>
          </a:pPr>
          <a:endParaRPr lang="en-US" sz="1800" kern="1200" dirty="0">
            <a:solidFill>
              <a:srgbClr val="595959"/>
            </a:solidFill>
            <a:latin typeface="Arial"/>
            <a:ea typeface="阿里巴巴普惠体"/>
            <a:cs typeface="阿里巴巴普惠体"/>
          </a:endParaRPr>
        </a:p>
      </dgm:t>
    </dgm:pt>
    <dgm:pt modelId="{DBAFBE83-97AE-410F-A54A-798E23156CF0}" type="parTrans" cxnId="{EF32E687-38B8-4EEE-A6F9-3DF334C0C004}">
      <dgm:prSet/>
      <dgm:spPr/>
      <dgm:t>
        <a:bodyPr/>
        <a:lstStyle/>
        <a:p>
          <a:endParaRPr lang="en-US"/>
        </a:p>
      </dgm:t>
    </dgm:pt>
    <dgm:pt modelId="{6C179923-10C2-4AC2-B332-0340AE3FAA4C}" type="sibTrans" cxnId="{EF32E687-38B8-4EEE-A6F9-3DF334C0C004}">
      <dgm:prSet/>
      <dgm:spPr/>
      <dgm:t>
        <a:bodyPr/>
        <a:lstStyle/>
        <a:p>
          <a:endParaRPr lang="en-US"/>
        </a:p>
      </dgm:t>
    </dgm:pt>
    <dgm:pt modelId="{916FEBD8-59AA-4D15-AC65-D3ED1E251244}">
      <dgm:prSet phldrT="[文本]" custT="1">
        <dgm:style>
          <a:lnRef idx="2">
            <a:schemeClr val="accent1">
              <a:shade val="50000"/>
            </a:schemeClr>
          </a:lnRef>
          <a:fillRef idx="1">
            <a:schemeClr val="accent1"/>
          </a:fillRef>
          <a:effectRef idx="0">
            <a:schemeClr val="accent1"/>
          </a:effectRef>
          <a:fontRef idx="minor">
            <a:schemeClr val="lt1"/>
          </a:fontRef>
        </dgm:style>
      </dgm:prSet>
      <dgm:spPr>
        <a:solidFill>
          <a:schemeClr val="tx1">
            <a:lumMod val="65000"/>
            <a:lumOff val="35000"/>
          </a:schemeClr>
        </a:solidFill>
        <a:ln w="76200">
          <a:noFill/>
        </a:ln>
      </dgm:spPr>
      <dgm:t>
        <a:bodyPr anchor="ctr"/>
        <a:lstStyle/>
        <a:p>
          <a:pPr marL="0" algn="ctr" defTabSz="457200" rtl="0" eaLnBrk="1" latinLnBrk="0" hangingPunct="1"/>
          <a:endParaRPr lang="en-US" sz="1800" kern="1200" dirty="0">
            <a:solidFill>
              <a:schemeClr val="lt1"/>
            </a:solidFill>
            <a:latin typeface="+mn-lt"/>
            <a:ea typeface="+mn-ea"/>
            <a:cs typeface="+mn-ea"/>
          </a:endParaRPr>
        </a:p>
      </dgm:t>
    </dgm:pt>
    <dgm:pt modelId="{A275C294-D975-4699-B818-848C7935C9C9}" type="parTrans" cxnId="{C471BBCF-457E-4374-90A8-10E3DBF61D37}">
      <dgm:prSet/>
      <dgm:spPr/>
      <dgm:t>
        <a:bodyPr/>
        <a:lstStyle/>
        <a:p>
          <a:endParaRPr lang="en-US"/>
        </a:p>
      </dgm:t>
    </dgm:pt>
    <dgm:pt modelId="{388A6D0D-63F0-40C9-B460-CDAD78A93E2C}" type="sibTrans" cxnId="{C471BBCF-457E-4374-90A8-10E3DBF61D37}">
      <dgm:prSet/>
      <dgm:spPr/>
      <dgm:t>
        <a:bodyPr/>
        <a:lstStyle/>
        <a:p>
          <a:endParaRPr lang="en-US"/>
        </a:p>
      </dgm:t>
    </dgm:pt>
    <dgm:pt modelId="{4639884A-457B-4D01-B850-8D84010DFE19}">
      <dgm:prSet phldrT="[文本]"/>
      <dgm:spPr/>
      <dgm:t>
        <a:bodyPr/>
        <a:lstStyle/>
        <a:p>
          <a:endParaRPr lang="en-US" dirty="0"/>
        </a:p>
      </dgm:t>
    </dgm:pt>
    <dgm:pt modelId="{CF1FBB6D-4F7A-4F41-864E-AE1428E32707}" type="parTrans" cxnId="{1A9F90DF-C5CE-47E9-8C73-EAA18B4DC0D0}">
      <dgm:prSet/>
      <dgm:spPr/>
      <dgm:t>
        <a:bodyPr/>
        <a:lstStyle/>
        <a:p>
          <a:endParaRPr lang="en-US"/>
        </a:p>
      </dgm:t>
    </dgm:pt>
    <dgm:pt modelId="{522395E2-0C9D-483F-AD52-DE576FB0AE88}" type="sibTrans" cxnId="{1A9F90DF-C5CE-47E9-8C73-EAA18B4DC0D0}">
      <dgm:prSet/>
      <dgm:spPr/>
      <dgm:t>
        <a:bodyPr/>
        <a:lstStyle/>
        <a:p>
          <a:endParaRPr lang="en-US"/>
        </a:p>
      </dgm:t>
    </dgm:pt>
    <dgm:pt modelId="{D3B31FA0-56ED-491A-9B24-077609662250}">
      <dgm:prSet phldrT="[文本]"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1"/>
        </a:solidFill>
        <a:ln w="76200">
          <a:noFill/>
        </a:ln>
      </dgm:spPr>
      <dgm:t>
        <a:bodyPr anchor="ctr"/>
        <a:lstStyle/>
        <a:p>
          <a:pPr marL="0" algn="ctr" defTabSz="457200" rtl="0" eaLnBrk="1" latinLnBrk="0" hangingPunct="1"/>
          <a:endParaRPr lang="en-US" sz="1800" kern="1200" dirty="0">
            <a:solidFill>
              <a:schemeClr val="lt1"/>
            </a:solidFill>
            <a:latin typeface="+mn-lt"/>
            <a:ea typeface="+mn-ea"/>
            <a:cs typeface="+mn-ea"/>
          </a:endParaRPr>
        </a:p>
      </dgm:t>
    </dgm:pt>
    <dgm:pt modelId="{C801DE6A-3757-46A7-82BE-AA3D28D832A8}" type="parTrans" cxnId="{035C4F73-BAE6-431A-834F-84E8E8402637}">
      <dgm:prSet/>
      <dgm:spPr/>
      <dgm:t>
        <a:bodyPr/>
        <a:lstStyle/>
        <a:p>
          <a:endParaRPr lang="en-US"/>
        </a:p>
      </dgm:t>
    </dgm:pt>
    <dgm:pt modelId="{F3C69C00-5CAE-4E54-ABAB-3ED142051CF8}" type="sibTrans" cxnId="{035C4F73-BAE6-431A-834F-84E8E8402637}">
      <dgm:prSet/>
      <dgm:spPr/>
      <dgm:t>
        <a:bodyPr/>
        <a:lstStyle/>
        <a:p>
          <a:endParaRPr lang="en-US"/>
        </a:p>
      </dgm:t>
    </dgm:pt>
    <dgm:pt modelId="{62AB8829-6C4D-42E4-9713-3945FF26378B}">
      <dgm:prSet phldrT="[文本]" custT="1">
        <dgm:style>
          <a:lnRef idx="2">
            <a:schemeClr val="accent1">
              <a:shade val="50000"/>
            </a:schemeClr>
          </a:lnRef>
          <a:fillRef idx="1">
            <a:schemeClr val="accent1"/>
          </a:fillRef>
          <a:effectRef idx="0">
            <a:schemeClr val="accent1"/>
          </a:effectRef>
          <a:fontRef idx="minor">
            <a:schemeClr val="lt1"/>
          </a:fontRef>
        </dgm:style>
      </dgm:prSet>
      <dgm:spPr>
        <a:solidFill>
          <a:schemeClr val="tx1">
            <a:lumMod val="65000"/>
            <a:lumOff val="35000"/>
          </a:schemeClr>
        </a:solidFill>
        <a:ln>
          <a:noFill/>
        </a:ln>
      </dgm:spPr>
      <dgm:t>
        <a:bodyPr spcFirstLastPara="0" vert="horz" wrap="square" lIns="68580" tIns="68580" rIns="68580" bIns="68580" numCol="1" spcCol="1270" anchor="ctr" anchorCtr="0"/>
        <a:lstStyle/>
        <a:p>
          <a:pPr marL="0" lvl="0" indent="0" algn="ctr" defTabSz="457200" rtl="0" eaLnBrk="1" latinLnBrk="0" hangingPunct="1">
            <a:lnSpc>
              <a:spcPct val="90000"/>
            </a:lnSpc>
            <a:spcBef>
              <a:spcPct val="0"/>
            </a:spcBef>
            <a:spcAft>
              <a:spcPct val="35000"/>
            </a:spcAft>
            <a:buNone/>
          </a:pPr>
          <a:r>
            <a:rPr lang="zh-CN" altLang="en-US" sz="2000" b="1" kern="1200" dirty="0">
              <a:solidFill>
                <a:srgbClr val="FFFFFF"/>
              </a:solidFill>
              <a:latin typeface="Arial"/>
              <a:ea typeface="阿里巴巴普惠体"/>
              <a:cs typeface="阿里巴巴普惠体"/>
            </a:rPr>
            <a:t>缺点</a:t>
          </a:r>
          <a:endParaRPr lang="en-US" sz="2000" b="1" kern="1200" dirty="0">
            <a:solidFill>
              <a:srgbClr val="FFFFFF"/>
            </a:solidFill>
            <a:latin typeface="Arial"/>
            <a:ea typeface="阿里巴巴普惠体"/>
            <a:cs typeface="阿里巴巴普惠体"/>
          </a:endParaRPr>
        </a:p>
      </dgm:t>
    </dgm:pt>
    <dgm:pt modelId="{A2261D57-735E-4845-9217-4ABE99677FAD}" type="sibTrans" cxnId="{29F927B8-EA8A-43AD-AD77-04D761216D00}">
      <dgm:prSet/>
      <dgm:spPr/>
      <dgm:t>
        <a:bodyPr/>
        <a:lstStyle/>
        <a:p>
          <a:endParaRPr lang="en-US"/>
        </a:p>
      </dgm:t>
    </dgm:pt>
    <dgm:pt modelId="{30E68304-4A33-4940-AFBD-2EE5848CE8A6}" type="parTrans" cxnId="{29F927B8-EA8A-43AD-AD77-04D761216D00}">
      <dgm:prSet/>
      <dgm:spPr/>
      <dgm:t>
        <a:bodyPr/>
        <a:lstStyle/>
        <a:p>
          <a:endParaRPr lang="en-US"/>
        </a:p>
      </dgm:t>
    </dgm:pt>
    <dgm:pt modelId="{0B5F99BC-60B9-49AB-A6D5-ACA895C5A856}">
      <dgm:prSet phldrT="[文本]" custT="1">
        <dgm:style>
          <a:lnRef idx="2">
            <a:schemeClr val="accent1">
              <a:shade val="50000"/>
            </a:schemeClr>
          </a:lnRef>
          <a:fillRef idx="1">
            <a:schemeClr val="accent1"/>
          </a:fillRef>
          <a:effectRef idx="0">
            <a:schemeClr val="accent1"/>
          </a:effectRef>
          <a:fontRef idx="minor">
            <a:schemeClr val="lt1"/>
          </a:fontRef>
        </dgm:style>
      </dgm:prSet>
      <dgm:spPr>
        <a:solidFill>
          <a:schemeClr val="tx1">
            <a:lumMod val="65000"/>
            <a:lumOff val="35000"/>
          </a:schemeClr>
        </a:solidFill>
        <a:ln>
          <a:noFill/>
        </a:ln>
      </dgm:spPr>
      <dgm:t>
        <a:bodyPr spcFirstLastPara="0" vert="horz" wrap="square" lIns="68580" tIns="68580" rIns="68580" bIns="68580" numCol="1" spcCol="1270" anchor="ctr" anchorCtr="0"/>
        <a:lstStyle/>
        <a:p>
          <a:pPr marL="0" lvl="0" indent="0" algn="ctr" defTabSz="457200" rtl="0" eaLnBrk="1" latinLnBrk="0" hangingPunct="1">
            <a:lnSpc>
              <a:spcPct val="90000"/>
            </a:lnSpc>
            <a:spcBef>
              <a:spcPct val="0"/>
            </a:spcBef>
            <a:spcAft>
              <a:spcPct val="35000"/>
            </a:spcAft>
            <a:buNone/>
          </a:pPr>
          <a:endParaRPr lang="en-US" sz="1800" kern="1200" dirty="0">
            <a:solidFill>
              <a:srgbClr val="FFFFFF"/>
            </a:solidFill>
            <a:latin typeface="Arial"/>
            <a:ea typeface="阿里巴巴普惠体"/>
            <a:cs typeface="阿里巴巴普惠体"/>
          </a:endParaRPr>
        </a:p>
      </dgm:t>
    </dgm:pt>
    <dgm:pt modelId="{61AFAAA7-7CC4-48A6-A555-CD73C966D58C}" type="sibTrans" cxnId="{47755675-00D7-4F38-8F45-0506EADD818A}">
      <dgm:prSet/>
      <dgm:spPr/>
      <dgm:t>
        <a:bodyPr/>
        <a:lstStyle/>
        <a:p>
          <a:endParaRPr lang="en-US"/>
        </a:p>
      </dgm:t>
    </dgm:pt>
    <dgm:pt modelId="{F8A30938-84B3-41CC-BCDB-2EA2F78F718E}" type="parTrans" cxnId="{47755675-00D7-4F38-8F45-0506EADD818A}">
      <dgm:prSet/>
      <dgm:spPr/>
      <dgm:t>
        <a:bodyPr/>
        <a:lstStyle/>
        <a:p>
          <a:endParaRPr lang="en-US"/>
        </a:p>
      </dgm:t>
    </dgm:pt>
    <dgm:pt modelId="{0A0DFE09-2A10-43E6-BCCC-105B5D38386C}" type="pres">
      <dgm:prSet presAssocID="{3084144C-E2B2-49D5-864F-E85842BD9296}" presName="outerComposite" presStyleCnt="0">
        <dgm:presLayoutVars>
          <dgm:chMax val="2"/>
          <dgm:animLvl val="lvl"/>
          <dgm:resizeHandles val="exact"/>
        </dgm:presLayoutVars>
      </dgm:prSet>
      <dgm:spPr/>
    </dgm:pt>
    <dgm:pt modelId="{3DC20D54-3C53-4BF8-8319-FD2E74DAFBE6}" type="pres">
      <dgm:prSet presAssocID="{3084144C-E2B2-49D5-864F-E85842BD9296}" presName="dummyMaxCanvas" presStyleCnt="0"/>
      <dgm:spPr/>
    </dgm:pt>
    <dgm:pt modelId="{245FB2FF-8CCE-4B92-8938-E47A9BAD8840}" type="pres">
      <dgm:prSet presAssocID="{3084144C-E2B2-49D5-864F-E85842BD9296}" presName="parentComposite" presStyleCnt="0"/>
      <dgm:spPr/>
    </dgm:pt>
    <dgm:pt modelId="{42C2EE99-371E-4F1A-807A-029A35F391DD}" type="pres">
      <dgm:prSet presAssocID="{3084144C-E2B2-49D5-864F-E85842BD9296}" presName="parent1" presStyleLbl="alignAccFollowNode1" presStyleIdx="0" presStyleCnt="4" custAng="0" custScaleX="123591" custScaleY="74718" custLinFactNeighborX="3053" custLinFactNeighborY="29906">
        <dgm:presLayoutVars>
          <dgm:chMax val="4"/>
        </dgm:presLayoutVars>
      </dgm:prSet>
      <dgm:spPr>
        <a:xfrm rot="213941">
          <a:off x="1943094" y="1143858"/>
          <a:ext cx="1950720" cy="825241"/>
        </a:xfrm>
        <a:prstGeom prst="roundRect">
          <a:avLst>
            <a:gd name="adj" fmla="val 10000"/>
          </a:avLst>
        </a:prstGeom>
      </dgm:spPr>
    </dgm:pt>
    <dgm:pt modelId="{0FE63CE4-FD02-4071-B95F-59CB1935C54B}" type="pres">
      <dgm:prSet presAssocID="{3084144C-E2B2-49D5-864F-E85842BD9296}" presName="parent2" presStyleLbl="alignAccFollowNode1" presStyleIdx="1" presStyleCnt="4" custScaleX="123591" custScaleY="74718" custLinFactNeighborX="6743" custLinFactNeighborY="26708">
        <dgm:presLayoutVars>
          <dgm:chMax val="4"/>
        </dgm:presLayoutVars>
      </dgm:prSet>
      <dgm:spPr>
        <a:xfrm>
          <a:off x="4629030" y="555147"/>
          <a:ext cx="1950720" cy="637116"/>
        </a:xfrm>
        <a:prstGeom prst="roundRect">
          <a:avLst>
            <a:gd name="adj" fmla="val 10000"/>
          </a:avLst>
        </a:prstGeom>
      </dgm:spPr>
    </dgm:pt>
    <dgm:pt modelId="{126C58C1-6796-45C9-B70D-EA0971A927BF}" type="pres">
      <dgm:prSet presAssocID="{3084144C-E2B2-49D5-864F-E85842BD9296}" presName="childrenComposite" presStyleCnt="0"/>
      <dgm:spPr/>
    </dgm:pt>
    <dgm:pt modelId="{92DC7775-8930-4F2F-AD0C-20EFAF46F7AF}" type="pres">
      <dgm:prSet presAssocID="{3084144C-E2B2-49D5-864F-E85842BD9296}" presName="dummyMaxCanvas_ChildArea" presStyleCnt="0"/>
      <dgm:spPr/>
    </dgm:pt>
    <dgm:pt modelId="{F187B7D2-17DA-4655-A2D1-E2DE192D89D9}" type="pres">
      <dgm:prSet presAssocID="{3084144C-E2B2-49D5-864F-E85842BD9296}" presName="fulcrum" presStyleLbl="alignAccFollowNode1" presStyleIdx="2" presStyleCnt="4"/>
      <dgm:spPr>
        <a:solidFill>
          <a:schemeClr val="bg1">
            <a:lumMod val="85000"/>
            <a:alpha val="90000"/>
          </a:schemeClr>
        </a:solidFill>
      </dgm:spPr>
    </dgm:pt>
    <dgm:pt modelId="{19F63F04-2CBB-45EA-86F9-91A873502857}" type="pres">
      <dgm:prSet presAssocID="{3084144C-E2B2-49D5-864F-E85842BD9296}" presName="balance_23" presStyleLbl="alignAccFollowNode1" presStyleIdx="3" presStyleCnt="4">
        <dgm:presLayoutVars>
          <dgm:bulletEnabled val="1"/>
        </dgm:presLayoutVars>
      </dgm:prSet>
      <dgm:spPr>
        <a:solidFill>
          <a:schemeClr val="bg1">
            <a:lumMod val="85000"/>
            <a:alpha val="90000"/>
          </a:schemeClr>
        </a:solidFill>
      </dgm:spPr>
    </dgm:pt>
    <dgm:pt modelId="{F04C5EFF-4AB3-4B17-A92A-68F4D480CFA0}" type="pres">
      <dgm:prSet presAssocID="{3084144C-E2B2-49D5-864F-E85842BD9296}" presName="right_23_1" presStyleLbl="node1" presStyleIdx="0" presStyleCnt="5" custScaleX="126481" custScaleY="82807" custLinFactNeighborX="-1407" custLinFactNeighborY="8136">
        <dgm:presLayoutVars>
          <dgm:bulletEnabled val="1"/>
        </dgm:presLayoutVars>
      </dgm:prSet>
      <dgm:spPr/>
    </dgm:pt>
    <dgm:pt modelId="{0A014FC8-D82C-4255-9787-EDFEBA580479}" type="pres">
      <dgm:prSet presAssocID="{3084144C-E2B2-49D5-864F-E85842BD9296}" presName="right_23_2" presStyleLbl="node1" presStyleIdx="1" presStyleCnt="5" custScaleX="126481" custScaleY="82807" custLinFactNeighborX="-2814" custLinFactNeighborY="28021">
        <dgm:presLayoutVars>
          <dgm:bulletEnabled val="1"/>
        </dgm:presLayoutVars>
      </dgm:prSet>
      <dgm:spPr>
        <a:xfrm rot="240000">
          <a:off x="4624286" y="2429321"/>
          <a:ext cx="1946391" cy="906819"/>
        </a:xfrm>
        <a:prstGeom prst="roundRect">
          <a:avLst/>
        </a:prstGeom>
      </dgm:spPr>
    </dgm:pt>
    <dgm:pt modelId="{D7C56E1E-A29F-486F-82BC-2324CD559A49}" type="pres">
      <dgm:prSet presAssocID="{3084144C-E2B2-49D5-864F-E85842BD9296}" presName="right_23_3" presStyleLbl="node1" presStyleIdx="2" presStyleCnt="5" custScaleX="126481" custScaleY="82807" custLinFactNeighborX="-3283" custLinFactNeighborY="43387">
        <dgm:presLayoutVars>
          <dgm:bulletEnabled val="1"/>
        </dgm:presLayoutVars>
      </dgm:prSet>
      <dgm:spPr>
        <a:xfrm rot="240000">
          <a:off x="4694729" y="1475635"/>
          <a:ext cx="1946391" cy="906819"/>
        </a:xfrm>
        <a:prstGeom prst="roundRect">
          <a:avLst/>
        </a:prstGeom>
      </dgm:spPr>
    </dgm:pt>
    <dgm:pt modelId="{99F05BAD-21FE-45FE-9462-8DB6254E8002}" type="pres">
      <dgm:prSet presAssocID="{3084144C-E2B2-49D5-864F-E85842BD9296}" presName="left_23_1" presStyleLbl="node1" presStyleIdx="3" presStyleCnt="5" custScaleX="126481" custScaleY="82807" custLinFactNeighborX="-1407" custLinFactNeighborY="8136">
        <dgm:presLayoutVars>
          <dgm:bulletEnabled val="1"/>
        </dgm:presLayoutVars>
      </dgm:prSet>
      <dgm:spPr/>
    </dgm:pt>
    <dgm:pt modelId="{70942332-D3C7-4623-986A-AA3BD3F805BA}" type="pres">
      <dgm:prSet presAssocID="{3084144C-E2B2-49D5-864F-E85842BD9296}" presName="left_23_2" presStyleLbl="node1" presStyleIdx="4" presStyleCnt="5" custScaleX="126481" custScaleY="82807" custLinFactNeighborX="-2814" custLinFactNeighborY="28021">
        <dgm:presLayoutVars>
          <dgm:bulletEnabled val="1"/>
        </dgm:presLayoutVars>
      </dgm:prSet>
      <dgm:spPr>
        <a:xfrm rot="240000">
          <a:off x="1833673" y="2234249"/>
          <a:ext cx="1946391" cy="906819"/>
        </a:xfrm>
        <a:prstGeom prst="roundRect">
          <a:avLst/>
        </a:prstGeom>
      </dgm:spPr>
    </dgm:pt>
  </dgm:ptLst>
  <dgm:cxnLst>
    <dgm:cxn modelId="{90395E17-C4FE-4341-BAAD-28754FBEBD91}" type="presOf" srcId="{D3B31FA0-56ED-491A-9B24-077609662250}" destId="{70942332-D3C7-4623-986A-AA3BD3F805BA}" srcOrd="0" destOrd="0" presId="urn:microsoft.com/office/officeart/2005/8/layout/balance1"/>
    <dgm:cxn modelId="{FEA5BE31-B031-4278-A916-63522FB37B8B}" type="presOf" srcId="{62AB8829-6C4D-42E4-9713-3945FF26378B}" destId="{0FE63CE4-FD02-4071-B95F-59CB1935C54B}" srcOrd="0" destOrd="0" presId="urn:microsoft.com/office/officeart/2005/8/layout/balance1"/>
    <dgm:cxn modelId="{035C4F73-BAE6-431A-834F-84E8E8402637}" srcId="{5105F219-6A6B-4A5F-822E-CB0DE7C3BFA2}" destId="{D3B31FA0-56ED-491A-9B24-077609662250}" srcOrd="1" destOrd="0" parTransId="{C801DE6A-3757-46A7-82BE-AA3D28D832A8}" sibTransId="{F3C69C00-5CAE-4E54-ABAB-3ED142051CF8}"/>
    <dgm:cxn modelId="{47755675-00D7-4F38-8F45-0506EADD818A}" srcId="{62AB8829-6C4D-42E4-9713-3945FF26378B}" destId="{0B5F99BC-60B9-49AB-A6D5-ACA895C5A856}" srcOrd="1" destOrd="0" parTransId="{F8A30938-84B3-41CC-BCDB-2EA2F78F718E}" sibTransId="{61AFAAA7-7CC4-48A6-A555-CD73C966D58C}"/>
    <dgm:cxn modelId="{52B34787-9936-4309-874C-79852390590F}" srcId="{5105F219-6A6B-4A5F-822E-CB0DE7C3BFA2}" destId="{E8937880-7709-4760-B139-F658E4DCB200}" srcOrd="0" destOrd="0" parTransId="{0DB5C863-F084-4A92-A111-5ABE40B21CCF}" sibTransId="{A9A99010-B8E3-4841-8DE1-6A20F547126C}"/>
    <dgm:cxn modelId="{EF32E687-38B8-4EEE-A6F9-3DF334C0C004}" srcId="{62AB8829-6C4D-42E4-9713-3945FF26378B}" destId="{117E14ED-55FA-40F7-A73B-291628CEFA54}" srcOrd="0" destOrd="0" parTransId="{DBAFBE83-97AE-410F-A54A-798E23156CF0}" sibTransId="{6C179923-10C2-4AC2-B332-0340AE3FAA4C}"/>
    <dgm:cxn modelId="{4C7BB98A-2D9F-4473-9598-F4093A6FEE9D}" type="presOf" srcId="{E8937880-7709-4760-B139-F658E4DCB200}" destId="{99F05BAD-21FE-45FE-9462-8DB6254E8002}" srcOrd="0" destOrd="0" presId="urn:microsoft.com/office/officeart/2005/8/layout/balance1"/>
    <dgm:cxn modelId="{B74ED78C-4E61-4CE6-B894-C7C138376D39}" type="presOf" srcId="{117E14ED-55FA-40F7-A73B-291628CEFA54}" destId="{F04C5EFF-4AB3-4B17-A92A-68F4D480CFA0}" srcOrd="0" destOrd="0" presId="urn:microsoft.com/office/officeart/2005/8/layout/balance1"/>
    <dgm:cxn modelId="{8255E19B-F7CB-4300-A595-EF25C548AA7B}" type="presOf" srcId="{916FEBD8-59AA-4D15-AC65-D3ED1E251244}" destId="{D7C56E1E-A29F-486F-82BC-2324CD559A49}" srcOrd="0" destOrd="0" presId="urn:microsoft.com/office/officeart/2005/8/layout/balance1"/>
    <dgm:cxn modelId="{19D3309F-0EFE-4105-ABAB-8C1B6333E13E}" type="presOf" srcId="{3084144C-E2B2-49D5-864F-E85842BD9296}" destId="{0A0DFE09-2A10-43E6-BCCC-105B5D38386C}" srcOrd="0" destOrd="0" presId="urn:microsoft.com/office/officeart/2005/8/layout/balance1"/>
    <dgm:cxn modelId="{29F927B8-EA8A-43AD-AD77-04D761216D00}" srcId="{3084144C-E2B2-49D5-864F-E85842BD9296}" destId="{62AB8829-6C4D-42E4-9713-3945FF26378B}" srcOrd="1" destOrd="0" parTransId="{30E68304-4A33-4940-AFBD-2EE5848CE8A6}" sibTransId="{A2261D57-735E-4845-9217-4ABE99677FAD}"/>
    <dgm:cxn modelId="{C471BBCF-457E-4374-90A8-10E3DBF61D37}" srcId="{62AB8829-6C4D-42E4-9713-3945FF26378B}" destId="{916FEBD8-59AA-4D15-AC65-D3ED1E251244}" srcOrd="2" destOrd="0" parTransId="{A275C294-D975-4699-B818-848C7935C9C9}" sibTransId="{388A6D0D-63F0-40C9-B460-CDAD78A93E2C}"/>
    <dgm:cxn modelId="{2B9925DD-0B6F-4EEC-84F7-B2D662409EA3}" srcId="{3084144C-E2B2-49D5-864F-E85842BD9296}" destId="{5105F219-6A6B-4A5F-822E-CB0DE7C3BFA2}" srcOrd="0" destOrd="0" parTransId="{5C1D0E90-080F-490F-A232-6FDFA4A74E22}" sibTransId="{18E7A667-B36F-41C2-88E4-49203BC001D2}"/>
    <dgm:cxn modelId="{1A9F90DF-C5CE-47E9-8C73-EAA18B4DC0D0}" srcId="{3084144C-E2B2-49D5-864F-E85842BD9296}" destId="{4639884A-457B-4D01-B850-8D84010DFE19}" srcOrd="2" destOrd="0" parTransId="{CF1FBB6D-4F7A-4F41-864E-AE1428E32707}" sibTransId="{522395E2-0C9D-483F-AD52-DE576FB0AE88}"/>
    <dgm:cxn modelId="{D094BCF5-FEA5-440B-80EA-D4675297D44C}" type="presOf" srcId="{0B5F99BC-60B9-49AB-A6D5-ACA895C5A856}" destId="{0A014FC8-D82C-4255-9787-EDFEBA580479}" srcOrd="0" destOrd="0" presId="urn:microsoft.com/office/officeart/2005/8/layout/balance1"/>
    <dgm:cxn modelId="{12F413FC-DD1A-4F59-A5D9-13D90C1BCEB3}" type="presOf" srcId="{5105F219-6A6B-4A5F-822E-CB0DE7C3BFA2}" destId="{42C2EE99-371E-4F1A-807A-029A35F391DD}" srcOrd="0" destOrd="0" presId="urn:microsoft.com/office/officeart/2005/8/layout/balance1"/>
    <dgm:cxn modelId="{BD51767C-9397-4386-A62F-A6590746045C}" type="presParOf" srcId="{0A0DFE09-2A10-43E6-BCCC-105B5D38386C}" destId="{3DC20D54-3C53-4BF8-8319-FD2E74DAFBE6}" srcOrd="0" destOrd="0" presId="urn:microsoft.com/office/officeart/2005/8/layout/balance1"/>
    <dgm:cxn modelId="{079466FB-4A6D-4229-B65D-C8328D8D6F28}" type="presParOf" srcId="{0A0DFE09-2A10-43E6-BCCC-105B5D38386C}" destId="{245FB2FF-8CCE-4B92-8938-E47A9BAD8840}" srcOrd="1" destOrd="0" presId="urn:microsoft.com/office/officeart/2005/8/layout/balance1"/>
    <dgm:cxn modelId="{F96CF9A4-8375-4EFD-B83A-82F1D823F44E}" type="presParOf" srcId="{245FB2FF-8CCE-4B92-8938-E47A9BAD8840}" destId="{42C2EE99-371E-4F1A-807A-029A35F391DD}" srcOrd="0" destOrd="0" presId="urn:microsoft.com/office/officeart/2005/8/layout/balance1"/>
    <dgm:cxn modelId="{B14B57A4-C977-460E-AABE-071CE570A7D6}" type="presParOf" srcId="{245FB2FF-8CCE-4B92-8938-E47A9BAD8840}" destId="{0FE63CE4-FD02-4071-B95F-59CB1935C54B}" srcOrd="1" destOrd="0" presId="urn:microsoft.com/office/officeart/2005/8/layout/balance1"/>
    <dgm:cxn modelId="{0C87860E-2096-4830-A340-659133501A83}" type="presParOf" srcId="{0A0DFE09-2A10-43E6-BCCC-105B5D38386C}" destId="{126C58C1-6796-45C9-B70D-EA0971A927BF}" srcOrd="2" destOrd="0" presId="urn:microsoft.com/office/officeart/2005/8/layout/balance1"/>
    <dgm:cxn modelId="{CE85D8B3-6A3E-4724-85B6-1764CA344A79}" type="presParOf" srcId="{126C58C1-6796-45C9-B70D-EA0971A927BF}" destId="{92DC7775-8930-4F2F-AD0C-20EFAF46F7AF}" srcOrd="0" destOrd="0" presId="urn:microsoft.com/office/officeart/2005/8/layout/balance1"/>
    <dgm:cxn modelId="{B6A41642-4CDF-40F1-9901-E8DE515A03E8}" type="presParOf" srcId="{126C58C1-6796-45C9-B70D-EA0971A927BF}" destId="{F187B7D2-17DA-4655-A2D1-E2DE192D89D9}" srcOrd="1" destOrd="0" presId="urn:microsoft.com/office/officeart/2005/8/layout/balance1"/>
    <dgm:cxn modelId="{5218112A-E1C4-491E-AF35-44CDC6498472}" type="presParOf" srcId="{126C58C1-6796-45C9-B70D-EA0971A927BF}" destId="{19F63F04-2CBB-45EA-86F9-91A873502857}" srcOrd="2" destOrd="0" presId="urn:microsoft.com/office/officeart/2005/8/layout/balance1"/>
    <dgm:cxn modelId="{36487444-0658-4539-B0B6-B2BA203AA747}" type="presParOf" srcId="{126C58C1-6796-45C9-B70D-EA0971A927BF}" destId="{F04C5EFF-4AB3-4B17-A92A-68F4D480CFA0}" srcOrd="3" destOrd="0" presId="urn:microsoft.com/office/officeart/2005/8/layout/balance1"/>
    <dgm:cxn modelId="{F09125E3-1C43-4D0A-B971-633C135863AC}" type="presParOf" srcId="{126C58C1-6796-45C9-B70D-EA0971A927BF}" destId="{0A014FC8-D82C-4255-9787-EDFEBA580479}" srcOrd="4" destOrd="0" presId="urn:microsoft.com/office/officeart/2005/8/layout/balance1"/>
    <dgm:cxn modelId="{7B8DFF41-0C8A-42A0-93EC-9F86E5A4DA94}" type="presParOf" srcId="{126C58C1-6796-45C9-B70D-EA0971A927BF}" destId="{D7C56E1E-A29F-486F-82BC-2324CD559A49}" srcOrd="5" destOrd="0" presId="urn:microsoft.com/office/officeart/2005/8/layout/balance1"/>
    <dgm:cxn modelId="{9CEEF359-4D72-4BD2-9983-1F63B4AC60D3}" type="presParOf" srcId="{126C58C1-6796-45C9-B70D-EA0971A927BF}" destId="{99F05BAD-21FE-45FE-9462-8DB6254E8002}" srcOrd="6" destOrd="0" presId="urn:microsoft.com/office/officeart/2005/8/layout/balance1"/>
    <dgm:cxn modelId="{7BCFADDD-A6CC-4861-8F06-B30E9A2DBEAC}" type="presParOf" srcId="{126C58C1-6796-45C9-B70D-EA0971A927BF}" destId="{70942332-D3C7-4623-986A-AA3BD3F805BA}" srcOrd="7" destOrd="0" presId="urn:microsoft.com/office/officeart/2005/8/layout/balanc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F0A453E-9845-43F5-95BC-190F194146A3}" type="doc">
      <dgm:prSet loTypeId="urn:microsoft.com/office/officeart/2005/8/layout/pyramid1" loCatId="pyramid" qsTypeId="urn:microsoft.com/office/officeart/2005/8/quickstyle/simple1" qsCatId="simple" csTypeId="urn:microsoft.com/office/officeart/2005/8/colors/accent1_2" csCatId="accent1" phldr="1"/>
      <dgm:spPr/>
    </dgm:pt>
    <dgm:pt modelId="{9DDF0F65-22E0-409B-899F-CAEE305D2BAA}">
      <dgm:prSet phldrT="[文本]" custT="1"/>
      <dgm:spPr>
        <a:gradFill flip="none" rotWithShape="1">
          <a:gsLst>
            <a:gs pos="0">
              <a:schemeClr val="accent1"/>
            </a:gs>
            <a:gs pos="100000">
              <a:schemeClr val="accent1">
                <a:lumMod val="75000"/>
              </a:schemeClr>
            </a:gs>
          </a:gsLst>
          <a:lin ang="5400000" scaled="1"/>
          <a:tileRect/>
        </a:gradFill>
        <a:ln w="34925">
          <a:solidFill>
            <a:schemeClr val="bg1"/>
          </a:solidFill>
        </a:ln>
      </dgm:spPr>
      <dgm:t>
        <a:bodyPr lIns="0" tIns="0" rIns="0" bIns="216000" anchor="b"/>
        <a:lstStyle/>
        <a:p>
          <a:pPr>
            <a:lnSpc>
              <a:spcPct val="100000"/>
            </a:lnSpc>
            <a:spcAft>
              <a:spcPts val="0"/>
            </a:spcAft>
          </a:pPr>
          <a:r>
            <a:rPr lang="zh-CN" altLang="en-US" sz="2400" b="1" dirty="0">
              <a:solidFill>
                <a:schemeClr val="bg1"/>
              </a:solidFill>
              <a:effectLst>
                <a:outerShdw blurRad="38100" dist="38100" dir="2700000" algn="tl">
                  <a:srgbClr val="000000">
                    <a:alpha val="43137"/>
                  </a:srgbClr>
                </a:outerShdw>
              </a:effectLst>
            </a:rPr>
            <a:t>高层技术</a:t>
          </a:r>
          <a:endParaRPr lang="en-US" sz="2400" b="1" dirty="0">
            <a:solidFill>
              <a:schemeClr val="bg1"/>
            </a:solidFill>
            <a:effectLst>
              <a:outerShdw blurRad="38100" dist="38100" dir="2700000" algn="tl">
                <a:srgbClr val="000000">
                  <a:alpha val="43137"/>
                </a:srgbClr>
              </a:outerShdw>
            </a:effectLst>
          </a:endParaRPr>
        </a:p>
      </dgm:t>
    </dgm:pt>
    <dgm:pt modelId="{F02369B7-D26D-46C7-A87B-880BBA4B669C}" type="parTrans" cxnId="{76FDE1AF-43B3-478C-A381-DFF074B9B23E}">
      <dgm:prSet/>
      <dgm:spPr/>
      <dgm:t>
        <a:bodyPr/>
        <a:lstStyle/>
        <a:p>
          <a:endParaRPr lang="en-US"/>
        </a:p>
      </dgm:t>
    </dgm:pt>
    <dgm:pt modelId="{48AAF5CD-250D-4AEE-A5DF-8AF99D999A03}" type="sibTrans" cxnId="{76FDE1AF-43B3-478C-A381-DFF074B9B23E}">
      <dgm:prSet/>
      <dgm:spPr/>
      <dgm:t>
        <a:bodyPr/>
        <a:lstStyle/>
        <a:p>
          <a:endParaRPr lang="en-US"/>
        </a:p>
      </dgm:t>
    </dgm:pt>
    <dgm:pt modelId="{986148BB-DE84-4EC6-BBE0-145FB8596737}">
      <dgm:prSet phldrT="[文本]" custT="1"/>
      <dgm:spPr>
        <a:gradFill flip="none" rotWithShape="1">
          <a:gsLst>
            <a:gs pos="0">
              <a:schemeClr val="tx1">
                <a:lumMod val="50000"/>
                <a:lumOff val="50000"/>
              </a:schemeClr>
            </a:gs>
            <a:gs pos="100000">
              <a:schemeClr val="bg1">
                <a:lumMod val="65000"/>
              </a:schemeClr>
            </a:gs>
          </a:gsLst>
          <a:lin ang="16200000" scaled="1"/>
          <a:tileRect/>
        </a:gradFill>
        <a:ln w="34925" cap="flat" cmpd="sng" algn="ctr">
          <a:solidFill>
            <a:schemeClr val="bg1"/>
          </a:solidFill>
          <a:prstDash val="solid"/>
          <a:miter lim="800000"/>
        </a:ln>
        <a:effectLst/>
      </dgm:spPr>
      <dgm:t>
        <a:bodyPr spcFirstLastPara="0" vert="horz" wrap="square" lIns="30480" tIns="30480" rIns="30480" bIns="30480" numCol="1" spcCol="1270" anchor="ctr" anchorCtr="0"/>
        <a:lstStyle/>
        <a:p>
          <a:pPr marL="0" lvl="0" indent="0" algn="ctr" defTabSz="1066800">
            <a:lnSpc>
              <a:spcPct val="100000"/>
            </a:lnSpc>
            <a:spcBef>
              <a:spcPct val="0"/>
            </a:spcBef>
            <a:spcAft>
              <a:spcPts val="0"/>
            </a:spcAft>
            <a:buNone/>
          </a:pPr>
          <a:r>
            <a:rPr lang="zh-CN" altLang="en-US" sz="2400" b="1" kern="1200" dirty="0">
              <a:solidFill>
                <a:srgbClr val="FFFFFF"/>
              </a:solidFill>
              <a:effectLst>
                <a:outerShdw blurRad="38100" dist="38100" dir="2700000" algn="tl">
                  <a:srgbClr val="000000">
                    <a:alpha val="43137"/>
                  </a:srgbClr>
                </a:outerShdw>
              </a:effectLst>
              <a:latin typeface="Arial"/>
              <a:ea typeface="阿里巴巴普惠体"/>
              <a:cs typeface="+mn-cs"/>
            </a:rPr>
            <a:t>中层技术</a:t>
          </a:r>
          <a:endParaRPr lang="en-US" sz="2400" b="1" kern="1200" dirty="0">
            <a:solidFill>
              <a:srgbClr val="FFFFFF"/>
            </a:solidFill>
            <a:effectLst>
              <a:outerShdw blurRad="38100" dist="38100" dir="2700000" algn="tl">
                <a:srgbClr val="000000">
                  <a:alpha val="43137"/>
                </a:srgbClr>
              </a:outerShdw>
            </a:effectLst>
            <a:latin typeface="Arial"/>
            <a:ea typeface="阿里巴巴普惠体"/>
            <a:cs typeface="+mn-cs"/>
          </a:endParaRPr>
        </a:p>
      </dgm:t>
    </dgm:pt>
    <dgm:pt modelId="{7A7E187E-62E9-4BAC-B393-5391876C7538}" type="parTrans" cxnId="{AF4F86CE-DB1D-44E1-8DA6-411D1CBD8B39}">
      <dgm:prSet/>
      <dgm:spPr/>
      <dgm:t>
        <a:bodyPr/>
        <a:lstStyle/>
        <a:p>
          <a:endParaRPr lang="en-US"/>
        </a:p>
      </dgm:t>
    </dgm:pt>
    <dgm:pt modelId="{044879F7-8E76-4C88-8D6C-147829D0A5EC}" type="sibTrans" cxnId="{AF4F86CE-DB1D-44E1-8DA6-411D1CBD8B39}">
      <dgm:prSet/>
      <dgm:spPr/>
      <dgm:t>
        <a:bodyPr/>
        <a:lstStyle/>
        <a:p>
          <a:endParaRPr lang="en-US"/>
        </a:p>
      </dgm:t>
    </dgm:pt>
    <dgm:pt modelId="{BC1EC0E8-0644-438C-965D-E0FB5FA3A90D}">
      <dgm:prSet phldrT="[文本]" custT="1"/>
      <dgm:spPr>
        <a:gradFill flip="none" rotWithShape="1">
          <a:gsLst>
            <a:gs pos="0">
              <a:srgbClr val="000000">
                <a:lumMod val="50000"/>
                <a:lumOff val="50000"/>
              </a:srgbClr>
            </a:gs>
            <a:gs pos="100000">
              <a:srgbClr val="FFFFFF">
                <a:lumMod val="65000"/>
              </a:srgbClr>
            </a:gs>
          </a:gsLst>
          <a:lin ang="16200000" scaled="1"/>
          <a:tileRect/>
        </a:gradFill>
        <a:ln w="34925" cap="flat" cmpd="sng" algn="ctr">
          <a:solidFill>
            <a:schemeClr val="bg1"/>
          </a:solidFill>
          <a:prstDash val="solid"/>
          <a:miter lim="800000"/>
        </a:ln>
        <a:effectLst/>
      </dgm:spPr>
      <dgm:t>
        <a:bodyPr spcFirstLastPara="0" vert="horz" wrap="square" lIns="30480" tIns="30480" rIns="30480" bIns="30480" numCol="1" spcCol="1270" anchor="ctr" anchorCtr="0"/>
        <a:lstStyle/>
        <a:p>
          <a:pPr marL="0" lvl="0" indent="0" algn="ctr" defTabSz="1066800">
            <a:lnSpc>
              <a:spcPct val="100000"/>
            </a:lnSpc>
            <a:spcBef>
              <a:spcPct val="0"/>
            </a:spcBef>
            <a:spcAft>
              <a:spcPts val="0"/>
            </a:spcAft>
            <a:buNone/>
          </a:pPr>
          <a:r>
            <a:rPr lang="zh-CN" altLang="en-US" sz="2400" b="1" kern="1200" dirty="0">
              <a:solidFill>
                <a:srgbClr val="FFFFFF"/>
              </a:solidFill>
              <a:effectLst>
                <a:outerShdw blurRad="38100" dist="38100" dir="2700000" algn="tl">
                  <a:srgbClr val="000000">
                    <a:alpha val="43137"/>
                  </a:srgbClr>
                </a:outerShdw>
              </a:effectLst>
              <a:latin typeface="Arial"/>
              <a:ea typeface="阿里巴巴普惠体"/>
              <a:cs typeface="+mn-cs"/>
            </a:rPr>
            <a:t>底层技术</a:t>
          </a:r>
          <a:endParaRPr lang="en-US" sz="2400" b="1" kern="1200" dirty="0">
            <a:solidFill>
              <a:srgbClr val="FFFFFF"/>
            </a:solidFill>
            <a:effectLst>
              <a:outerShdw blurRad="38100" dist="38100" dir="2700000" algn="tl">
                <a:srgbClr val="000000">
                  <a:alpha val="43137"/>
                </a:srgbClr>
              </a:outerShdw>
            </a:effectLst>
            <a:latin typeface="Arial"/>
            <a:ea typeface="阿里巴巴普惠体"/>
            <a:cs typeface="+mn-cs"/>
          </a:endParaRPr>
        </a:p>
      </dgm:t>
    </dgm:pt>
    <dgm:pt modelId="{7D49094D-FB76-4B7B-B885-30C55DFC664F}" type="parTrans" cxnId="{4FB40019-0C40-49E3-B791-10CC1241CF22}">
      <dgm:prSet/>
      <dgm:spPr/>
      <dgm:t>
        <a:bodyPr/>
        <a:lstStyle/>
        <a:p>
          <a:endParaRPr lang="en-US"/>
        </a:p>
      </dgm:t>
    </dgm:pt>
    <dgm:pt modelId="{A41282C6-A13A-4970-9B03-2902CB38E0D8}" type="sibTrans" cxnId="{4FB40019-0C40-49E3-B791-10CC1241CF22}">
      <dgm:prSet/>
      <dgm:spPr/>
      <dgm:t>
        <a:bodyPr/>
        <a:lstStyle/>
        <a:p>
          <a:endParaRPr lang="en-US"/>
        </a:p>
      </dgm:t>
    </dgm:pt>
    <dgm:pt modelId="{FCE84EE8-093C-4B18-A5CF-DE032FF388F0}" type="pres">
      <dgm:prSet presAssocID="{2F0A453E-9845-43F5-95BC-190F194146A3}" presName="Name0" presStyleCnt="0">
        <dgm:presLayoutVars>
          <dgm:dir/>
          <dgm:animLvl val="lvl"/>
          <dgm:resizeHandles val="exact"/>
        </dgm:presLayoutVars>
      </dgm:prSet>
      <dgm:spPr/>
    </dgm:pt>
    <dgm:pt modelId="{777FC1C5-260B-465E-9505-A8460C0052D8}" type="pres">
      <dgm:prSet presAssocID="{9DDF0F65-22E0-409B-899F-CAEE305D2BAA}" presName="Name8" presStyleCnt="0"/>
      <dgm:spPr/>
    </dgm:pt>
    <dgm:pt modelId="{37CEC437-F183-4697-9691-4AC6978CFD42}" type="pres">
      <dgm:prSet presAssocID="{9DDF0F65-22E0-409B-899F-CAEE305D2BAA}" presName="level" presStyleLbl="node1" presStyleIdx="0" presStyleCnt="3">
        <dgm:presLayoutVars>
          <dgm:chMax val="1"/>
          <dgm:bulletEnabled val="1"/>
        </dgm:presLayoutVars>
      </dgm:prSet>
      <dgm:spPr/>
    </dgm:pt>
    <dgm:pt modelId="{D654B4E0-202D-4830-B0F7-48009FB52555}" type="pres">
      <dgm:prSet presAssocID="{9DDF0F65-22E0-409B-899F-CAEE305D2BAA}" presName="levelTx" presStyleLbl="revTx" presStyleIdx="0" presStyleCnt="0">
        <dgm:presLayoutVars>
          <dgm:chMax val="1"/>
          <dgm:bulletEnabled val="1"/>
        </dgm:presLayoutVars>
      </dgm:prSet>
      <dgm:spPr/>
    </dgm:pt>
    <dgm:pt modelId="{D7B29133-B511-4882-8EF6-953D4A645631}" type="pres">
      <dgm:prSet presAssocID="{986148BB-DE84-4EC6-BBE0-145FB8596737}" presName="Name8" presStyleCnt="0"/>
      <dgm:spPr/>
    </dgm:pt>
    <dgm:pt modelId="{E2A4D9B6-4072-4700-A431-A99D2CBCB8F0}" type="pres">
      <dgm:prSet presAssocID="{986148BB-DE84-4EC6-BBE0-145FB8596737}" presName="level" presStyleLbl="node1" presStyleIdx="1" presStyleCnt="3">
        <dgm:presLayoutVars>
          <dgm:chMax val="1"/>
          <dgm:bulletEnabled val="1"/>
        </dgm:presLayoutVars>
      </dgm:prSet>
      <dgm:spPr>
        <a:xfrm>
          <a:off x="928793" y="1647119"/>
          <a:ext cx="3715173" cy="1647119"/>
        </a:xfrm>
        <a:prstGeom prst="trapezoid">
          <a:avLst>
            <a:gd name="adj" fmla="val 56389"/>
          </a:avLst>
        </a:prstGeom>
      </dgm:spPr>
    </dgm:pt>
    <dgm:pt modelId="{EB5A6E75-119D-4CE1-AFD9-3C4BF3D9F814}" type="pres">
      <dgm:prSet presAssocID="{986148BB-DE84-4EC6-BBE0-145FB8596737}" presName="levelTx" presStyleLbl="revTx" presStyleIdx="0" presStyleCnt="0">
        <dgm:presLayoutVars>
          <dgm:chMax val="1"/>
          <dgm:bulletEnabled val="1"/>
        </dgm:presLayoutVars>
      </dgm:prSet>
      <dgm:spPr/>
    </dgm:pt>
    <dgm:pt modelId="{891C84B1-5F64-49CF-B8F6-476ECDB31472}" type="pres">
      <dgm:prSet presAssocID="{BC1EC0E8-0644-438C-965D-E0FB5FA3A90D}" presName="Name8" presStyleCnt="0"/>
      <dgm:spPr/>
    </dgm:pt>
    <dgm:pt modelId="{D1D5FAB4-1D9E-492C-A7CB-5F7A91F27EBB}" type="pres">
      <dgm:prSet presAssocID="{BC1EC0E8-0644-438C-965D-E0FB5FA3A90D}" presName="level" presStyleLbl="node1" presStyleIdx="2" presStyleCnt="3" custLinFactNeighborX="-95404">
        <dgm:presLayoutVars>
          <dgm:chMax val="1"/>
          <dgm:bulletEnabled val="1"/>
        </dgm:presLayoutVars>
      </dgm:prSet>
      <dgm:spPr>
        <a:xfrm>
          <a:off x="0" y="3294238"/>
          <a:ext cx="5572760" cy="1647119"/>
        </a:xfrm>
        <a:prstGeom prst="trapezoid">
          <a:avLst>
            <a:gd name="adj" fmla="val 56389"/>
          </a:avLst>
        </a:prstGeom>
      </dgm:spPr>
    </dgm:pt>
    <dgm:pt modelId="{C0E44EAC-FA51-421A-A887-6DCD2E08ACD5}" type="pres">
      <dgm:prSet presAssocID="{BC1EC0E8-0644-438C-965D-E0FB5FA3A90D}" presName="levelTx" presStyleLbl="revTx" presStyleIdx="0" presStyleCnt="0">
        <dgm:presLayoutVars>
          <dgm:chMax val="1"/>
          <dgm:bulletEnabled val="1"/>
        </dgm:presLayoutVars>
      </dgm:prSet>
      <dgm:spPr/>
    </dgm:pt>
  </dgm:ptLst>
  <dgm:cxnLst>
    <dgm:cxn modelId="{4FB40019-0C40-49E3-B791-10CC1241CF22}" srcId="{2F0A453E-9845-43F5-95BC-190F194146A3}" destId="{BC1EC0E8-0644-438C-965D-E0FB5FA3A90D}" srcOrd="2" destOrd="0" parTransId="{7D49094D-FB76-4B7B-B885-30C55DFC664F}" sibTransId="{A41282C6-A13A-4970-9B03-2902CB38E0D8}"/>
    <dgm:cxn modelId="{2DD1CC70-4840-40FB-A8AD-1CEF8143EB49}" type="presOf" srcId="{986148BB-DE84-4EC6-BBE0-145FB8596737}" destId="{E2A4D9B6-4072-4700-A431-A99D2CBCB8F0}" srcOrd="0" destOrd="0" presId="urn:microsoft.com/office/officeart/2005/8/layout/pyramid1"/>
    <dgm:cxn modelId="{C88EF79D-671A-4F18-98EB-6BA9D51CCB70}" type="presOf" srcId="{BC1EC0E8-0644-438C-965D-E0FB5FA3A90D}" destId="{C0E44EAC-FA51-421A-A887-6DCD2E08ACD5}" srcOrd="1" destOrd="0" presId="urn:microsoft.com/office/officeart/2005/8/layout/pyramid1"/>
    <dgm:cxn modelId="{76FDE1AF-43B3-478C-A381-DFF074B9B23E}" srcId="{2F0A453E-9845-43F5-95BC-190F194146A3}" destId="{9DDF0F65-22E0-409B-899F-CAEE305D2BAA}" srcOrd="0" destOrd="0" parTransId="{F02369B7-D26D-46C7-A87B-880BBA4B669C}" sibTransId="{48AAF5CD-250D-4AEE-A5DF-8AF99D999A03}"/>
    <dgm:cxn modelId="{A0B3DEB9-6F39-4DF1-91F7-138C8B4267CD}" type="presOf" srcId="{986148BB-DE84-4EC6-BBE0-145FB8596737}" destId="{EB5A6E75-119D-4CE1-AFD9-3C4BF3D9F814}" srcOrd="1" destOrd="0" presId="urn:microsoft.com/office/officeart/2005/8/layout/pyramid1"/>
    <dgm:cxn modelId="{CE6493C3-2C9F-4D49-BE25-76CA0A58A1AA}" type="presOf" srcId="{9DDF0F65-22E0-409B-899F-CAEE305D2BAA}" destId="{37CEC437-F183-4697-9691-4AC6978CFD42}" srcOrd="0" destOrd="0" presId="urn:microsoft.com/office/officeart/2005/8/layout/pyramid1"/>
    <dgm:cxn modelId="{E330B3CB-9103-46AA-A5FC-779FF1CAC6D1}" type="presOf" srcId="{BC1EC0E8-0644-438C-965D-E0FB5FA3A90D}" destId="{D1D5FAB4-1D9E-492C-A7CB-5F7A91F27EBB}" srcOrd="0" destOrd="0" presId="urn:microsoft.com/office/officeart/2005/8/layout/pyramid1"/>
    <dgm:cxn modelId="{AF4F86CE-DB1D-44E1-8DA6-411D1CBD8B39}" srcId="{2F0A453E-9845-43F5-95BC-190F194146A3}" destId="{986148BB-DE84-4EC6-BBE0-145FB8596737}" srcOrd="1" destOrd="0" parTransId="{7A7E187E-62E9-4BAC-B393-5391876C7538}" sibTransId="{044879F7-8E76-4C88-8D6C-147829D0A5EC}"/>
    <dgm:cxn modelId="{0B21E1DB-656E-43A9-A04A-1D64C42FE3F3}" type="presOf" srcId="{9DDF0F65-22E0-409B-899F-CAEE305D2BAA}" destId="{D654B4E0-202D-4830-B0F7-48009FB52555}" srcOrd="1" destOrd="0" presId="urn:microsoft.com/office/officeart/2005/8/layout/pyramid1"/>
    <dgm:cxn modelId="{3F02B4EF-1F23-4668-9560-EC13F495EA84}" type="presOf" srcId="{2F0A453E-9845-43F5-95BC-190F194146A3}" destId="{FCE84EE8-093C-4B18-A5CF-DE032FF388F0}" srcOrd="0" destOrd="0" presId="urn:microsoft.com/office/officeart/2005/8/layout/pyramid1"/>
    <dgm:cxn modelId="{A321DC98-50C3-4BC1-A0CD-6F736BD42388}" type="presParOf" srcId="{FCE84EE8-093C-4B18-A5CF-DE032FF388F0}" destId="{777FC1C5-260B-465E-9505-A8460C0052D8}" srcOrd="0" destOrd="0" presId="urn:microsoft.com/office/officeart/2005/8/layout/pyramid1"/>
    <dgm:cxn modelId="{26FF3CEE-64AA-41BD-8B01-BEDC10DDDBA2}" type="presParOf" srcId="{777FC1C5-260B-465E-9505-A8460C0052D8}" destId="{37CEC437-F183-4697-9691-4AC6978CFD42}" srcOrd="0" destOrd="0" presId="urn:microsoft.com/office/officeart/2005/8/layout/pyramid1"/>
    <dgm:cxn modelId="{C9F200D9-0847-4B1D-818F-CFE0A1C45279}" type="presParOf" srcId="{777FC1C5-260B-465E-9505-A8460C0052D8}" destId="{D654B4E0-202D-4830-B0F7-48009FB52555}" srcOrd="1" destOrd="0" presId="urn:microsoft.com/office/officeart/2005/8/layout/pyramid1"/>
    <dgm:cxn modelId="{1B6D250D-7491-46B6-ADDD-33E907324AB9}" type="presParOf" srcId="{FCE84EE8-093C-4B18-A5CF-DE032FF388F0}" destId="{D7B29133-B511-4882-8EF6-953D4A645631}" srcOrd="1" destOrd="0" presId="urn:microsoft.com/office/officeart/2005/8/layout/pyramid1"/>
    <dgm:cxn modelId="{3E7F298F-131A-4460-9317-E77F6957874B}" type="presParOf" srcId="{D7B29133-B511-4882-8EF6-953D4A645631}" destId="{E2A4D9B6-4072-4700-A431-A99D2CBCB8F0}" srcOrd="0" destOrd="0" presId="urn:microsoft.com/office/officeart/2005/8/layout/pyramid1"/>
    <dgm:cxn modelId="{C1640075-AED6-44BA-B6F2-152BD748A19A}" type="presParOf" srcId="{D7B29133-B511-4882-8EF6-953D4A645631}" destId="{EB5A6E75-119D-4CE1-AFD9-3C4BF3D9F814}" srcOrd="1" destOrd="0" presId="urn:microsoft.com/office/officeart/2005/8/layout/pyramid1"/>
    <dgm:cxn modelId="{4EFC50B1-EB25-4FF7-A729-CC631DE003C3}" type="presParOf" srcId="{FCE84EE8-093C-4B18-A5CF-DE032FF388F0}" destId="{891C84B1-5F64-49CF-B8F6-476ECDB31472}" srcOrd="2" destOrd="0" presId="urn:microsoft.com/office/officeart/2005/8/layout/pyramid1"/>
    <dgm:cxn modelId="{00EA4377-3414-4A46-9E49-F939CA51678F}" type="presParOf" srcId="{891C84B1-5F64-49CF-B8F6-476ECDB31472}" destId="{D1D5FAB4-1D9E-492C-A7CB-5F7A91F27EBB}" srcOrd="0" destOrd="0" presId="urn:microsoft.com/office/officeart/2005/8/layout/pyramid1"/>
    <dgm:cxn modelId="{DAAE73A8-B39E-4889-AFBB-A61C059FAACC}" type="presParOf" srcId="{891C84B1-5F64-49CF-B8F6-476ECDB31472}" destId="{C0E44EAC-FA51-421A-A887-6DCD2E08ACD5}"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9503225-AAE1-475B-B058-A12BB5C3D235}"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3A1BAA6A-2EF9-4777-8543-3042300AD85B}">
      <dgm:prSet phldrT="[文本]" custT="1"/>
      <dgm:spPr/>
      <dgm:t>
        <a:bodyPr/>
        <a:lstStyle/>
        <a:p>
          <a:pPr>
            <a:buClrTx/>
            <a:buSzTx/>
            <a:buFontTx/>
            <a:buNone/>
          </a:pPr>
          <a:r>
            <a:rPr kumimoji="0" lang="en-US" altLang="zh-CN" sz="1600" b="1" i="0" u="none" strike="noStrike" cap="none" spc="0" normalizeH="0" noProof="0" dirty="0">
              <a:ln>
                <a:noFill/>
              </a:ln>
              <a:solidFill>
                <a:prstClr val="white"/>
              </a:solidFill>
              <a:effectLst/>
              <a:uLnTx/>
              <a:uFillTx/>
              <a:cs typeface="Arial" panose="020B0604020202020204" pitchFamily="34" charset="0"/>
            </a:rPr>
            <a:t>20</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E27EED93-5182-4241-B7F0-8B7E8749077B}" type="parTrans" cxnId="{94926C67-ADF9-420F-98AC-A55F8F8ADF93}">
      <dgm:prSet/>
      <dgm:spPr/>
      <dgm:t>
        <a:bodyPr/>
        <a:lstStyle/>
        <a:p>
          <a:endParaRPr lang="en-US" sz="1800"/>
        </a:p>
      </dgm:t>
    </dgm:pt>
    <dgm:pt modelId="{CB09F18D-A311-44F7-AAB2-B6046C1691BF}" type="sibTrans" cxnId="{94926C67-ADF9-420F-98AC-A55F8F8ADF93}">
      <dgm:prSet custT="1"/>
      <dgm:spPr>
        <a:noFill/>
        <a:ln>
          <a:noFill/>
        </a:ln>
      </dgm:spPr>
      <dgm:t>
        <a:bodyPr/>
        <a:lstStyle/>
        <a:p>
          <a:endParaRPr lang="en-US" sz="1000"/>
        </a:p>
      </dgm:t>
    </dgm:pt>
    <dgm:pt modelId="{E99DD119-D64B-4E0E-96D7-BE60B155E882}">
      <dgm:prSet phldrT="[文本]" custT="1"/>
      <dgm:spPr/>
      <dgm:t>
        <a:bodyPr/>
        <a:lstStyle/>
        <a:p>
          <a:pPr>
            <a:buClrTx/>
            <a:buSzTx/>
            <a:buFontTx/>
            <a:buNone/>
          </a:pPr>
          <a:r>
            <a:rPr kumimoji="0" lang="en-US" altLang="zh-CN" sz="1600" b="1" i="0" u="none" strike="noStrike" cap="none" spc="0" normalizeH="0" noProof="0" dirty="0">
              <a:ln>
                <a:noFill/>
              </a:ln>
              <a:solidFill>
                <a:prstClr val="white"/>
              </a:solidFill>
              <a:effectLst/>
              <a:uLnTx/>
              <a:uFillTx/>
              <a:cs typeface="Arial" panose="020B0604020202020204" pitchFamily="34" charset="0"/>
            </a:rPr>
            <a:t>17</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BCB412EE-122B-4B93-B15B-23A992C7378C}" type="parTrans" cxnId="{C2F9E0F1-BB53-4008-9BA5-1249AA85E1A2}">
      <dgm:prSet/>
      <dgm:spPr/>
      <dgm:t>
        <a:bodyPr/>
        <a:lstStyle/>
        <a:p>
          <a:endParaRPr lang="en-US" sz="1800"/>
        </a:p>
      </dgm:t>
    </dgm:pt>
    <dgm:pt modelId="{FD82C550-04DB-452F-AFE4-549275B414BF}" type="sibTrans" cxnId="{C2F9E0F1-BB53-4008-9BA5-1249AA85E1A2}">
      <dgm:prSet custT="1"/>
      <dgm:spPr>
        <a:noFill/>
        <a:ln>
          <a:noFill/>
        </a:ln>
      </dgm:spPr>
      <dgm:t>
        <a:bodyPr/>
        <a:lstStyle/>
        <a:p>
          <a:endParaRPr lang="en-US" sz="1000"/>
        </a:p>
      </dgm:t>
    </dgm:pt>
    <dgm:pt modelId="{49001F11-276D-42B8-A3E9-6092855C3C38}">
      <dgm:prSet phldrT="[文本]" custT="1"/>
      <dgm:spPr/>
      <dgm:t>
        <a:bodyPr/>
        <a:lstStyle/>
        <a:p>
          <a:pPr>
            <a:buClrTx/>
            <a:buSzTx/>
            <a:buFontTx/>
            <a:buNone/>
          </a:pPr>
          <a:r>
            <a:rPr kumimoji="0" lang="en-US" sz="1600" b="1" i="0" u="none" strike="noStrike"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cap="none" spc="0" normalizeH="0" noProof="0" dirty="0">
              <a:ln>
                <a:noFill/>
              </a:ln>
              <a:solidFill>
                <a:prstClr val="white"/>
              </a:solidFill>
              <a:effectLst/>
              <a:uLnTx/>
              <a:uFillTx/>
              <a:cs typeface="Arial" panose="020B0604020202020204" pitchFamily="34" charset="0"/>
            </a:rPr>
            <a:t>6</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AB3E6335-85F2-4074-A182-017B8242E00A}" type="parTrans" cxnId="{E2F9B523-2DED-4E9F-961D-9F4E6ED360F3}">
      <dgm:prSet/>
      <dgm:spPr/>
      <dgm:t>
        <a:bodyPr/>
        <a:lstStyle/>
        <a:p>
          <a:endParaRPr lang="en-US" sz="1800"/>
        </a:p>
      </dgm:t>
    </dgm:pt>
    <dgm:pt modelId="{EC07F84D-753E-4E7F-B02B-60A05C87DCF8}" type="sibTrans" cxnId="{E2F9B523-2DED-4E9F-961D-9F4E6ED360F3}">
      <dgm:prSet custT="1"/>
      <dgm:spPr>
        <a:noFill/>
        <a:ln>
          <a:noFill/>
        </a:ln>
      </dgm:spPr>
      <dgm:t>
        <a:bodyPr/>
        <a:lstStyle/>
        <a:p>
          <a:endParaRPr lang="en-US" sz="1000"/>
        </a:p>
      </dgm:t>
    </dgm:pt>
    <dgm:pt modelId="{9F293134-58AA-4DE8-AD45-56DAB2843B74}">
      <dgm:prSet phldrT="[文本]" custT="1"/>
      <dgm:spPr/>
      <dgm:t>
        <a:bodyPr/>
        <a:lstStyle/>
        <a:p>
          <a:pPr>
            <a:buClrTx/>
            <a:buSzTx/>
            <a:buFontTx/>
            <a:buNone/>
          </a:pPr>
          <a:r>
            <a:rPr kumimoji="0" lang="en-US" sz="1600" b="1" i="0" u="none" strike="noStrike"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cap="none" spc="0" normalizeH="0" noProof="0" dirty="0">
              <a:ln>
                <a:noFill/>
              </a:ln>
              <a:solidFill>
                <a:prstClr val="white"/>
              </a:solidFill>
              <a:effectLst/>
              <a:uLnTx/>
              <a:uFillTx/>
              <a:cs typeface="Arial" panose="020B0604020202020204" pitchFamily="34" charset="0"/>
            </a:rPr>
            <a:t>5</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6C7BB17A-B4D4-4444-AEEA-BE507D6DC3DE}" type="parTrans" cxnId="{A470FC0F-4CB3-4790-8751-09EEAEE27589}">
      <dgm:prSet/>
      <dgm:spPr/>
      <dgm:t>
        <a:bodyPr/>
        <a:lstStyle/>
        <a:p>
          <a:endParaRPr lang="en-US" sz="1800"/>
        </a:p>
      </dgm:t>
    </dgm:pt>
    <dgm:pt modelId="{CA7BF8AA-5246-42DD-893E-69E1FCBFF057}" type="sibTrans" cxnId="{A470FC0F-4CB3-4790-8751-09EEAEE27589}">
      <dgm:prSet custT="1"/>
      <dgm:spPr>
        <a:noFill/>
        <a:ln>
          <a:noFill/>
        </a:ln>
      </dgm:spPr>
      <dgm:t>
        <a:bodyPr/>
        <a:lstStyle/>
        <a:p>
          <a:endParaRPr lang="en-US" sz="1000"/>
        </a:p>
      </dgm:t>
    </dgm:pt>
    <dgm:pt modelId="{01BF71B7-9DD5-49CB-8CF4-49C64A346A47}">
      <dgm:prSet phldrT="[文本]" custT="1"/>
      <dgm:spPr>
        <a:solidFill>
          <a:schemeClr val="accent1"/>
        </a:solidFill>
        <a:ln w="12700" cap="flat" cmpd="sng" algn="ctr">
          <a:solidFill>
            <a:srgbClr val="FFFFFF">
              <a:hueOff val="0"/>
              <a:satOff val="0"/>
              <a:lumOff val="0"/>
              <a:alphaOff val="0"/>
            </a:srgbClr>
          </a:solidFill>
          <a:prstDash val="solid"/>
          <a:miter lim="800000"/>
        </a:ln>
        <a:effectLst/>
      </dgm:spPr>
      <dgm:t>
        <a:bodyPr spcFirstLastPara="0" vert="horz" wrap="square" lIns="17780" tIns="17780" rIns="17780" bIns="17780" numCol="1" spcCol="1270" anchor="ctr" anchorCtr="0"/>
        <a:lstStyle/>
        <a:p>
          <a:pPr marL="0" lvl="0" indent="0" algn="ctr" defTabSz="622300">
            <a:lnSpc>
              <a:spcPct val="90000"/>
            </a:lnSpc>
            <a:spcBef>
              <a:spcPct val="0"/>
            </a:spcBef>
            <a:spcAft>
              <a:spcPct val="35000"/>
            </a:spcAft>
            <a:buClrTx/>
            <a:buSzTx/>
            <a:buFontTx/>
            <a:buNone/>
          </a:pPr>
          <a:r>
            <a:rPr kumimoji="0" lang="en-US" altLang="zh-CN" sz="1400" b="1" i="0" u="none" strike="noStrike" kern="1200" cap="none" spc="0" normalizeH="0" dirty="0">
              <a:ln>
                <a:noFill/>
              </a:ln>
              <a:solidFill>
                <a:prstClr val="white"/>
              </a:solidFill>
              <a:effectLst/>
              <a:uLnTx/>
              <a:uFillTx/>
              <a:latin typeface="Arial"/>
              <a:ea typeface="阿里巴巴普惠体"/>
              <a:cs typeface="Arial" panose="020B0604020202020204" pitchFamily="34" charset="0"/>
            </a:rPr>
            <a:t>12%</a:t>
          </a:r>
          <a:endParaRPr kumimoji="0" lang="en-US" sz="1400" b="1" i="0" u="none" strike="noStrike" kern="1200" cap="none" spc="0" normalizeH="0" dirty="0">
            <a:ln>
              <a:noFill/>
            </a:ln>
            <a:solidFill>
              <a:prstClr val="white"/>
            </a:solidFill>
            <a:effectLst/>
            <a:uLnTx/>
            <a:uFillTx/>
            <a:latin typeface="Arial"/>
            <a:ea typeface="阿里巴巴普惠体"/>
            <a:cs typeface="Arial" panose="020B0604020202020204" pitchFamily="34" charset="0"/>
          </a:endParaRPr>
        </a:p>
      </dgm:t>
    </dgm:pt>
    <dgm:pt modelId="{221C0288-8CB0-4630-9893-4E4C2F31E922}" type="parTrans" cxnId="{DD72F647-5091-4270-A73D-F90587A2BF4E}">
      <dgm:prSet/>
      <dgm:spPr/>
      <dgm:t>
        <a:bodyPr/>
        <a:lstStyle/>
        <a:p>
          <a:endParaRPr lang="en-US" sz="1800"/>
        </a:p>
      </dgm:t>
    </dgm:pt>
    <dgm:pt modelId="{CD61CB8C-94D9-4A3D-93D1-C75DA4D82B4B}" type="sibTrans" cxnId="{DD72F647-5091-4270-A73D-F90587A2BF4E}">
      <dgm:prSet custT="1"/>
      <dgm:spPr>
        <a:noFill/>
        <a:ln>
          <a:noFill/>
        </a:ln>
      </dgm:spPr>
      <dgm:t>
        <a:bodyPr/>
        <a:lstStyle/>
        <a:p>
          <a:endParaRPr lang="en-US" sz="1000"/>
        </a:p>
      </dgm:t>
    </dgm:pt>
    <dgm:pt modelId="{425EC887-5C16-46A3-8CB3-902F744AB942}">
      <dgm:prSet phldrT="[文本]" custT="1"/>
      <dgm:spPr>
        <a:solidFill>
          <a:schemeClr val="bg1">
            <a:lumMod val="95000"/>
          </a:schemeClr>
        </a:solidFill>
        <a:ln>
          <a:solidFill>
            <a:schemeClr val="bg1">
              <a:lumMod val="50000"/>
            </a:schemeClr>
          </a:solidFill>
        </a:ln>
      </dgm:spPr>
      <dgm:t>
        <a:bodyPr/>
        <a:lstStyle/>
        <a:p>
          <a:endParaRPr lang="en-US" sz="1600" dirty="0"/>
        </a:p>
      </dgm:t>
    </dgm:pt>
    <dgm:pt modelId="{F27B8604-438B-489E-B107-E5C053B0BEDF}" type="parTrans" cxnId="{640F31CF-6314-4B58-83A4-ABB756C547A6}">
      <dgm:prSet/>
      <dgm:spPr/>
      <dgm:t>
        <a:bodyPr/>
        <a:lstStyle/>
        <a:p>
          <a:endParaRPr lang="en-US" sz="1800"/>
        </a:p>
      </dgm:t>
    </dgm:pt>
    <dgm:pt modelId="{A983DDBD-CDCB-454B-95FB-A4595EF1FEBE}" type="sibTrans" cxnId="{640F31CF-6314-4B58-83A4-ABB756C547A6}">
      <dgm:prSet custT="1"/>
      <dgm:spPr>
        <a:noFill/>
        <a:ln>
          <a:noFill/>
        </a:ln>
      </dgm:spPr>
      <dgm:t>
        <a:bodyPr/>
        <a:lstStyle/>
        <a:p>
          <a:endParaRPr lang="en-US" sz="1000"/>
        </a:p>
      </dgm:t>
    </dgm:pt>
    <dgm:pt modelId="{B9459AE1-201C-4242-866E-178FAA2A7C01}">
      <dgm:prSet phldrT="[文本]" custT="1"/>
      <dgm:spPr>
        <a:solidFill>
          <a:schemeClr val="bg1">
            <a:lumMod val="95000"/>
          </a:schemeClr>
        </a:solidFill>
        <a:ln>
          <a:solidFill>
            <a:schemeClr val="bg1">
              <a:lumMod val="50000"/>
            </a:schemeClr>
          </a:solidFill>
        </a:ln>
      </dgm:spPr>
      <dgm:t>
        <a:bodyPr/>
        <a:lstStyle/>
        <a:p>
          <a:endParaRPr lang="en-US" sz="1600" dirty="0"/>
        </a:p>
      </dgm:t>
    </dgm:pt>
    <dgm:pt modelId="{0995BFB0-BB4C-437D-B655-578CFBFD0C3B}" type="parTrans" cxnId="{C586B165-2D2E-4B62-B27F-70A95F1A61B6}">
      <dgm:prSet/>
      <dgm:spPr/>
      <dgm:t>
        <a:bodyPr/>
        <a:lstStyle/>
        <a:p>
          <a:endParaRPr lang="en-US" sz="1800"/>
        </a:p>
      </dgm:t>
    </dgm:pt>
    <dgm:pt modelId="{477D2516-9E62-4753-BE5D-845C7A4459A6}" type="sibTrans" cxnId="{C586B165-2D2E-4B62-B27F-70A95F1A61B6}">
      <dgm:prSet custT="1"/>
      <dgm:spPr>
        <a:noFill/>
        <a:ln>
          <a:noFill/>
        </a:ln>
      </dgm:spPr>
      <dgm:t>
        <a:bodyPr/>
        <a:lstStyle/>
        <a:p>
          <a:endParaRPr lang="en-US" sz="1000"/>
        </a:p>
      </dgm:t>
    </dgm:pt>
    <dgm:pt modelId="{3469679B-71C8-4227-A2A0-4C1AE188460B}">
      <dgm:prSet phldrT="[文本]" custT="1"/>
      <dgm:spPr>
        <a:solidFill>
          <a:schemeClr val="bg1">
            <a:lumMod val="95000"/>
          </a:schemeClr>
        </a:solidFill>
        <a:ln>
          <a:solidFill>
            <a:schemeClr val="bg1">
              <a:lumMod val="50000"/>
            </a:schemeClr>
          </a:solidFill>
        </a:ln>
      </dgm:spPr>
      <dgm:t>
        <a:bodyPr/>
        <a:lstStyle/>
        <a:p>
          <a:endParaRPr lang="en-US" sz="1600" dirty="0"/>
        </a:p>
      </dgm:t>
    </dgm:pt>
    <dgm:pt modelId="{9E456477-30A7-493D-8405-56FDABF98371}" type="parTrans" cxnId="{D073105D-5908-4786-9D15-603C140387EA}">
      <dgm:prSet/>
      <dgm:spPr/>
      <dgm:t>
        <a:bodyPr/>
        <a:lstStyle/>
        <a:p>
          <a:endParaRPr lang="en-US" sz="1800"/>
        </a:p>
      </dgm:t>
    </dgm:pt>
    <dgm:pt modelId="{FFACFF67-B634-411B-BC4B-9680C024C769}" type="sibTrans" cxnId="{D073105D-5908-4786-9D15-603C140387EA}">
      <dgm:prSet custT="1"/>
      <dgm:spPr>
        <a:noFill/>
        <a:ln>
          <a:noFill/>
        </a:ln>
      </dgm:spPr>
      <dgm:t>
        <a:bodyPr/>
        <a:lstStyle/>
        <a:p>
          <a:endParaRPr lang="en-US" sz="1000"/>
        </a:p>
      </dgm:t>
    </dgm:pt>
    <dgm:pt modelId="{806258ED-AA3C-4599-842E-49DD244FAA09}">
      <dgm:prSet phldrT="[文本]" custT="1"/>
      <dgm:spPr>
        <a:solidFill>
          <a:schemeClr val="bg1">
            <a:lumMod val="95000"/>
          </a:schemeClr>
        </a:solidFill>
        <a:ln>
          <a:solidFill>
            <a:schemeClr val="bg1">
              <a:lumMod val="50000"/>
            </a:schemeClr>
          </a:solidFill>
        </a:ln>
      </dgm:spPr>
      <dgm:t>
        <a:bodyPr/>
        <a:lstStyle/>
        <a:p>
          <a:endParaRPr lang="en-US" sz="1400" dirty="0"/>
        </a:p>
      </dgm:t>
    </dgm:pt>
    <dgm:pt modelId="{AB0DE096-6840-4CC5-A28B-1FD1E02BCF73}" type="parTrans" cxnId="{BB174DDA-8476-4DEA-BDF3-E46439DE6329}">
      <dgm:prSet/>
      <dgm:spPr/>
      <dgm:t>
        <a:bodyPr/>
        <a:lstStyle/>
        <a:p>
          <a:endParaRPr lang="en-US" sz="1800"/>
        </a:p>
      </dgm:t>
    </dgm:pt>
    <dgm:pt modelId="{6DEA50CD-B41A-4DF3-AE43-B767B9C4D270}" type="sibTrans" cxnId="{BB174DDA-8476-4DEA-BDF3-E46439DE6329}">
      <dgm:prSet custT="1"/>
      <dgm:spPr>
        <a:noFill/>
        <a:ln>
          <a:noFill/>
        </a:ln>
      </dgm:spPr>
      <dgm:t>
        <a:bodyPr/>
        <a:lstStyle/>
        <a:p>
          <a:endParaRPr lang="en-US" sz="1000"/>
        </a:p>
      </dgm:t>
    </dgm:pt>
    <dgm:pt modelId="{FE7EC1A2-4E9F-49D9-B313-8A010C060F51}">
      <dgm:prSet phldrT="[文本]" custT="1"/>
      <dgm:spPr>
        <a:solidFill>
          <a:schemeClr val="bg1">
            <a:lumMod val="95000"/>
          </a:schemeClr>
        </a:solidFill>
        <a:ln>
          <a:solidFill>
            <a:schemeClr val="bg1">
              <a:lumMod val="50000"/>
            </a:schemeClr>
          </a:solidFill>
        </a:ln>
      </dgm:spPr>
      <dgm:t>
        <a:bodyPr/>
        <a:lstStyle/>
        <a:p>
          <a:endParaRPr lang="en-US" sz="1000" dirty="0"/>
        </a:p>
      </dgm:t>
    </dgm:pt>
    <dgm:pt modelId="{2F2EFD39-9E05-4466-8A4D-7D7BAB2339BC}" type="parTrans" cxnId="{32B36DBA-D0E0-4F8C-9529-8CD6537C9120}">
      <dgm:prSet/>
      <dgm:spPr/>
      <dgm:t>
        <a:bodyPr/>
        <a:lstStyle/>
        <a:p>
          <a:endParaRPr lang="en-US" sz="1800"/>
        </a:p>
      </dgm:t>
    </dgm:pt>
    <dgm:pt modelId="{F3D35DAB-3FF1-4ABD-9F85-C37F0B734B69}" type="sibTrans" cxnId="{32B36DBA-D0E0-4F8C-9529-8CD6537C9120}">
      <dgm:prSet custT="1"/>
      <dgm:spPr>
        <a:noFill/>
        <a:ln>
          <a:noFill/>
        </a:ln>
      </dgm:spPr>
      <dgm:t>
        <a:bodyPr/>
        <a:lstStyle/>
        <a:p>
          <a:endParaRPr lang="en-US" sz="1000"/>
        </a:p>
      </dgm:t>
    </dgm:pt>
    <dgm:pt modelId="{3E087A6E-1A51-4B35-8990-978E44E4D3EE}">
      <dgm:prSet phldrT="[文本]" custT="1"/>
      <dgm:spPr>
        <a:solidFill>
          <a:schemeClr val="bg1">
            <a:lumMod val="95000"/>
          </a:schemeClr>
        </a:solidFill>
        <a:ln>
          <a:solidFill>
            <a:schemeClr val="bg1">
              <a:lumMod val="50000"/>
            </a:schemeClr>
          </a:solidFill>
        </a:ln>
      </dgm:spPr>
      <dgm:t>
        <a:bodyPr/>
        <a:lstStyle/>
        <a:p>
          <a:endParaRPr lang="en-US" sz="1600" dirty="0"/>
        </a:p>
      </dgm:t>
    </dgm:pt>
    <dgm:pt modelId="{7D25441C-771A-495C-B807-E3C87F715623}" type="sibTrans" cxnId="{934D7270-BDE9-4F5D-8D5F-5B09D955D162}">
      <dgm:prSet custT="1"/>
      <dgm:spPr>
        <a:noFill/>
        <a:ln>
          <a:noFill/>
        </a:ln>
      </dgm:spPr>
      <dgm:t>
        <a:bodyPr/>
        <a:lstStyle/>
        <a:p>
          <a:endParaRPr lang="en-US" sz="1000"/>
        </a:p>
      </dgm:t>
    </dgm:pt>
    <dgm:pt modelId="{D977FABF-5996-4094-BBFC-B96C4758E3A3}" type="parTrans" cxnId="{934D7270-BDE9-4F5D-8D5F-5B09D955D162}">
      <dgm:prSet/>
      <dgm:spPr/>
      <dgm:t>
        <a:bodyPr/>
        <a:lstStyle/>
        <a:p>
          <a:endParaRPr lang="en-US" sz="1800"/>
        </a:p>
      </dgm:t>
    </dgm:pt>
    <dgm:pt modelId="{596965E9-A0B7-47AB-AB98-9DC543FA5CBE}">
      <dgm:prSet phldrT="[文本]" custT="1"/>
      <dgm:spPr>
        <a:solidFill>
          <a:schemeClr val="bg1">
            <a:lumMod val="95000"/>
          </a:schemeClr>
        </a:solidFill>
        <a:ln>
          <a:solidFill>
            <a:schemeClr val="bg1">
              <a:lumMod val="50000"/>
            </a:schemeClr>
          </a:solidFill>
        </a:ln>
      </dgm:spPr>
      <dgm:t>
        <a:bodyPr/>
        <a:lstStyle/>
        <a:p>
          <a:endParaRPr lang="en-US" sz="600" dirty="0"/>
        </a:p>
      </dgm:t>
    </dgm:pt>
    <dgm:pt modelId="{3065BEF1-E0D4-4CC3-B894-6FF9709A168D}" type="sibTrans" cxnId="{266C7082-0EFA-4E45-9C42-EE0AEB790071}">
      <dgm:prSet custT="1"/>
      <dgm:spPr>
        <a:noFill/>
        <a:ln>
          <a:noFill/>
        </a:ln>
      </dgm:spPr>
      <dgm:t>
        <a:bodyPr/>
        <a:lstStyle/>
        <a:p>
          <a:endParaRPr lang="en-US" sz="1000"/>
        </a:p>
      </dgm:t>
    </dgm:pt>
    <dgm:pt modelId="{CD2B865E-2E42-4763-9553-FD9AD5FA0FEA}" type="parTrans" cxnId="{266C7082-0EFA-4E45-9C42-EE0AEB790071}">
      <dgm:prSet/>
      <dgm:spPr/>
      <dgm:t>
        <a:bodyPr/>
        <a:lstStyle/>
        <a:p>
          <a:endParaRPr lang="en-US" sz="1800"/>
        </a:p>
      </dgm:t>
    </dgm:pt>
    <dgm:pt modelId="{F7A91F29-A18A-42EB-BEA7-7295F658C59D}">
      <dgm:prSet phldrT="[文本]" custT="1"/>
      <dgm:spPr>
        <a:solidFill>
          <a:schemeClr val="bg1">
            <a:lumMod val="95000"/>
          </a:schemeClr>
        </a:solidFill>
        <a:ln>
          <a:solidFill>
            <a:schemeClr val="bg1">
              <a:lumMod val="50000"/>
            </a:schemeClr>
          </a:solidFill>
        </a:ln>
      </dgm:spPr>
      <dgm:t>
        <a:bodyPr/>
        <a:lstStyle/>
        <a:p>
          <a:endParaRPr lang="en-US" sz="500" dirty="0"/>
        </a:p>
      </dgm:t>
    </dgm:pt>
    <dgm:pt modelId="{34C5935F-3CC6-4B9E-A6DC-E9F64A83AEEE}" type="sibTrans" cxnId="{AECFAD6A-6E8C-4ADD-B9B6-912651A32AF4}">
      <dgm:prSet custT="1"/>
      <dgm:spPr>
        <a:noFill/>
        <a:ln>
          <a:noFill/>
        </a:ln>
      </dgm:spPr>
      <dgm:t>
        <a:bodyPr/>
        <a:lstStyle/>
        <a:p>
          <a:endParaRPr lang="en-US" sz="1000"/>
        </a:p>
      </dgm:t>
    </dgm:pt>
    <dgm:pt modelId="{44ADAF79-910A-4C7C-802B-A7823C04B8F1}" type="parTrans" cxnId="{AECFAD6A-6E8C-4ADD-B9B6-912651A32AF4}">
      <dgm:prSet/>
      <dgm:spPr/>
      <dgm:t>
        <a:bodyPr/>
        <a:lstStyle/>
        <a:p>
          <a:endParaRPr lang="en-US" sz="1800"/>
        </a:p>
      </dgm:t>
    </dgm:pt>
    <dgm:pt modelId="{D6F33495-06B4-485B-ADBD-A82121C4A920}" type="pres">
      <dgm:prSet presAssocID="{99503225-AAE1-475B-B058-A12BB5C3D235}" presName="cycle" presStyleCnt="0">
        <dgm:presLayoutVars>
          <dgm:dir/>
          <dgm:resizeHandles val="exact"/>
        </dgm:presLayoutVars>
      </dgm:prSet>
      <dgm:spPr/>
    </dgm:pt>
    <dgm:pt modelId="{38166358-D4A6-4BD4-8750-A32124274E36}" type="pres">
      <dgm:prSet presAssocID="{3A1BAA6A-2EF9-4777-8543-3042300AD85B}" presName="node" presStyleLbl="node1" presStyleIdx="0" presStyleCnt="13" custScaleX="145311" custScaleY="145311">
        <dgm:presLayoutVars>
          <dgm:bulletEnabled val="1"/>
        </dgm:presLayoutVars>
      </dgm:prSet>
      <dgm:spPr/>
    </dgm:pt>
    <dgm:pt modelId="{2F37F4D0-CC6E-4884-A725-63E3F934C558}" type="pres">
      <dgm:prSet presAssocID="{CB09F18D-A311-44F7-AAB2-B6046C1691BF}" presName="sibTrans" presStyleLbl="sibTrans2D1" presStyleIdx="0" presStyleCnt="13"/>
      <dgm:spPr/>
    </dgm:pt>
    <dgm:pt modelId="{49CBC5C6-52C4-4075-9E7D-91BDEDF03D2E}" type="pres">
      <dgm:prSet presAssocID="{CB09F18D-A311-44F7-AAB2-B6046C1691BF}" presName="connectorText" presStyleLbl="sibTrans2D1" presStyleIdx="0" presStyleCnt="13"/>
      <dgm:spPr/>
    </dgm:pt>
    <dgm:pt modelId="{49AE8DEC-10EE-4436-AA28-EEEC56B6DFB1}" type="pres">
      <dgm:prSet presAssocID="{E99DD119-D64B-4E0E-96D7-BE60B155E882}" presName="node" presStyleLbl="node1" presStyleIdx="1" presStyleCnt="13" custScaleX="108621" custScaleY="108621">
        <dgm:presLayoutVars>
          <dgm:bulletEnabled val="1"/>
        </dgm:presLayoutVars>
      </dgm:prSet>
      <dgm:spPr/>
    </dgm:pt>
    <dgm:pt modelId="{FC75D0FD-C5F5-4E8C-A2C8-FA420B9C3B46}" type="pres">
      <dgm:prSet presAssocID="{FD82C550-04DB-452F-AFE4-549275B414BF}" presName="sibTrans" presStyleLbl="sibTrans2D1" presStyleIdx="1" presStyleCnt="13"/>
      <dgm:spPr/>
    </dgm:pt>
    <dgm:pt modelId="{A54A37CD-B65C-45C3-AE58-6125B587CEC1}" type="pres">
      <dgm:prSet presAssocID="{FD82C550-04DB-452F-AFE4-549275B414BF}" presName="connectorText" presStyleLbl="sibTrans2D1" presStyleIdx="1" presStyleCnt="13"/>
      <dgm:spPr/>
    </dgm:pt>
    <dgm:pt modelId="{86741993-08A6-461A-A8B2-B83123025B0E}" type="pres">
      <dgm:prSet presAssocID="{49001F11-276D-42B8-A3E9-6092855C3C38}" presName="node" presStyleLbl="node1" presStyleIdx="2" presStyleCnt="13" custScaleX="99515" custScaleY="99515">
        <dgm:presLayoutVars>
          <dgm:bulletEnabled val="1"/>
        </dgm:presLayoutVars>
      </dgm:prSet>
      <dgm:spPr/>
    </dgm:pt>
    <dgm:pt modelId="{7BC76DFF-C16A-436E-BAFC-4E996BC223CD}" type="pres">
      <dgm:prSet presAssocID="{EC07F84D-753E-4E7F-B02B-60A05C87DCF8}" presName="sibTrans" presStyleLbl="sibTrans2D1" presStyleIdx="2" presStyleCnt="13"/>
      <dgm:spPr/>
    </dgm:pt>
    <dgm:pt modelId="{E3EB0C4E-5A2D-4934-9D08-CABD4DC9BE7C}" type="pres">
      <dgm:prSet presAssocID="{EC07F84D-753E-4E7F-B02B-60A05C87DCF8}" presName="connectorText" presStyleLbl="sibTrans2D1" presStyleIdx="2" presStyleCnt="13"/>
      <dgm:spPr/>
    </dgm:pt>
    <dgm:pt modelId="{573FC5FE-1FC4-4F39-84F5-DF5F45BF4185}" type="pres">
      <dgm:prSet presAssocID="{9F293134-58AA-4DE8-AD45-56DAB2843B74}" presName="node" presStyleLbl="node1" presStyleIdx="3" presStyleCnt="13" custScaleX="98599" custScaleY="98599">
        <dgm:presLayoutVars>
          <dgm:bulletEnabled val="1"/>
        </dgm:presLayoutVars>
      </dgm:prSet>
      <dgm:spPr/>
    </dgm:pt>
    <dgm:pt modelId="{494B7480-5BBD-449B-9844-B0232FD2A371}" type="pres">
      <dgm:prSet presAssocID="{CA7BF8AA-5246-42DD-893E-69E1FCBFF057}" presName="sibTrans" presStyleLbl="sibTrans2D1" presStyleIdx="3" presStyleCnt="13"/>
      <dgm:spPr/>
    </dgm:pt>
    <dgm:pt modelId="{B63B2BD2-B37C-4B64-BCBD-D6F7B2F83BEC}" type="pres">
      <dgm:prSet presAssocID="{CA7BF8AA-5246-42DD-893E-69E1FCBFF057}" presName="connectorText" presStyleLbl="sibTrans2D1" presStyleIdx="3" presStyleCnt="13"/>
      <dgm:spPr/>
    </dgm:pt>
    <dgm:pt modelId="{D67F9F1F-7338-42CA-80CB-23AC7A3A57AC}" type="pres">
      <dgm:prSet presAssocID="{01BF71B7-9DD5-49CB-8CF4-49C64A346A47}" presName="node" presStyleLbl="node1" presStyleIdx="4" presStyleCnt="13">
        <dgm:presLayoutVars>
          <dgm:bulletEnabled val="1"/>
        </dgm:presLayoutVars>
      </dgm:prSet>
      <dgm:spPr>
        <a:xfrm>
          <a:off x="5073019" y="2864246"/>
          <a:ext cx="652287" cy="652287"/>
        </a:xfrm>
        <a:prstGeom prst="ellipse">
          <a:avLst/>
        </a:prstGeom>
      </dgm:spPr>
    </dgm:pt>
    <dgm:pt modelId="{090D1DA9-1D66-45F1-BAC1-E7AED8F0E79E}" type="pres">
      <dgm:prSet presAssocID="{CD61CB8C-94D9-4A3D-93D1-C75DA4D82B4B}" presName="sibTrans" presStyleLbl="sibTrans2D1" presStyleIdx="4" presStyleCnt="13"/>
      <dgm:spPr/>
    </dgm:pt>
    <dgm:pt modelId="{8324E5AE-AE31-4E8B-A1CE-EC456D5A7482}" type="pres">
      <dgm:prSet presAssocID="{CD61CB8C-94D9-4A3D-93D1-C75DA4D82B4B}" presName="connectorText" presStyleLbl="sibTrans2D1" presStyleIdx="4" presStyleCnt="13"/>
      <dgm:spPr/>
    </dgm:pt>
    <dgm:pt modelId="{610E8A85-7E1E-4E3C-9923-9E69B95D31CF}" type="pres">
      <dgm:prSet presAssocID="{3E087A6E-1A51-4B35-8990-978E44E4D3EE}" presName="node" presStyleLbl="node1" presStyleIdx="5" presStyleCnt="13" custScaleX="66577" custScaleY="66577">
        <dgm:presLayoutVars>
          <dgm:bulletEnabled val="1"/>
        </dgm:presLayoutVars>
      </dgm:prSet>
      <dgm:spPr/>
    </dgm:pt>
    <dgm:pt modelId="{7D1570C8-EF0A-4357-BF23-2B6DA3DA4518}" type="pres">
      <dgm:prSet presAssocID="{7D25441C-771A-495C-B807-E3C87F715623}" presName="sibTrans" presStyleLbl="sibTrans2D1" presStyleIdx="5" presStyleCnt="13"/>
      <dgm:spPr/>
    </dgm:pt>
    <dgm:pt modelId="{2B1AC7E1-3AE6-475C-867B-6EAA94346DF4}" type="pres">
      <dgm:prSet presAssocID="{7D25441C-771A-495C-B807-E3C87F715623}" presName="connectorText" presStyleLbl="sibTrans2D1" presStyleIdx="5" presStyleCnt="13"/>
      <dgm:spPr/>
    </dgm:pt>
    <dgm:pt modelId="{1185902C-861D-47F4-8A8A-FCB5470E977C}" type="pres">
      <dgm:prSet presAssocID="{425EC887-5C16-46A3-8CB3-902F744AB942}" presName="node" presStyleLbl="node1" presStyleIdx="6" presStyleCnt="13" custScaleX="73964" custScaleY="73963">
        <dgm:presLayoutVars>
          <dgm:bulletEnabled val="1"/>
        </dgm:presLayoutVars>
      </dgm:prSet>
      <dgm:spPr/>
    </dgm:pt>
    <dgm:pt modelId="{46FB6ADB-7FD2-46B6-8FC0-964C272DD9EB}" type="pres">
      <dgm:prSet presAssocID="{A983DDBD-CDCB-454B-95FB-A4595EF1FEBE}" presName="sibTrans" presStyleLbl="sibTrans2D1" presStyleIdx="6" presStyleCnt="13"/>
      <dgm:spPr/>
    </dgm:pt>
    <dgm:pt modelId="{D08EFFD4-2B03-4DB6-996B-99B6047FC39D}" type="pres">
      <dgm:prSet presAssocID="{A983DDBD-CDCB-454B-95FB-A4595EF1FEBE}" presName="connectorText" presStyleLbl="sibTrans2D1" presStyleIdx="6" presStyleCnt="13"/>
      <dgm:spPr/>
    </dgm:pt>
    <dgm:pt modelId="{08361A25-ABF1-47EA-ACEE-2CB8813FE40A}" type="pres">
      <dgm:prSet presAssocID="{B9459AE1-201C-4242-866E-178FAA2A7C01}" presName="node" presStyleLbl="node1" presStyleIdx="7" presStyleCnt="13" custScaleX="65331" custScaleY="65331">
        <dgm:presLayoutVars>
          <dgm:bulletEnabled val="1"/>
        </dgm:presLayoutVars>
      </dgm:prSet>
      <dgm:spPr/>
    </dgm:pt>
    <dgm:pt modelId="{18B58F77-4B8E-44B2-8DDF-BF940D54D390}" type="pres">
      <dgm:prSet presAssocID="{477D2516-9E62-4753-BE5D-845C7A4459A6}" presName="sibTrans" presStyleLbl="sibTrans2D1" presStyleIdx="7" presStyleCnt="13"/>
      <dgm:spPr/>
    </dgm:pt>
    <dgm:pt modelId="{CE23E82D-E9D2-4B0B-BA13-C9F6E2526B22}" type="pres">
      <dgm:prSet presAssocID="{477D2516-9E62-4753-BE5D-845C7A4459A6}" presName="connectorText" presStyleLbl="sibTrans2D1" presStyleIdx="7" presStyleCnt="13"/>
      <dgm:spPr/>
    </dgm:pt>
    <dgm:pt modelId="{D5F5D7E2-E5C4-4860-AEF6-88C89E925D70}" type="pres">
      <dgm:prSet presAssocID="{3469679B-71C8-4227-A2A0-4C1AE188460B}" presName="node" presStyleLbl="node1" presStyleIdx="8" presStyleCnt="13" custScaleX="62088" custScaleY="62088">
        <dgm:presLayoutVars>
          <dgm:bulletEnabled val="1"/>
        </dgm:presLayoutVars>
      </dgm:prSet>
      <dgm:spPr/>
    </dgm:pt>
    <dgm:pt modelId="{BACB08DE-2598-4970-9121-79986D44E214}" type="pres">
      <dgm:prSet presAssocID="{FFACFF67-B634-411B-BC4B-9680C024C769}" presName="sibTrans" presStyleLbl="sibTrans2D1" presStyleIdx="8" presStyleCnt="13"/>
      <dgm:spPr/>
    </dgm:pt>
    <dgm:pt modelId="{A6E628F3-66CA-4B9C-9BE8-2D17D25DA4A8}" type="pres">
      <dgm:prSet presAssocID="{FFACFF67-B634-411B-BC4B-9680C024C769}" presName="connectorText" presStyleLbl="sibTrans2D1" presStyleIdx="8" presStyleCnt="13"/>
      <dgm:spPr/>
    </dgm:pt>
    <dgm:pt modelId="{0AC0D7DB-D978-475A-87E2-3B167418CB00}" type="pres">
      <dgm:prSet presAssocID="{806258ED-AA3C-4599-842E-49DD244FAA09}" presName="node" presStyleLbl="node1" presStyleIdx="9" presStyleCnt="13" custScaleX="48121" custScaleY="48121">
        <dgm:presLayoutVars>
          <dgm:bulletEnabled val="1"/>
        </dgm:presLayoutVars>
      </dgm:prSet>
      <dgm:spPr/>
    </dgm:pt>
    <dgm:pt modelId="{3C7D208A-4B58-4C95-8C6F-E5684D0DFDAC}" type="pres">
      <dgm:prSet presAssocID="{6DEA50CD-B41A-4DF3-AE43-B767B9C4D270}" presName="sibTrans" presStyleLbl="sibTrans2D1" presStyleIdx="9" presStyleCnt="13"/>
      <dgm:spPr/>
    </dgm:pt>
    <dgm:pt modelId="{24141929-962D-4AA7-A727-7FBD0CA2191B}" type="pres">
      <dgm:prSet presAssocID="{6DEA50CD-B41A-4DF3-AE43-B767B9C4D270}" presName="connectorText" presStyleLbl="sibTrans2D1" presStyleIdx="9" presStyleCnt="13"/>
      <dgm:spPr/>
    </dgm:pt>
    <dgm:pt modelId="{D99C0853-AD89-4251-BFEF-2CEF2F018E26}" type="pres">
      <dgm:prSet presAssocID="{FE7EC1A2-4E9F-49D9-B313-8A010C060F51}" presName="node" presStyleLbl="node1" presStyleIdx="10" presStyleCnt="13" custScaleX="34630" custScaleY="34630">
        <dgm:presLayoutVars>
          <dgm:bulletEnabled val="1"/>
        </dgm:presLayoutVars>
      </dgm:prSet>
      <dgm:spPr/>
    </dgm:pt>
    <dgm:pt modelId="{B76F87FE-F293-4739-B511-E941F029FBF9}" type="pres">
      <dgm:prSet presAssocID="{F3D35DAB-3FF1-4ABD-9F85-C37F0B734B69}" presName="sibTrans" presStyleLbl="sibTrans2D1" presStyleIdx="10" presStyleCnt="13"/>
      <dgm:spPr/>
    </dgm:pt>
    <dgm:pt modelId="{ED740843-225D-46D2-8103-4DC482A3CDB3}" type="pres">
      <dgm:prSet presAssocID="{F3D35DAB-3FF1-4ABD-9F85-C37F0B734B69}" presName="connectorText" presStyleLbl="sibTrans2D1" presStyleIdx="10" presStyleCnt="13"/>
      <dgm:spPr/>
    </dgm:pt>
    <dgm:pt modelId="{D957D84F-BFB1-4EEA-A55B-CCB467D87750}" type="pres">
      <dgm:prSet presAssocID="{596965E9-A0B7-47AB-AB98-9DC543FA5CBE}" presName="node" presStyleLbl="node1" presStyleIdx="11" presStyleCnt="13" custScaleX="23607" custScaleY="23607">
        <dgm:presLayoutVars>
          <dgm:bulletEnabled val="1"/>
        </dgm:presLayoutVars>
      </dgm:prSet>
      <dgm:spPr/>
    </dgm:pt>
    <dgm:pt modelId="{2EE13745-BF0F-47A7-8223-BA1FA9A6C3D2}" type="pres">
      <dgm:prSet presAssocID="{3065BEF1-E0D4-4CC3-B894-6FF9709A168D}" presName="sibTrans" presStyleLbl="sibTrans2D1" presStyleIdx="11" presStyleCnt="13"/>
      <dgm:spPr/>
    </dgm:pt>
    <dgm:pt modelId="{C3DA0868-26D0-4ED6-A01F-183424539403}" type="pres">
      <dgm:prSet presAssocID="{3065BEF1-E0D4-4CC3-B894-6FF9709A168D}" presName="connectorText" presStyleLbl="sibTrans2D1" presStyleIdx="11" presStyleCnt="13"/>
      <dgm:spPr/>
    </dgm:pt>
    <dgm:pt modelId="{91ED2829-52E4-4B50-8AEB-123E27AB0FD1}" type="pres">
      <dgm:prSet presAssocID="{F7A91F29-A18A-42EB-BEA7-7295F658C59D}" presName="node" presStyleLbl="node1" presStyleIdx="12" presStyleCnt="13" custFlipHor="1" custScaleX="12146" custScaleY="12146">
        <dgm:presLayoutVars>
          <dgm:bulletEnabled val="1"/>
        </dgm:presLayoutVars>
      </dgm:prSet>
      <dgm:spPr/>
    </dgm:pt>
    <dgm:pt modelId="{FB7D22FD-90F5-474A-9A22-06DEEDD13287}" type="pres">
      <dgm:prSet presAssocID="{34C5935F-3CC6-4B9E-A6DC-E9F64A83AEEE}" presName="sibTrans" presStyleLbl="sibTrans2D1" presStyleIdx="12" presStyleCnt="13"/>
      <dgm:spPr/>
    </dgm:pt>
    <dgm:pt modelId="{43C22A09-07BE-45D2-A994-FDA40277D3F9}" type="pres">
      <dgm:prSet presAssocID="{34C5935F-3CC6-4B9E-A6DC-E9F64A83AEEE}" presName="connectorText" presStyleLbl="sibTrans2D1" presStyleIdx="12" presStyleCnt="13"/>
      <dgm:spPr/>
    </dgm:pt>
  </dgm:ptLst>
  <dgm:cxnLst>
    <dgm:cxn modelId="{F5272F00-D148-4E18-A145-1D6907AECCD2}" type="presOf" srcId="{B9459AE1-201C-4242-866E-178FAA2A7C01}" destId="{08361A25-ABF1-47EA-ACEE-2CB8813FE40A}" srcOrd="0" destOrd="0" presId="urn:microsoft.com/office/officeart/2005/8/layout/cycle2"/>
    <dgm:cxn modelId="{7C310C04-4325-4645-BFD4-CEB46CB2323D}" type="presOf" srcId="{E99DD119-D64B-4E0E-96D7-BE60B155E882}" destId="{49AE8DEC-10EE-4436-AA28-EEEC56B6DFB1}" srcOrd="0" destOrd="0" presId="urn:microsoft.com/office/officeart/2005/8/layout/cycle2"/>
    <dgm:cxn modelId="{D37FC607-DC3D-4F7F-A38F-64A4C30A588C}" type="presOf" srcId="{CA7BF8AA-5246-42DD-893E-69E1FCBFF057}" destId="{494B7480-5BBD-449B-9844-B0232FD2A371}" srcOrd="0" destOrd="0" presId="urn:microsoft.com/office/officeart/2005/8/layout/cycle2"/>
    <dgm:cxn modelId="{A470FC0F-4CB3-4790-8751-09EEAEE27589}" srcId="{99503225-AAE1-475B-B058-A12BB5C3D235}" destId="{9F293134-58AA-4DE8-AD45-56DAB2843B74}" srcOrd="3" destOrd="0" parTransId="{6C7BB17A-B4D4-4444-AEEA-BE507D6DC3DE}" sibTransId="{CA7BF8AA-5246-42DD-893E-69E1FCBFF057}"/>
    <dgm:cxn modelId="{E2F9B523-2DED-4E9F-961D-9F4E6ED360F3}" srcId="{99503225-AAE1-475B-B058-A12BB5C3D235}" destId="{49001F11-276D-42B8-A3E9-6092855C3C38}" srcOrd="2" destOrd="0" parTransId="{AB3E6335-85F2-4074-A182-017B8242E00A}" sibTransId="{EC07F84D-753E-4E7F-B02B-60A05C87DCF8}"/>
    <dgm:cxn modelId="{1513DB24-665B-4079-AB9D-F50777F7E04D}" type="presOf" srcId="{3065BEF1-E0D4-4CC3-B894-6FF9709A168D}" destId="{2EE13745-BF0F-47A7-8223-BA1FA9A6C3D2}" srcOrd="0" destOrd="0" presId="urn:microsoft.com/office/officeart/2005/8/layout/cycle2"/>
    <dgm:cxn modelId="{ED80BA30-BF32-4765-A6D0-3ADB8EA62702}" type="presOf" srcId="{01BF71B7-9DD5-49CB-8CF4-49C64A346A47}" destId="{D67F9F1F-7338-42CA-80CB-23AC7A3A57AC}" srcOrd="0" destOrd="0" presId="urn:microsoft.com/office/officeart/2005/8/layout/cycle2"/>
    <dgm:cxn modelId="{4F93DE32-49C3-4390-8774-8530A16D4B65}" type="presOf" srcId="{7D25441C-771A-495C-B807-E3C87F715623}" destId="{7D1570C8-EF0A-4357-BF23-2B6DA3DA4518}" srcOrd="0" destOrd="0" presId="urn:microsoft.com/office/officeart/2005/8/layout/cycle2"/>
    <dgm:cxn modelId="{621B7D35-68AB-46CD-9E1C-2918F09EA58A}" type="presOf" srcId="{34C5935F-3CC6-4B9E-A6DC-E9F64A83AEEE}" destId="{FB7D22FD-90F5-474A-9A22-06DEEDD13287}" srcOrd="0" destOrd="0" presId="urn:microsoft.com/office/officeart/2005/8/layout/cycle2"/>
    <dgm:cxn modelId="{F105F437-4B92-4A9D-9099-63E651AC0343}" type="presOf" srcId="{FE7EC1A2-4E9F-49D9-B313-8A010C060F51}" destId="{D99C0853-AD89-4251-BFEF-2CEF2F018E26}" srcOrd="0" destOrd="0" presId="urn:microsoft.com/office/officeart/2005/8/layout/cycle2"/>
    <dgm:cxn modelId="{AE8A4838-250A-43FE-B3A4-22E6DD63F20A}" type="presOf" srcId="{3E087A6E-1A51-4B35-8990-978E44E4D3EE}" destId="{610E8A85-7E1E-4E3C-9923-9E69B95D31CF}" srcOrd="0" destOrd="0" presId="urn:microsoft.com/office/officeart/2005/8/layout/cycle2"/>
    <dgm:cxn modelId="{5A17A63B-081E-4323-AB3E-323DD3BCCAC5}" type="presOf" srcId="{806258ED-AA3C-4599-842E-49DD244FAA09}" destId="{0AC0D7DB-D978-475A-87E2-3B167418CB00}" srcOrd="0" destOrd="0" presId="urn:microsoft.com/office/officeart/2005/8/layout/cycle2"/>
    <dgm:cxn modelId="{A6FFC73E-B2E1-437E-B51E-E24580F15C60}" type="presOf" srcId="{F7A91F29-A18A-42EB-BEA7-7295F658C59D}" destId="{91ED2829-52E4-4B50-8AEB-123E27AB0FD1}" srcOrd="0" destOrd="0" presId="urn:microsoft.com/office/officeart/2005/8/layout/cycle2"/>
    <dgm:cxn modelId="{D073105D-5908-4786-9D15-603C140387EA}" srcId="{99503225-AAE1-475B-B058-A12BB5C3D235}" destId="{3469679B-71C8-4227-A2A0-4C1AE188460B}" srcOrd="8" destOrd="0" parTransId="{9E456477-30A7-493D-8405-56FDABF98371}" sibTransId="{FFACFF67-B634-411B-BC4B-9680C024C769}"/>
    <dgm:cxn modelId="{A9703F5E-2F6C-4A0A-B5AD-CB6EA00B3B5B}" type="presOf" srcId="{F3D35DAB-3FF1-4ABD-9F85-C37F0B734B69}" destId="{B76F87FE-F293-4739-B511-E941F029FBF9}" srcOrd="0" destOrd="0" presId="urn:microsoft.com/office/officeart/2005/8/layout/cycle2"/>
    <dgm:cxn modelId="{2D195663-1778-41F2-B0BF-11D5D24DF563}" type="presOf" srcId="{49001F11-276D-42B8-A3E9-6092855C3C38}" destId="{86741993-08A6-461A-A8B2-B83123025B0E}" srcOrd="0" destOrd="0" presId="urn:microsoft.com/office/officeart/2005/8/layout/cycle2"/>
    <dgm:cxn modelId="{F55EF364-2B56-47E3-B9E2-B256DC67FEE0}" type="presOf" srcId="{A983DDBD-CDCB-454B-95FB-A4595EF1FEBE}" destId="{D08EFFD4-2B03-4DB6-996B-99B6047FC39D}" srcOrd="1" destOrd="0" presId="urn:microsoft.com/office/officeart/2005/8/layout/cycle2"/>
    <dgm:cxn modelId="{C586B165-2D2E-4B62-B27F-70A95F1A61B6}" srcId="{99503225-AAE1-475B-B058-A12BB5C3D235}" destId="{B9459AE1-201C-4242-866E-178FAA2A7C01}" srcOrd="7" destOrd="0" parTransId="{0995BFB0-BB4C-437D-B655-578CFBFD0C3B}" sibTransId="{477D2516-9E62-4753-BE5D-845C7A4459A6}"/>
    <dgm:cxn modelId="{EE7CD246-3559-49AD-8836-77177F5DC0D1}" type="presOf" srcId="{EC07F84D-753E-4E7F-B02B-60A05C87DCF8}" destId="{E3EB0C4E-5A2D-4934-9D08-CABD4DC9BE7C}" srcOrd="1" destOrd="0" presId="urn:microsoft.com/office/officeart/2005/8/layout/cycle2"/>
    <dgm:cxn modelId="{94926C67-ADF9-420F-98AC-A55F8F8ADF93}" srcId="{99503225-AAE1-475B-B058-A12BB5C3D235}" destId="{3A1BAA6A-2EF9-4777-8543-3042300AD85B}" srcOrd="0" destOrd="0" parTransId="{E27EED93-5182-4241-B7F0-8B7E8749077B}" sibTransId="{CB09F18D-A311-44F7-AAB2-B6046C1691BF}"/>
    <dgm:cxn modelId="{DD72F647-5091-4270-A73D-F90587A2BF4E}" srcId="{99503225-AAE1-475B-B058-A12BB5C3D235}" destId="{01BF71B7-9DD5-49CB-8CF4-49C64A346A47}" srcOrd="4" destOrd="0" parTransId="{221C0288-8CB0-4630-9893-4E4C2F31E922}" sibTransId="{CD61CB8C-94D9-4A3D-93D1-C75DA4D82B4B}"/>
    <dgm:cxn modelId="{2AA81049-F08C-416A-9D4D-5D1CDD9253C7}" type="presOf" srcId="{6DEA50CD-B41A-4DF3-AE43-B767B9C4D270}" destId="{3C7D208A-4B58-4C95-8C6F-E5684D0DFDAC}" srcOrd="0" destOrd="0" presId="urn:microsoft.com/office/officeart/2005/8/layout/cycle2"/>
    <dgm:cxn modelId="{AECFAD6A-6E8C-4ADD-B9B6-912651A32AF4}" srcId="{99503225-AAE1-475B-B058-A12BB5C3D235}" destId="{F7A91F29-A18A-42EB-BEA7-7295F658C59D}" srcOrd="12" destOrd="0" parTransId="{44ADAF79-910A-4C7C-802B-A7823C04B8F1}" sibTransId="{34C5935F-3CC6-4B9E-A6DC-E9F64A83AEEE}"/>
    <dgm:cxn modelId="{B4FA9E4F-76FB-412D-85C2-F39147005538}" type="presOf" srcId="{CB09F18D-A311-44F7-AAB2-B6046C1691BF}" destId="{49CBC5C6-52C4-4075-9E7D-91BDEDF03D2E}" srcOrd="1" destOrd="0" presId="urn:microsoft.com/office/officeart/2005/8/layout/cycle2"/>
    <dgm:cxn modelId="{934D7270-BDE9-4F5D-8D5F-5B09D955D162}" srcId="{99503225-AAE1-475B-B058-A12BB5C3D235}" destId="{3E087A6E-1A51-4B35-8990-978E44E4D3EE}" srcOrd="5" destOrd="0" parTransId="{D977FABF-5996-4094-BBFC-B96C4758E3A3}" sibTransId="{7D25441C-771A-495C-B807-E3C87F715623}"/>
    <dgm:cxn modelId="{2D732E74-9900-432A-B7B6-563808EB09BC}" type="presOf" srcId="{596965E9-A0B7-47AB-AB98-9DC543FA5CBE}" destId="{D957D84F-BFB1-4EEA-A55B-CCB467D87750}" srcOrd="0" destOrd="0" presId="urn:microsoft.com/office/officeart/2005/8/layout/cycle2"/>
    <dgm:cxn modelId="{37459754-4794-497D-A664-D1A179FA4DA1}" type="presOf" srcId="{9F293134-58AA-4DE8-AD45-56DAB2843B74}" destId="{573FC5FE-1FC4-4F39-84F5-DF5F45BF4185}" srcOrd="0" destOrd="0" presId="urn:microsoft.com/office/officeart/2005/8/layout/cycle2"/>
    <dgm:cxn modelId="{397AE054-47C0-4FA0-A9AD-190F94BFE187}" type="presOf" srcId="{A983DDBD-CDCB-454B-95FB-A4595EF1FEBE}" destId="{46FB6ADB-7FD2-46B6-8FC0-964C272DD9EB}" srcOrd="0" destOrd="0" presId="urn:microsoft.com/office/officeart/2005/8/layout/cycle2"/>
    <dgm:cxn modelId="{9C5C1075-2D36-46D1-A4AC-ED036813DF2B}" type="presOf" srcId="{CA7BF8AA-5246-42DD-893E-69E1FCBFF057}" destId="{B63B2BD2-B37C-4B64-BCBD-D6F7B2F83BEC}" srcOrd="1" destOrd="0" presId="urn:microsoft.com/office/officeart/2005/8/layout/cycle2"/>
    <dgm:cxn modelId="{645C7357-DF8F-4E17-AEC6-898E2D191E9F}" type="presOf" srcId="{3A1BAA6A-2EF9-4777-8543-3042300AD85B}" destId="{38166358-D4A6-4BD4-8750-A32124274E36}" srcOrd="0" destOrd="0" presId="urn:microsoft.com/office/officeart/2005/8/layout/cycle2"/>
    <dgm:cxn modelId="{B0663959-67F9-45A3-898F-2E5F9B9A4F92}" type="presOf" srcId="{425EC887-5C16-46A3-8CB3-902F744AB942}" destId="{1185902C-861D-47F4-8A8A-FCB5470E977C}" srcOrd="0" destOrd="0" presId="urn:microsoft.com/office/officeart/2005/8/layout/cycle2"/>
    <dgm:cxn modelId="{2F680182-6D06-4A0A-AD57-4DC5B483D69B}" type="presOf" srcId="{CB09F18D-A311-44F7-AAB2-B6046C1691BF}" destId="{2F37F4D0-CC6E-4884-A725-63E3F934C558}" srcOrd="0" destOrd="0" presId="urn:microsoft.com/office/officeart/2005/8/layout/cycle2"/>
    <dgm:cxn modelId="{266C7082-0EFA-4E45-9C42-EE0AEB790071}" srcId="{99503225-AAE1-475B-B058-A12BB5C3D235}" destId="{596965E9-A0B7-47AB-AB98-9DC543FA5CBE}" srcOrd="11" destOrd="0" parTransId="{CD2B865E-2E42-4763-9553-FD9AD5FA0FEA}" sibTransId="{3065BEF1-E0D4-4CC3-B894-6FF9709A168D}"/>
    <dgm:cxn modelId="{F46D3B8D-DD99-40C2-AFE6-3A79BD82C887}" type="presOf" srcId="{6DEA50CD-B41A-4DF3-AE43-B767B9C4D270}" destId="{24141929-962D-4AA7-A727-7FBD0CA2191B}" srcOrd="1" destOrd="0" presId="urn:microsoft.com/office/officeart/2005/8/layout/cycle2"/>
    <dgm:cxn modelId="{DA66C88F-08A1-4C93-9B57-0F42B4459FFB}" type="presOf" srcId="{99503225-AAE1-475B-B058-A12BB5C3D235}" destId="{D6F33495-06B4-485B-ADBD-A82121C4A920}" srcOrd="0" destOrd="0" presId="urn:microsoft.com/office/officeart/2005/8/layout/cycle2"/>
    <dgm:cxn modelId="{90D9F690-4949-4602-8E36-E716D09AA2F3}" type="presOf" srcId="{FD82C550-04DB-452F-AFE4-549275B414BF}" destId="{A54A37CD-B65C-45C3-AE58-6125B587CEC1}" srcOrd="1" destOrd="0" presId="urn:microsoft.com/office/officeart/2005/8/layout/cycle2"/>
    <dgm:cxn modelId="{A822FEA2-8C67-4B3B-B289-C032D711A5D6}" type="presOf" srcId="{477D2516-9E62-4753-BE5D-845C7A4459A6}" destId="{CE23E82D-E9D2-4B0B-BA13-C9F6E2526B22}" srcOrd="1" destOrd="0" presId="urn:microsoft.com/office/officeart/2005/8/layout/cycle2"/>
    <dgm:cxn modelId="{A58E41A4-764C-4EEF-95F3-1D719C3BFC2E}" type="presOf" srcId="{34C5935F-3CC6-4B9E-A6DC-E9F64A83AEEE}" destId="{43C22A09-07BE-45D2-A994-FDA40277D3F9}" srcOrd="1" destOrd="0" presId="urn:microsoft.com/office/officeart/2005/8/layout/cycle2"/>
    <dgm:cxn modelId="{B3F110AD-6636-4809-8A62-4E230098FB5F}" type="presOf" srcId="{EC07F84D-753E-4E7F-B02B-60A05C87DCF8}" destId="{7BC76DFF-C16A-436E-BAFC-4E996BC223CD}" srcOrd="0" destOrd="0" presId="urn:microsoft.com/office/officeart/2005/8/layout/cycle2"/>
    <dgm:cxn modelId="{439285B0-9EAA-4598-849C-223A6FFB5806}" type="presOf" srcId="{F3D35DAB-3FF1-4ABD-9F85-C37F0B734B69}" destId="{ED740843-225D-46D2-8103-4DC482A3CDB3}" srcOrd="1" destOrd="0" presId="urn:microsoft.com/office/officeart/2005/8/layout/cycle2"/>
    <dgm:cxn modelId="{94BE2BB2-04FA-4EEC-B7E0-2EFE63E65C70}" type="presOf" srcId="{FFACFF67-B634-411B-BC4B-9680C024C769}" destId="{A6E628F3-66CA-4B9C-9BE8-2D17D25DA4A8}" srcOrd="1" destOrd="0" presId="urn:microsoft.com/office/officeart/2005/8/layout/cycle2"/>
    <dgm:cxn modelId="{953A91B8-894E-4AD0-BD10-0B58DA9248BD}" type="presOf" srcId="{7D25441C-771A-495C-B807-E3C87F715623}" destId="{2B1AC7E1-3AE6-475C-867B-6EAA94346DF4}" srcOrd="1" destOrd="0" presId="urn:microsoft.com/office/officeart/2005/8/layout/cycle2"/>
    <dgm:cxn modelId="{32B36DBA-D0E0-4F8C-9529-8CD6537C9120}" srcId="{99503225-AAE1-475B-B058-A12BB5C3D235}" destId="{FE7EC1A2-4E9F-49D9-B313-8A010C060F51}" srcOrd="10" destOrd="0" parTransId="{2F2EFD39-9E05-4466-8A4D-7D7BAB2339BC}" sibTransId="{F3D35DAB-3FF1-4ABD-9F85-C37F0B734B69}"/>
    <dgm:cxn modelId="{A6EBBEC9-6977-4E72-8987-40BC51AC05C2}" type="presOf" srcId="{CD61CB8C-94D9-4A3D-93D1-C75DA4D82B4B}" destId="{090D1DA9-1D66-45F1-BAC1-E7AED8F0E79E}" srcOrd="0" destOrd="0" presId="urn:microsoft.com/office/officeart/2005/8/layout/cycle2"/>
    <dgm:cxn modelId="{213282CA-731D-43AC-8A54-1627488A1612}" type="presOf" srcId="{FD82C550-04DB-452F-AFE4-549275B414BF}" destId="{FC75D0FD-C5F5-4E8C-A2C8-FA420B9C3B46}" srcOrd="0" destOrd="0" presId="urn:microsoft.com/office/officeart/2005/8/layout/cycle2"/>
    <dgm:cxn modelId="{FAB6FCCB-9414-4162-B621-82DDDE03841A}" type="presOf" srcId="{CD61CB8C-94D9-4A3D-93D1-C75DA4D82B4B}" destId="{8324E5AE-AE31-4E8B-A1CE-EC456D5A7482}" srcOrd="1" destOrd="0" presId="urn:microsoft.com/office/officeart/2005/8/layout/cycle2"/>
    <dgm:cxn modelId="{640F31CF-6314-4B58-83A4-ABB756C547A6}" srcId="{99503225-AAE1-475B-B058-A12BB5C3D235}" destId="{425EC887-5C16-46A3-8CB3-902F744AB942}" srcOrd="6" destOrd="0" parTransId="{F27B8604-438B-489E-B107-E5C053B0BEDF}" sibTransId="{A983DDBD-CDCB-454B-95FB-A4595EF1FEBE}"/>
    <dgm:cxn modelId="{1F4F13D7-0C75-4422-933D-E08C99C9CC9C}" type="presOf" srcId="{3065BEF1-E0D4-4CC3-B894-6FF9709A168D}" destId="{C3DA0868-26D0-4ED6-A01F-183424539403}" srcOrd="1" destOrd="0" presId="urn:microsoft.com/office/officeart/2005/8/layout/cycle2"/>
    <dgm:cxn modelId="{375895D8-A827-4F71-8B0D-1C638602FF3B}" type="presOf" srcId="{3469679B-71C8-4227-A2A0-4C1AE188460B}" destId="{D5F5D7E2-E5C4-4860-AEF6-88C89E925D70}" srcOrd="0" destOrd="0" presId="urn:microsoft.com/office/officeart/2005/8/layout/cycle2"/>
    <dgm:cxn modelId="{BB174DDA-8476-4DEA-BDF3-E46439DE6329}" srcId="{99503225-AAE1-475B-B058-A12BB5C3D235}" destId="{806258ED-AA3C-4599-842E-49DD244FAA09}" srcOrd="9" destOrd="0" parTransId="{AB0DE096-6840-4CC5-A28B-1FD1E02BCF73}" sibTransId="{6DEA50CD-B41A-4DF3-AE43-B767B9C4D270}"/>
    <dgm:cxn modelId="{C1A11BDB-F8CE-414D-A0B5-23B2103F1BBC}" type="presOf" srcId="{FFACFF67-B634-411B-BC4B-9680C024C769}" destId="{BACB08DE-2598-4970-9121-79986D44E214}" srcOrd="0" destOrd="0" presId="urn:microsoft.com/office/officeart/2005/8/layout/cycle2"/>
    <dgm:cxn modelId="{C2F9E0F1-BB53-4008-9BA5-1249AA85E1A2}" srcId="{99503225-AAE1-475B-B058-A12BB5C3D235}" destId="{E99DD119-D64B-4E0E-96D7-BE60B155E882}" srcOrd="1" destOrd="0" parTransId="{BCB412EE-122B-4B93-B15B-23A992C7378C}" sibTransId="{FD82C550-04DB-452F-AFE4-549275B414BF}"/>
    <dgm:cxn modelId="{38D98BF7-317A-47D4-8C43-EEC57392B0A7}" type="presOf" srcId="{477D2516-9E62-4753-BE5D-845C7A4459A6}" destId="{18B58F77-4B8E-44B2-8DDF-BF940D54D390}" srcOrd="0" destOrd="0" presId="urn:microsoft.com/office/officeart/2005/8/layout/cycle2"/>
    <dgm:cxn modelId="{CD10E130-A259-4326-A9F9-6BBAF8971BF2}" type="presParOf" srcId="{D6F33495-06B4-485B-ADBD-A82121C4A920}" destId="{38166358-D4A6-4BD4-8750-A32124274E36}" srcOrd="0" destOrd="0" presId="urn:microsoft.com/office/officeart/2005/8/layout/cycle2"/>
    <dgm:cxn modelId="{161139A1-2339-4813-84B9-669CFFF18623}" type="presParOf" srcId="{D6F33495-06B4-485B-ADBD-A82121C4A920}" destId="{2F37F4D0-CC6E-4884-A725-63E3F934C558}" srcOrd="1" destOrd="0" presId="urn:microsoft.com/office/officeart/2005/8/layout/cycle2"/>
    <dgm:cxn modelId="{B9976DD1-CC58-40CB-AB56-51EB4D3C3922}" type="presParOf" srcId="{2F37F4D0-CC6E-4884-A725-63E3F934C558}" destId="{49CBC5C6-52C4-4075-9E7D-91BDEDF03D2E}" srcOrd="0" destOrd="0" presId="urn:microsoft.com/office/officeart/2005/8/layout/cycle2"/>
    <dgm:cxn modelId="{3DB355C0-5264-4247-A06B-2B3FAE72F263}" type="presParOf" srcId="{D6F33495-06B4-485B-ADBD-A82121C4A920}" destId="{49AE8DEC-10EE-4436-AA28-EEEC56B6DFB1}" srcOrd="2" destOrd="0" presId="urn:microsoft.com/office/officeart/2005/8/layout/cycle2"/>
    <dgm:cxn modelId="{EA67D55C-B7B5-4EE5-928C-65C4E59FCC0A}" type="presParOf" srcId="{D6F33495-06B4-485B-ADBD-A82121C4A920}" destId="{FC75D0FD-C5F5-4E8C-A2C8-FA420B9C3B46}" srcOrd="3" destOrd="0" presId="urn:microsoft.com/office/officeart/2005/8/layout/cycle2"/>
    <dgm:cxn modelId="{0F70B7DC-3E94-42D3-8440-16E5BFD45AB8}" type="presParOf" srcId="{FC75D0FD-C5F5-4E8C-A2C8-FA420B9C3B46}" destId="{A54A37CD-B65C-45C3-AE58-6125B587CEC1}" srcOrd="0" destOrd="0" presId="urn:microsoft.com/office/officeart/2005/8/layout/cycle2"/>
    <dgm:cxn modelId="{06A00DED-30C3-4D8A-9091-91117AC2920E}" type="presParOf" srcId="{D6F33495-06B4-485B-ADBD-A82121C4A920}" destId="{86741993-08A6-461A-A8B2-B83123025B0E}" srcOrd="4" destOrd="0" presId="urn:microsoft.com/office/officeart/2005/8/layout/cycle2"/>
    <dgm:cxn modelId="{3A57876D-46AB-446F-9622-0EAF4E164EA0}" type="presParOf" srcId="{D6F33495-06B4-485B-ADBD-A82121C4A920}" destId="{7BC76DFF-C16A-436E-BAFC-4E996BC223CD}" srcOrd="5" destOrd="0" presId="urn:microsoft.com/office/officeart/2005/8/layout/cycle2"/>
    <dgm:cxn modelId="{C230D76B-BEC0-44D6-8506-A21EC384C0AC}" type="presParOf" srcId="{7BC76DFF-C16A-436E-BAFC-4E996BC223CD}" destId="{E3EB0C4E-5A2D-4934-9D08-CABD4DC9BE7C}" srcOrd="0" destOrd="0" presId="urn:microsoft.com/office/officeart/2005/8/layout/cycle2"/>
    <dgm:cxn modelId="{0467DB34-FE30-4CFF-9D85-4B803EAD375E}" type="presParOf" srcId="{D6F33495-06B4-485B-ADBD-A82121C4A920}" destId="{573FC5FE-1FC4-4F39-84F5-DF5F45BF4185}" srcOrd="6" destOrd="0" presId="urn:microsoft.com/office/officeart/2005/8/layout/cycle2"/>
    <dgm:cxn modelId="{491A613A-A315-461D-BCD7-B9A314FF0BB9}" type="presParOf" srcId="{D6F33495-06B4-485B-ADBD-A82121C4A920}" destId="{494B7480-5BBD-449B-9844-B0232FD2A371}" srcOrd="7" destOrd="0" presId="urn:microsoft.com/office/officeart/2005/8/layout/cycle2"/>
    <dgm:cxn modelId="{B32F7E89-97AE-4D38-B329-B492752694D6}" type="presParOf" srcId="{494B7480-5BBD-449B-9844-B0232FD2A371}" destId="{B63B2BD2-B37C-4B64-BCBD-D6F7B2F83BEC}" srcOrd="0" destOrd="0" presId="urn:microsoft.com/office/officeart/2005/8/layout/cycle2"/>
    <dgm:cxn modelId="{121020B2-7967-48AA-ABAB-A8F06E005BE4}" type="presParOf" srcId="{D6F33495-06B4-485B-ADBD-A82121C4A920}" destId="{D67F9F1F-7338-42CA-80CB-23AC7A3A57AC}" srcOrd="8" destOrd="0" presId="urn:microsoft.com/office/officeart/2005/8/layout/cycle2"/>
    <dgm:cxn modelId="{C8C0D369-359D-40AE-85C7-1F7D033DD524}" type="presParOf" srcId="{D6F33495-06B4-485B-ADBD-A82121C4A920}" destId="{090D1DA9-1D66-45F1-BAC1-E7AED8F0E79E}" srcOrd="9" destOrd="0" presId="urn:microsoft.com/office/officeart/2005/8/layout/cycle2"/>
    <dgm:cxn modelId="{EC4D44E4-B34D-46AA-BBD0-64272E835002}" type="presParOf" srcId="{090D1DA9-1D66-45F1-BAC1-E7AED8F0E79E}" destId="{8324E5AE-AE31-4E8B-A1CE-EC456D5A7482}" srcOrd="0" destOrd="0" presId="urn:microsoft.com/office/officeart/2005/8/layout/cycle2"/>
    <dgm:cxn modelId="{2B0613FD-3EE5-419D-AC55-708C35EB03B7}" type="presParOf" srcId="{D6F33495-06B4-485B-ADBD-A82121C4A920}" destId="{610E8A85-7E1E-4E3C-9923-9E69B95D31CF}" srcOrd="10" destOrd="0" presId="urn:microsoft.com/office/officeart/2005/8/layout/cycle2"/>
    <dgm:cxn modelId="{FAEEAC77-11D6-4685-8B68-83E729155B0C}" type="presParOf" srcId="{D6F33495-06B4-485B-ADBD-A82121C4A920}" destId="{7D1570C8-EF0A-4357-BF23-2B6DA3DA4518}" srcOrd="11" destOrd="0" presId="urn:microsoft.com/office/officeart/2005/8/layout/cycle2"/>
    <dgm:cxn modelId="{51F855F0-CC20-4DA0-9521-ADDA1B419F33}" type="presParOf" srcId="{7D1570C8-EF0A-4357-BF23-2B6DA3DA4518}" destId="{2B1AC7E1-3AE6-475C-867B-6EAA94346DF4}" srcOrd="0" destOrd="0" presId="urn:microsoft.com/office/officeart/2005/8/layout/cycle2"/>
    <dgm:cxn modelId="{53045871-0ABD-4223-9D4D-CF3114B15BB0}" type="presParOf" srcId="{D6F33495-06B4-485B-ADBD-A82121C4A920}" destId="{1185902C-861D-47F4-8A8A-FCB5470E977C}" srcOrd="12" destOrd="0" presId="urn:microsoft.com/office/officeart/2005/8/layout/cycle2"/>
    <dgm:cxn modelId="{D40F445D-1019-4D2E-B48B-E4BE97923672}" type="presParOf" srcId="{D6F33495-06B4-485B-ADBD-A82121C4A920}" destId="{46FB6ADB-7FD2-46B6-8FC0-964C272DD9EB}" srcOrd="13" destOrd="0" presId="urn:microsoft.com/office/officeart/2005/8/layout/cycle2"/>
    <dgm:cxn modelId="{D1F1CEFE-4FE2-4FF5-BCED-50C1F5D4FB6D}" type="presParOf" srcId="{46FB6ADB-7FD2-46B6-8FC0-964C272DD9EB}" destId="{D08EFFD4-2B03-4DB6-996B-99B6047FC39D}" srcOrd="0" destOrd="0" presId="urn:microsoft.com/office/officeart/2005/8/layout/cycle2"/>
    <dgm:cxn modelId="{4BF6D4D0-1F7C-4DC3-9FCC-39E9224F3CF3}" type="presParOf" srcId="{D6F33495-06B4-485B-ADBD-A82121C4A920}" destId="{08361A25-ABF1-47EA-ACEE-2CB8813FE40A}" srcOrd="14" destOrd="0" presId="urn:microsoft.com/office/officeart/2005/8/layout/cycle2"/>
    <dgm:cxn modelId="{49DAB8A2-ABFB-4D8D-A64B-235D475E3303}" type="presParOf" srcId="{D6F33495-06B4-485B-ADBD-A82121C4A920}" destId="{18B58F77-4B8E-44B2-8DDF-BF940D54D390}" srcOrd="15" destOrd="0" presId="urn:microsoft.com/office/officeart/2005/8/layout/cycle2"/>
    <dgm:cxn modelId="{15D15924-BF5E-4010-88FD-4AFC35DB2A19}" type="presParOf" srcId="{18B58F77-4B8E-44B2-8DDF-BF940D54D390}" destId="{CE23E82D-E9D2-4B0B-BA13-C9F6E2526B22}" srcOrd="0" destOrd="0" presId="urn:microsoft.com/office/officeart/2005/8/layout/cycle2"/>
    <dgm:cxn modelId="{5B2C6317-F447-4180-B880-9A5DDD6DEED6}" type="presParOf" srcId="{D6F33495-06B4-485B-ADBD-A82121C4A920}" destId="{D5F5D7E2-E5C4-4860-AEF6-88C89E925D70}" srcOrd="16" destOrd="0" presId="urn:microsoft.com/office/officeart/2005/8/layout/cycle2"/>
    <dgm:cxn modelId="{06077519-31D5-4B3B-BAB5-B839CC196707}" type="presParOf" srcId="{D6F33495-06B4-485B-ADBD-A82121C4A920}" destId="{BACB08DE-2598-4970-9121-79986D44E214}" srcOrd="17" destOrd="0" presId="urn:microsoft.com/office/officeart/2005/8/layout/cycle2"/>
    <dgm:cxn modelId="{B3F1F8CA-0B4B-42A0-826A-3EFDC66C9C15}" type="presParOf" srcId="{BACB08DE-2598-4970-9121-79986D44E214}" destId="{A6E628F3-66CA-4B9C-9BE8-2D17D25DA4A8}" srcOrd="0" destOrd="0" presId="urn:microsoft.com/office/officeart/2005/8/layout/cycle2"/>
    <dgm:cxn modelId="{43DAA920-C7FE-4969-960A-6A72B33125D6}" type="presParOf" srcId="{D6F33495-06B4-485B-ADBD-A82121C4A920}" destId="{0AC0D7DB-D978-475A-87E2-3B167418CB00}" srcOrd="18" destOrd="0" presId="urn:microsoft.com/office/officeart/2005/8/layout/cycle2"/>
    <dgm:cxn modelId="{726546A3-EF14-4579-8C7C-0E7CF05DD1BE}" type="presParOf" srcId="{D6F33495-06B4-485B-ADBD-A82121C4A920}" destId="{3C7D208A-4B58-4C95-8C6F-E5684D0DFDAC}" srcOrd="19" destOrd="0" presId="urn:microsoft.com/office/officeart/2005/8/layout/cycle2"/>
    <dgm:cxn modelId="{44572E33-2F6E-4A08-9911-4DE13048AD86}" type="presParOf" srcId="{3C7D208A-4B58-4C95-8C6F-E5684D0DFDAC}" destId="{24141929-962D-4AA7-A727-7FBD0CA2191B}" srcOrd="0" destOrd="0" presId="urn:microsoft.com/office/officeart/2005/8/layout/cycle2"/>
    <dgm:cxn modelId="{4BB0F8C2-414B-4674-8780-3326EECBBE1E}" type="presParOf" srcId="{D6F33495-06B4-485B-ADBD-A82121C4A920}" destId="{D99C0853-AD89-4251-BFEF-2CEF2F018E26}" srcOrd="20" destOrd="0" presId="urn:microsoft.com/office/officeart/2005/8/layout/cycle2"/>
    <dgm:cxn modelId="{BB4AE59E-B019-4C30-B18D-52E138492735}" type="presParOf" srcId="{D6F33495-06B4-485B-ADBD-A82121C4A920}" destId="{B76F87FE-F293-4739-B511-E941F029FBF9}" srcOrd="21" destOrd="0" presId="urn:microsoft.com/office/officeart/2005/8/layout/cycle2"/>
    <dgm:cxn modelId="{5D483B9C-3351-42B7-BABD-91D284BBCF15}" type="presParOf" srcId="{B76F87FE-F293-4739-B511-E941F029FBF9}" destId="{ED740843-225D-46D2-8103-4DC482A3CDB3}" srcOrd="0" destOrd="0" presId="urn:microsoft.com/office/officeart/2005/8/layout/cycle2"/>
    <dgm:cxn modelId="{68FF491B-2EFE-4451-8CB6-C05CA58E4C01}" type="presParOf" srcId="{D6F33495-06B4-485B-ADBD-A82121C4A920}" destId="{D957D84F-BFB1-4EEA-A55B-CCB467D87750}" srcOrd="22" destOrd="0" presId="urn:microsoft.com/office/officeart/2005/8/layout/cycle2"/>
    <dgm:cxn modelId="{70DA646D-47EF-42C9-AB04-8D4992B259C7}" type="presParOf" srcId="{D6F33495-06B4-485B-ADBD-A82121C4A920}" destId="{2EE13745-BF0F-47A7-8223-BA1FA9A6C3D2}" srcOrd="23" destOrd="0" presId="urn:microsoft.com/office/officeart/2005/8/layout/cycle2"/>
    <dgm:cxn modelId="{3F8B2824-F543-4732-9B2E-3CFF391719CD}" type="presParOf" srcId="{2EE13745-BF0F-47A7-8223-BA1FA9A6C3D2}" destId="{C3DA0868-26D0-4ED6-A01F-183424539403}" srcOrd="0" destOrd="0" presId="urn:microsoft.com/office/officeart/2005/8/layout/cycle2"/>
    <dgm:cxn modelId="{96AF90F2-9364-4E81-8A56-6D04FB42E7F4}" type="presParOf" srcId="{D6F33495-06B4-485B-ADBD-A82121C4A920}" destId="{91ED2829-52E4-4B50-8AEB-123E27AB0FD1}" srcOrd="24" destOrd="0" presId="urn:microsoft.com/office/officeart/2005/8/layout/cycle2"/>
    <dgm:cxn modelId="{B26E0401-790F-408B-B3D1-56F8DD7BD49A}" type="presParOf" srcId="{D6F33495-06B4-485B-ADBD-A82121C4A920}" destId="{FB7D22FD-90F5-474A-9A22-06DEEDD13287}" srcOrd="25" destOrd="0" presId="urn:microsoft.com/office/officeart/2005/8/layout/cycle2"/>
    <dgm:cxn modelId="{350C57D9-1B78-42A1-8635-6052B4561FB3}" type="presParOf" srcId="{FB7D22FD-90F5-474A-9A22-06DEEDD13287}" destId="{43C22A09-07BE-45D2-A994-FDA40277D3F9}"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EEE2C5-3836-4BC6-B27C-770CA924A823}">
      <dsp:nvSpPr>
        <dsp:cNvPr id="0" name=""/>
        <dsp:cNvSpPr/>
      </dsp:nvSpPr>
      <dsp:spPr>
        <a:xfrm>
          <a:off x="8682548" y="1834089"/>
          <a:ext cx="276219" cy="1468607"/>
        </a:xfrm>
        <a:custGeom>
          <a:avLst/>
          <a:gdLst/>
          <a:ahLst/>
          <a:cxnLst/>
          <a:rect l="0" t="0" r="0" b="0"/>
          <a:pathLst>
            <a:path>
              <a:moveTo>
                <a:pt x="0" y="0"/>
              </a:moveTo>
              <a:lnTo>
                <a:pt x="0" y="1468607"/>
              </a:lnTo>
              <a:lnTo>
                <a:pt x="276219" y="146860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716479-DCD7-410D-90E2-FDEBF7B3501A}">
      <dsp:nvSpPr>
        <dsp:cNvPr id="0" name=""/>
        <dsp:cNvSpPr/>
      </dsp:nvSpPr>
      <dsp:spPr>
        <a:xfrm>
          <a:off x="8682548" y="1834089"/>
          <a:ext cx="276219" cy="532677"/>
        </a:xfrm>
        <a:custGeom>
          <a:avLst/>
          <a:gdLst/>
          <a:ahLst/>
          <a:cxnLst/>
          <a:rect l="0" t="0" r="0" b="0"/>
          <a:pathLst>
            <a:path>
              <a:moveTo>
                <a:pt x="0" y="0"/>
              </a:moveTo>
              <a:lnTo>
                <a:pt x="0" y="532677"/>
              </a:lnTo>
              <a:lnTo>
                <a:pt x="276219" y="53267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17B6B4-376A-4274-A225-23DD6DB7944F}">
      <dsp:nvSpPr>
        <dsp:cNvPr id="0" name=""/>
        <dsp:cNvSpPr/>
      </dsp:nvSpPr>
      <dsp:spPr>
        <a:xfrm>
          <a:off x="5170270" y="639882"/>
          <a:ext cx="4248862" cy="520469"/>
        </a:xfrm>
        <a:custGeom>
          <a:avLst/>
          <a:gdLst/>
          <a:ahLst/>
          <a:cxnLst/>
          <a:rect l="0" t="0" r="0" b="0"/>
          <a:pathLst>
            <a:path>
              <a:moveTo>
                <a:pt x="0" y="0"/>
              </a:moveTo>
              <a:lnTo>
                <a:pt x="0" y="378984"/>
              </a:lnTo>
              <a:lnTo>
                <a:pt x="4248862" y="378984"/>
              </a:lnTo>
              <a:lnTo>
                <a:pt x="4248862" y="5204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9AA54C-7C5A-49C4-B0E0-529AE5232E49}">
      <dsp:nvSpPr>
        <dsp:cNvPr id="0" name=""/>
        <dsp:cNvSpPr/>
      </dsp:nvSpPr>
      <dsp:spPr>
        <a:xfrm>
          <a:off x="6558116" y="1834089"/>
          <a:ext cx="276219" cy="1468607"/>
        </a:xfrm>
        <a:custGeom>
          <a:avLst/>
          <a:gdLst/>
          <a:ahLst/>
          <a:cxnLst/>
          <a:rect l="0" t="0" r="0" b="0"/>
          <a:pathLst>
            <a:path>
              <a:moveTo>
                <a:pt x="0" y="0"/>
              </a:moveTo>
              <a:lnTo>
                <a:pt x="0" y="1468607"/>
              </a:lnTo>
              <a:lnTo>
                <a:pt x="276219" y="146860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CD5C9F4-8886-430E-8C31-F717B808C984}">
      <dsp:nvSpPr>
        <dsp:cNvPr id="0" name=""/>
        <dsp:cNvSpPr/>
      </dsp:nvSpPr>
      <dsp:spPr>
        <a:xfrm>
          <a:off x="6558116" y="1834089"/>
          <a:ext cx="276219" cy="532677"/>
        </a:xfrm>
        <a:custGeom>
          <a:avLst/>
          <a:gdLst/>
          <a:ahLst/>
          <a:cxnLst/>
          <a:rect l="0" t="0" r="0" b="0"/>
          <a:pathLst>
            <a:path>
              <a:moveTo>
                <a:pt x="0" y="0"/>
              </a:moveTo>
              <a:lnTo>
                <a:pt x="0" y="532677"/>
              </a:lnTo>
              <a:lnTo>
                <a:pt x="276219" y="53267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0CB14D-6EA0-463E-9E4C-878FE0DE6C0B}">
      <dsp:nvSpPr>
        <dsp:cNvPr id="0" name=""/>
        <dsp:cNvSpPr/>
      </dsp:nvSpPr>
      <dsp:spPr>
        <a:xfrm>
          <a:off x="5170270" y="639882"/>
          <a:ext cx="2124431" cy="520469"/>
        </a:xfrm>
        <a:custGeom>
          <a:avLst/>
          <a:gdLst/>
          <a:ahLst/>
          <a:cxnLst/>
          <a:rect l="0" t="0" r="0" b="0"/>
          <a:pathLst>
            <a:path>
              <a:moveTo>
                <a:pt x="0" y="0"/>
              </a:moveTo>
              <a:lnTo>
                <a:pt x="0" y="378984"/>
              </a:lnTo>
              <a:lnTo>
                <a:pt x="2124431" y="378984"/>
              </a:lnTo>
              <a:lnTo>
                <a:pt x="2124431" y="5204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BF546C-57C0-4B5A-BA8B-C644170D2527}">
      <dsp:nvSpPr>
        <dsp:cNvPr id="0" name=""/>
        <dsp:cNvSpPr/>
      </dsp:nvSpPr>
      <dsp:spPr>
        <a:xfrm>
          <a:off x="4433685" y="1834089"/>
          <a:ext cx="276219" cy="1468607"/>
        </a:xfrm>
        <a:custGeom>
          <a:avLst/>
          <a:gdLst/>
          <a:ahLst/>
          <a:cxnLst/>
          <a:rect l="0" t="0" r="0" b="0"/>
          <a:pathLst>
            <a:path>
              <a:moveTo>
                <a:pt x="0" y="0"/>
              </a:moveTo>
              <a:lnTo>
                <a:pt x="0" y="1468607"/>
              </a:lnTo>
              <a:lnTo>
                <a:pt x="276219" y="146860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C0ACA97-3B04-444E-95BA-9229F4A2277F}">
      <dsp:nvSpPr>
        <dsp:cNvPr id="0" name=""/>
        <dsp:cNvSpPr/>
      </dsp:nvSpPr>
      <dsp:spPr>
        <a:xfrm>
          <a:off x="4433685" y="1834089"/>
          <a:ext cx="276219" cy="532677"/>
        </a:xfrm>
        <a:custGeom>
          <a:avLst/>
          <a:gdLst/>
          <a:ahLst/>
          <a:cxnLst/>
          <a:rect l="0" t="0" r="0" b="0"/>
          <a:pathLst>
            <a:path>
              <a:moveTo>
                <a:pt x="0" y="0"/>
              </a:moveTo>
              <a:lnTo>
                <a:pt x="0" y="532677"/>
              </a:lnTo>
              <a:lnTo>
                <a:pt x="276219" y="53267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9A67DDB-DE0F-4C2C-84D8-B8680A191C73}">
      <dsp:nvSpPr>
        <dsp:cNvPr id="0" name=""/>
        <dsp:cNvSpPr/>
      </dsp:nvSpPr>
      <dsp:spPr>
        <a:xfrm>
          <a:off x="5124549" y="639882"/>
          <a:ext cx="91440" cy="520469"/>
        </a:xfrm>
        <a:custGeom>
          <a:avLst/>
          <a:gdLst/>
          <a:ahLst/>
          <a:cxnLst/>
          <a:rect l="0" t="0" r="0" b="0"/>
          <a:pathLst>
            <a:path>
              <a:moveTo>
                <a:pt x="45720" y="0"/>
              </a:moveTo>
              <a:lnTo>
                <a:pt x="45720" y="5204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1F2B89E-BFFB-40B2-B7FF-BCDB27B5503E}">
      <dsp:nvSpPr>
        <dsp:cNvPr id="0" name=""/>
        <dsp:cNvSpPr/>
      </dsp:nvSpPr>
      <dsp:spPr>
        <a:xfrm>
          <a:off x="2309254" y="1834089"/>
          <a:ext cx="276219" cy="1468607"/>
        </a:xfrm>
        <a:custGeom>
          <a:avLst/>
          <a:gdLst/>
          <a:ahLst/>
          <a:cxnLst/>
          <a:rect l="0" t="0" r="0" b="0"/>
          <a:pathLst>
            <a:path>
              <a:moveTo>
                <a:pt x="0" y="0"/>
              </a:moveTo>
              <a:lnTo>
                <a:pt x="0" y="1468607"/>
              </a:lnTo>
              <a:lnTo>
                <a:pt x="276219" y="146860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C79DD4-7E6D-42B1-8909-AE7A3EFE20EF}">
      <dsp:nvSpPr>
        <dsp:cNvPr id="0" name=""/>
        <dsp:cNvSpPr/>
      </dsp:nvSpPr>
      <dsp:spPr>
        <a:xfrm>
          <a:off x="2309254" y="1834089"/>
          <a:ext cx="276219" cy="532677"/>
        </a:xfrm>
        <a:custGeom>
          <a:avLst/>
          <a:gdLst/>
          <a:ahLst/>
          <a:cxnLst/>
          <a:rect l="0" t="0" r="0" b="0"/>
          <a:pathLst>
            <a:path>
              <a:moveTo>
                <a:pt x="0" y="0"/>
              </a:moveTo>
              <a:lnTo>
                <a:pt x="0" y="532677"/>
              </a:lnTo>
              <a:lnTo>
                <a:pt x="276219" y="53267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2CA155-C73D-43ED-9CC6-BD1EB05753B0}">
      <dsp:nvSpPr>
        <dsp:cNvPr id="0" name=""/>
        <dsp:cNvSpPr/>
      </dsp:nvSpPr>
      <dsp:spPr>
        <a:xfrm>
          <a:off x="3045838" y="639882"/>
          <a:ext cx="2124431" cy="520469"/>
        </a:xfrm>
        <a:custGeom>
          <a:avLst/>
          <a:gdLst/>
          <a:ahLst/>
          <a:cxnLst/>
          <a:rect l="0" t="0" r="0" b="0"/>
          <a:pathLst>
            <a:path>
              <a:moveTo>
                <a:pt x="2124431" y="0"/>
              </a:moveTo>
              <a:lnTo>
                <a:pt x="2124431" y="378984"/>
              </a:lnTo>
              <a:lnTo>
                <a:pt x="0" y="378984"/>
              </a:lnTo>
              <a:lnTo>
                <a:pt x="0" y="5204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056457-6849-411D-9338-DDE1DB5468CB}">
      <dsp:nvSpPr>
        <dsp:cNvPr id="0" name=""/>
        <dsp:cNvSpPr/>
      </dsp:nvSpPr>
      <dsp:spPr>
        <a:xfrm>
          <a:off x="184823" y="1834089"/>
          <a:ext cx="276219" cy="1468607"/>
        </a:xfrm>
        <a:custGeom>
          <a:avLst/>
          <a:gdLst/>
          <a:ahLst/>
          <a:cxnLst/>
          <a:rect l="0" t="0" r="0" b="0"/>
          <a:pathLst>
            <a:path>
              <a:moveTo>
                <a:pt x="0" y="0"/>
              </a:moveTo>
              <a:lnTo>
                <a:pt x="0" y="1468607"/>
              </a:lnTo>
              <a:lnTo>
                <a:pt x="276219" y="146860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085920-D68B-49C8-AFC9-484363E7B030}">
      <dsp:nvSpPr>
        <dsp:cNvPr id="0" name=""/>
        <dsp:cNvSpPr/>
      </dsp:nvSpPr>
      <dsp:spPr>
        <a:xfrm>
          <a:off x="184823" y="1834089"/>
          <a:ext cx="276219" cy="532677"/>
        </a:xfrm>
        <a:custGeom>
          <a:avLst/>
          <a:gdLst/>
          <a:ahLst/>
          <a:cxnLst/>
          <a:rect l="0" t="0" r="0" b="0"/>
          <a:pathLst>
            <a:path>
              <a:moveTo>
                <a:pt x="0" y="0"/>
              </a:moveTo>
              <a:lnTo>
                <a:pt x="0" y="532677"/>
              </a:lnTo>
              <a:lnTo>
                <a:pt x="276219" y="53267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331972-AB5B-4BFA-BBAF-B43FA0FFF18A}">
      <dsp:nvSpPr>
        <dsp:cNvPr id="0" name=""/>
        <dsp:cNvSpPr/>
      </dsp:nvSpPr>
      <dsp:spPr>
        <a:xfrm>
          <a:off x="921407" y="639882"/>
          <a:ext cx="4248862" cy="520469"/>
        </a:xfrm>
        <a:custGeom>
          <a:avLst/>
          <a:gdLst/>
          <a:ahLst/>
          <a:cxnLst/>
          <a:rect l="0" t="0" r="0" b="0"/>
          <a:pathLst>
            <a:path>
              <a:moveTo>
                <a:pt x="4248862" y="0"/>
              </a:moveTo>
              <a:lnTo>
                <a:pt x="4248862" y="378984"/>
              </a:lnTo>
              <a:lnTo>
                <a:pt x="0" y="378984"/>
              </a:lnTo>
              <a:lnTo>
                <a:pt x="0" y="52046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572188E-1214-4D3F-A6CF-BBE5AF822E72}">
      <dsp:nvSpPr>
        <dsp:cNvPr id="0" name=""/>
        <dsp:cNvSpPr/>
      </dsp:nvSpPr>
      <dsp:spPr>
        <a:xfrm>
          <a:off x="4262677" y="65419"/>
          <a:ext cx="1815185" cy="574462"/>
        </a:xfrm>
        <a:prstGeom prst="roundRect">
          <a:avLst/>
        </a:prstGeom>
        <a:solidFill>
          <a:schemeClr val="accent1"/>
        </a:solidFill>
        <a:ln w="19050" cap="flat" cmpd="sng" algn="ctr">
          <a:solidFill>
            <a:srgbClr val="FFFFFF"/>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t>具体项目</a:t>
          </a:r>
          <a:endParaRPr lang="en-US" sz="2000" kern="1200" dirty="0">
            <a:solidFill>
              <a:srgbClr val="FFFFFF"/>
            </a:solidFill>
            <a:latin typeface="Arial"/>
            <a:ea typeface="阿里巴巴普惠体"/>
            <a:cs typeface="+mn-cs"/>
          </a:endParaRPr>
        </a:p>
      </dsp:txBody>
      <dsp:txXfrm>
        <a:off x="4290720" y="93462"/>
        <a:ext cx="1759099" cy="518376"/>
      </dsp:txXfrm>
    </dsp:sp>
    <dsp:sp modelId="{FE4ECB99-FF1A-4645-B1FD-8B4E8E6C1C2A}">
      <dsp:nvSpPr>
        <dsp:cNvPr id="0" name=""/>
        <dsp:cNvSpPr/>
      </dsp:nvSpPr>
      <dsp:spPr>
        <a:xfrm>
          <a:off x="676" y="1160351"/>
          <a:ext cx="1841461" cy="673738"/>
        </a:xfrm>
        <a:prstGeom prst="roundRect">
          <a:avLst/>
        </a:prstGeom>
        <a:solidFill>
          <a:srgbClr val="000000">
            <a:lumMod val="65000"/>
            <a:lumOff val="35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b="1" kern="120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sp:txBody>
      <dsp:txXfrm>
        <a:off x="33565" y="1193240"/>
        <a:ext cx="1775683" cy="607960"/>
      </dsp:txXfrm>
    </dsp:sp>
    <dsp:sp modelId="{A16D05D1-DA71-43F6-A23C-14848A8FED28}">
      <dsp:nvSpPr>
        <dsp:cNvPr id="0" name=""/>
        <dsp:cNvSpPr/>
      </dsp:nvSpPr>
      <dsp:spPr>
        <a:xfrm>
          <a:off x="461042" y="204028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461042" y="2040287"/>
        <a:ext cx="1347476" cy="652960"/>
      </dsp:txXfrm>
    </dsp:sp>
    <dsp:sp modelId="{4D7BE04C-8181-40D6-84D4-E8A3F1EEAC9B}">
      <dsp:nvSpPr>
        <dsp:cNvPr id="0" name=""/>
        <dsp:cNvSpPr/>
      </dsp:nvSpPr>
      <dsp:spPr>
        <a:xfrm>
          <a:off x="461042" y="297621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461042" y="2976217"/>
        <a:ext cx="1347476" cy="652960"/>
      </dsp:txXfrm>
    </dsp:sp>
    <dsp:sp modelId="{1793E7E1-3289-4668-B8E8-B688F0D5300F}">
      <dsp:nvSpPr>
        <dsp:cNvPr id="0" name=""/>
        <dsp:cNvSpPr/>
      </dsp:nvSpPr>
      <dsp:spPr>
        <a:xfrm>
          <a:off x="2125108" y="1160351"/>
          <a:ext cx="1841461" cy="673738"/>
        </a:xfrm>
        <a:prstGeom prst="roundRect">
          <a:avLst/>
        </a:prstGeom>
        <a:solidFill>
          <a:srgbClr val="000000">
            <a:lumMod val="65000"/>
            <a:lumOff val="35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b="1" kern="120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sp:txBody>
      <dsp:txXfrm>
        <a:off x="2157997" y="1193240"/>
        <a:ext cx="1775683" cy="607960"/>
      </dsp:txXfrm>
    </dsp:sp>
    <dsp:sp modelId="{166A73DC-A977-4B76-AECA-EA2A99ADB1A0}">
      <dsp:nvSpPr>
        <dsp:cNvPr id="0" name=""/>
        <dsp:cNvSpPr/>
      </dsp:nvSpPr>
      <dsp:spPr>
        <a:xfrm>
          <a:off x="2585473" y="204028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2585473" y="2040287"/>
        <a:ext cx="1347476" cy="652960"/>
      </dsp:txXfrm>
    </dsp:sp>
    <dsp:sp modelId="{7F5E82F5-1733-4962-BB4D-C0D5AE8652D0}">
      <dsp:nvSpPr>
        <dsp:cNvPr id="0" name=""/>
        <dsp:cNvSpPr/>
      </dsp:nvSpPr>
      <dsp:spPr>
        <a:xfrm>
          <a:off x="2585473" y="297621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2585473" y="2976217"/>
        <a:ext cx="1347476" cy="652960"/>
      </dsp:txXfrm>
    </dsp:sp>
    <dsp:sp modelId="{BE5B5CAA-8120-4134-9700-6C4EE1F54D21}">
      <dsp:nvSpPr>
        <dsp:cNvPr id="0" name=""/>
        <dsp:cNvSpPr/>
      </dsp:nvSpPr>
      <dsp:spPr>
        <a:xfrm>
          <a:off x="4249539" y="1160351"/>
          <a:ext cx="1841461" cy="673738"/>
        </a:xfrm>
        <a:prstGeom prst="roundRect">
          <a:avLst/>
        </a:prstGeom>
        <a:solidFill>
          <a:srgbClr val="000000">
            <a:lumMod val="65000"/>
            <a:lumOff val="35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b="1" kern="120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sp:txBody>
      <dsp:txXfrm>
        <a:off x="4282428" y="1193240"/>
        <a:ext cx="1775683" cy="607960"/>
      </dsp:txXfrm>
    </dsp:sp>
    <dsp:sp modelId="{42CD4AB0-55D6-4B98-BB31-AB26A026D22F}">
      <dsp:nvSpPr>
        <dsp:cNvPr id="0" name=""/>
        <dsp:cNvSpPr/>
      </dsp:nvSpPr>
      <dsp:spPr>
        <a:xfrm>
          <a:off x="4709904" y="204028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4709904" y="2040287"/>
        <a:ext cx="1347476" cy="652960"/>
      </dsp:txXfrm>
    </dsp:sp>
    <dsp:sp modelId="{B0E9FE80-96BF-4104-886A-E0AAB7ECF742}">
      <dsp:nvSpPr>
        <dsp:cNvPr id="0" name=""/>
        <dsp:cNvSpPr/>
      </dsp:nvSpPr>
      <dsp:spPr>
        <a:xfrm>
          <a:off x="4709904" y="297621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4709904" y="2976217"/>
        <a:ext cx="1347476" cy="652960"/>
      </dsp:txXfrm>
    </dsp:sp>
    <dsp:sp modelId="{F6594D46-C731-4FA4-98DD-8B1F34BDBEA6}">
      <dsp:nvSpPr>
        <dsp:cNvPr id="0" name=""/>
        <dsp:cNvSpPr/>
      </dsp:nvSpPr>
      <dsp:spPr>
        <a:xfrm>
          <a:off x="6373970" y="1160351"/>
          <a:ext cx="1841461" cy="673738"/>
        </a:xfrm>
        <a:prstGeom prst="roundRect">
          <a:avLst/>
        </a:prstGeom>
        <a:solidFill>
          <a:srgbClr val="000000">
            <a:lumMod val="65000"/>
            <a:lumOff val="35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b="1" kern="1200" dirty="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sp:txBody>
      <dsp:txXfrm>
        <a:off x="6406859" y="1193240"/>
        <a:ext cx="1775683" cy="607960"/>
      </dsp:txXfrm>
    </dsp:sp>
    <dsp:sp modelId="{3F91848C-58E4-49E8-9A14-12C230562BE4}">
      <dsp:nvSpPr>
        <dsp:cNvPr id="0" name=""/>
        <dsp:cNvSpPr/>
      </dsp:nvSpPr>
      <dsp:spPr>
        <a:xfrm>
          <a:off x="6834335" y="204028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6834335" y="2040287"/>
        <a:ext cx="1347476" cy="652960"/>
      </dsp:txXfrm>
    </dsp:sp>
    <dsp:sp modelId="{9AFFCE29-1E33-4711-868F-8865769C6B1B}">
      <dsp:nvSpPr>
        <dsp:cNvPr id="0" name=""/>
        <dsp:cNvSpPr/>
      </dsp:nvSpPr>
      <dsp:spPr>
        <a:xfrm>
          <a:off x="6834335" y="297621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6834335" y="2976217"/>
        <a:ext cx="1347476" cy="652960"/>
      </dsp:txXfrm>
    </dsp:sp>
    <dsp:sp modelId="{575BCF8D-E25A-4F03-ACD7-35BEF0DBD079}">
      <dsp:nvSpPr>
        <dsp:cNvPr id="0" name=""/>
        <dsp:cNvSpPr/>
      </dsp:nvSpPr>
      <dsp:spPr>
        <a:xfrm>
          <a:off x="8498401" y="1160351"/>
          <a:ext cx="1841461" cy="673738"/>
        </a:xfrm>
        <a:prstGeom prst="roundRect">
          <a:avLst/>
        </a:prstGeom>
        <a:solidFill>
          <a:srgbClr val="000000">
            <a:lumMod val="65000"/>
            <a:lumOff val="35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b="1" kern="1200" dirty="0">
              <a:solidFill>
                <a:srgbClr val="FFFFFF"/>
              </a:solidFill>
              <a:latin typeface="Arial"/>
              <a:ea typeface="阿里巴巴普惠体"/>
              <a:cs typeface="+mn-cs"/>
            </a:rPr>
            <a:t>细分模块</a:t>
          </a:r>
          <a:endParaRPr lang="en-US" sz="1800" b="1" kern="1200" dirty="0">
            <a:solidFill>
              <a:srgbClr val="FFFFFF"/>
            </a:solidFill>
            <a:latin typeface="Arial"/>
            <a:ea typeface="阿里巴巴普惠体"/>
            <a:cs typeface="+mn-cs"/>
          </a:endParaRPr>
        </a:p>
      </dsp:txBody>
      <dsp:txXfrm>
        <a:off x="8531290" y="1193240"/>
        <a:ext cx="1775683" cy="607960"/>
      </dsp:txXfrm>
    </dsp:sp>
    <dsp:sp modelId="{A21D2C43-7861-4E50-AAEB-80CE77C8DC89}">
      <dsp:nvSpPr>
        <dsp:cNvPr id="0" name=""/>
        <dsp:cNvSpPr/>
      </dsp:nvSpPr>
      <dsp:spPr>
        <a:xfrm>
          <a:off x="8958767" y="204028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8958767" y="2040287"/>
        <a:ext cx="1347476" cy="652960"/>
      </dsp:txXfrm>
    </dsp:sp>
    <dsp:sp modelId="{AB99CA82-268E-41CE-9925-BC3C5BA82527}">
      <dsp:nvSpPr>
        <dsp:cNvPr id="0" name=""/>
        <dsp:cNvSpPr/>
      </dsp:nvSpPr>
      <dsp:spPr>
        <a:xfrm>
          <a:off x="8958767" y="2976217"/>
          <a:ext cx="1347476" cy="652960"/>
        </a:xfrm>
        <a:prstGeom prst="rect">
          <a:avLst/>
        </a:prstGeom>
        <a:solidFill>
          <a:srgbClr val="FFFFFF">
            <a:lumMod val="85000"/>
          </a:srgbClr>
        </a:solidFill>
        <a:ln w="12700" cap="flat" cmpd="sng" algn="ctr">
          <a:solidFill>
            <a:srgbClr val="000000">
              <a:lumMod val="65000"/>
              <a:lumOff val="3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solidFill>
                <a:srgbClr val="000000">
                  <a:lumMod val="75000"/>
                  <a:lumOff val="25000"/>
                </a:srgbClr>
              </a:solidFill>
              <a:latin typeface="Arial"/>
              <a:ea typeface="阿里巴巴普惠体"/>
              <a:cs typeface="+mn-cs"/>
            </a:rPr>
            <a:t>具体事项</a:t>
          </a:r>
          <a:endParaRPr lang="en-US" sz="1600" kern="1200" dirty="0">
            <a:solidFill>
              <a:srgbClr val="000000">
                <a:lumMod val="75000"/>
                <a:lumOff val="25000"/>
              </a:srgbClr>
            </a:solidFill>
            <a:latin typeface="Arial"/>
            <a:ea typeface="阿里巴巴普惠体"/>
            <a:cs typeface="+mn-cs"/>
          </a:endParaRPr>
        </a:p>
      </dsp:txBody>
      <dsp:txXfrm>
        <a:off x="8958767" y="2976217"/>
        <a:ext cx="1347476" cy="6529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034242-9C94-4A59-B9DD-4A6016E5B646}">
      <dsp:nvSpPr>
        <dsp:cNvPr id="0" name=""/>
        <dsp:cNvSpPr/>
      </dsp:nvSpPr>
      <dsp:spPr>
        <a:xfrm>
          <a:off x="9271064" y="3042240"/>
          <a:ext cx="91440" cy="255096"/>
        </a:xfrm>
        <a:custGeom>
          <a:avLst/>
          <a:gdLst/>
          <a:ahLst/>
          <a:cxnLst/>
          <a:rect l="0" t="0" r="0" b="0"/>
          <a:pathLst>
            <a:path>
              <a:moveTo>
                <a:pt x="45720" y="0"/>
              </a:moveTo>
              <a:lnTo>
                <a:pt x="45720" y="255096"/>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B8D7428-BD3D-4111-B2B2-E8DDA54AE177}">
      <dsp:nvSpPr>
        <dsp:cNvPr id="0" name=""/>
        <dsp:cNvSpPr/>
      </dsp:nvSpPr>
      <dsp:spPr>
        <a:xfrm>
          <a:off x="5400142" y="1542160"/>
          <a:ext cx="3916641" cy="690250"/>
        </a:xfrm>
        <a:custGeom>
          <a:avLst/>
          <a:gdLst/>
          <a:ahLst/>
          <a:cxnLst/>
          <a:rect l="0" t="0" r="0" b="0"/>
          <a:pathLst>
            <a:path>
              <a:moveTo>
                <a:pt x="0" y="0"/>
              </a:moveTo>
              <a:lnTo>
                <a:pt x="0" y="563714"/>
              </a:lnTo>
              <a:lnTo>
                <a:pt x="3916641" y="563714"/>
              </a:lnTo>
              <a:lnTo>
                <a:pt x="3916641" y="690250"/>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2492666-C399-41E0-9532-EFFA6C1F1115}">
      <dsp:nvSpPr>
        <dsp:cNvPr id="0" name=""/>
        <dsp:cNvSpPr/>
      </dsp:nvSpPr>
      <dsp:spPr>
        <a:xfrm>
          <a:off x="5976235" y="3042240"/>
          <a:ext cx="1113516" cy="255096"/>
        </a:xfrm>
        <a:custGeom>
          <a:avLst/>
          <a:gdLst/>
          <a:ahLst/>
          <a:cxnLst/>
          <a:rect l="0" t="0" r="0" b="0"/>
          <a:pathLst>
            <a:path>
              <a:moveTo>
                <a:pt x="0" y="0"/>
              </a:moveTo>
              <a:lnTo>
                <a:pt x="0" y="128560"/>
              </a:lnTo>
              <a:lnTo>
                <a:pt x="1113516" y="128560"/>
              </a:lnTo>
              <a:lnTo>
                <a:pt x="1113516" y="255096"/>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55F1ADB-B9E9-4EA2-89B1-33680B79FBBB}">
      <dsp:nvSpPr>
        <dsp:cNvPr id="0" name=""/>
        <dsp:cNvSpPr/>
      </dsp:nvSpPr>
      <dsp:spPr>
        <a:xfrm>
          <a:off x="4862719" y="3042240"/>
          <a:ext cx="1113516" cy="255096"/>
        </a:xfrm>
        <a:custGeom>
          <a:avLst/>
          <a:gdLst/>
          <a:ahLst/>
          <a:cxnLst/>
          <a:rect l="0" t="0" r="0" b="0"/>
          <a:pathLst>
            <a:path>
              <a:moveTo>
                <a:pt x="1113516" y="0"/>
              </a:moveTo>
              <a:lnTo>
                <a:pt x="1113516" y="128560"/>
              </a:lnTo>
              <a:lnTo>
                <a:pt x="0" y="128560"/>
              </a:lnTo>
              <a:lnTo>
                <a:pt x="0" y="255096"/>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4F247C7-5545-4AAB-AD10-61C43AEC5707}">
      <dsp:nvSpPr>
        <dsp:cNvPr id="0" name=""/>
        <dsp:cNvSpPr/>
      </dsp:nvSpPr>
      <dsp:spPr>
        <a:xfrm>
          <a:off x="5400142" y="1542160"/>
          <a:ext cx="576092" cy="690250"/>
        </a:xfrm>
        <a:custGeom>
          <a:avLst/>
          <a:gdLst/>
          <a:ahLst/>
          <a:cxnLst/>
          <a:rect l="0" t="0" r="0" b="0"/>
          <a:pathLst>
            <a:path>
              <a:moveTo>
                <a:pt x="0" y="0"/>
              </a:moveTo>
              <a:lnTo>
                <a:pt x="0" y="563714"/>
              </a:lnTo>
              <a:lnTo>
                <a:pt x="576092" y="563714"/>
              </a:lnTo>
              <a:lnTo>
                <a:pt x="576092" y="690250"/>
              </a:lnTo>
            </a:path>
          </a:pathLst>
        </a:custGeom>
        <a:noFill/>
        <a:ln w="12700" cap="flat" cmpd="sng" algn="ctr">
          <a:solidFill>
            <a:schemeClr val="tx1">
              <a:lumMod val="65000"/>
              <a:lumOff val="35000"/>
            </a:schemeClr>
          </a:solidFill>
          <a:prstDash val="solid"/>
          <a:miter lim="800000"/>
        </a:ln>
        <a:effectLst/>
      </dsp:spPr>
      <dsp:style>
        <a:lnRef idx="2">
          <a:scrgbClr r="0" g="0" b="0"/>
        </a:lnRef>
        <a:fillRef idx="0">
          <a:scrgbClr r="0" g="0" b="0"/>
        </a:fillRef>
        <a:effectRef idx="0">
          <a:scrgbClr r="0" g="0" b="0"/>
        </a:effectRef>
        <a:fontRef idx="minor"/>
      </dsp:style>
    </dsp:sp>
    <dsp:sp modelId="{5B69CAF8-C2CC-41C5-B634-A8A11BA52904}">
      <dsp:nvSpPr>
        <dsp:cNvPr id="0" name=""/>
        <dsp:cNvSpPr/>
      </dsp:nvSpPr>
      <dsp:spPr>
        <a:xfrm>
          <a:off x="1522170" y="3042240"/>
          <a:ext cx="1113516" cy="255096"/>
        </a:xfrm>
        <a:custGeom>
          <a:avLst/>
          <a:gdLst/>
          <a:ahLst/>
          <a:cxnLst/>
          <a:rect l="0" t="0" r="0" b="0"/>
          <a:pathLst>
            <a:path>
              <a:moveTo>
                <a:pt x="0" y="0"/>
              </a:moveTo>
              <a:lnTo>
                <a:pt x="0" y="128560"/>
              </a:lnTo>
              <a:lnTo>
                <a:pt x="1113516" y="128560"/>
              </a:lnTo>
              <a:lnTo>
                <a:pt x="1113516" y="255096"/>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F7D1D07D-5176-4D33-A207-FBBDE1273ECA}">
      <dsp:nvSpPr>
        <dsp:cNvPr id="0" name=""/>
        <dsp:cNvSpPr/>
      </dsp:nvSpPr>
      <dsp:spPr>
        <a:xfrm>
          <a:off x="408654" y="3042240"/>
          <a:ext cx="1113516" cy="255096"/>
        </a:xfrm>
        <a:custGeom>
          <a:avLst/>
          <a:gdLst/>
          <a:ahLst/>
          <a:cxnLst/>
          <a:rect l="0" t="0" r="0" b="0"/>
          <a:pathLst>
            <a:path>
              <a:moveTo>
                <a:pt x="1113516" y="0"/>
              </a:moveTo>
              <a:lnTo>
                <a:pt x="1113516" y="128560"/>
              </a:lnTo>
              <a:lnTo>
                <a:pt x="0" y="128560"/>
              </a:lnTo>
              <a:lnTo>
                <a:pt x="0" y="255096"/>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D22345D-FD5E-40A9-B814-A346242DAD59}">
      <dsp:nvSpPr>
        <dsp:cNvPr id="0" name=""/>
        <dsp:cNvSpPr/>
      </dsp:nvSpPr>
      <dsp:spPr>
        <a:xfrm>
          <a:off x="1522170" y="1542160"/>
          <a:ext cx="3877972" cy="690250"/>
        </a:xfrm>
        <a:custGeom>
          <a:avLst/>
          <a:gdLst/>
          <a:ahLst/>
          <a:cxnLst/>
          <a:rect l="0" t="0" r="0" b="0"/>
          <a:pathLst>
            <a:path>
              <a:moveTo>
                <a:pt x="3877972" y="0"/>
              </a:moveTo>
              <a:lnTo>
                <a:pt x="3877972" y="563714"/>
              </a:lnTo>
              <a:lnTo>
                <a:pt x="0" y="563714"/>
              </a:lnTo>
              <a:lnTo>
                <a:pt x="0" y="690250"/>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7AEFA7C-25F2-4BC0-A132-C3AAC3F664D2}">
      <dsp:nvSpPr>
        <dsp:cNvPr id="0" name=""/>
        <dsp:cNvSpPr/>
      </dsp:nvSpPr>
      <dsp:spPr>
        <a:xfrm>
          <a:off x="4828581" y="399036"/>
          <a:ext cx="1143123" cy="1143123"/>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28575" cap="flat" cmpd="sng" algn="ctr">
          <a:solidFill>
            <a:schemeClr val="bg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sp>
    <dsp:sp modelId="{20867FFB-F5AD-44B2-B5EB-D494418359A5}">
      <dsp:nvSpPr>
        <dsp:cNvPr id="0" name=""/>
        <dsp:cNvSpPr/>
      </dsp:nvSpPr>
      <dsp:spPr>
        <a:xfrm>
          <a:off x="5984293" y="614257"/>
          <a:ext cx="1625377" cy="809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zh-CN" altLang="en-US" sz="1800" b="1" kern="1200" dirty="0">
              <a:solidFill>
                <a:schemeClr val="accent1"/>
              </a:solidFill>
            </a:rPr>
            <a:t>总负责人姓名</a:t>
          </a:r>
          <a:endParaRPr lang="en-US" sz="1800" b="1" kern="1200" dirty="0">
            <a:solidFill>
              <a:schemeClr val="accent1"/>
            </a:solidFill>
          </a:endParaRPr>
        </a:p>
      </dsp:txBody>
      <dsp:txXfrm>
        <a:off x="5984293" y="614257"/>
        <a:ext cx="1625377" cy="809830"/>
      </dsp:txXfrm>
    </dsp:sp>
    <dsp:sp modelId="{059F8D18-5002-4560-8E77-E5F71A7D5335}">
      <dsp:nvSpPr>
        <dsp:cNvPr id="0" name=""/>
        <dsp:cNvSpPr/>
      </dsp:nvSpPr>
      <dsp:spPr>
        <a:xfrm>
          <a:off x="1117255" y="2232410"/>
          <a:ext cx="809830" cy="809830"/>
        </a:xfrm>
        <a:prstGeom prst="ellipse">
          <a:avLst/>
        </a:prstGeom>
        <a:blipFill>
          <a:blip xmlns:r="http://schemas.openxmlformats.org/officeDocument/2006/relationships" r:embed="rId2">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2CD637-7FA0-49A0-AE6C-531FD98562FB}">
      <dsp:nvSpPr>
        <dsp:cNvPr id="0" name=""/>
        <dsp:cNvSpPr/>
      </dsp:nvSpPr>
      <dsp:spPr>
        <a:xfrm>
          <a:off x="1927085" y="2230386"/>
          <a:ext cx="1214745" cy="809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zh-CN" altLang="en-US" sz="1600" b="1" kern="1200" dirty="0">
              <a:solidFill>
                <a:schemeClr val="tx1">
                  <a:lumMod val="75000"/>
                  <a:lumOff val="25000"/>
                </a:schemeClr>
              </a:solidFill>
            </a:rPr>
            <a:t>人物姓名</a:t>
          </a:r>
          <a:endParaRPr lang="en-US" sz="1600" b="1" kern="1200" dirty="0">
            <a:solidFill>
              <a:schemeClr val="tx1">
                <a:lumMod val="75000"/>
                <a:lumOff val="25000"/>
              </a:schemeClr>
            </a:solidFill>
          </a:endParaRPr>
        </a:p>
      </dsp:txBody>
      <dsp:txXfrm>
        <a:off x="1927085" y="2230386"/>
        <a:ext cx="1214745" cy="809830"/>
      </dsp:txXfrm>
    </dsp:sp>
    <dsp:sp modelId="{D454C81C-0AE5-483B-A34C-F5C8EC0DA6FD}">
      <dsp:nvSpPr>
        <dsp:cNvPr id="0" name=""/>
        <dsp:cNvSpPr/>
      </dsp:nvSpPr>
      <dsp:spPr>
        <a:xfrm>
          <a:off x="3739" y="3297337"/>
          <a:ext cx="809830" cy="80983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787F1A-371C-4FD4-98BF-43B433B66AD3}">
      <dsp:nvSpPr>
        <dsp:cNvPr id="0" name=""/>
        <dsp:cNvSpPr/>
      </dsp:nvSpPr>
      <dsp:spPr>
        <a:xfrm>
          <a:off x="813569" y="3295312"/>
          <a:ext cx="1214745" cy="809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zh-CN" altLang="en-US" sz="1600" kern="1200" dirty="0">
              <a:solidFill>
                <a:schemeClr val="tx1">
                  <a:lumMod val="75000"/>
                  <a:lumOff val="25000"/>
                </a:schemeClr>
              </a:solidFill>
            </a:rPr>
            <a:t>人物姓名</a:t>
          </a:r>
          <a:endParaRPr lang="en-US" sz="1600" kern="1200" dirty="0">
            <a:solidFill>
              <a:schemeClr val="tx1">
                <a:lumMod val="75000"/>
                <a:lumOff val="25000"/>
              </a:schemeClr>
            </a:solidFill>
          </a:endParaRPr>
        </a:p>
      </dsp:txBody>
      <dsp:txXfrm>
        <a:off x="813569" y="3295312"/>
        <a:ext cx="1214745" cy="809830"/>
      </dsp:txXfrm>
    </dsp:sp>
    <dsp:sp modelId="{03CA0F6B-91BD-467D-8909-B80FB94263E1}">
      <dsp:nvSpPr>
        <dsp:cNvPr id="0" name=""/>
        <dsp:cNvSpPr/>
      </dsp:nvSpPr>
      <dsp:spPr>
        <a:xfrm>
          <a:off x="2230771" y="3297337"/>
          <a:ext cx="809830" cy="80983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DC5FBF-40E0-48D0-BF06-3239CECFC907}">
      <dsp:nvSpPr>
        <dsp:cNvPr id="0" name=""/>
        <dsp:cNvSpPr/>
      </dsp:nvSpPr>
      <dsp:spPr>
        <a:xfrm>
          <a:off x="3040601" y="3295312"/>
          <a:ext cx="1214745" cy="809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zh-CN" altLang="en-US" sz="1600" kern="1200" dirty="0">
              <a:solidFill>
                <a:schemeClr val="tx1">
                  <a:lumMod val="75000"/>
                  <a:lumOff val="25000"/>
                </a:schemeClr>
              </a:solidFill>
            </a:rPr>
            <a:t>人物姓名</a:t>
          </a:r>
          <a:endParaRPr lang="en-US" sz="1600" kern="1200" dirty="0">
            <a:solidFill>
              <a:schemeClr val="tx1">
                <a:lumMod val="75000"/>
                <a:lumOff val="25000"/>
              </a:schemeClr>
            </a:solidFill>
          </a:endParaRPr>
        </a:p>
      </dsp:txBody>
      <dsp:txXfrm>
        <a:off x="3040601" y="3295312"/>
        <a:ext cx="1214745" cy="809830"/>
      </dsp:txXfrm>
    </dsp:sp>
    <dsp:sp modelId="{C48774B3-7759-4E26-9F45-1669631C119A}">
      <dsp:nvSpPr>
        <dsp:cNvPr id="0" name=""/>
        <dsp:cNvSpPr/>
      </dsp:nvSpPr>
      <dsp:spPr>
        <a:xfrm>
          <a:off x="5571320" y="2232410"/>
          <a:ext cx="809830" cy="80983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91420B-CDB2-49C9-9BCE-D49CFD713190}">
      <dsp:nvSpPr>
        <dsp:cNvPr id="0" name=""/>
        <dsp:cNvSpPr/>
      </dsp:nvSpPr>
      <dsp:spPr>
        <a:xfrm>
          <a:off x="6381150" y="2230386"/>
          <a:ext cx="1214745" cy="809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zh-CN" altLang="en-US" sz="1600" b="1" kern="1200" dirty="0">
              <a:solidFill>
                <a:schemeClr val="tx1">
                  <a:lumMod val="75000"/>
                  <a:lumOff val="25000"/>
                </a:schemeClr>
              </a:solidFill>
            </a:rPr>
            <a:t>人物姓名</a:t>
          </a:r>
          <a:endParaRPr lang="en-US" sz="1600" b="1" kern="1200" dirty="0">
            <a:solidFill>
              <a:schemeClr val="tx1">
                <a:lumMod val="75000"/>
                <a:lumOff val="25000"/>
              </a:schemeClr>
            </a:solidFill>
          </a:endParaRPr>
        </a:p>
      </dsp:txBody>
      <dsp:txXfrm>
        <a:off x="6381150" y="2230386"/>
        <a:ext cx="1214745" cy="809830"/>
      </dsp:txXfrm>
    </dsp:sp>
    <dsp:sp modelId="{880428E6-ACEE-4BBE-8EED-D6E7348E4041}">
      <dsp:nvSpPr>
        <dsp:cNvPr id="0" name=""/>
        <dsp:cNvSpPr/>
      </dsp:nvSpPr>
      <dsp:spPr>
        <a:xfrm>
          <a:off x="4457804" y="3297337"/>
          <a:ext cx="809830" cy="80983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9137B6-B865-4F7E-A3AD-F32B85915821}">
      <dsp:nvSpPr>
        <dsp:cNvPr id="0" name=""/>
        <dsp:cNvSpPr/>
      </dsp:nvSpPr>
      <dsp:spPr>
        <a:xfrm>
          <a:off x="5267634" y="3295312"/>
          <a:ext cx="1214745" cy="809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zh-CN" altLang="en-US" sz="1600" kern="1200">
              <a:solidFill>
                <a:schemeClr val="tx1">
                  <a:lumMod val="75000"/>
                  <a:lumOff val="25000"/>
                </a:schemeClr>
              </a:solidFill>
            </a:rPr>
            <a:t>人物姓名</a:t>
          </a:r>
          <a:endParaRPr lang="en-US" sz="1600" kern="1200" dirty="0">
            <a:solidFill>
              <a:schemeClr val="tx1">
                <a:lumMod val="75000"/>
                <a:lumOff val="25000"/>
              </a:schemeClr>
            </a:solidFill>
          </a:endParaRPr>
        </a:p>
      </dsp:txBody>
      <dsp:txXfrm>
        <a:off x="5267634" y="3295312"/>
        <a:ext cx="1214745" cy="809830"/>
      </dsp:txXfrm>
    </dsp:sp>
    <dsp:sp modelId="{5BBA1906-7AA2-45C8-AD2C-BC5A27B9ACA0}">
      <dsp:nvSpPr>
        <dsp:cNvPr id="0" name=""/>
        <dsp:cNvSpPr/>
      </dsp:nvSpPr>
      <dsp:spPr>
        <a:xfrm>
          <a:off x="6684837" y="3297337"/>
          <a:ext cx="809830" cy="80983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A2180E-27E3-4F91-B4A4-7BEF023E60D3}">
      <dsp:nvSpPr>
        <dsp:cNvPr id="0" name=""/>
        <dsp:cNvSpPr/>
      </dsp:nvSpPr>
      <dsp:spPr>
        <a:xfrm>
          <a:off x="7494667" y="3295312"/>
          <a:ext cx="1214745" cy="809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zh-CN" altLang="en-US" sz="1600" kern="1200">
              <a:solidFill>
                <a:schemeClr val="tx1">
                  <a:lumMod val="75000"/>
                  <a:lumOff val="25000"/>
                </a:schemeClr>
              </a:solidFill>
            </a:rPr>
            <a:t>人物姓名</a:t>
          </a:r>
          <a:endParaRPr lang="en-US" sz="1600" kern="1200" dirty="0">
            <a:solidFill>
              <a:schemeClr val="tx1">
                <a:lumMod val="75000"/>
                <a:lumOff val="25000"/>
              </a:schemeClr>
            </a:solidFill>
          </a:endParaRPr>
        </a:p>
      </dsp:txBody>
      <dsp:txXfrm>
        <a:off x="7494667" y="3295312"/>
        <a:ext cx="1214745" cy="809830"/>
      </dsp:txXfrm>
    </dsp:sp>
    <dsp:sp modelId="{E7AAFC44-1147-4217-8BC5-90B89E891B6E}">
      <dsp:nvSpPr>
        <dsp:cNvPr id="0" name=""/>
        <dsp:cNvSpPr/>
      </dsp:nvSpPr>
      <dsp:spPr>
        <a:xfrm>
          <a:off x="8911869" y="2232410"/>
          <a:ext cx="809830" cy="80983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1943FA-E7A6-4508-942C-65E0F60FAC0D}">
      <dsp:nvSpPr>
        <dsp:cNvPr id="0" name=""/>
        <dsp:cNvSpPr/>
      </dsp:nvSpPr>
      <dsp:spPr>
        <a:xfrm>
          <a:off x="9721699" y="2230386"/>
          <a:ext cx="1214745" cy="809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zh-CN" altLang="en-US" sz="1600" b="1" kern="1200">
              <a:solidFill>
                <a:schemeClr val="tx1">
                  <a:lumMod val="75000"/>
                  <a:lumOff val="25000"/>
                </a:schemeClr>
              </a:solidFill>
            </a:rPr>
            <a:t>人物姓名</a:t>
          </a:r>
          <a:endParaRPr lang="en-US" sz="1600" b="1" kern="1200" dirty="0">
            <a:solidFill>
              <a:schemeClr val="tx1">
                <a:lumMod val="75000"/>
                <a:lumOff val="25000"/>
              </a:schemeClr>
            </a:solidFill>
          </a:endParaRPr>
        </a:p>
      </dsp:txBody>
      <dsp:txXfrm>
        <a:off x="9721699" y="2230386"/>
        <a:ext cx="1214745" cy="809830"/>
      </dsp:txXfrm>
    </dsp:sp>
    <dsp:sp modelId="{F54DDB5D-EA35-4E02-A40F-02489CECF78C}">
      <dsp:nvSpPr>
        <dsp:cNvPr id="0" name=""/>
        <dsp:cNvSpPr/>
      </dsp:nvSpPr>
      <dsp:spPr>
        <a:xfrm>
          <a:off x="8911869" y="3297337"/>
          <a:ext cx="809830" cy="809830"/>
        </a:xfrm>
        <a:prstGeom prst="ellipse">
          <a:avLst/>
        </a:prstGeom>
        <a:blipFill>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560765-399D-4642-BCE4-C85F8875EB08}">
      <dsp:nvSpPr>
        <dsp:cNvPr id="0" name=""/>
        <dsp:cNvSpPr/>
      </dsp:nvSpPr>
      <dsp:spPr>
        <a:xfrm>
          <a:off x="9721699" y="3295312"/>
          <a:ext cx="1214745" cy="809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zh-CN" altLang="en-US" sz="1600" kern="1200" dirty="0">
              <a:solidFill>
                <a:schemeClr val="tx1">
                  <a:lumMod val="75000"/>
                  <a:lumOff val="25000"/>
                </a:schemeClr>
              </a:solidFill>
            </a:rPr>
            <a:t>人物姓名</a:t>
          </a:r>
          <a:endParaRPr lang="en-US" sz="1600" kern="1200" dirty="0">
            <a:solidFill>
              <a:schemeClr val="tx1">
                <a:lumMod val="75000"/>
                <a:lumOff val="25000"/>
              </a:schemeClr>
            </a:solidFill>
          </a:endParaRPr>
        </a:p>
      </dsp:txBody>
      <dsp:txXfrm>
        <a:off x="9721699" y="3295312"/>
        <a:ext cx="1214745" cy="8098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C2EE99-371E-4F1A-807A-029A35F391DD}">
      <dsp:nvSpPr>
        <dsp:cNvPr id="0" name=""/>
        <dsp:cNvSpPr/>
      </dsp:nvSpPr>
      <dsp:spPr>
        <a:xfrm>
          <a:off x="487911" y="325233"/>
          <a:ext cx="1562837" cy="524903"/>
        </a:xfrm>
        <a:prstGeom prst="roundRect">
          <a:avLst>
            <a:gd name="adj" fmla="val 10000"/>
          </a:avLst>
        </a:prstGeom>
        <a:solidFill>
          <a:schemeClr val="accent1"/>
        </a:solidFill>
        <a:ln w="12700" cap="flat" cmpd="sng" algn="ctr">
          <a:solidFill>
            <a:schemeClr val="accent1">
              <a:shade val="50000"/>
            </a:schemeClr>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ctr" defTabSz="457200" rtl="0" eaLnBrk="1" latinLnBrk="0" hangingPunct="1">
            <a:lnSpc>
              <a:spcPct val="90000"/>
            </a:lnSpc>
            <a:spcBef>
              <a:spcPct val="0"/>
            </a:spcBef>
            <a:spcAft>
              <a:spcPct val="35000"/>
            </a:spcAft>
            <a:buNone/>
          </a:pPr>
          <a:r>
            <a:rPr lang="zh-CN" altLang="en-US" sz="2000" b="1" kern="1200" dirty="0">
              <a:solidFill>
                <a:srgbClr val="FFFFFF"/>
              </a:solidFill>
              <a:latin typeface="Arial"/>
              <a:ea typeface="阿里巴巴普惠体"/>
              <a:cs typeface="阿里巴巴普惠体"/>
            </a:rPr>
            <a:t>优点</a:t>
          </a:r>
          <a:endParaRPr lang="en-US" sz="2000" b="1" kern="1200" dirty="0">
            <a:solidFill>
              <a:srgbClr val="FFFFFF"/>
            </a:solidFill>
            <a:latin typeface="Arial"/>
            <a:ea typeface="阿里巴巴普惠体"/>
            <a:cs typeface="阿里巴巴普惠体"/>
          </a:endParaRPr>
        </a:p>
      </dsp:txBody>
      <dsp:txXfrm>
        <a:off x="503285" y="340607"/>
        <a:ext cx="1532089" cy="494155"/>
      </dsp:txXfrm>
    </dsp:sp>
    <dsp:sp modelId="{0FE63CE4-FD02-4071-B95F-59CB1935C54B}">
      <dsp:nvSpPr>
        <dsp:cNvPr id="0" name=""/>
        <dsp:cNvSpPr/>
      </dsp:nvSpPr>
      <dsp:spPr>
        <a:xfrm>
          <a:off x="2361106" y="302767"/>
          <a:ext cx="1562837" cy="524903"/>
        </a:xfrm>
        <a:prstGeom prst="roundRect">
          <a:avLst>
            <a:gd name="adj" fmla="val 10000"/>
          </a:avLst>
        </a:prstGeom>
        <a:solidFill>
          <a:schemeClr val="tx1">
            <a:lumMod val="65000"/>
            <a:lumOff val="35000"/>
          </a:schemeClr>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ctr" defTabSz="457200" rtl="0" eaLnBrk="1" latinLnBrk="0" hangingPunct="1">
            <a:lnSpc>
              <a:spcPct val="90000"/>
            </a:lnSpc>
            <a:spcBef>
              <a:spcPct val="0"/>
            </a:spcBef>
            <a:spcAft>
              <a:spcPct val="35000"/>
            </a:spcAft>
            <a:buNone/>
          </a:pPr>
          <a:r>
            <a:rPr lang="zh-CN" altLang="en-US" sz="2000" b="1" kern="1200" dirty="0">
              <a:solidFill>
                <a:srgbClr val="FFFFFF"/>
              </a:solidFill>
              <a:latin typeface="Arial"/>
              <a:ea typeface="阿里巴巴普惠体"/>
              <a:cs typeface="阿里巴巴普惠体"/>
            </a:rPr>
            <a:t>缺点</a:t>
          </a:r>
          <a:endParaRPr lang="en-US" sz="2000" b="1" kern="1200" dirty="0">
            <a:solidFill>
              <a:srgbClr val="FFFFFF"/>
            </a:solidFill>
            <a:latin typeface="Arial"/>
            <a:ea typeface="阿里巴巴普惠体"/>
            <a:cs typeface="阿里巴巴普惠体"/>
          </a:endParaRPr>
        </a:p>
      </dsp:txBody>
      <dsp:txXfrm>
        <a:off x="2376480" y="318141"/>
        <a:ext cx="1532089" cy="494155"/>
      </dsp:txXfrm>
    </dsp:sp>
    <dsp:sp modelId="{F187B7D2-17DA-4655-A2D1-E2DE192D89D9}">
      <dsp:nvSpPr>
        <dsp:cNvPr id="0" name=""/>
        <dsp:cNvSpPr/>
      </dsp:nvSpPr>
      <dsp:spPr>
        <a:xfrm>
          <a:off x="1827877" y="3012015"/>
          <a:ext cx="526884" cy="526884"/>
        </a:xfrm>
        <a:prstGeom prst="triangle">
          <a:avLst/>
        </a:prstGeom>
        <a:solidFill>
          <a:schemeClr val="bg1">
            <a:lumMod val="85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F63F04-2CBB-45EA-86F9-91A873502857}">
      <dsp:nvSpPr>
        <dsp:cNvPr id="0" name=""/>
        <dsp:cNvSpPr/>
      </dsp:nvSpPr>
      <dsp:spPr>
        <a:xfrm rot="240000">
          <a:off x="510183" y="2786239"/>
          <a:ext cx="3162274" cy="221127"/>
        </a:xfrm>
        <a:prstGeom prst="rect">
          <a:avLst/>
        </a:prstGeom>
        <a:solidFill>
          <a:schemeClr val="bg1">
            <a:lumMod val="85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04C5EFF-4AB3-4B17-A92A-68F4D480CFA0}">
      <dsp:nvSpPr>
        <dsp:cNvPr id="0" name=""/>
        <dsp:cNvSpPr/>
      </dsp:nvSpPr>
      <dsp:spPr>
        <a:xfrm rot="240000">
          <a:off x="2213136" y="2358760"/>
          <a:ext cx="1616581" cy="446782"/>
        </a:xfrm>
        <a:prstGeom prst="roundRect">
          <a:avLst/>
        </a:prstGeom>
        <a:solidFill>
          <a:schemeClr val="tx1">
            <a:lumMod val="65000"/>
            <a:lumOff val="3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457200" rtl="0" eaLnBrk="1" latinLnBrk="0" hangingPunct="1">
            <a:lnSpc>
              <a:spcPct val="90000"/>
            </a:lnSpc>
            <a:spcBef>
              <a:spcPct val="0"/>
            </a:spcBef>
            <a:spcAft>
              <a:spcPct val="35000"/>
            </a:spcAft>
            <a:buNone/>
          </a:pPr>
          <a:endParaRPr lang="en-US" sz="1800" kern="1200" dirty="0">
            <a:solidFill>
              <a:srgbClr val="595959"/>
            </a:solidFill>
            <a:latin typeface="Arial"/>
            <a:ea typeface="阿里巴巴普惠体"/>
            <a:cs typeface="阿里巴巴普惠体"/>
          </a:endParaRPr>
        </a:p>
      </dsp:txBody>
      <dsp:txXfrm>
        <a:off x="2234946" y="2380570"/>
        <a:ext cx="1572961" cy="403162"/>
      </dsp:txXfrm>
    </dsp:sp>
    <dsp:sp modelId="{0A014FC8-D82C-4255-9787-EDFEBA580479}">
      <dsp:nvSpPr>
        <dsp:cNvPr id="0" name=""/>
        <dsp:cNvSpPr/>
      </dsp:nvSpPr>
      <dsp:spPr>
        <a:xfrm rot="240000">
          <a:off x="2240513" y="1860606"/>
          <a:ext cx="1616581" cy="446782"/>
        </a:xfrm>
        <a:prstGeom prst="roundRect">
          <a:avLst/>
        </a:prstGeom>
        <a:solidFill>
          <a:schemeClr val="tx1">
            <a:lumMod val="65000"/>
            <a:lumOff val="35000"/>
          </a:schemeClr>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ctr" defTabSz="457200" rtl="0" eaLnBrk="1" latinLnBrk="0" hangingPunct="1">
            <a:lnSpc>
              <a:spcPct val="90000"/>
            </a:lnSpc>
            <a:spcBef>
              <a:spcPct val="0"/>
            </a:spcBef>
            <a:spcAft>
              <a:spcPct val="35000"/>
            </a:spcAft>
            <a:buNone/>
          </a:pPr>
          <a:endParaRPr lang="en-US" sz="1800" kern="1200" dirty="0">
            <a:solidFill>
              <a:srgbClr val="FFFFFF"/>
            </a:solidFill>
            <a:latin typeface="Arial"/>
            <a:ea typeface="阿里巴巴普惠体"/>
            <a:cs typeface="阿里巴巴普惠体"/>
          </a:endParaRPr>
        </a:p>
      </dsp:txBody>
      <dsp:txXfrm>
        <a:off x="2262323" y="1882416"/>
        <a:ext cx="1572961" cy="403162"/>
      </dsp:txXfrm>
    </dsp:sp>
    <dsp:sp modelId="{D7C56E1E-A29F-486F-82BC-2324CD559A49}">
      <dsp:nvSpPr>
        <dsp:cNvPr id="0" name=""/>
        <dsp:cNvSpPr/>
      </dsp:nvSpPr>
      <dsp:spPr>
        <a:xfrm rot="240000">
          <a:off x="2280081" y="1346024"/>
          <a:ext cx="1616581" cy="446782"/>
        </a:xfrm>
        <a:prstGeom prst="roundRect">
          <a:avLst/>
        </a:prstGeom>
        <a:solidFill>
          <a:schemeClr val="tx1">
            <a:lumMod val="65000"/>
            <a:lumOff val="35000"/>
          </a:schemeClr>
        </a:solidFill>
        <a:ln w="762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ctr" defTabSz="457200" rtl="0" eaLnBrk="1" latinLnBrk="0" hangingPunct="1">
            <a:lnSpc>
              <a:spcPct val="90000"/>
            </a:lnSpc>
            <a:spcBef>
              <a:spcPct val="0"/>
            </a:spcBef>
            <a:spcAft>
              <a:spcPct val="35000"/>
            </a:spcAft>
            <a:buNone/>
          </a:pPr>
          <a:endParaRPr lang="en-US" sz="1800" kern="1200" dirty="0">
            <a:solidFill>
              <a:schemeClr val="lt1"/>
            </a:solidFill>
            <a:latin typeface="+mn-lt"/>
            <a:ea typeface="+mn-ea"/>
            <a:cs typeface="+mn-ea"/>
          </a:endParaRPr>
        </a:p>
      </dsp:txBody>
      <dsp:txXfrm>
        <a:off x="2301891" y="1367834"/>
        <a:ext cx="1572961" cy="403162"/>
      </dsp:txXfrm>
    </dsp:sp>
    <dsp:sp modelId="{99F05BAD-21FE-45FE-9462-8DB6254E8002}">
      <dsp:nvSpPr>
        <dsp:cNvPr id="0" name=""/>
        <dsp:cNvSpPr/>
      </dsp:nvSpPr>
      <dsp:spPr>
        <a:xfrm rot="240000">
          <a:off x="404165" y="2232308"/>
          <a:ext cx="1616581" cy="446782"/>
        </a:xfrm>
        <a:prstGeom prst="roundRect">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457200" rtl="0" eaLnBrk="1" latinLnBrk="0" hangingPunct="1">
            <a:lnSpc>
              <a:spcPct val="90000"/>
            </a:lnSpc>
            <a:spcBef>
              <a:spcPct val="0"/>
            </a:spcBef>
            <a:spcAft>
              <a:spcPct val="35000"/>
            </a:spcAft>
            <a:buNone/>
          </a:pPr>
          <a:endParaRPr lang="en-US" sz="1800" kern="1200" dirty="0">
            <a:solidFill>
              <a:schemeClr val="accent1"/>
            </a:solidFill>
            <a:latin typeface="+mn-lt"/>
            <a:ea typeface="+mn-ea"/>
            <a:cs typeface="+mn-ea"/>
          </a:endParaRPr>
        </a:p>
      </dsp:txBody>
      <dsp:txXfrm>
        <a:off x="425975" y="2254118"/>
        <a:ext cx="1572961" cy="403162"/>
      </dsp:txXfrm>
    </dsp:sp>
    <dsp:sp modelId="{70942332-D3C7-4623-986A-AA3BD3F805BA}">
      <dsp:nvSpPr>
        <dsp:cNvPr id="0" name=""/>
        <dsp:cNvSpPr/>
      </dsp:nvSpPr>
      <dsp:spPr>
        <a:xfrm rot="240000">
          <a:off x="431542" y="1734153"/>
          <a:ext cx="1616581" cy="446782"/>
        </a:xfrm>
        <a:prstGeom prst="roundRect">
          <a:avLst/>
        </a:prstGeom>
        <a:solidFill>
          <a:schemeClr val="accent1"/>
        </a:solidFill>
        <a:ln w="762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ctr" defTabSz="457200" rtl="0" eaLnBrk="1" latinLnBrk="0" hangingPunct="1">
            <a:lnSpc>
              <a:spcPct val="90000"/>
            </a:lnSpc>
            <a:spcBef>
              <a:spcPct val="0"/>
            </a:spcBef>
            <a:spcAft>
              <a:spcPct val="35000"/>
            </a:spcAft>
            <a:buNone/>
          </a:pPr>
          <a:endParaRPr lang="en-US" sz="1800" kern="1200" dirty="0">
            <a:solidFill>
              <a:schemeClr val="lt1"/>
            </a:solidFill>
            <a:latin typeface="+mn-lt"/>
            <a:ea typeface="+mn-ea"/>
            <a:cs typeface="+mn-ea"/>
          </a:endParaRPr>
        </a:p>
      </dsp:txBody>
      <dsp:txXfrm>
        <a:off x="453352" y="1755963"/>
        <a:ext cx="1572961" cy="40316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CEC437-F183-4697-9691-4AC6978CFD42}">
      <dsp:nvSpPr>
        <dsp:cNvPr id="0" name=""/>
        <dsp:cNvSpPr/>
      </dsp:nvSpPr>
      <dsp:spPr>
        <a:xfrm>
          <a:off x="1857586" y="0"/>
          <a:ext cx="1857586" cy="1647119"/>
        </a:xfrm>
        <a:prstGeom prst="trapezoid">
          <a:avLst>
            <a:gd name="adj" fmla="val 56389"/>
          </a:avLst>
        </a:prstGeom>
        <a:gradFill flip="none" rotWithShape="1">
          <a:gsLst>
            <a:gs pos="0">
              <a:schemeClr val="accent1"/>
            </a:gs>
            <a:gs pos="100000">
              <a:schemeClr val="accent1">
                <a:lumMod val="75000"/>
              </a:schemeClr>
            </a:gs>
          </a:gsLst>
          <a:lin ang="5400000" scaled="1"/>
          <a:tileRect/>
        </a:gradFill>
        <a:ln w="34925"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216000" numCol="1" spcCol="1270" anchor="b" anchorCtr="0">
          <a:noAutofit/>
        </a:bodyPr>
        <a:lstStyle/>
        <a:p>
          <a:pPr marL="0" lvl="0" indent="0" algn="ctr" defTabSz="1066800">
            <a:lnSpc>
              <a:spcPct val="100000"/>
            </a:lnSpc>
            <a:spcBef>
              <a:spcPct val="0"/>
            </a:spcBef>
            <a:spcAft>
              <a:spcPts val="0"/>
            </a:spcAft>
            <a:buNone/>
          </a:pPr>
          <a:r>
            <a:rPr lang="zh-CN" altLang="en-US" sz="2400" b="1" kern="1200" dirty="0">
              <a:solidFill>
                <a:schemeClr val="bg1"/>
              </a:solidFill>
              <a:effectLst>
                <a:outerShdw blurRad="38100" dist="38100" dir="2700000" algn="tl">
                  <a:srgbClr val="000000">
                    <a:alpha val="43137"/>
                  </a:srgbClr>
                </a:outerShdw>
              </a:effectLst>
            </a:rPr>
            <a:t>高层技术</a:t>
          </a:r>
          <a:endParaRPr lang="en-US" sz="2400" b="1" kern="1200" dirty="0">
            <a:solidFill>
              <a:schemeClr val="bg1"/>
            </a:solidFill>
            <a:effectLst>
              <a:outerShdw blurRad="38100" dist="38100" dir="2700000" algn="tl">
                <a:srgbClr val="000000">
                  <a:alpha val="43137"/>
                </a:srgbClr>
              </a:outerShdw>
            </a:effectLst>
          </a:endParaRPr>
        </a:p>
      </dsp:txBody>
      <dsp:txXfrm>
        <a:off x="1857586" y="0"/>
        <a:ext cx="1857586" cy="1647119"/>
      </dsp:txXfrm>
    </dsp:sp>
    <dsp:sp modelId="{E2A4D9B6-4072-4700-A431-A99D2CBCB8F0}">
      <dsp:nvSpPr>
        <dsp:cNvPr id="0" name=""/>
        <dsp:cNvSpPr/>
      </dsp:nvSpPr>
      <dsp:spPr>
        <a:xfrm>
          <a:off x="928793" y="1647119"/>
          <a:ext cx="3715173" cy="1647119"/>
        </a:xfrm>
        <a:prstGeom prst="trapezoid">
          <a:avLst>
            <a:gd name="adj" fmla="val 56389"/>
          </a:avLst>
        </a:prstGeom>
        <a:gradFill flip="none" rotWithShape="1">
          <a:gsLst>
            <a:gs pos="0">
              <a:schemeClr val="tx1">
                <a:lumMod val="50000"/>
                <a:lumOff val="50000"/>
              </a:schemeClr>
            </a:gs>
            <a:gs pos="100000">
              <a:schemeClr val="bg1">
                <a:lumMod val="65000"/>
              </a:schemeClr>
            </a:gs>
          </a:gsLst>
          <a:lin ang="16200000" scaled="1"/>
          <a:tileRect/>
        </a:gradFill>
        <a:ln w="34925"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100000"/>
            </a:lnSpc>
            <a:spcBef>
              <a:spcPct val="0"/>
            </a:spcBef>
            <a:spcAft>
              <a:spcPts val="0"/>
            </a:spcAft>
            <a:buNone/>
          </a:pPr>
          <a:r>
            <a:rPr lang="zh-CN" altLang="en-US" sz="2400" b="1" kern="1200" dirty="0">
              <a:solidFill>
                <a:srgbClr val="FFFFFF"/>
              </a:solidFill>
              <a:effectLst>
                <a:outerShdw blurRad="38100" dist="38100" dir="2700000" algn="tl">
                  <a:srgbClr val="000000">
                    <a:alpha val="43137"/>
                  </a:srgbClr>
                </a:outerShdw>
              </a:effectLst>
              <a:latin typeface="Arial"/>
              <a:ea typeface="阿里巴巴普惠体"/>
              <a:cs typeface="+mn-cs"/>
            </a:rPr>
            <a:t>中层技术</a:t>
          </a:r>
          <a:endParaRPr lang="en-US" sz="2400" b="1" kern="1200" dirty="0">
            <a:solidFill>
              <a:srgbClr val="FFFFFF"/>
            </a:solidFill>
            <a:effectLst>
              <a:outerShdw blurRad="38100" dist="38100" dir="2700000" algn="tl">
                <a:srgbClr val="000000">
                  <a:alpha val="43137"/>
                </a:srgbClr>
              </a:outerShdw>
            </a:effectLst>
            <a:latin typeface="Arial"/>
            <a:ea typeface="阿里巴巴普惠体"/>
            <a:cs typeface="+mn-cs"/>
          </a:endParaRPr>
        </a:p>
      </dsp:txBody>
      <dsp:txXfrm>
        <a:off x="1578948" y="1647119"/>
        <a:ext cx="2414862" cy="1647119"/>
      </dsp:txXfrm>
    </dsp:sp>
    <dsp:sp modelId="{D1D5FAB4-1D9E-492C-A7CB-5F7A91F27EBB}">
      <dsp:nvSpPr>
        <dsp:cNvPr id="0" name=""/>
        <dsp:cNvSpPr/>
      </dsp:nvSpPr>
      <dsp:spPr>
        <a:xfrm>
          <a:off x="0" y="3294238"/>
          <a:ext cx="5572760" cy="1647119"/>
        </a:xfrm>
        <a:prstGeom prst="trapezoid">
          <a:avLst>
            <a:gd name="adj" fmla="val 56389"/>
          </a:avLst>
        </a:prstGeom>
        <a:gradFill flip="none" rotWithShape="1">
          <a:gsLst>
            <a:gs pos="0">
              <a:srgbClr val="000000">
                <a:lumMod val="50000"/>
                <a:lumOff val="50000"/>
              </a:srgbClr>
            </a:gs>
            <a:gs pos="100000">
              <a:srgbClr val="FFFFFF">
                <a:lumMod val="65000"/>
              </a:srgbClr>
            </a:gs>
          </a:gsLst>
          <a:lin ang="16200000" scaled="1"/>
          <a:tileRect/>
        </a:gradFill>
        <a:ln w="34925"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100000"/>
            </a:lnSpc>
            <a:spcBef>
              <a:spcPct val="0"/>
            </a:spcBef>
            <a:spcAft>
              <a:spcPts val="0"/>
            </a:spcAft>
            <a:buNone/>
          </a:pPr>
          <a:r>
            <a:rPr lang="zh-CN" altLang="en-US" sz="2400" b="1" kern="1200" dirty="0">
              <a:solidFill>
                <a:srgbClr val="FFFFFF"/>
              </a:solidFill>
              <a:effectLst>
                <a:outerShdw blurRad="38100" dist="38100" dir="2700000" algn="tl">
                  <a:srgbClr val="000000">
                    <a:alpha val="43137"/>
                  </a:srgbClr>
                </a:outerShdw>
              </a:effectLst>
              <a:latin typeface="Arial"/>
              <a:ea typeface="阿里巴巴普惠体"/>
              <a:cs typeface="+mn-cs"/>
            </a:rPr>
            <a:t>底层技术</a:t>
          </a:r>
          <a:endParaRPr lang="en-US" sz="2400" b="1" kern="1200" dirty="0">
            <a:solidFill>
              <a:srgbClr val="FFFFFF"/>
            </a:solidFill>
            <a:effectLst>
              <a:outerShdw blurRad="38100" dist="38100" dir="2700000" algn="tl">
                <a:srgbClr val="000000">
                  <a:alpha val="43137"/>
                </a:srgbClr>
              </a:outerShdw>
            </a:effectLst>
            <a:latin typeface="Arial"/>
            <a:ea typeface="阿里巴巴普惠体"/>
            <a:cs typeface="+mn-cs"/>
          </a:endParaRPr>
        </a:p>
      </dsp:txBody>
      <dsp:txXfrm>
        <a:off x="975232" y="3294238"/>
        <a:ext cx="3622294" cy="16471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166358-D4A6-4BD4-8750-A32124274E36}">
      <dsp:nvSpPr>
        <dsp:cNvPr id="0" name=""/>
        <dsp:cNvSpPr/>
      </dsp:nvSpPr>
      <dsp:spPr>
        <a:xfrm>
          <a:off x="3043849" y="-30319"/>
          <a:ext cx="947845" cy="94784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kumimoji="0" lang="en-US" altLang="zh-CN" sz="1600" b="1" i="0" u="none" strike="noStrike" kern="1200" cap="none" spc="0" normalizeH="0" noProof="0" dirty="0">
              <a:ln>
                <a:noFill/>
              </a:ln>
              <a:solidFill>
                <a:prstClr val="white"/>
              </a:solidFill>
              <a:effectLst/>
              <a:uLnTx/>
              <a:uFillTx/>
              <a:cs typeface="Arial" panose="020B0604020202020204" pitchFamily="34" charset="0"/>
            </a:rPr>
            <a:t>20</a:t>
          </a:r>
          <a:r>
            <a:rPr kumimoji="0" lang="en-US" sz="1600" b="1" i="0" u="none" strike="noStrike" kern="1200" cap="none" spc="0" normalizeH="0" noProof="0" dirty="0">
              <a:ln>
                <a:noFill/>
              </a:ln>
              <a:solidFill>
                <a:prstClr val="white"/>
              </a:solidFill>
              <a:effectLst/>
              <a:uLnTx/>
              <a:uFillTx/>
              <a:cs typeface="Arial" panose="020B0604020202020204" pitchFamily="34" charset="0"/>
            </a:rPr>
            <a:t>%</a:t>
          </a:r>
          <a:endParaRPr lang="en-US" sz="1600" kern="1200" dirty="0"/>
        </a:p>
      </dsp:txBody>
      <dsp:txXfrm>
        <a:off x="3182658" y="108490"/>
        <a:ext cx="670227" cy="670227"/>
      </dsp:txXfrm>
    </dsp:sp>
    <dsp:sp modelId="{2F37F4D0-CC6E-4884-A725-63E3F934C558}">
      <dsp:nvSpPr>
        <dsp:cNvPr id="0" name=""/>
        <dsp:cNvSpPr/>
      </dsp:nvSpPr>
      <dsp:spPr>
        <a:xfrm rot="830769">
          <a:off x="4009049" y="464491"/>
          <a:ext cx="80114"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009398" y="505644"/>
        <a:ext cx="56080" cy="132089"/>
      </dsp:txXfrm>
    </dsp:sp>
    <dsp:sp modelId="{49AE8DEC-10EE-4436-AA28-EEEC56B6DFB1}">
      <dsp:nvSpPr>
        <dsp:cNvPr id="0" name=""/>
        <dsp:cNvSpPr/>
      </dsp:nvSpPr>
      <dsp:spPr>
        <a:xfrm>
          <a:off x="4114397" y="323714"/>
          <a:ext cx="708521" cy="70852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kumimoji="0" lang="en-US" altLang="zh-CN" sz="1600" b="1" i="0" u="none" strike="noStrike" kern="1200" cap="none" spc="0" normalizeH="0" noProof="0" dirty="0">
              <a:ln>
                <a:noFill/>
              </a:ln>
              <a:solidFill>
                <a:prstClr val="white"/>
              </a:solidFill>
              <a:effectLst/>
              <a:uLnTx/>
              <a:uFillTx/>
              <a:cs typeface="Arial" panose="020B0604020202020204" pitchFamily="34" charset="0"/>
            </a:rPr>
            <a:t>17</a:t>
          </a:r>
          <a:r>
            <a:rPr kumimoji="0" lang="en-US" sz="1600" b="1" i="0" u="none" strike="noStrike" kern="1200" cap="none" spc="0" normalizeH="0" noProof="0" dirty="0">
              <a:ln>
                <a:noFill/>
              </a:ln>
              <a:solidFill>
                <a:prstClr val="white"/>
              </a:solidFill>
              <a:effectLst/>
              <a:uLnTx/>
              <a:uFillTx/>
              <a:cs typeface="Arial" panose="020B0604020202020204" pitchFamily="34" charset="0"/>
            </a:rPr>
            <a:t>%</a:t>
          </a:r>
          <a:endParaRPr lang="en-US" sz="1600" kern="1200" dirty="0"/>
        </a:p>
      </dsp:txBody>
      <dsp:txXfrm>
        <a:off x="4218157" y="427474"/>
        <a:ext cx="501001" cy="501001"/>
      </dsp:txXfrm>
    </dsp:sp>
    <dsp:sp modelId="{FC75D0FD-C5F5-4E8C-A2C8-FA420B9C3B46}">
      <dsp:nvSpPr>
        <dsp:cNvPr id="0" name=""/>
        <dsp:cNvSpPr/>
      </dsp:nvSpPr>
      <dsp:spPr>
        <a:xfrm rot="2492308">
          <a:off x="4763285" y="899471"/>
          <a:ext cx="159275"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769293" y="927657"/>
        <a:ext cx="111493" cy="132089"/>
      </dsp:txXfrm>
    </dsp:sp>
    <dsp:sp modelId="{86741993-08A6-461A-A8B2-B83123025B0E}">
      <dsp:nvSpPr>
        <dsp:cNvPr id="0" name=""/>
        <dsp:cNvSpPr/>
      </dsp:nvSpPr>
      <dsp:spPr>
        <a:xfrm>
          <a:off x="4877144" y="1002838"/>
          <a:ext cx="649124" cy="64912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kumimoji="0" lang="en-US" sz="1600" b="1" i="0" u="none" strike="noStrike" kern="1200"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kern="1200" cap="none" spc="0" normalizeH="0" noProof="0" dirty="0">
              <a:ln>
                <a:noFill/>
              </a:ln>
              <a:solidFill>
                <a:prstClr val="white"/>
              </a:solidFill>
              <a:effectLst/>
              <a:uLnTx/>
              <a:uFillTx/>
              <a:cs typeface="Arial" panose="020B0604020202020204" pitchFamily="34" charset="0"/>
            </a:rPr>
            <a:t>6</a:t>
          </a:r>
          <a:r>
            <a:rPr kumimoji="0" lang="en-US" sz="1600" b="1" i="0" u="none" strike="noStrike" kern="1200" cap="none" spc="0" normalizeH="0" noProof="0" dirty="0">
              <a:ln>
                <a:noFill/>
              </a:ln>
              <a:solidFill>
                <a:prstClr val="white"/>
              </a:solidFill>
              <a:effectLst/>
              <a:uLnTx/>
              <a:uFillTx/>
              <a:cs typeface="Arial" panose="020B0604020202020204" pitchFamily="34" charset="0"/>
            </a:rPr>
            <a:t>%</a:t>
          </a:r>
          <a:endParaRPr lang="en-US" sz="1600" kern="1200" dirty="0"/>
        </a:p>
      </dsp:txBody>
      <dsp:txXfrm>
        <a:off x="4972206" y="1097900"/>
        <a:ext cx="459000" cy="459000"/>
      </dsp:txXfrm>
    </dsp:sp>
    <dsp:sp modelId="{7BC76DFF-C16A-436E-BAFC-4E996BC223CD}">
      <dsp:nvSpPr>
        <dsp:cNvPr id="0" name=""/>
        <dsp:cNvSpPr/>
      </dsp:nvSpPr>
      <dsp:spPr>
        <a:xfrm rot="4153846">
          <a:off x="5285804" y="1671900"/>
          <a:ext cx="176599"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302901" y="1691160"/>
        <a:ext cx="123619" cy="132089"/>
      </dsp:txXfrm>
    </dsp:sp>
    <dsp:sp modelId="{573FC5FE-1FC4-4F39-84F5-DF5F45BF4185}">
      <dsp:nvSpPr>
        <dsp:cNvPr id="0" name=""/>
        <dsp:cNvSpPr/>
      </dsp:nvSpPr>
      <dsp:spPr>
        <a:xfrm>
          <a:off x="5227412" y="1921527"/>
          <a:ext cx="643149" cy="64314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kumimoji="0" lang="en-US" sz="1600" b="1" i="0" u="none" strike="noStrike" kern="1200"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kern="1200" cap="none" spc="0" normalizeH="0" noProof="0" dirty="0">
              <a:ln>
                <a:noFill/>
              </a:ln>
              <a:solidFill>
                <a:prstClr val="white"/>
              </a:solidFill>
              <a:effectLst/>
              <a:uLnTx/>
              <a:uFillTx/>
              <a:cs typeface="Arial" panose="020B0604020202020204" pitchFamily="34" charset="0"/>
            </a:rPr>
            <a:t>5</a:t>
          </a:r>
          <a:r>
            <a:rPr kumimoji="0" lang="en-US" sz="1600" b="1" i="0" u="none" strike="noStrike" kern="1200" cap="none" spc="0" normalizeH="0" noProof="0" dirty="0">
              <a:ln>
                <a:noFill/>
              </a:ln>
              <a:solidFill>
                <a:prstClr val="white"/>
              </a:solidFill>
              <a:effectLst/>
              <a:uLnTx/>
              <a:uFillTx/>
              <a:cs typeface="Arial" panose="020B0604020202020204" pitchFamily="34" charset="0"/>
            </a:rPr>
            <a:t>%</a:t>
          </a:r>
          <a:endParaRPr lang="en-US" sz="1600" kern="1200" dirty="0"/>
        </a:p>
      </dsp:txBody>
      <dsp:txXfrm>
        <a:off x="5321599" y="2015714"/>
        <a:ext cx="454775" cy="454775"/>
      </dsp:txXfrm>
    </dsp:sp>
    <dsp:sp modelId="{494B7480-5BBD-449B-9844-B0232FD2A371}">
      <dsp:nvSpPr>
        <dsp:cNvPr id="0" name=""/>
        <dsp:cNvSpPr/>
      </dsp:nvSpPr>
      <dsp:spPr>
        <a:xfrm rot="5815385">
          <a:off x="5402957" y="2611923"/>
          <a:ext cx="175761"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432499" y="2629780"/>
        <a:ext cx="123033" cy="132089"/>
      </dsp:txXfrm>
    </dsp:sp>
    <dsp:sp modelId="{D67F9F1F-7338-42CA-80CB-23AC7A3A57AC}">
      <dsp:nvSpPr>
        <dsp:cNvPr id="0" name=""/>
        <dsp:cNvSpPr/>
      </dsp:nvSpPr>
      <dsp:spPr>
        <a:xfrm>
          <a:off x="5104796" y="2889160"/>
          <a:ext cx="652287" cy="652287"/>
        </a:xfrm>
        <a:prstGeom prst="ellipse">
          <a:avLst/>
        </a:prstGeom>
        <a:solidFill>
          <a:schemeClr val="accent1"/>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en-US" altLang="zh-CN" sz="1400" b="1" i="0" u="none" strike="noStrike" kern="1200" cap="none" spc="0" normalizeH="0" dirty="0">
              <a:ln>
                <a:noFill/>
              </a:ln>
              <a:solidFill>
                <a:prstClr val="white"/>
              </a:solidFill>
              <a:effectLst/>
              <a:uLnTx/>
              <a:uFillTx/>
              <a:latin typeface="Arial"/>
              <a:ea typeface="阿里巴巴普惠体"/>
              <a:cs typeface="Arial" panose="020B0604020202020204" pitchFamily="34" charset="0"/>
            </a:rPr>
            <a:t>12%</a:t>
          </a:r>
          <a:endParaRPr kumimoji="0" lang="en-US" sz="1400" b="1" i="0" u="none" strike="noStrike" kern="1200" cap="none" spc="0" normalizeH="0" dirty="0">
            <a:ln>
              <a:noFill/>
            </a:ln>
            <a:solidFill>
              <a:prstClr val="white"/>
            </a:solidFill>
            <a:effectLst/>
            <a:uLnTx/>
            <a:uFillTx/>
            <a:latin typeface="Arial"/>
            <a:ea typeface="阿里巴巴普惠体"/>
            <a:cs typeface="Arial" panose="020B0604020202020204" pitchFamily="34" charset="0"/>
          </a:endParaRPr>
        </a:p>
      </dsp:txBody>
      <dsp:txXfrm>
        <a:off x="5200321" y="2984685"/>
        <a:ext cx="461237" cy="461237"/>
      </dsp:txXfrm>
    </dsp:sp>
    <dsp:sp modelId="{090D1DA9-1D66-45F1-BAC1-E7AED8F0E79E}">
      <dsp:nvSpPr>
        <dsp:cNvPr id="0" name=""/>
        <dsp:cNvSpPr/>
      </dsp:nvSpPr>
      <dsp:spPr>
        <a:xfrm rot="7476923">
          <a:off x="5009972" y="3547695"/>
          <a:ext cx="231113"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061753" y="3564547"/>
        <a:ext cx="165069" cy="132089"/>
      </dsp:txXfrm>
    </dsp:sp>
    <dsp:sp modelId="{610E8A85-7E1E-4E3C-9923-9E69B95D31CF}">
      <dsp:nvSpPr>
        <dsp:cNvPr id="0" name=""/>
        <dsp:cNvSpPr/>
      </dsp:nvSpPr>
      <dsp:spPr>
        <a:xfrm>
          <a:off x="4657472" y="3804151"/>
          <a:ext cx="434273" cy="434273"/>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4721070" y="3867749"/>
        <a:ext cx="307077" cy="307077"/>
      </dsp:txXfrm>
    </dsp:sp>
    <dsp:sp modelId="{7D1570C8-EF0A-4357-BF23-2B6DA3DA4518}">
      <dsp:nvSpPr>
        <dsp:cNvPr id="0" name=""/>
        <dsp:cNvSpPr/>
      </dsp:nvSpPr>
      <dsp:spPr>
        <a:xfrm rot="9138462">
          <a:off x="4320553" y="4129546"/>
          <a:ext cx="276118"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382815" y="4158229"/>
        <a:ext cx="210074" cy="132089"/>
      </dsp:txXfrm>
    </dsp:sp>
    <dsp:sp modelId="{1185902C-861D-47F4-8A8A-FCB5470E977C}">
      <dsp:nvSpPr>
        <dsp:cNvPr id="0" name=""/>
        <dsp:cNvSpPr/>
      </dsp:nvSpPr>
      <dsp:spPr>
        <a:xfrm>
          <a:off x="3766215" y="4235186"/>
          <a:ext cx="482458" cy="482451"/>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3836869" y="4305839"/>
        <a:ext cx="341150" cy="341145"/>
      </dsp:txXfrm>
    </dsp:sp>
    <dsp:sp modelId="{46FB6ADB-7FD2-46B6-8FC0-964C272DD9EB}">
      <dsp:nvSpPr>
        <dsp:cNvPr id="0" name=""/>
        <dsp:cNvSpPr/>
      </dsp:nvSpPr>
      <dsp:spPr>
        <a:xfrm rot="10800000">
          <a:off x="3372434" y="4366338"/>
          <a:ext cx="278271"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3438478" y="4410367"/>
        <a:ext cx="212227" cy="132089"/>
      </dsp:txXfrm>
    </dsp:sp>
    <dsp:sp modelId="{08361A25-ABF1-47EA-ACEE-2CB8813FE40A}">
      <dsp:nvSpPr>
        <dsp:cNvPr id="0" name=""/>
        <dsp:cNvSpPr/>
      </dsp:nvSpPr>
      <dsp:spPr>
        <a:xfrm>
          <a:off x="2815027" y="4263338"/>
          <a:ext cx="426146" cy="426146"/>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2877435" y="4325746"/>
        <a:ext cx="301330" cy="301330"/>
      </dsp:txXfrm>
    </dsp:sp>
    <dsp:sp modelId="{18B58F77-4B8E-44B2-8DDF-BF940D54D390}">
      <dsp:nvSpPr>
        <dsp:cNvPr id="0" name=""/>
        <dsp:cNvSpPr/>
      </dsp:nvSpPr>
      <dsp:spPr>
        <a:xfrm rot="12461538">
          <a:off x="2447923" y="4140248"/>
          <a:ext cx="298800"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2510185" y="4199623"/>
        <a:ext cx="232756" cy="132089"/>
      </dsp:txXfrm>
    </dsp:sp>
    <dsp:sp modelId="{D5F5D7E2-E5C4-4860-AEF6-88C89E925D70}">
      <dsp:nvSpPr>
        <dsp:cNvPr id="0" name=""/>
        <dsp:cNvSpPr/>
      </dsp:nvSpPr>
      <dsp:spPr>
        <a:xfrm>
          <a:off x="1958439" y="3818792"/>
          <a:ext cx="404992" cy="404992"/>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2017749" y="3878102"/>
        <a:ext cx="286372" cy="286372"/>
      </dsp:txXfrm>
    </dsp:sp>
    <dsp:sp modelId="{BACB08DE-2598-4970-9121-79986D44E214}">
      <dsp:nvSpPr>
        <dsp:cNvPr id="0" name=""/>
        <dsp:cNvSpPr/>
      </dsp:nvSpPr>
      <dsp:spPr>
        <a:xfrm rot="14123077">
          <a:off x="1710839" y="3497131"/>
          <a:ext cx="328548"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1762620" y="3568337"/>
        <a:ext cx="262504" cy="132089"/>
      </dsp:txXfrm>
    </dsp:sp>
    <dsp:sp modelId="{0AC0D7DB-D978-475A-87E2-3B167418CB00}">
      <dsp:nvSpPr>
        <dsp:cNvPr id="0" name=""/>
        <dsp:cNvSpPr/>
      </dsp:nvSpPr>
      <dsp:spPr>
        <a:xfrm>
          <a:off x="1447661" y="3058360"/>
          <a:ext cx="313887" cy="313887"/>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US" sz="1400" kern="1200" dirty="0"/>
        </a:p>
      </dsp:txBody>
      <dsp:txXfrm>
        <a:off x="1493629" y="3104328"/>
        <a:ext cx="221951" cy="221951"/>
      </dsp:txXfrm>
    </dsp:sp>
    <dsp:sp modelId="{3C7D208A-4B58-4C95-8C6F-E5684D0DFDAC}">
      <dsp:nvSpPr>
        <dsp:cNvPr id="0" name=""/>
        <dsp:cNvSpPr/>
      </dsp:nvSpPr>
      <dsp:spPr>
        <a:xfrm rot="15784615">
          <a:off x="1356206" y="2607854"/>
          <a:ext cx="376011"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1393208" y="2684664"/>
        <a:ext cx="309967" cy="132089"/>
      </dsp:txXfrm>
    </dsp:sp>
    <dsp:sp modelId="{D99C0853-AD89-4251-BFEF-2CEF2F018E26}">
      <dsp:nvSpPr>
        <dsp:cNvPr id="0" name=""/>
        <dsp:cNvSpPr/>
      </dsp:nvSpPr>
      <dsp:spPr>
        <a:xfrm>
          <a:off x="1373614" y="2130158"/>
          <a:ext cx="225887" cy="225887"/>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1406694" y="2163238"/>
        <a:ext cx="159727" cy="159727"/>
      </dsp:txXfrm>
    </dsp:sp>
    <dsp:sp modelId="{B76F87FE-F293-4739-B511-E941F029FBF9}">
      <dsp:nvSpPr>
        <dsp:cNvPr id="0" name=""/>
        <dsp:cNvSpPr/>
      </dsp:nvSpPr>
      <dsp:spPr>
        <a:xfrm rot="17446154">
          <a:off x="1453180" y="1669441"/>
          <a:ext cx="418385"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1474492" y="1744346"/>
        <a:ext cx="352341" cy="132089"/>
      </dsp:txXfrm>
    </dsp:sp>
    <dsp:sp modelId="{D957D84F-BFB1-4EEA-A55B-CCB467D87750}">
      <dsp:nvSpPr>
        <dsp:cNvPr id="0" name=""/>
        <dsp:cNvSpPr/>
      </dsp:nvSpPr>
      <dsp:spPr>
        <a:xfrm>
          <a:off x="1756845" y="1250407"/>
          <a:ext cx="153985" cy="153985"/>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1779396" y="1272958"/>
        <a:ext cx="108883" cy="108883"/>
      </dsp:txXfrm>
    </dsp:sp>
    <dsp:sp modelId="{2EE13745-BF0F-47A7-8223-BA1FA9A6C3D2}">
      <dsp:nvSpPr>
        <dsp:cNvPr id="0" name=""/>
        <dsp:cNvSpPr/>
      </dsp:nvSpPr>
      <dsp:spPr>
        <a:xfrm rot="19107692">
          <a:off x="1976040" y="888802"/>
          <a:ext cx="457250"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1984345" y="954729"/>
        <a:ext cx="391206" cy="132089"/>
      </dsp:txXfrm>
    </dsp:sp>
    <dsp:sp modelId="{91ED2829-52E4-4B50-8AEB-123E27AB0FD1}">
      <dsp:nvSpPr>
        <dsp:cNvPr id="0" name=""/>
        <dsp:cNvSpPr/>
      </dsp:nvSpPr>
      <dsp:spPr>
        <a:xfrm flipH="1">
          <a:off x="2527273" y="638361"/>
          <a:ext cx="79226" cy="79226"/>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538875" y="649963"/>
        <a:ext cx="56022" cy="56022"/>
      </dsp:txXfrm>
    </dsp:sp>
    <dsp:sp modelId="{FB7D22FD-90F5-474A-9A22-06DEEDD13287}">
      <dsp:nvSpPr>
        <dsp:cNvPr id="0" name=""/>
        <dsp:cNvSpPr/>
      </dsp:nvSpPr>
      <dsp:spPr>
        <a:xfrm rot="20769231">
          <a:off x="2701262" y="504356"/>
          <a:ext cx="246877"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2702222" y="556288"/>
        <a:ext cx="180833" cy="13208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5A936A-9A13-4042-8584-7FFDAD040C59}" type="datetimeFigureOut">
              <a:rPr lang="zh-CN" altLang="en-US" smtClean="0"/>
              <a:t>2020/4/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71600-EFCF-4A63-82E2-D1BF68BF533D}" type="slidenum">
              <a:rPr lang="zh-CN" altLang="en-US" smtClean="0"/>
              <a:t>‹#›</a:t>
            </a:fld>
            <a:endParaRPr lang="zh-CN" altLang="en-US"/>
          </a:p>
        </p:txBody>
      </p:sp>
    </p:spTree>
    <p:extLst>
      <p:ext uri="{BB962C8B-B14F-4D97-AF65-F5344CB8AC3E}">
        <p14:creationId xmlns:p14="http://schemas.microsoft.com/office/powerpoint/2010/main" val="6735016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771600-EFCF-4A63-82E2-D1BF68BF533D}"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42785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33771600-EFCF-4A63-82E2-D1BF68BF533D}" type="slidenum">
              <a:rPr lang="zh-CN" altLang="en-US" smtClean="0"/>
              <a:t>21</a:t>
            </a:fld>
            <a:endParaRPr lang="zh-CN" altLang="en-US"/>
          </a:p>
        </p:txBody>
      </p:sp>
    </p:spTree>
    <p:extLst>
      <p:ext uri="{BB962C8B-B14F-4D97-AF65-F5344CB8AC3E}">
        <p14:creationId xmlns:p14="http://schemas.microsoft.com/office/powerpoint/2010/main" val="2832066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0B5285-3056-4F11-9811-CA61719951D8}"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964794089"/>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microsoft.com/office/2007/relationships/hdphoto" Target="../media/hdphoto9.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0.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1.png"/><Relationship Id="rId7" Type="http://schemas.openxmlformats.org/officeDocument/2006/relationships/image" Target="../media/image34.emf"/><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33.emf"/><Relationship Id="rId5" Type="http://schemas.microsoft.com/office/2007/relationships/hdphoto" Target="../media/hdphoto10.wdp"/><Relationship Id="rId4" Type="http://schemas.openxmlformats.org/officeDocument/2006/relationships/image" Target="../media/image3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6.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39.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microsoft.com/office/2007/relationships/hdphoto" Target="../media/hdphoto6.wdp"/></Relationships>
</file>

<file path=ppt/slideLayouts/_rels/slideLayout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1-1">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BD99EE17-2F67-45CD-B112-A0C6E0AAD39F}"/>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colorTemperature colorTemp="7200"/>
                    </a14:imgEffect>
                    <a14:imgEffect>
                      <a14:saturation sat="105000"/>
                    </a14:imgEffect>
                    <a14:imgEffect>
                      <a14:brightnessContrast bright="10000"/>
                    </a14:imgEffect>
                  </a14:imgLayer>
                </a14:imgProps>
              </a:ext>
              <a:ext uri="{28A0092B-C50C-407E-A947-70E740481C1C}">
                <a14:useLocalDpi xmlns:a14="http://schemas.microsoft.com/office/drawing/2010/main"/>
              </a:ext>
            </a:extLst>
          </a:blip>
          <a:stretch>
            <a:fillRect/>
          </a:stretch>
        </p:blipFill>
        <p:spPr>
          <a:xfrm>
            <a:off x="0" y="2172"/>
            <a:ext cx="12192000" cy="6855828"/>
          </a:xfrm>
          <a:prstGeom prst="rect">
            <a:avLst/>
          </a:prstGeom>
        </p:spPr>
      </p:pic>
      <p:sp>
        <p:nvSpPr>
          <p:cNvPr id="118" name="矩形 117">
            <a:extLst>
              <a:ext uri="{FF2B5EF4-FFF2-40B4-BE49-F238E27FC236}">
                <a16:creationId xmlns:a16="http://schemas.microsoft.com/office/drawing/2014/main" id="{83460631-7A3E-489F-AFF1-C919933C0BDD}"/>
              </a:ext>
            </a:extLst>
          </p:cNvPr>
          <p:cNvSpPr/>
          <p:nvPr userDrawn="1"/>
        </p:nvSpPr>
        <p:spPr>
          <a:xfrm>
            <a:off x="0" y="0"/>
            <a:ext cx="12192000" cy="4190035"/>
          </a:xfrm>
          <a:prstGeom prst="rect">
            <a:avLst/>
          </a:prstGeom>
          <a:gradFill flip="none" rotWithShape="1">
            <a:gsLst>
              <a:gs pos="4000">
                <a:schemeClr val="bg1">
                  <a:alpha val="0"/>
                </a:schemeClr>
              </a:gs>
              <a:gs pos="16000">
                <a:schemeClr val="bg1">
                  <a:alpha val="60000"/>
                </a:schemeClr>
              </a:gs>
              <a:gs pos="100000">
                <a:schemeClr val="bg1">
                  <a:alpha val="8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1" name="组合 120">
            <a:extLst>
              <a:ext uri="{FF2B5EF4-FFF2-40B4-BE49-F238E27FC236}">
                <a16:creationId xmlns:a16="http://schemas.microsoft.com/office/drawing/2014/main" id="{855908AF-97B9-4729-8037-3BA861606F0D}"/>
              </a:ext>
            </a:extLst>
          </p:cNvPr>
          <p:cNvGrpSpPr/>
          <p:nvPr userDrawn="1"/>
        </p:nvGrpSpPr>
        <p:grpSpPr>
          <a:xfrm>
            <a:off x="5271655" y="1112449"/>
            <a:ext cx="1648690" cy="560362"/>
            <a:chOff x="1398368" y="5051425"/>
            <a:chExt cx="3242941" cy="1102222"/>
          </a:xfrm>
        </p:grpSpPr>
        <p:sp>
          <p:nvSpPr>
            <p:cNvPr id="122" name="Freeform 5">
              <a:extLst>
                <a:ext uri="{FF2B5EF4-FFF2-40B4-BE49-F238E27FC236}">
                  <a16:creationId xmlns:a16="http://schemas.microsoft.com/office/drawing/2014/main" id="{CC73142E-2601-4692-A4EB-ACF356FF3D84}"/>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7">
              <a:extLst>
                <a:ext uri="{FF2B5EF4-FFF2-40B4-BE49-F238E27FC236}">
                  <a16:creationId xmlns:a16="http://schemas.microsoft.com/office/drawing/2014/main" id="{3ED37CFD-ABFD-4AA0-B60B-A5BF8DB3ECB3}"/>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8">
              <a:extLst>
                <a:ext uri="{FF2B5EF4-FFF2-40B4-BE49-F238E27FC236}">
                  <a16:creationId xmlns:a16="http://schemas.microsoft.com/office/drawing/2014/main" id="{1BC9659A-E604-48B4-B30A-860A1379C303}"/>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5" name="组合 124">
              <a:extLst>
                <a:ext uri="{FF2B5EF4-FFF2-40B4-BE49-F238E27FC236}">
                  <a16:creationId xmlns:a16="http://schemas.microsoft.com/office/drawing/2014/main" id="{4919B734-99B7-458C-B806-69DE52FE4EB6}"/>
                </a:ext>
              </a:extLst>
            </p:cNvPr>
            <p:cNvGrpSpPr/>
            <p:nvPr/>
          </p:nvGrpSpPr>
          <p:grpSpPr>
            <a:xfrm>
              <a:off x="2921957" y="5168150"/>
              <a:ext cx="542765" cy="642593"/>
              <a:chOff x="3102298" y="5183391"/>
              <a:chExt cx="501880" cy="594188"/>
            </a:xfrm>
          </p:grpSpPr>
          <p:sp>
            <p:nvSpPr>
              <p:cNvPr id="166" name="Freeform 6">
                <a:extLst>
                  <a:ext uri="{FF2B5EF4-FFF2-40B4-BE49-F238E27FC236}">
                    <a16:creationId xmlns:a16="http://schemas.microsoft.com/office/drawing/2014/main" id="{FA7FA697-46AF-4203-8AB4-AC0007667089}"/>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a:extLst>
                  <a:ext uri="{FF2B5EF4-FFF2-40B4-BE49-F238E27FC236}">
                    <a16:creationId xmlns:a16="http://schemas.microsoft.com/office/drawing/2014/main" id="{3C4C9466-58AA-4838-9D79-937FDE13549F}"/>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3">
                <a:extLst>
                  <a:ext uri="{FF2B5EF4-FFF2-40B4-BE49-F238E27FC236}">
                    <a16:creationId xmlns:a16="http://schemas.microsoft.com/office/drawing/2014/main" id="{948A922A-4E3F-4810-ADF0-0F5C17D93AC6}"/>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组合 125">
              <a:extLst>
                <a:ext uri="{FF2B5EF4-FFF2-40B4-BE49-F238E27FC236}">
                  <a16:creationId xmlns:a16="http://schemas.microsoft.com/office/drawing/2014/main" id="{05CBBEFF-915C-4C53-8013-7FC832FB6C66}"/>
                </a:ext>
              </a:extLst>
            </p:cNvPr>
            <p:cNvGrpSpPr/>
            <p:nvPr/>
          </p:nvGrpSpPr>
          <p:grpSpPr>
            <a:xfrm>
              <a:off x="4196892" y="5154476"/>
              <a:ext cx="444417" cy="649987"/>
              <a:chOff x="4257853" y="5169716"/>
              <a:chExt cx="410940" cy="601025"/>
            </a:xfrm>
          </p:grpSpPr>
          <p:sp>
            <p:nvSpPr>
              <p:cNvPr id="161" name="Freeform 9">
                <a:extLst>
                  <a:ext uri="{FF2B5EF4-FFF2-40B4-BE49-F238E27FC236}">
                    <a16:creationId xmlns:a16="http://schemas.microsoft.com/office/drawing/2014/main" id="{4EA8CB25-A7D8-4CCB-B47A-966CC3BD064D}"/>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1">
                <a:extLst>
                  <a:ext uri="{FF2B5EF4-FFF2-40B4-BE49-F238E27FC236}">
                    <a16:creationId xmlns:a16="http://schemas.microsoft.com/office/drawing/2014/main" id="{B517AAA2-0B9E-48A5-8A86-07B1310570B0}"/>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
                <a:extLst>
                  <a:ext uri="{FF2B5EF4-FFF2-40B4-BE49-F238E27FC236}">
                    <a16:creationId xmlns:a16="http://schemas.microsoft.com/office/drawing/2014/main" id="{4B3BE619-7D7A-4E8E-96F4-FFFDA6FE70AF}"/>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
                <a:extLst>
                  <a:ext uri="{FF2B5EF4-FFF2-40B4-BE49-F238E27FC236}">
                    <a16:creationId xmlns:a16="http://schemas.microsoft.com/office/drawing/2014/main" id="{B12BFDEE-C509-471B-AEDF-CC8A9B059B7D}"/>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
                <a:extLst>
                  <a:ext uri="{FF2B5EF4-FFF2-40B4-BE49-F238E27FC236}">
                    <a16:creationId xmlns:a16="http://schemas.microsoft.com/office/drawing/2014/main" id="{740E2858-1FA5-453D-BF82-8543BB571ACA}"/>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7" name="Freeform 16">
              <a:extLst>
                <a:ext uri="{FF2B5EF4-FFF2-40B4-BE49-F238E27FC236}">
                  <a16:creationId xmlns:a16="http://schemas.microsoft.com/office/drawing/2014/main" id="{41FA9D83-2920-4BD6-B6D5-BDA5C0D8B523}"/>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
              <a:extLst>
                <a:ext uri="{FF2B5EF4-FFF2-40B4-BE49-F238E27FC236}">
                  <a16:creationId xmlns:a16="http://schemas.microsoft.com/office/drawing/2014/main" id="{DE3DE6DC-37A1-4F4C-8AF4-D3E2FE57BB6B}"/>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8">
              <a:extLst>
                <a:ext uri="{FF2B5EF4-FFF2-40B4-BE49-F238E27FC236}">
                  <a16:creationId xmlns:a16="http://schemas.microsoft.com/office/drawing/2014/main" id="{56625D9E-958C-492B-B8FC-7577C7CD689F}"/>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9">
              <a:extLst>
                <a:ext uri="{FF2B5EF4-FFF2-40B4-BE49-F238E27FC236}">
                  <a16:creationId xmlns:a16="http://schemas.microsoft.com/office/drawing/2014/main" id="{1B55192E-E56B-4A57-BF41-167096A4D413}"/>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0">
              <a:extLst>
                <a:ext uri="{FF2B5EF4-FFF2-40B4-BE49-F238E27FC236}">
                  <a16:creationId xmlns:a16="http://schemas.microsoft.com/office/drawing/2014/main" id="{90CDEC93-D345-4665-873E-2C159A75E95B}"/>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1">
              <a:extLst>
                <a:ext uri="{FF2B5EF4-FFF2-40B4-BE49-F238E27FC236}">
                  <a16:creationId xmlns:a16="http://schemas.microsoft.com/office/drawing/2014/main" id="{492EDC9F-7768-44F1-9C4D-EDE95B8D12D9}"/>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50496717-7704-4DC1-A888-CE3886E5A3DD}"/>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3">
              <a:extLst>
                <a:ext uri="{FF2B5EF4-FFF2-40B4-BE49-F238E27FC236}">
                  <a16:creationId xmlns:a16="http://schemas.microsoft.com/office/drawing/2014/main" id="{DE0B1F1E-0FBC-4663-8742-4564BD9AFDB4}"/>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4">
              <a:extLst>
                <a:ext uri="{FF2B5EF4-FFF2-40B4-BE49-F238E27FC236}">
                  <a16:creationId xmlns:a16="http://schemas.microsoft.com/office/drawing/2014/main" id="{9452D8BD-D5A0-418A-AD47-3F3E9077CBD6}"/>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3DB3AD2A-D808-4250-948E-BBE9591DC60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26">
              <a:extLst>
                <a:ext uri="{FF2B5EF4-FFF2-40B4-BE49-F238E27FC236}">
                  <a16:creationId xmlns:a16="http://schemas.microsoft.com/office/drawing/2014/main" id="{D026062D-E024-4482-AACA-1605EDAD9D2A}"/>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D0FBD10A-C056-45DF-B282-4F801EFBE251}"/>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F03F1EAD-BA59-4172-A4E6-17611F77229E}"/>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59656BB1-F474-46C6-9094-7C6F69FB7858}"/>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6BE5CB86-7FC4-47A9-9BD5-5B8A074BA660}"/>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15B9BADF-0E86-4E75-8F75-74492CB965B0}"/>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2">
              <a:extLst>
                <a:ext uri="{FF2B5EF4-FFF2-40B4-BE49-F238E27FC236}">
                  <a16:creationId xmlns:a16="http://schemas.microsoft.com/office/drawing/2014/main" id="{5108697C-D2A1-4FEC-9724-D78E3C2EA341}"/>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F538E9C3-4873-4053-9E8C-362A8FB2208C}"/>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DEC02708-878B-423C-B615-DCB7D9EDCEBD}"/>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FDAFCE6F-9D36-4AFC-B918-45C12A1858C2}"/>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6">
              <a:extLst>
                <a:ext uri="{FF2B5EF4-FFF2-40B4-BE49-F238E27FC236}">
                  <a16:creationId xmlns:a16="http://schemas.microsoft.com/office/drawing/2014/main" id="{CDC5D0E5-2341-485A-8AF6-FDD38397DB3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7">
              <a:extLst>
                <a:ext uri="{FF2B5EF4-FFF2-40B4-BE49-F238E27FC236}">
                  <a16:creationId xmlns:a16="http://schemas.microsoft.com/office/drawing/2014/main" id="{49CF6C13-94FB-4241-9A82-4FEB9CE4F8A2}"/>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8">
              <a:extLst>
                <a:ext uri="{FF2B5EF4-FFF2-40B4-BE49-F238E27FC236}">
                  <a16:creationId xmlns:a16="http://schemas.microsoft.com/office/drawing/2014/main" id="{5FBD63F6-B7B0-4C19-BAD2-B115D1689652}"/>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9">
              <a:extLst>
                <a:ext uri="{FF2B5EF4-FFF2-40B4-BE49-F238E27FC236}">
                  <a16:creationId xmlns:a16="http://schemas.microsoft.com/office/drawing/2014/main" id="{98BE2DAC-CE00-49CE-8D53-7BF3F444FD1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0">
              <a:extLst>
                <a:ext uri="{FF2B5EF4-FFF2-40B4-BE49-F238E27FC236}">
                  <a16:creationId xmlns:a16="http://schemas.microsoft.com/office/drawing/2014/main" id="{4717E170-ADC5-4157-A62B-D87BED58B0E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1">
              <a:extLst>
                <a:ext uri="{FF2B5EF4-FFF2-40B4-BE49-F238E27FC236}">
                  <a16:creationId xmlns:a16="http://schemas.microsoft.com/office/drawing/2014/main" id="{3648A078-B486-4435-A641-6435D6A69AD6}"/>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2">
              <a:extLst>
                <a:ext uri="{FF2B5EF4-FFF2-40B4-BE49-F238E27FC236}">
                  <a16:creationId xmlns:a16="http://schemas.microsoft.com/office/drawing/2014/main" id="{31DA4600-C00B-4A69-B6AE-E53F172217E5}"/>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3">
              <a:extLst>
                <a:ext uri="{FF2B5EF4-FFF2-40B4-BE49-F238E27FC236}">
                  <a16:creationId xmlns:a16="http://schemas.microsoft.com/office/drawing/2014/main" id="{5FE709BC-7179-4E19-8C14-B041916EBDF5}"/>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AF9762AA-C557-4DCD-BADB-FFE9E53047BE}"/>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73F85C42-2C4F-47B8-A5DA-DEDD9F4F1C0B}"/>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6">
              <a:extLst>
                <a:ext uri="{FF2B5EF4-FFF2-40B4-BE49-F238E27FC236}">
                  <a16:creationId xmlns:a16="http://schemas.microsoft.com/office/drawing/2014/main" id="{DBCAE612-0189-4EB3-8605-F34EC7B4C86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D4E5597E-6485-4704-BFA7-334AE9D3BD9D}"/>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FF3C8819-BF17-4935-A099-6381D2BB26D3}"/>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49">
              <a:extLst>
                <a:ext uri="{FF2B5EF4-FFF2-40B4-BE49-F238E27FC236}">
                  <a16:creationId xmlns:a16="http://schemas.microsoft.com/office/drawing/2014/main" id="{3D8356E0-63F5-43B9-B84E-9CD30EBE623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 name="文本占位符 4">
            <a:extLst>
              <a:ext uri="{FF2B5EF4-FFF2-40B4-BE49-F238E27FC236}">
                <a16:creationId xmlns:a16="http://schemas.microsoft.com/office/drawing/2014/main" id="{17B40C3A-69A5-4DEB-AE10-367B448223DD}"/>
              </a:ext>
            </a:extLst>
          </p:cNvPr>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63" name="文本占位符 4">
            <a:extLst>
              <a:ext uri="{FF2B5EF4-FFF2-40B4-BE49-F238E27FC236}">
                <a16:creationId xmlns:a16="http://schemas.microsoft.com/office/drawing/2014/main" id="{8CF62572-36A2-4CE2-BDFC-74F5DAB0E6EA}"/>
              </a:ext>
            </a:extLst>
          </p:cNvPr>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173" name="矩形 172">
            <a:extLst>
              <a:ext uri="{FF2B5EF4-FFF2-40B4-BE49-F238E27FC236}">
                <a16:creationId xmlns:a16="http://schemas.microsoft.com/office/drawing/2014/main" id="{7E938967-9990-4D4C-B37A-F8DB3BCFD867}"/>
              </a:ext>
            </a:extLst>
          </p:cNvPr>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a:extLst>
              <a:ext uri="{FF2B5EF4-FFF2-40B4-BE49-F238E27FC236}">
                <a16:creationId xmlns:a16="http://schemas.microsoft.com/office/drawing/2014/main" id="{4BEC4AA5-D1F8-44A4-B512-F9342C25CB24}"/>
              </a:ext>
            </a:extLst>
          </p:cNvPr>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a:extLst>
              <a:ext uri="{FF2B5EF4-FFF2-40B4-BE49-F238E27FC236}">
                <a16:creationId xmlns:a16="http://schemas.microsoft.com/office/drawing/2014/main" id="{34BE90AC-B87D-4628-BB01-C0BD9552F31A}"/>
              </a:ext>
            </a:extLst>
          </p:cNvPr>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 fmla="*/ 0 w 550718"/>
              <a:gd name="connsiteY0" fmla="*/ 15239 h 766502"/>
              <a:gd name="connsiteX1" fmla="*/ 471574 w 550718"/>
              <a:gd name="connsiteY1" fmla="*/ 0 h 766502"/>
              <a:gd name="connsiteX2" fmla="*/ 550718 w 550718"/>
              <a:gd name="connsiteY2" fmla="*/ 15239 h 766502"/>
              <a:gd name="connsiteX3" fmla="*/ 550718 w 550718"/>
              <a:gd name="connsiteY3" fmla="*/ 49529 h 766502"/>
              <a:gd name="connsiteX4" fmla="*/ 550718 w 550718"/>
              <a:gd name="connsiteY4" fmla="*/ 112394 h 766502"/>
              <a:gd name="connsiteX5" fmla="*/ 550718 w 550718"/>
              <a:gd name="connsiteY5" fmla="*/ 766502 h 766502"/>
              <a:gd name="connsiteX6" fmla="*/ 332814 w 550718"/>
              <a:gd name="connsiteY6" fmla="*/ 766502 h 766502"/>
              <a:gd name="connsiteX7" fmla="*/ 275359 w 550718"/>
              <a:gd name="connsiteY7" fmla="*/ 654877 h 766502"/>
              <a:gd name="connsiteX8" fmla="*/ 217904 w 550718"/>
              <a:gd name="connsiteY8" fmla="*/ 766502 h 766502"/>
              <a:gd name="connsiteX9" fmla="*/ 0 w 550718"/>
              <a:gd name="connsiteY9" fmla="*/ 766502 h 766502"/>
              <a:gd name="connsiteX10" fmla="*/ 0 w 550718"/>
              <a:gd name="connsiteY10" fmla="*/ 112394 h 766502"/>
              <a:gd name="connsiteX11" fmla="*/ 0 w 550718"/>
              <a:gd name="connsiteY11" fmla="*/ 49529 h 766502"/>
              <a:gd name="connsiteX12" fmla="*/ 0 w 550718"/>
              <a:gd name="connsiteY12" fmla="*/ 15239 h 766502"/>
              <a:gd name="connsiteX0" fmla="*/ 471574 w 563014"/>
              <a:gd name="connsiteY0" fmla="*/ 0 h 766502"/>
              <a:gd name="connsiteX1" fmla="*/ 550718 w 563014"/>
              <a:gd name="connsiteY1" fmla="*/ 15239 h 766502"/>
              <a:gd name="connsiteX2" fmla="*/ 550718 w 563014"/>
              <a:gd name="connsiteY2" fmla="*/ 49529 h 766502"/>
              <a:gd name="connsiteX3" fmla="*/ 550718 w 563014"/>
              <a:gd name="connsiteY3" fmla="*/ 112394 h 766502"/>
              <a:gd name="connsiteX4" fmla="*/ 550718 w 563014"/>
              <a:gd name="connsiteY4" fmla="*/ 766502 h 766502"/>
              <a:gd name="connsiteX5" fmla="*/ 332814 w 563014"/>
              <a:gd name="connsiteY5" fmla="*/ 766502 h 766502"/>
              <a:gd name="connsiteX6" fmla="*/ 275359 w 563014"/>
              <a:gd name="connsiteY6" fmla="*/ 654877 h 766502"/>
              <a:gd name="connsiteX7" fmla="*/ 217904 w 563014"/>
              <a:gd name="connsiteY7" fmla="*/ 766502 h 766502"/>
              <a:gd name="connsiteX8" fmla="*/ 0 w 563014"/>
              <a:gd name="connsiteY8" fmla="*/ 766502 h 766502"/>
              <a:gd name="connsiteX9" fmla="*/ 0 w 563014"/>
              <a:gd name="connsiteY9" fmla="*/ 112394 h 766502"/>
              <a:gd name="connsiteX10" fmla="*/ 0 w 563014"/>
              <a:gd name="connsiteY10" fmla="*/ 49529 h 766502"/>
              <a:gd name="connsiteX11" fmla="*/ 0 w 563014"/>
              <a:gd name="connsiteY11" fmla="*/ 15239 h 766502"/>
              <a:gd name="connsiteX12" fmla="*/ 563014 w 563014"/>
              <a:gd name="connsiteY12" fmla="*/ 91440 h 766502"/>
              <a:gd name="connsiteX0" fmla="*/ 550718 w 563014"/>
              <a:gd name="connsiteY0" fmla="*/ 1132 h 752395"/>
              <a:gd name="connsiteX1" fmla="*/ 550718 w 563014"/>
              <a:gd name="connsiteY1" fmla="*/ 35422 h 752395"/>
              <a:gd name="connsiteX2" fmla="*/ 550718 w 563014"/>
              <a:gd name="connsiteY2" fmla="*/ 98287 h 752395"/>
              <a:gd name="connsiteX3" fmla="*/ 550718 w 563014"/>
              <a:gd name="connsiteY3" fmla="*/ 752395 h 752395"/>
              <a:gd name="connsiteX4" fmla="*/ 332814 w 563014"/>
              <a:gd name="connsiteY4" fmla="*/ 752395 h 752395"/>
              <a:gd name="connsiteX5" fmla="*/ 275359 w 563014"/>
              <a:gd name="connsiteY5" fmla="*/ 640770 h 752395"/>
              <a:gd name="connsiteX6" fmla="*/ 217904 w 563014"/>
              <a:gd name="connsiteY6" fmla="*/ 752395 h 752395"/>
              <a:gd name="connsiteX7" fmla="*/ 0 w 563014"/>
              <a:gd name="connsiteY7" fmla="*/ 752395 h 752395"/>
              <a:gd name="connsiteX8" fmla="*/ 0 w 563014"/>
              <a:gd name="connsiteY8" fmla="*/ 98287 h 752395"/>
              <a:gd name="connsiteX9" fmla="*/ 0 w 563014"/>
              <a:gd name="connsiteY9" fmla="*/ 35422 h 752395"/>
              <a:gd name="connsiteX10" fmla="*/ 0 w 563014"/>
              <a:gd name="connsiteY10" fmla="*/ 1132 h 752395"/>
              <a:gd name="connsiteX11" fmla="*/ 563014 w 563014"/>
              <a:gd name="connsiteY11" fmla="*/ 77333 h 752395"/>
              <a:gd name="connsiteX0" fmla="*/ 550718 w 550718"/>
              <a:gd name="connsiteY0" fmla="*/ 0 h 751263"/>
              <a:gd name="connsiteX1" fmla="*/ 550718 w 550718"/>
              <a:gd name="connsiteY1" fmla="*/ 34290 h 751263"/>
              <a:gd name="connsiteX2" fmla="*/ 550718 w 550718"/>
              <a:gd name="connsiteY2" fmla="*/ 97155 h 751263"/>
              <a:gd name="connsiteX3" fmla="*/ 550718 w 550718"/>
              <a:gd name="connsiteY3" fmla="*/ 751263 h 751263"/>
              <a:gd name="connsiteX4" fmla="*/ 332814 w 550718"/>
              <a:gd name="connsiteY4" fmla="*/ 751263 h 751263"/>
              <a:gd name="connsiteX5" fmla="*/ 275359 w 550718"/>
              <a:gd name="connsiteY5" fmla="*/ 639638 h 751263"/>
              <a:gd name="connsiteX6" fmla="*/ 217904 w 550718"/>
              <a:gd name="connsiteY6" fmla="*/ 751263 h 751263"/>
              <a:gd name="connsiteX7" fmla="*/ 0 w 550718"/>
              <a:gd name="connsiteY7" fmla="*/ 751263 h 751263"/>
              <a:gd name="connsiteX8" fmla="*/ 0 w 550718"/>
              <a:gd name="connsiteY8" fmla="*/ 97155 h 751263"/>
              <a:gd name="connsiteX9" fmla="*/ 0 w 550718"/>
              <a:gd name="connsiteY9" fmla="*/ 34290 h 751263"/>
              <a:gd name="connsiteX10" fmla="*/ 0 w 550718"/>
              <a:gd name="connsiteY10" fmla="*/ 0 h 75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27289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目录3-1">
    <p:spTree>
      <p:nvGrpSpPr>
        <p:cNvPr id="1" name=""/>
        <p:cNvGrpSpPr/>
        <p:nvPr/>
      </p:nvGrpSpPr>
      <p:grpSpPr>
        <a:xfrm>
          <a:off x="0" y="0"/>
          <a:ext cx="0" cy="0"/>
          <a:chOff x="0" y="0"/>
          <a:chExt cx="0" cy="0"/>
        </a:xfrm>
      </p:grpSpPr>
      <p:sp>
        <p:nvSpPr>
          <p:cNvPr id="7" name="文本框 6">
            <a:extLst>
              <a:ext uri="{FF2B5EF4-FFF2-40B4-BE49-F238E27FC236}">
                <a16:creationId xmlns:a16="http://schemas.microsoft.com/office/drawing/2014/main" id="{B77AD97D-BFE2-4375-A3F5-5371BC3AFF12}"/>
              </a:ext>
            </a:extLst>
          </p:cNvPr>
          <p:cNvSpPr txBox="1"/>
          <p:nvPr userDrawn="1"/>
        </p:nvSpPr>
        <p:spPr>
          <a:xfrm>
            <a:off x="9224996" y="4705700"/>
            <a:ext cx="766112" cy="964050"/>
          </a:xfrm>
          <a:custGeom>
            <a:avLst/>
            <a:gdLst/>
            <a:ahLst/>
            <a:cxnLst/>
            <a:rect l="l" t="t" r="r" b="b"/>
            <a:pathLst>
              <a:path w="520155" h="654546">
                <a:moveTo>
                  <a:pt x="0" y="0"/>
                </a:moveTo>
                <a:lnTo>
                  <a:pt x="520155" y="0"/>
                </a:lnTo>
                <a:lnTo>
                  <a:pt x="520155" y="110728"/>
                </a:lnTo>
                <a:lnTo>
                  <a:pt x="326380" y="110728"/>
                </a:lnTo>
                <a:lnTo>
                  <a:pt x="326380" y="654546"/>
                </a:lnTo>
                <a:lnTo>
                  <a:pt x="194221" y="654546"/>
                </a:lnTo>
                <a:lnTo>
                  <a:pt x="194221"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8" name="文本框 7">
            <a:extLst>
              <a:ext uri="{FF2B5EF4-FFF2-40B4-BE49-F238E27FC236}">
                <a16:creationId xmlns:a16="http://schemas.microsoft.com/office/drawing/2014/main" id="{ADA4756E-8CD0-49DA-B5C4-2A5A3688938B}"/>
              </a:ext>
            </a:extLst>
          </p:cNvPr>
          <p:cNvSpPr txBox="1"/>
          <p:nvPr userDrawn="1"/>
        </p:nvSpPr>
        <p:spPr>
          <a:xfrm>
            <a:off x="10506309" y="4693209"/>
            <a:ext cx="783865" cy="997588"/>
          </a:xfrm>
          <a:custGeom>
            <a:avLst/>
            <a:gdLst/>
            <a:ahLst/>
            <a:cxnLst/>
            <a:rect l="l" t="t" r="r" b="b"/>
            <a:pathLst>
              <a:path w="532209" h="677316">
                <a:moveTo>
                  <a:pt x="262533" y="0"/>
                </a:moveTo>
                <a:cubicBezTo>
                  <a:pt x="344686" y="0"/>
                  <a:pt x="406524" y="18008"/>
                  <a:pt x="448047" y="54024"/>
                </a:cubicBezTo>
                <a:cubicBezTo>
                  <a:pt x="489570" y="90041"/>
                  <a:pt x="511373" y="138112"/>
                  <a:pt x="513457" y="198239"/>
                </a:cubicBezTo>
                <a:lnTo>
                  <a:pt x="381298" y="204043"/>
                </a:lnTo>
                <a:cubicBezTo>
                  <a:pt x="375642" y="170408"/>
                  <a:pt x="363513" y="146223"/>
                  <a:pt x="344909" y="131489"/>
                </a:cubicBezTo>
                <a:cubicBezTo>
                  <a:pt x="326306" y="116755"/>
                  <a:pt x="298400" y="109388"/>
                  <a:pt x="261193" y="109388"/>
                </a:cubicBezTo>
                <a:cubicBezTo>
                  <a:pt x="222796" y="109388"/>
                  <a:pt x="192732" y="117276"/>
                  <a:pt x="171003" y="133052"/>
                </a:cubicBezTo>
                <a:cubicBezTo>
                  <a:pt x="157014" y="143172"/>
                  <a:pt x="150019" y="156716"/>
                  <a:pt x="150019" y="173682"/>
                </a:cubicBezTo>
                <a:cubicBezTo>
                  <a:pt x="150019" y="189160"/>
                  <a:pt x="156567" y="202406"/>
                  <a:pt x="169664" y="213419"/>
                </a:cubicBezTo>
                <a:cubicBezTo>
                  <a:pt x="186333" y="227409"/>
                  <a:pt x="226814" y="241994"/>
                  <a:pt x="291108" y="257175"/>
                </a:cubicBezTo>
                <a:cubicBezTo>
                  <a:pt x="355401" y="272355"/>
                  <a:pt x="402952" y="288056"/>
                  <a:pt x="433759" y="304279"/>
                </a:cubicBezTo>
                <a:cubicBezTo>
                  <a:pt x="464567" y="320501"/>
                  <a:pt x="488677" y="342676"/>
                  <a:pt x="506090" y="370805"/>
                </a:cubicBezTo>
                <a:cubicBezTo>
                  <a:pt x="523503" y="398933"/>
                  <a:pt x="532209" y="433685"/>
                  <a:pt x="532209" y="475059"/>
                </a:cubicBezTo>
                <a:cubicBezTo>
                  <a:pt x="532209" y="512564"/>
                  <a:pt x="521791" y="547687"/>
                  <a:pt x="500955" y="580429"/>
                </a:cubicBezTo>
                <a:cubicBezTo>
                  <a:pt x="480119" y="613171"/>
                  <a:pt x="450651" y="637505"/>
                  <a:pt x="412551" y="653429"/>
                </a:cubicBezTo>
                <a:cubicBezTo>
                  <a:pt x="374451" y="669354"/>
                  <a:pt x="326975" y="677316"/>
                  <a:pt x="270123" y="677316"/>
                </a:cubicBezTo>
                <a:cubicBezTo>
                  <a:pt x="187374" y="677316"/>
                  <a:pt x="123825" y="658192"/>
                  <a:pt x="79474" y="619943"/>
                </a:cubicBezTo>
                <a:cubicBezTo>
                  <a:pt x="35123" y="581694"/>
                  <a:pt x="8632" y="525958"/>
                  <a:pt x="0" y="452735"/>
                </a:cubicBezTo>
                <a:lnTo>
                  <a:pt x="128587" y="440233"/>
                </a:lnTo>
                <a:cubicBezTo>
                  <a:pt x="136326" y="483393"/>
                  <a:pt x="152028" y="515094"/>
                  <a:pt x="175691" y="535334"/>
                </a:cubicBezTo>
                <a:cubicBezTo>
                  <a:pt x="199355" y="555575"/>
                  <a:pt x="231279" y="565695"/>
                  <a:pt x="271462" y="565695"/>
                </a:cubicBezTo>
                <a:cubicBezTo>
                  <a:pt x="314027" y="565695"/>
                  <a:pt x="346100" y="556691"/>
                  <a:pt x="367680" y="538683"/>
                </a:cubicBezTo>
                <a:cubicBezTo>
                  <a:pt x="389260" y="520675"/>
                  <a:pt x="400050" y="499616"/>
                  <a:pt x="400050" y="475505"/>
                </a:cubicBezTo>
                <a:cubicBezTo>
                  <a:pt x="400050" y="460027"/>
                  <a:pt x="395511" y="446856"/>
                  <a:pt x="386432" y="435991"/>
                </a:cubicBezTo>
                <a:cubicBezTo>
                  <a:pt x="377354" y="425127"/>
                  <a:pt x="361503" y="415676"/>
                  <a:pt x="338882" y="407640"/>
                </a:cubicBezTo>
                <a:cubicBezTo>
                  <a:pt x="323403" y="402282"/>
                  <a:pt x="288131" y="392757"/>
                  <a:pt x="233065" y="379065"/>
                </a:cubicBezTo>
                <a:cubicBezTo>
                  <a:pt x="162222" y="361503"/>
                  <a:pt x="112514" y="339923"/>
                  <a:pt x="83939" y="314325"/>
                </a:cubicBezTo>
                <a:cubicBezTo>
                  <a:pt x="43755" y="278308"/>
                  <a:pt x="23664" y="234404"/>
                  <a:pt x="23664" y="182612"/>
                </a:cubicBezTo>
                <a:cubicBezTo>
                  <a:pt x="23664" y="149274"/>
                  <a:pt x="33114" y="118095"/>
                  <a:pt x="52015" y="89073"/>
                </a:cubicBezTo>
                <a:cubicBezTo>
                  <a:pt x="70916" y="60052"/>
                  <a:pt x="98152" y="37951"/>
                  <a:pt x="133722" y="22770"/>
                </a:cubicBezTo>
                <a:cubicBezTo>
                  <a:pt x="169292" y="7590"/>
                  <a:pt x="212229" y="0"/>
                  <a:pt x="262533"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9" name="文本框 8">
            <a:extLst>
              <a:ext uri="{FF2B5EF4-FFF2-40B4-BE49-F238E27FC236}">
                <a16:creationId xmlns:a16="http://schemas.microsoft.com/office/drawing/2014/main" id="{E03A8474-C020-4B0E-92E8-A14480ADC5AE}"/>
              </a:ext>
            </a:extLst>
          </p:cNvPr>
          <p:cNvSpPr txBox="1"/>
          <p:nvPr userDrawn="1"/>
        </p:nvSpPr>
        <p:spPr>
          <a:xfrm>
            <a:off x="1329968" y="4693209"/>
            <a:ext cx="839765" cy="996932"/>
          </a:xfrm>
          <a:custGeom>
            <a:avLst/>
            <a:gdLst/>
            <a:ahLst/>
            <a:cxnLst/>
            <a:rect l="l" t="t" r="r" b="b"/>
            <a:pathLst>
              <a:path w="570161" h="676870">
                <a:moveTo>
                  <a:pt x="306288" y="0"/>
                </a:moveTo>
                <a:cubicBezTo>
                  <a:pt x="386358" y="0"/>
                  <a:pt x="451396" y="23663"/>
                  <a:pt x="501402" y="70991"/>
                </a:cubicBezTo>
                <a:cubicBezTo>
                  <a:pt x="531168" y="98970"/>
                  <a:pt x="553492" y="139154"/>
                  <a:pt x="568375" y="191541"/>
                </a:cubicBezTo>
                <a:lnTo>
                  <a:pt x="437555" y="222795"/>
                </a:lnTo>
                <a:cubicBezTo>
                  <a:pt x="429816" y="188862"/>
                  <a:pt x="413668" y="162073"/>
                  <a:pt x="389111" y="142428"/>
                </a:cubicBezTo>
                <a:cubicBezTo>
                  <a:pt x="364555" y="122783"/>
                  <a:pt x="334715" y="112960"/>
                  <a:pt x="299591" y="112960"/>
                </a:cubicBezTo>
                <a:cubicBezTo>
                  <a:pt x="251073" y="112960"/>
                  <a:pt x="211708" y="130373"/>
                  <a:pt x="181496" y="165199"/>
                </a:cubicBezTo>
                <a:cubicBezTo>
                  <a:pt x="151284" y="200025"/>
                  <a:pt x="136178" y="256430"/>
                  <a:pt x="136178" y="334416"/>
                </a:cubicBezTo>
                <a:cubicBezTo>
                  <a:pt x="136178" y="417165"/>
                  <a:pt x="151061" y="476101"/>
                  <a:pt x="180826" y="511224"/>
                </a:cubicBezTo>
                <a:cubicBezTo>
                  <a:pt x="210592" y="546348"/>
                  <a:pt x="249287" y="563909"/>
                  <a:pt x="296912" y="563909"/>
                </a:cubicBezTo>
                <a:cubicBezTo>
                  <a:pt x="332036" y="563909"/>
                  <a:pt x="362248" y="552747"/>
                  <a:pt x="387549" y="530423"/>
                </a:cubicBezTo>
                <a:cubicBezTo>
                  <a:pt x="412849" y="508099"/>
                  <a:pt x="431006" y="472975"/>
                  <a:pt x="442020" y="425053"/>
                </a:cubicBezTo>
                <a:lnTo>
                  <a:pt x="570161" y="465683"/>
                </a:lnTo>
                <a:cubicBezTo>
                  <a:pt x="550515" y="537120"/>
                  <a:pt x="517848" y="590177"/>
                  <a:pt x="472157" y="624854"/>
                </a:cubicBezTo>
                <a:cubicBezTo>
                  <a:pt x="426467" y="659531"/>
                  <a:pt x="368499" y="676870"/>
                  <a:pt x="298252" y="676870"/>
                </a:cubicBezTo>
                <a:cubicBezTo>
                  <a:pt x="211336" y="676870"/>
                  <a:pt x="139899" y="647179"/>
                  <a:pt x="83939" y="587796"/>
                </a:cubicBezTo>
                <a:cubicBezTo>
                  <a:pt x="27980" y="528414"/>
                  <a:pt x="0" y="447228"/>
                  <a:pt x="0" y="344239"/>
                </a:cubicBezTo>
                <a:cubicBezTo>
                  <a:pt x="0" y="235297"/>
                  <a:pt x="28129" y="150688"/>
                  <a:pt x="84386" y="90413"/>
                </a:cubicBezTo>
                <a:cubicBezTo>
                  <a:pt x="140643" y="30137"/>
                  <a:pt x="214610" y="0"/>
                  <a:pt x="30628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10" name="文本框 9">
            <a:extLst>
              <a:ext uri="{FF2B5EF4-FFF2-40B4-BE49-F238E27FC236}">
                <a16:creationId xmlns:a16="http://schemas.microsoft.com/office/drawing/2014/main" id="{9A70BE23-C686-4100-B2EC-8E61254EDDAF}"/>
              </a:ext>
            </a:extLst>
          </p:cNvPr>
          <p:cNvSpPr txBox="1"/>
          <p:nvPr userDrawn="1"/>
        </p:nvSpPr>
        <p:spPr>
          <a:xfrm>
            <a:off x="2684935" y="4693210"/>
            <a:ext cx="935117" cy="996931"/>
          </a:xfrm>
          <a:custGeom>
            <a:avLst/>
            <a:gdLst/>
            <a:ahLst/>
            <a:cxnLst/>
            <a:rect l="l" t="t" r="r" b="b"/>
            <a:pathLst>
              <a:path w="634901" h="676870">
                <a:moveTo>
                  <a:pt x="317897" y="112960"/>
                </a:moveTo>
                <a:cubicBezTo>
                  <a:pt x="263426" y="112960"/>
                  <a:pt x="219522" y="131638"/>
                  <a:pt x="186184" y="168994"/>
                </a:cubicBezTo>
                <a:cubicBezTo>
                  <a:pt x="152847" y="206350"/>
                  <a:pt x="136178" y="262681"/>
                  <a:pt x="136178" y="337988"/>
                </a:cubicBezTo>
                <a:cubicBezTo>
                  <a:pt x="136178" y="412105"/>
                  <a:pt x="153293" y="468287"/>
                  <a:pt x="187524" y="506536"/>
                </a:cubicBezTo>
                <a:cubicBezTo>
                  <a:pt x="221754" y="544785"/>
                  <a:pt x="265212" y="563909"/>
                  <a:pt x="317897" y="563909"/>
                </a:cubicBezTo>
                <a:cubicBezTo>
                  <a:pt x="370582" y="563909"/>
                  <a:pt x="413817" y="544934"/>
                  <a:pt x="447601" y="506982"/>
                </a:cubicBezTo>
                <a:cubicBezTo>
                  <a:pt x="481385" y="469031"/>
                  <a:pt x="498277" y="412105"/>
                  <a:pt x="498277" y="336202"/>
                </a:cubicBezTo>
                <a:cubicBezTo>
                  <a:pt x="498277" y="261193"/>
                  <a:pt x="481831" y="205234"/>
                  <a:pt x="448940" y="168324"/>
                </a:cubicBezTo>
                <a:cubicBezTo>
                  <a:pt x="416049" y="131415"/>
                  <a:pt x="372368" y="112960"/>
                  <a:pt x="317897" y="112960"/>
                </a:cubicBezTo>
                <a:close/>
                <a:moveTo>
                  <a:pt x="316558" y="0"/>
                </a:moveTo>
                <a:cubicBezTo>
                  <a:pt x="412998" y="0"/>
                  <a:pt x="490166" y="29914"/>
                  <a:pt x="548060" y="89743"/>
                </a:cubicBezTo>
                <a:cubicBezTo>
                  <a:pt x="605954" y="149572"/>
                  <a:pt x="634901" y="232767"/>
                  <a:pt x="634901" y="339328"/>
                </a:cubicBezTo>
                <a:cubicBezTo>
                  <a:pt x="634901" y="444996"/>
                  <a:pt x="606177" y="527670"/>
                  <a:pt x="548730" y="587350"/>
                </a:cubicBezTo>
                <a:cubicBezTo>
                  <a:pt x="491282" y="647030"/>
                  <a:pt x="414487" y="676870"/>
                  <a:pt x="318344" y="676870"/>
                </a:cubicBezTo>
                <a:cubicBezTo>
                  <a:pt x="221010" y="676870"/>
                  <a:pt x="143619" y="647179"/>
                  <a:pt x="86172" y="587796"/>
                </a:cubicBezTo>
                <a:cubicBezTo>
                  <a:pt x="28724" y="528414"/>
                  <a:pt x="0" y="446633"/>
                  <a:pt x="0" y="342453"/>
                </a:cubicBezTo>
                <a:cubicBezTo>
                  <a:pt x="0" y="275778"/>
                  <a:pt x="9972" y="219819"/>
                  <a:pt x="29915" y="174575"/>
                </a:cubicBezTo>
                <a:cubicBezTo>
                  <a:pt x="44798" y="141237"/>
                  <a:pt x="65113" y="111323"/>
                  <a:pt x="90860" y="84832"/>
                </a:cubicBezTo>
                <a:cubicBezTo>
                  <a:pt x="116607" y="58340"/>
                  <a:pt x="144810" y="38695"/>
                  <a:pt x="175469" y="25896"/>
                </a:cubicBezTo>
                <a:cubicBezTo>
                  <a:pt x="216248" y="8632"/>
                  <a:pt x="263277" y="0"/>
                  <a:pt x="31655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11" name="文本框 10">
            <a:extLst>
              <a:ext uri="{FF2B5EF4-FFF2-40B4-BE49-F238E27FC236}">
                <a16:creationId xmlns:a16="http://schemas.microsoft.com/office/drawing/2014/main" id="{E3DCC7BF-1849-42DA-B95E-771014DC5F9C}"/>
              </a:ext>
            </a:extLst>
          </p:cNvPr>
          <p:cNvSpPr txBox="1"/>
          <p:nvPr userDrawn="1"/>
        </p:nvSpPr>
        <p:spPr>
          <a:xfrm>
            <a:off x="6696565" y="4705701"/>
            <a:ext cx="733231" cy="964052"/>
          </a:xfrm>
          <a:custGeom>
            <a:avLst/>
            <a:gdLst/>
            <a:ahLst/>
            <a:cxnLst/>
            <a:rect l="l" t="t" r="r" b="b"/>
            <a:pathLst>
              <a:path w="497830" h="654546">
                <a:moveTo>
                  <a:pt x="0" y="0"/>
                </a:moveTo>
                <a:lnTo>
                  <a:pt x="485329" y="0"/>
                </a:lnTo>
                <a:lnTo>
                  <a:pt x="485329" y="110728"/>
                </a:lnTo>
                <a:lnTo>
                  <a:pt x="132160" y="110728"/>
                </a:lnTo>
                <a:lnTo>
                  <a:pt x="132160" y="255835"/>
                </a:lnTo>
                <a:lnTo>
                  <a:pt x="460772" y="255835"/>
                </a:lnTo>
                <a:lnTo>
                  <a:pt x="460772" y="366117"/>
                </a:lnTo>
                <a:lnTo>
                  <a:pt x="132160" y="366117"/>
                </a:lnTo>
                <a:lnTo>
                  <a:pt x="132160" y="544264"/>
                </a:lnTo>
                <a:lnTo>
                  <a:pt x="497830" y="544264"/>
                </a:lnTo>
                <a:lnTo>
                  <a:pt x="497830"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pic>
        <p:nvPicPr>
          <p:cNvPr id="12" name="图片 11">
            <a:extLst>
              <a:ext uri="{FF2B5EF4-FFF2-40B4-BE49-F238E27FC236}">
                <a16:creationId xmlns:a16="http://schemas.microsoft.com/office/drawing/2014/main" id="{1B0E7C1E-4D28-4AA4-9253-AD8ED48B180B}"/>
              </a:ext>
            </a:extLst>
          </p:cNvPr>
          <p:cNvPicPr>
            <a:picLocks noChangeAspect="1"/>
          </p:cNvPicPr>
          <p:nvPr userDrawn="1"/>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bright="5000"/>
                    </a14:imgEffect>
                  </a14:imgLayer>
                </a14:imgProps>
              </a:ext>
              <a:ext uri="{28A0092B-C50C-407E-A947-70E740481C1C}">
                <a14:useLocalDpi xmlns:a14="http://schemas.microsoft.com/office/drawing/2010/main"/>
              </a:ext>
            </a:extLst>
          </a:blip>
          <a:srcRect t="23141"/>
          <a:stretch/>
        </p:blipFill>
        <p:spPr>
          <a:xfrm>
            <a:off x="0" y="4085862"/>
            <a:ext cx="12192000" cy="2772137"/>
          </a:xfrm>
          <a:prstGeom prst="rect">
            <a:avLst/>
          </a:prstGeom>
        </p:spPr>
      </p:pic>
      <p:grpSp>
        <p:nvGrpSpPr>
          <p:cNvPr id="112" name="组合 111">
            <a:extLst>
              <a:ext uri="{FF2B5EF4-FFF2-40B4-BE49-F238E27FC236}">
                <a16:creationId xmlns:a16="http://schemas.microsoft.com/office/drawing/2014/main" id="{70499467-D277-45EC-87F8-AC53398BBBFE}"/>
              </a:ext>
            </a:extLst>
          </p:cNvPr>
          <p:cNvGrpSpPr/>
          <p:nvPr userDrawn="1"/>
        </p:nvGrpSpPr>
        <p:grpSpPr>
          <a:xfrm>
            <a:off x="8431598" y="0"/>
            <a:ext cx="3760402" cy="4528788"/>
            <a:chOff x="8431598" y="0"/>
            <a:chExt cx="3760402" cy="4528788"/>
          </a:xfrm>
        </p:grpSpPr>
        <p:sp>
          <p:nvSpPr>
            <p:cNvPr id="111" name="任意多边形: 形状 110">
              <a:extLst>
                <a:ext uri="{FF2B5EF4-FFF2-40B4-BE49-F238E27FC236}">
                  <a16:creationId xmlns:a16="http://schemas.microsoft.com/office/drawing/2014/main" id="{44E408E8-F3B4-4A24-A730-0E23A7E9F7F2}"/>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0" name="任意多边形: 形状 109">
              <a:extLst>
                <a:ext uri="{FF2B5EF4-FFF2-40B4-BE49-F238E27FC236}">
                  <a16:creationId xmlns:a16="http://schemas.microsoft.com/office/drawing/2014/main" id="{74B9CACC-398B-45C1-82DC-71AEAF77BEA5}"/>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9" name="任意多边形: 形状 108">
              <a:extLst>
                <a:ext uri="{FF2B5EF4-FFF2-40B4-BE49-F238E27FC236}">
                  <a16:creationId xmlns:a16="http://schemas.microsoft.com/office/drawing/2014/main" id="{FEC1A5A6-9660-4E40-8F79-001E9C2B6789}"/>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32" name="平行四边形 31">
            <a:extLst>
              <a:ext uri="{FF2B5EF4-FFF2-40B4-BE49-F238E27FC236}">
                <a16:creationId xmlns:a16="http://schemas.microsoft.com/office/drawing/2014/main" id="{F0486ED7-A242-4EB1-A5E5-926BB84B24FA}"/>
              </a:ext>
            </a:extLst>
          </p:cNvPr>
          <p:cNvSpPr/>
          <p:nvPr userDrawn="1"/>
        </p:nvSpPr>
        <p:spPr>
          <a:xfrm>
            <a:off x="290218" y="-24137"/>
            <a:ext cx="2818743" cy="6325432"/>
          </a:xfrm>
          <a:prstGeom prst="parallelogram">
            <a:avLst>
              <a:gd name="adj" fmla="val 63107"/>
            </a:avLst>
          </a:pr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5" name="任意多边形: 形状 104">
            <a:extLst>
              <a:ext uri="{FF2B5EF4-FFF2-40B4-BE49-F238E27FC236}">
                <a16:creationId xmlns:a16="http://schemas.microsoft.com/office/drawing/2014/main" id="{3180F2E8-33A9-40C1-AF54-5457969F590F}"/>
              </a:ext>
            </a:extLst>
          </p:cNvPr>
          <p:cNvSpPr/>
          <p:nvPr userDrawn="1"/>
        </p:nvSpPr>
        <p:spPr>
          <a:xfrm>
            <a:off x="0" y="1"/>
            <a:ext cx="2821146" cy="6301295"/>
          </a:xfrm>
          <a:custGeom>
            <a:avLst/>
            <a:gdLst>
              <a:gd name="connsiteX0" fmla="*/ 0 w 2821146"/>
              <a:gd name="connsiteY0" fmla="*/ 0 h 6301295"/>
              <a:gd name="connsiteX1" fmla="*/ 2821146 w 2821146"/>
              <a:gd name="connsiteY1" fmla="*/ 0 h 6301295"/>
              <a:gd name="connsiteX2" fmla="*/ 1027448 w 2821146"/>
              <a:gd name="connsiteY2" fmla="*/ 6301295 h 6301295"/>
              <a:gd name="connsiteX3" fmla="*/ 0 w 2821146"/>
              <a:gd name="connsiteY3" fmla="*/ 6301295 h 6301295"/>
            </a:gdLst>
            <a:ahLst/>
            <a:cxnLst>
              <a:cxn ang="0">
                <a:pos x="connsiteX0" y="connsiteY0"/>
              </a:cxn>
              <a:cxn ang="0">
                <a:pos x="connsiteX1" y="connsiteY1"/>
              </a:cxn>
              <a:cxn ang="0">
                <a:pos x="connsiteX2" y="connsiteY2"/>
              </a:cxn>
              <a:cxn ang="0">
                <a:pos x="connsiteX3" y="connsiteY3"/>
              </a:cxn>
            </a:cxnLst>
            <a:rect l="l" t="t" r="r" b="b"/>
            <a:pathLst>
              <a:path w="2821146" h="6301295">
                <a:moveTo>
                  <a:pt x="0" y="0"/>
                </a:moveTo>
                <a:lnTo>
                  <a:pt x="2821146" y="0"/>
                </a:lnTo>
                <a:lnTo>
                  <a:pt x="1027448" y="6301295"/>
                </a:lnTo>
                <a:lnTo>
                  <a:pt x="0" y="6301295"/>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文本框 34">
            <a:extLst>
              <a:ext uri="{FF2B5EF4-FFF2-40B4-BE49-F238E27FC236}">
                <a16:creationId xmlns:a16="http://schemas.microsoft.com/office/drawing/2014/main" id="{AC60CCE5-6FDA-4A16-BC15-30BD54E71AC9}"/>
              </a:ext>
            </a:extLst>
          </p:cNvPr>
          <p:cNvSpPr txBox="1"/>
          <p:nvPr userDrawn="1"/>
        </p:nvSpPr>
        <p:spPr>
          <a:xfrm>
            <a:off x="4135254"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36" name="文本框 35">
            <a:extLst>
              <a:ext uri="{FF2B5EF4-FFF2-40B4-BE49-F238E27FC236}">
                <a16:creationId xmlns:a16="http://schemas.microsoft.com/office/drawing/2014/main" id="{320D2300-939C-4826-8047-F23FB571C849}"/>
              </a:ext>
            </a:extLst>
          </p:cNvPr>
          <p:cNvSpPr txBox="1"/>
          <p:nvPr userDrawn="1"/>
        </p:nvSpPr>
        <p:spPr>
          <a:xfrm>
            <a:off x="5415252" y="4705700"/>
            <a:ext cx="766111" cy="964050"/>
          </a:xfrm>
          <a:custGeom>
            <a:avLst/>
            <a:gdLst/>
            <a:ahLst/>
            <a:cxnLst/>
            <a:rect l="l" t="t" r="r" b="b"/>
            <a:pathLst>
              <a:path w="520154" h="654546">
                <a:moveTo>
                  <a:pt x="0" y="0"/>
                </a:moveTo>
                <a:lnTo>
                  <a:pt x="520154" y="0"/>
                </a:lnTo>
                <a:lnTo>
                  <a:pt x="520154" y="110728"/>
                </a:lnTo>
                <a:lnTo>
                  <a:pt x="326380" y="110728"/>
                </a:lnTo>
                <a:lnTo>
                  <a:pt x="326380" y="654546"/>
                </a:lnTo>
                <a:lnTo>
                  <a:pt x="194220" y="654546"/>
                </a:lnTo>
                <a:lnTo>
                  <a:pt x="194220"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37" name="文本框 36">
            <a:extLst>
              <a:ext uri="{FF2B5EF4-FFF2-40B4-BE49-F238E27FC236}">
                <a16:creationId xmlns:a16="http://schemas.microsoft.com/office/drawing/2014/main" id="{BDA1B620-0DAD-445C-A765-840C36C62AEF}"/>
              </a:ext>
            </a:extLst>
          </p:cNvPr>
          <p:cNvSpPr txBox="1"/>
          <p:nvPr userDrawn="1"/>
        </p:nvSpPr>
        <p:spPr>
          <a:xfrm>
            <a:off x="7944998"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103" name="标题 1">
            <a:extLst>
              <a:ext uri="{FF2B5EF4-FFF2-40B4-BE49-F238E27FC236}">
                <a16:creationId xmlns:a16="http://schemas.microsoft.com/office/drawing/2014/main" id="{ECEA980E-824B-40EF-B591-9C2C6F6E9734}"/>
              </a:ext>
            </a:extLst>
          </p:cNvPr>
          <p:cNvSpPr>
            <a:spLocks noGrp="1"/>
          </p:cNvSpPr>
          <p:nvPr userDrawn="1">
            <p:ph type="ctrTitle" hasCustomPrompt="1"/>
          </p:nvPr>
        </p:nvSpPr>
        <p:spPr>
          <a:xfrm>
            <a:off x="1010074" y="1104899"/>
            <a:ext cx="910112" cy="2499361"/>
          </a:xfrm>
        </p:spPr>
        <p:txBody>
          <a:bodyPr lIns="0" tIns="0" rIns="0" bIns="0" anchor="ctr">
            <a:noAutofit/>
          </a:bodyPr>
          <a:lstStyle>
            <a:lvl1pPr marL="0" algn="ctr" defTabSz="457200" rtl="0" eaLnBrk="1" latinLnBrk="0" hangingPunct="1">
              <a:lnSpc>
                <a:spcPct val="100000"/>
              </a:lnSpc>
              <a:defRPr lang="en-US" sz="7200" b="1" kern="1200" spc="600" dirty="0">
                <a:solidFill>
                  <a:schemeClr val="accent1"/>
                </a:solidFill>
                <a:latin typeface="+mn-lt"/>
                <a:ea typeface="+mn-ea"/>
                <a:cs typeface="+mn-cs"/>
              </a:defRPr>
            </a:lvl1pPr>
          </a:lstStyle>
          <a:p>
            <a:r>
              <a:rPr lang="zh-CN" altLang="en-US" dirty="0"/>
              <a:t>目录</a:t>
            </a:r>
            <a:endParaRPr lang="en-US" dirty="0"/>
          </a:p>
        </p:txBody>
      </p:sp>
      <p:cxnSp>
        <p:nvCxnSpPr>
          <p:cNvPr id="53" name="直接连接符 52">
            <a:extLst>
              <a:ext uri="{FF2B5EF4-FFF2-40B4-BE49-F238E27FC236}">
                <a16:creationId xmlns:a16="http://schemas.microsoft.com/office/drawing/2014/main" id="{DC63E7DF-ACD5-4860-8A7C-4F242262BC5D}"/>
              </a:ext>
            </a:extLst>
          </p:cNvPr>
          <p:cNvCxnSpPr>
            <a:cxnSpLocks/>
          </p:cNvCxnSpPr>
          <p:nvPr userDrawn="1"/>
        </p:nvCxnSpPr>
        <p:spPr>
          <a:xfrm>
            <a:off x="994780" y="1157083"/>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DAC86189-DD9D-486C-8087-9529605B266A}"/>
              </a:ext>
            </a:extLst>
          </p:cNvPr>
          <p:cNvCxnSpPr>
            <a:cxnSpLocks/>
          </p:cNvCxnSpPr>
          <p:nvPr userDrawn="1"/>
        </p:nvCxnSpPr>
        <p:spPr>
          <a:xfrm>
            <a:off x="994780" y="3633583"/>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05" name="组合 204">
            <a:extLst>
              <a:ext uri="{FF2B5EF4-FFF2-40B4-BE49-F238E27FC236}">
                <a16:creationId xmlns:a16="http://schemas.microsoft.com/office/drawing/2014/main" id="{A2207DE5-1417-4D41-B13B-FA71732BBD14}"/>
              </a:ext>
            </a:extLst>
          </p:cNvPr>
          <p:cNvGrpSpPr/>
          <p:nvPr userDrawn="1"/>
        </p:nvGrpSpPr>
        <p:grpSpPr>
          <a:xfrm>
            <a:off x="10477913" y="446123"/>
            <a:ext cx="1234662" cy="419641"/>
            <a:chOff x="1398368" y="5051425"/>
            <a:chExt cx="3242941" cy="1102222"/>
          </a:xfrm>
        </p:grpSpPr>
        <p:sp>
          <p:nvSpPr>
            <p:cNvPr id="206" name="Freeform 5">
              <a:extLst>
                <a:ext uri="{FF2B5EF4-FFF2-40B4-BE49-F238E27FC236}">
                  <a16:creationId xmlns:a16="http://schemas.microsoft.com/office/drawing/2014/main" id="{E9936EE7-09EE-47C3-9301-D002BAB1670F}"/>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
              <a:extLst>
                <a:ext uri="{FF2B5EF4-FFF2-40B4-BE49-F238E27FC236}">
                  <a16:creationId xmlns:a16="http://schemas.microsoft.com/office/drawing/2014/main" id="{79145088-7A49-43FF-AC91-EA5D9C22599E}"/>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8">
              <a:extLst>
                <a:ext uri="{FF2B5EF4-FFF2-40B4-BE49-F238E27FC236}">
                  <a16:creationId xmlns:a16="http://schemas.microsoft.com/office/drawing/2014/main" id="{E02D64CC-1BAB-46DF-9A84-50DD5AE394C5}"/>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9" name="组合 208">
              <a:extLst>
                <a:ext uri="{FF2B5EF4-FFF2-40B4-BE49-F238E27FC236}">
                  <a16:creationId xmlns:a16="http://schemas.microsoft.com/office/drawing/2014/main" id="{68991FCA-3F21-4004-B198-E5152220D3E3}"/>
                </a:ext>
              </a:extLst>
            </p:cNvPr>
            <p:cNvGrpSpPr/>
            <p:nvPr/>
          </p:nvGrpSpPr>
          <p:grpSpPr>
            <a:xfrm>
              <a:off x="2921957" y="5168150"/>
              <a:ext cx="542765" cy="642593"/>
              <a:chOff x="3102298" y="5183391"/>
              <a:chExt cx="501880" cy="594188"/>
            </a:xfrm>
          </p:grpSpPr>
          <p:sp>
            <p:nvSpPr>
              <p:cNvPr id="250" name="Freeform 6">
                <a:extLst>
                  <a:ext uri="{FF2B5EF4-FFF2-40B4-BE49-F238E27FC236}">
                    <a16:creationId xmlns:a16="http://schemas.microsoft.com/office/drawing/2014/main" id="{7B1D3B90-73D3-49A4-A841-BA12841B50A7}"/>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0">
                <a:extLst>
                  <a:ext uri="{FF2B5EF4-FFF2-40B4-BE49-F238E27FC236}">
                    <a16:creationId xmlns:a16="http://schemas.microsoft.com/office/drawing/2014/main" id="{E0867C6B-E0CA-4BC1-80D4-2A3F639E0D3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3">
                <a:extLst>
                  <a:ext uri="{FF2B5EF4-FFF2-40B4-BE49-F238E27FC236}">
                    <a16:creationId xmlns:a16="http://schemas.microsoft.com/office/drawing/2014/main" id="{B814D541-9888-4A29-BB03-A0C8BFCEB66C}"/>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0" name="组合 209">
              <a:extLst>
                <a:ext uri="{FF2B5EF4-FFF2-40B4-BE49-F238E27FC236}">
                  <a16:creationId xmlns:a16="http://schemas.microsoft.com/office/drawing/2014/main" id="{4202491D-63C6-493A-8BB7-9E11F208968B}"/>
                </a:ext>
              </a:extLst>
            </p:cNvPr>
            <p:cNvGrpSpPr/>
            <p:nvPr/>
          </p:nvGrpSpPr>
          <p:grpSpPr>
            <a:xfrm>
              <a:off x="4196892" y="5154476"/>
              <a:ext cx="444417" cy="649987"/>
              <a:chOff x="4257853" y="5169716"/>
              <a:chExt cx="410940" cy="601025"/>
            </a:xfrm>
          </p:grpSpPr>
          <p:sp>
            <p:nvSpPr>
              <p:cNvPr id="245" name="Freeform 9">
                <a:extLst>
                  <a:ext uri="{FF2B5EF4-FFF2-40B4-BE49-F238E27FC236}">
                    <a16:creationId xmlns:a16="http://schemas.microsoft.com/office/drawing/2014/main" id="{F18EA90F-3B72-446A-A85E-AF0382835D97}"/>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1">
                <a:extLst>
                  <a:ext uri="{FF2B5EF4-FFF2-40B4-BE49-F238E27FC236}">
                    <a16:creationId xmlns:a16="http://schemas.microsoft.com/office/drawing/2014/main" id="{6853F98E-5EA4-4B4B-AD37-82355B32F1B3}"/>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2">
                <a:extLst>
                  <a:ext uri="{FF2B5EF4-FFF2-40B4-BE49-F238E27FC236}">
                    <a16:creationId xmlns:a16="http://schemas.microsoft.com/office/drawing/2014/main" id="{2DD376C1-9F6B-4EF5-B740-E21CB8FDDD7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4">
                <a:extLst>
                  <a:ext uri="{FF2B5EF4-FFF2-40B4-BE49-F238E27FC236}">
                    <a16:creationId xmlns:a16="http://schemas.microsoft.com/office/drawing/2014/main" id="{585DC808-46B5-4A2E-AAC6-B519F74C5083}"/>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5">
                <a:extLst>
                  <a:ext uri="{FF2B5EF4-FFF2-40B4-BE49-F238E27FC236}">
                    <a16:creationId xmlns:a16="http://schemas.microsoft.com/office/drawing/2014/main" id="{DE0EC09E-B4F2-45C5-849C-785C30601FC6}"/>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 name="Freeform 16">
              <a:extLst>
                <a:ext uri="{FF2B5EF4-FFF2-40B4-BE49-F238E27FC236}">
                  <a16:creationId xmlns:a16="http://schemas.microsoft.com/office/drawing/2014/main" id="{46818453-AF58-4579-BF70-9B62949D4246}"/>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7">
              <a:extLst>
                <a:ext uri="{FF2B5EF4-FFF2-40B4-BE49-F238E27FC236}">
                  <a16:creationId xmlns:a16="http://schemas.microsoft.com/office/drawing/2014/main" id="{546EFD77-E17C-42DA-92E2-F58E7958FDE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18">
              <a:extLst>
                <a:ext uri="{FF2B5EF4-FFF2-40B4-BE49-F238E27FC236}">
                  <a16:creationId xmlns:a16="http://schemas.microsoft.com/office/drawing/2014/main" id="{77694CFB-75D9-47FB-A7BC-21BB7AF51560}"/>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9">
              <a:extLst>
                <a:ext uri="{FF2B5EF4-FFF2-40B4-BE49-F238E27FC236}">
                  <a16:creationId xmlns:a16="http://schemas.microsoft.com/office/drawing/2014/main" id="{02FF9F65-C8F1-4837-9126-59566C380422}"/>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0">
              <a:extLst>
                <a:ext uri="{FF2B5EF4-FFF2-40B4-BE49-F238E27FC236}">
                  <a16:creationId xmlns:a16="http://schemas.microsoft.com/office/drawing/2014/main" id="{AE9214D0-8721-4C5F-8626-D1E24BD73805}"/>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21">
              <a:extLst>
                <a:ext uri="{FF2B5EF4-FFF2-40B4-BE49-F238E27FC236}">
                  <a16:creationId xmlns:a16="http://schemas.microsoft.com/office/drawing/2014/main" id="{5B4259DC-D6FF-4ACB-B2FA-B9F0C965C4AF}"/>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22">
              <a:extLst>
                <a:ext uri="{FF2B5EF4-FFF2-40B4-BE49-F238E27FC236}">
                  <a16:creationId xmlns:a16="http://schemas.microsoft.com/office/drawing/2014/main" id="{94EB2B53-4DBA-48CA-B475-4F652C7206B2}"/>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23">
              <a:extLst>
                <a:ext uri="{FF2B5EF4-FFF2-40B4-BE49-F238E27FC236}">
                  <a16:creationId xmlns:a16="http://schemas.microsoft.com/office/drawing/2014/main" id="{A7C49B35-81C1-4A01-91A5-A3D17C10A79E}"/>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24">
              <a:extLst>
                <a:ext uri="{FF2B5EF4-FFF2-40B4-BE49-F238E27FC236}">
                  <a16:creationId xmlns:a16="http://schemas.microsoft.com/office/drawing/2014/main" id="{6C9DF5FE-057A-40AC-999E-9194CA5AE50F}"/>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25">
              <a:extLst>
                <a:ext uri="{FF2B5EF4-FFF2-40B4-BE49-F238E27FC236}">
                  <a16:creationId xmlns:a16="http://schemas.microsoft.com/office/drawing/2014/main" id="{1F3D284F-4113-4C40-9F6A-4E97C002D095}"/>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26">
              <a:extLst>
                <a:ext uri="{FF2B5EF4-FFF2-40B4-BE49-F238E27FC236}">
                  <a16:creationId xmlns:a16="http://schemas.microsoft.com/office/drawing/2014/main" id="{F561DC71-E821-49C9-A9EB-AA81B427E4A2}"/>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27">
              <a:extLst>
                <a:ext uri="{FF2B5EF4-FFF2-40B4-BE49-F238E27FC236}">
                  <a16:creationId xmlns:a16="http://schemas.microsoft.com/office/drawing/2014/main" id="{8483D2AA-A31B-4569-8D8F-EA9F5FC1EF15}"/>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28">
              <a:extLst>
                <a:ext uri="{FF2B5EF4-FFF2-40B4-BE49-F238E27FC236}">
                  <a16:creationId xmlns:a16="http://schemas.microsoft.com/office/drawing/2014/main" id="{5175303F-FC82-47E5-BF9D-5569C16A5CBF}"/>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29">
              <a:extLst>
                <a:ext uri="{FF2B5EF4-FFF2-40B4-BE49-F238E27FC236}">
                  <a16:creationId xmlns:a16="http://schemas.microsoft.com/office/drawing/2014/main" id="{5A812563-68CC-4BD1-A69D-8B8CF839D13E}"/>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30">
              <a:extLst>
                <a:ext uri="{FF2B5EF4-FFF2-40B4-BE49-F238E27FC236}">
                  <a16:creationId xmlns:a16="http://schemas.microsoft.com/office/drawing/2014/main" id="{59977FD1-ADFD-4F8F-945E-B774DDA2E920}"/>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31">
              <a:extLst>
                <a:ext uri="{FF2B5EF4-FFF2-40B4-BE49-F238E27FC236}">
                  <a16:creationId xmlns:a16="http://schemas.microsoft.com/office/drawing/2014/main" id="{33B20096-EB74-4844-8C34-25BAE3578381}"/>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32">
              <a:extLst>
                <a:ext uri="{FF2B5EF4-FFF2-40B4-BE49-F238E27FC236}">
                  <a16:creationId xmlns:a16="http://schemas.microsoft.com/office/drawing/2014/main" id="{9E0EB4FC-9B25-4258-9F1D-7A75B2F84163}"/>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33">
              <a:extLst>
                <a:ext uri="{FF2B5EF4-FFF2-40B4-BE49-F238E27FC236}">
                  <a16:creationId xmlns:a16="http://schemas.microsoft.com/office/drawing/2014/main" id="{6221C405-EA96-4460-BD73-5DAC162E1893}"/>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34">
              <a:extLst>
                <a:ext uri="{FF2B5EF4-FFF2-40B4-BE49-F238E27FC236}">
                  <a16:creationId xmlns:a16="http://schemas.microsoft.com/office/drawing/2014/main" id="{59506D10-6CDC-4DCF-B58C-EF20D67858DB}"/>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35">
              <a:extLst>
                <a:ext uri="{FF2B5EF4-FFF2-40B4-BE49-F238E27FC236}">
                  <a16:creationId xmlns:a16="http://schemas.microsoft.com/office/drawing/2014/main" id="{770FFCAF-A7FC-48DB-9F98-3F089E8FD45D}"/>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36">
              <a:extLst>
                <a:ext uri="{FF2B5EF4-FFF2-40B4-BE49-F238E27FC236}">
                  <a16:creationId xmlns:a16="http://schemas.microsoft.com/office/drawing/2014/main" id="{BAD6111E-5CB0-4AF1-8314-903CDC189759}"/>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37">
              <a:extLst>
                <a:ext uri="{FF2B5EF4-FFF2-40B4-BE49-F238E27FC236}">
                  <a16:creationId xmlns:a16="http://schemas.microsoft.com/office/drawing/2014/main" id="{9E3DBDAB-523C-42DF-9CB7-05D27C3EDBF9}"/>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38">
              <a:extLst>
                <a:ext uri="{FF2B5EF4-FFF2-40B4-BE49-F238E27FC236}">
                  <a16:creationId xmlns:a16="http://schemas.microsoft.com/office/drawing/2014/main" id="{43BD8532-1DD7-4C56-9C69-68B62298455B}"/>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39">
              <a:extLst>
                <a:ext uri="{FF2B5EF4-FFF2-40B4-BE49-F238E27FC236}">
                  <a16:creationId xmlns:a16="http://schemas.microsoft.com/office/drawing/2014/main" id="{DC8E876A-FF68-40C0-86B1-3C3D6FE37770}"/>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40">
              <a:extLst>
                <a:ext uri="{FF2B5EF4-FFF2-40B4-BE49-F238E27FC236}">
                  <a16:creationId xmlns:a16="http://schemas.microsoft.com/office/drawing/2014/main" id="{3473972D-C00A-4984-BAB6-D848881DA96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41">
              <a:extLst>
                <a:ext uri="{FF2B5EF4-FFF2-40B4-BE49-F238E27FC236}">
                  <a16:creationId xmlns:a16="http://schemas.microsoft.com/office/drawing/2014/main" id="{FF8931A7-DD0E-4276-A5FE-F9F0B944CBB9}"/>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42">
              <a:extLst>
                <a:ext uri="{FF2B5EF4-FFF2-40B4-BE49-F238E27FC236}">
                  <a16:creationId xmlns:a16="http://schemas.microsoft.com/office/drawing/2014/main" id="{A57BDEF6-2369-4693-94AD-74E2F97BC02F}"/>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43">
              <a:extLst>
                <a:ext uri="{FF2B5EF4-FFF2-40B4-BE49-F238E27FC236}">
                  <a16:creationId xmlns:a16="http://schemas.microsoft.com/office/drawing/2014/main" id="{A00D3CCB-1E01-4805-96BE-7F6F84CFC2CA}"/>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44">
              <a:extLst>
                <a:ext uri="{FF2B5EF4-FFF2-40B4-BE49-F238E27FC236}">
                  <a16:creationId xmlns:a16="http://schemas.microsoft.com/office/drawing/2014/main" id="{4D80F5C1-F2A9-4DF2-9C6E-DC33121A43DD}"/>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45">
              <a:extLst>
                <a:ext uri="{FF2B5EF4-FFF2-40B4-BE49-F238E27FC236}">
                  <a16:creationId xmlns:a16="http://schemas.microsoft.com/office/drawing/2014/main" id="{A57C2EB5-971E-4B21-8E0E-BA1ADFC14BBF}"/>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46">
              <a:extLst>
                <a:ext uri="{FF2B5EF4-FFF2-40B4-BE49-F238E27FC236}">
                  <a16:creationId xmlns:a16="http://schemas.microsoft.com/office/drawing/2014/main" id="{4E0DC4E7-8C18-45A6-8771-ECA7E7D46591}"/>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47">
              <a:extLst>
                <a:ext uri="{FF2B5EF4-FFF2-40B4-BE49-F238E27FC236}">
                  <a16:creationId xmlns:a16="http://schemas.microsoft.com/office/drawing/2014/main" id="{62D3FD34-A354-4AB5-A8EE-5017948E41DB}"/>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48">
              <a:extLst>
                <a:ext uri="{FF2B5EF4-FFF2-40B4-BE49-F238E27FC236}">
                  <a16:creationId xmlns:a16="http://schemas.microsoft.com/office/drawing/2014/main" id="{426B0B1C-BEAF-48E5-B13F-32DF76DBA3CF}"/>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49">
              <a:extLst>
                <a:ext uri="{FF2B5EF4-FFF2-40B4-BE49-F238E27FC236}">
                  <a16:creationId xmlns:a16="http://schemas.microsoft.com/office/drawing/2014/main" id="{589A7317-FFFF-4A05-8373-D4DA5432FC62}"/>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矩形: 对角圆角 67">
            <a:extLst>
              <a:ext uri="{FF2B5EF4-FFF2-40B4-BE49-F238E27FC236}">
                <a16:creationId xmlns:a16="http://schemas.microsoft.com/office/drawing/2014/main" id="{D818CD7B-A03F-427B-91C4-E555686726D7}"/>
              </a:ext>
            </a:extLst>
          </p:cNvPr>
          <p:cNvSpPr/>
          <p:nvPr userDrawn="1"/>
        </p:nvSpPr>
        <p:spPr>
          <a:xfrm>
            <a:off x="3447342"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9" name="文本占位符 6">
            <a:extLst>
              <a:ext uri="{FF2B5EF4-FFF2-40B4-BE49-F238E27FC236}">
                <a16:creationId xmlns:a16="http://schemas.microsoft.com/office/drawing/2014/main" id="{42FCF6C0-9743-44F5-BCFB-2FFB95BABD73}"/>
              </a:ext>
            </a:extLst>
          </p:cNvPr>
          <p:cNvSpPr>
            <a:spLocks noGrp="1"/>
          </p:cNvSpPr>
          <p:nvPr>
            <p:ph type="body" sz="quarter" idx="10"/>
          </p:nvPr>
        </p:nvSpPr>
        <p:spPr>
          <a:xfrm>
            <a:off x="4250413"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0" name="文本占位符 6">
            <a:extLst>
              <a:ext uri="{FF2B5EF4-FFF2-40B4-BE49-F238E27FC236}">
                <a16:creationId xmlns:a16="http://schemas.microsoft.com/office/drawing/2014/main" id="{420457FD-CF28-4877-B7B7-1D9907A8AEA5}"/>
              </a:ext>
            </a:extLst>
          </p:cNvPr>
          <p:cNvSpPr>
            <a:spLocks noGrp="1"/>
          </p:cNvSpPr>
          <p:nvPr>
            <p:ph type="body" sz="quarter" idx="11"/>
          </p:nvPr>
        </p:nvSpPr>
        <p:spPr>
          <a:xfrm>
            <a:off x="4250413"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1" name="文本占位符 6">
            <a:extLst>
              <a:ext uri="{FF2B5EF4-FFF2-40B4-BE49-F238E27FC236}">
                <a16:creationId xmlns:a16="http://schemas.microsoft.com/office/drawing/2014/main" id="{6074BC7F-B4B1-4B79-8C9A-D45E20F6A29D}"/>
              </a:ext>
            </a:extLst>
          </p:cNvPr>
          <p:cNvSpPr>
            <a:spLocks noGrp="1"/>
          </p:cNvSpPr>
          <p:nvPr>
            <p:ph type="body" sz="quarter" idx="12" hasCustomPrompt="1"/>
          </p:nvPr>
        </p:nvSpPr>
        <p:spPr>
          <a:xfrm>
            <a:off x="3413241" y="1335505"/>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2" name="直接连接符 71">
            <a:extLst>
              <a:ext uri="{FF2B5EF4-FFF2-40B4-BE49-F238E27FC236}">
                <a16:creationId xmlns:a16="http://schemas.microsoft.com/office/drawing/2014/main" id="{28DAFC62-DC41-4D3D-AAA0-B20FA5163DB9}"/>
              </a:ext>
            </a:extLst>
          </p:cNvPr>
          <p:cNvCxnSpPr>
            <a:cxnSpLocks/>
          </p:cNvCxnSpPr>
          <p:nvPr userDrawn="1"/>
        </p:nvCxnSpPr>
        <p:spPr>
          <a:xfrm>
            <a:off x="4250413"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3" name="矩形: 对角圆角 72">
            <a:extLst>
              <a:ext uri="{FF2B5EF4-FFF2-40B4-BE49-F238E27FC236}">
                <a16:creationId xmlns:a16="http://schemas.microsoft.com/office/drawing/2014/main" id="{F653E5A7-701C-4CBD-B095-01932DCF54D6}"/>
              </a:ext>
            </a:extLst>
          </p:cNvPr>
          <p:cNvSpPr/>
          <p:nvPr userDrawn="1"/>
        </p:nvSpPr>
        <p:spPr>
          <a:xfrm>
            <a:off x="3447342"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4" name="文本占位符 6">
            <a:extLst>
              <a:ext uri="{FF2B5EF4-FFF2-40B4-BE49-F238E27FC236}">
                <a16:creationId xmlns:a16="http://schemas.microsoft.com/office/drawing/2014/main" id="{0D94F75F-D9EF-4869-8935-49FFDC43F777}"/>
              </a:ext>
            </a:extLst>
          </p:cNvPr>
          <p:cNvSpPr>
            <a:spLocks noGrp="1"/>
          </p:cNvSpPr>
          <p:nvPr>
            <p:ph type="body" sz="quarter" idx="13"/>
          </p:nvPr>
        </p:nvSpPr>
        <p:spPr>
          <a:xfrm>
            <a:off x="4250413"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5" name="文本占位符 6">
            <a:extLst>
              <a:ext uri="{FF2B5EF4-FFF2-40B4-BE49-F238E27FC236}">
                <a16:creationId xmlns:a16="http://schemas.microsoft.com/office/drawing/2014/main" id="{2EE97D98-0361-4A68-8938-972BC1F6F5BC}"/>
              </a:ext>
            </a:extLst>
          </p:cNvPr>
          <p:cNvSpPr>
            <a:spLocks noGrp="1"/>
          </p:cNvSpPr>
          <p:nvPr>
            <p:ph type="body" sz="quarter" idx="14"/>
          </p:nvPr>
        </p:nvSpPr>
        <p:spPr>
          <a:xfrm>
            <a:off x="4250413"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6" name="文本占位符 6">
            <a:extLst>
              <a:ext uri="{FF2B5EF4-FFF2-40B4-BE49-F238E27FC236}">
                <a16:creationId xmlns:a16="http://schemas.microsoft.com/office/drawing/2014/main" id="{F7A7CC6F-2B08-4288-93DC-27BB54020E8E}"/>
              </a:ext>
            </a:extLst>
          </p:cNvPr>
          <p:cNvSpPr>
            <a:spLocks noGrp="1"/>
          </p:cNvSpPr>
          <p:nvPr>
            <p:ph type="body" sz="quarter" idx="15" hasCustomPrompt="1"/>
          </p:nvPr>
        </p:nvSpPr>
        <p:spPr>
          <a:xfrm>
            <a:off x="3375570" y="267816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7" name="直接连接符 76">
            <a:extLst>
              <a:ext uri="{FF2B5EF4-FFF2-40B4-BE49-F238E27FC236}">
                <a16:creationId xmlns:a16="http://schemas.microsoft.com/office/drawing/2014/main" id="{BB231F56-6C83-4107-84EA-17FF5A2AAEE6}"/>
              </a:ext>
            </a:extLst>
          </p:cNvPr>
          <p:cNvCxnSpPr>
            <a:cxnSpLocks/>
          </p:cNvCxnSpPr>
          <p:nvPr userDrawn="1"/>
        </p:nvCxnSpPr>
        <p:spPr>
          <a:xfrm>
            <a:off x="4250413"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8" name="矩形: 对角圆角 77">
            <a:extLst>
              <a:ext uri="{FF2B5EF4-FFF2-40B4-BE49-F238E27FC236}">
                <a16:creationId xmlns:a16="http://schemas.microsoft.com/office/drawing/2014/main" id="{D4719B17-9065-482A-A29D-C7B54C9E8C78}"/>
              </a:ext>
            </a:extLst>
          </p:cNvPr>
          <p:cNvSpPr/>
          <p:nvPr userDrawn="1"/>
        </p:nvSpPr>
        <p:spPr>
          <a:xfrm>
            <a:off x="8094653"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9" name="文本占位符 6">
            <a:extLst>
              <a:ext uri="{FF2B5EF4-FFF2-40B4-BE49-F238E27FC236}">
                <a16:creationId xmlns:a16="http://schemas.microsoft.com/office/drawing/2014/main" id="{4FBCC352-8EB3-4AC3-A2E2-D75746F08992}"/>
              </a:ext>
            </a:extLst>
          </p:cNvPr>
          <p:cNvSpPr>
            <a:spLocks noGrp="1"/>
          </p:cNvSpPr>
          <p:nvPr>
            <p:ph type="body" sz="quarter" idx="19"/>
          </p:nvPr>
        </p:nvSpPr>
        <p:spPr>
          <a:xfrm>
            <a:off x="8897724"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0" name="文本占位符 6">
            <a:extLst>
              <a:ext uri="{FF2B5EF4-FFF2-40B4-BE49-F238E27FC236}">
                <a16:creationId xmlns:a16="http://schemas.microsoft.com/office/drawing/2014/main" id="{0BADFD43-E017-47CA-80D1-8408F4E5A017}"/>
              </a:ext>
            </a:extLst>
          </p:cNvPr>
          <p:cNvSpPr>
            <a:spLocks noGrp="1"/>
          </p:cNvSpPr>
          <p:nvPr>
            <p:ph type="body" sz="quarter" idx="20"/>
          </p:nvPr>
        </p:nvSpPr>
        <p:spPr>
          <a:xfrm>
            <a:off x="8897724"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1" name="文本占位符 6">
            <a:extLst>
              <a:ext uri="{FF2B5EF4-FFF2-40B4-BE49-F238E27FC236}">
                <a16:creationId xmlns:a16="http://schemas.microsoft.com/office/drawing/2014/main" id="{597024F2-57F3-4CB7-8ADB-E8BD1101A79D}"/>
              </a:ext>
            </a:extLst>
          </p:cNvPr>
          <p:cNvSpPr>
            <a:spLocks noGrp="1"/>
          </p:cNvSpPr>
          <p:nvPr>
            <p:ph type="body" sz="quarter" idx="21" hasCustomPrompt="1"/>
          </p:nvPr>
        </p:nvSpPr>
        <p:spPr>
          <a:xfrm>
            <a:off x="8014065" y="1335505"/>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2" name="直接连接符 81">
            <a:extLst>
              <a:ext uri="{FF2B5EF4-FFF2-40B4-BE49-F238E27FC236}">
                <a16:creationId xmlns:a16="http://schemas.microsoft.com/office/drawing/2014/main" id="{87E0ABC5-A730-4BB8-B33E-7E1509896B91}"/>
              </a:ext>
            </a:extLst>
          </p:cNvPr>
          <p:cNvCxnSpPr>
            <a:cxnSpLocks/>
          </p:cNvCxnSpPr>
          <p:nvPr userDrawn="1"/>
        </p:nvCxnSpPr>
        <p:spPr>
          <a:xfrm>
            <a:off x="8897724"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3" name="矩形: 对角圆角 82">
            <a:extLst>
              <a:ext uri="{FF2B5EF4-FFF2-40B4-BE49-F238E27FC236}">
                <a16:creationId xmlns:a16="http://schemas.microsoft.com/office/drawing/2014/main" id="{EA41C8BB-C432-41FE-8470-C043B1186364}"/>
              </a:ext>
            </a:extLst>
          </p:cNvPr>
          <p:cNvSpPr/>
          <p:nvPr userDrawn="1"/>
        </p:nvSpPr>
        <p:spPr>
          <a:xfrm>
            <a:off x="8094653"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4" name="文本占位符 6">
            <a:extLst>
              <a:ext uri="{FF2B5EF4-FFF2-40B4-BE49-F238E27FC236}">
                <a16:creationId xmlns:a16="http://schemas.microsoft.com/office/drawing/2014/main" id="{6913A45E-7B2F-4199-B5FD-FD6CA0729959}"/>
              </a:ext>
            </a:extLst>
          </p:cNvPr>
          <p:cNvSpPr>
            <a:spLocks noGrp="1"/>
          </p:cNvSpPr>
          <p:nvPr>
            <p:ph type="body" sz="quarter" idx="22"/>
          </p:nvPr>
        </p:nvSpPr>
        <p:spPr>
          <a:xfrm>
            <a:off x="8897724"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a:extLst>
              <a:ext uri="{FF2B5EF4-FFF2-40B4-BE49-F238E27FC236}">
                <a16:creationId xmlns:a16="http://schemas.microsoft.com/office/drawing/2014/main" id="{B330E57A-B675-440A-949D-D5B02203F156}"/>
              </a:ext>
            </a:extLst>
          </p:cNvPr>
          <p:cNvSpPr>
            <a:spLocks noGrp="1"/>
          </p:cNvSpPr>
          <p:nvPr>
            <p:ph type="body" sz="quarter" idx="23"/>
          </p:nvPr>
        </p:nvSpPr>
        <p:spPr>
          <a:xfrm>
            <a:off x="8897724"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a:extLst>
              <a:ext uri="{FF2B5EF4-FFF2-40B4-BE49-F238E27FC236}">
                <a16:creationId xmlns:a16="http://schemas.microsoft.com/office/drawing/2014/main" id="{C8E808A2-E671-46CC-AC72-B4E7F686A585}"/>
              </a:ext>
            </a:extLst>
          </p:cNvPr>
          <p:cNvSpPr>
            <a:spLocks noGrp="1"/>
          </p:cNvSpPr>
          <p:nvPr>
            <p:ph type="body" sz="quarter" idx="24" hasCustomPrompt="1"/>
          </p:nvPr>
        </p:nvSpPr>
        <p:spPr>
          <a:xfrm>
            <a:off x="8023683" y="267816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7" name="直接连接符 86">
            <a:extLst>
              <a:ext uri="{FF2B5EF4-FFF2-40B4-BE49-F238E27FC236}">
                <a16:creationId xmlns:a16="http://schemas.microsoft.com/office/drawing/2014/main" id="{B47752C9-1ACC-40EB-B50D-69B8EEA048A4}"/>
              </a:ext>
            </a:extLst>
          </p:cNvPr>
          <p:cNvCxnSpPr>
            <a:cxnSpLocks/>
          </p:cNvCxnSpPr>
          <p:nvPr userDrawn="1"/>
        </p:nvCxnSpPr>
        <p:spPr>
          <a:xfrm>
            <a:off x="8897724"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175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目录4-1">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B8007763-1399-4621-A9B2-1CA2C722935F}"/>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7" name="矩形 6">
            <a:extLst>
              <a:ext uri="{FF2B5EF4-FFF2-40B4-BE49-F238E27FC236}">
                <a16:creationId xmlns:a16="http://schemas.microsoft.com/office/drawing/2014/main" id="{5677395B-9B12-410E-A518-815127610CA6}"/>
              </a:ext>
            </a:extLst>
          </p:cNvPr>
          <p:cNvSpPr/>
          <p:nvPr userDrawn="1"/>
        </p:nvSpPr>
        <p:spPr>
          <a:xfrm>
            <a:off x="-381"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a:extLst>
              <a:ext uri="{FF2B5EF4-FFF2-40B4-BE49-F238E27FC236}">
                <a16:creationId xmlns:a16="http://schemas.microsoft.com/office/drawing/2014/main" id="{20D74CD9-5B3A-4EAE-92A9-0F14DBF2BDE0}"/>
              </a:ext>
            </a:extLst>
          </p:cNvPr>
          <p:cNvPicPr>
            <a:picLocks noChangeAspect="1"/>
          </p:cNvPicPr>
          <p:nvPr userDrawn="1"/>
        </p:nvPicPr>
        <p:blipFill rotWithShape="1">
          <a:blip r:embed="rId3" cstate="email">
            <a:clrChange>
              <a:clrFrom>
                <a:srgbClr val="FEFEFE"/>
              </a:clrFrom>
              <a:clrTo>
                <a:srgbClr val="FEFEFE">
                  <a:alpha val="0"/>
                </a:srgbClr>
              </a:clrTo>
            </a:clrChange>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a:ext>
            </a:extLst>
          </a:blip>
          <a:srcRect/>
          <a:stretch/>
        </p:blipFill>
        <p:spPr>
          <a:xfrm>
            <a:off x="0" y="1781908"/>
            <a:ext cx="12192000" cy="5076092"/>
          </a:xfrm>
          <a:prstGeom prst="rect">
            <a:avLst/>
          </a:prstGeom>
        </p:spPr>
      </p:pic>
      <p:sp>
        <p:nvSpPr>
          <p:cNvPr id="49" name="矩形 48">
            <a:extLst>
              <a:ext uri="{FF2B5EF4-FFF2-40B4-BE49-F238E27FC236}">
                <a16:creationId xmlns:a16="http://schemas.microsoft.com/office/drawing/2014/main" id="{45CF7FB2-0F51-4F7E-BC73-AF11874C3CD3}"/>
              </a:ext>
            </a:extLst>
          </p:cNvPr>
          <p:cNvSpPr/>
          <p:nvPr userDrawn="1"/>
        </p:nvSpPr>
        <p:spPr>
          <a:xfrm rot="5400000">
            <a:off x="8720555" y="3386560"/>
            <a:ext cx="6858002" cy="84880"/>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组合 100">
            <a:extLst>
              <a:ext uri="{FF2B5EF4-FFF2-40B4-BE49-F238E27FC236}">
                <a16:creationId xmlns:a16="http://schemas.microsoft.com/office/drawing/2014/main" id="{BFF2BF23-425C-4D93-9CC5-24327982A267}"/>
              </a:ext>
            </a:extLst>
          </p:cNvPr>
          <p:cNvGrpSpPr/>
          <p:nvPr userDrawn="1"/>
        </p:nvGrpSpPr>
        <p:grpSpPr>
          <a:xfrm>
            <a:off x="8431598" y="0"/>
            <a:ext cx="3760402" cy="4528788"/>
            <a:chOff x="8431598" y="0"/>
            <a:chExt cx="3760402" cy="4528788"/>
          </a:xfrm>
        </p:grpSpPr>
        <p:sp>
          <p:nvSpPr>
            <p:cNvPr id="102" name="任意多边形: 形状 101">
              <a:extLst>
                <a:ext uri="{FF2B5EF4-FFF2-40B4-BE49-F238E27FC236}">
                  <a16:creationId xmlns:a16="http://schemas.microsoft.com/office/drawing/2014/main" id="{2FC53120-2336-470A-AF10-67EF591F5750}"/>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3" name="任意多边形: 形状 102">
              <a:extLst>
                <a:ext uri="{FF2B5EF4-FFF2-40B4-BE49-F238E27FC236}">
                  <a16:creationId xmlns:a16="http://schemas.microsoft.com/office/drawing/2014/main" id="{D1F07AE1-4E8D-413D-BEAB-07394A2288A4}"/>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4" name="任意多边形: 形状 103">
              <a:extLst>
                <a:ext uri="{FF2B5EF4-FFF2-40B4-BE49-F238E27FC236}">
                  <a16:creationId xmlns:a16="http://schemas.microsoft.com/office/drawing/2014/main" id="{D4F532B2-069F-45EB-8891-3221127175C6}"/>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99" name="标题 1">
            <a:extLst>
              <a:ext uri="{FF2B5EF4-FFF2-40B4-BE49-F238E27FC236}">
                <a16:creationId xmlns:a16="http://schemas.microsoft.com/office/drawing/2014/main" id="{1D16D0DD-6BD2-46CD-84F5-7A992AF03608}"/>
              </a:ext>
            </a:extLst>
          </p:cNvPr>
          <p:cNvSpPr>
            <a:spLocks noGrp="1"/>
          </p:cNvSpPr>
          <p:nvPr>
            <p:ph type="ctrTitle" hasCustomPrompt="1"/>
          </p:nvPr>
        </p:nvSpPr>
        <p:spPr>
          <a:xfrm>
            <a:off x="10802463" y="1041337"/>
            <a:ext cx="910112" cy="2499361"/>
          </a:xfrm>
        </p:spPr>
        <p:txBody>
          <a:bodyPr lIns="0" tIns="0" rIns="0" bIns="0" anchor="ctr">
            <a:noAutofit/>
          </a:bodyPr>
          <a:lstStyle>
            <a:lvl1pPr marL="0" algn="ctr" defTabSz="457200" rtl="0" eaLnBrk="1" latinLnBrk="0" hangingPunct="1">
              <a:lnSpc>
                <a:spcPct val="100000"/>
              </a:lnSpc>
              <a:defRPr lang="en-US" sz="72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r>
              <a:rPr lang="zh-CN" altLang="en-US" dirty="0"/>
              <a:t>目录</a:t>
            </a:r>
            <a:endParaRPr lang="en-US" dirty="0"/>
          </a:p>
        </p:txBody>
      </p:sp>
      <p:cxnSp>
        <p:nvCxnSpPr>
          <p:cNvPr id="39" name="直接连接符 38">
            <a:extLst>
              <a:ext uri="{FF2B5EF4-FFF2-40B4-BE49-F238E27FC236}">
                <a16:creationId xmlns:a16="http://schemas.microsoft.com/office/drawing/2014/main" id="{F50E6273-C956-48B0-AAD8-03C967EC0209}"/>
              </a:ext>
            </a:extLst>
          </p:cNvPr>
          <p:cNvCxnSpPr>
            <a:cxnSpLocks/>
          </p:cNvCxnSpPr>
          <p:nvPr/>
        </p:nvCxnSpPr>
        <p:spPr>
          <a:xfrm>
            <a:off x="10787169" y="1093521"/>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118CD212-AACD-4CBD-8EC4-C7995CE051D7}"/>
              </a:ext>
            </a:extLst>
          </p:cNvPr>
          <p:cNvCxnSpPr>
            <a:cxnSpLocks/>
          </p:cNvCxnSpPr>
          <p:nvPr/>
        </p:nvCxnSpPr>
        <p:spPr>
          <a:xfrm>
            <a:off x="10787169" y="3570021"/>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sp>
        <p:nvSpPr>
          <p:cNvPr id="98" name="矩形 97">
            <a:extLst>
              <a:ext uri="{FF2B5EF4-FFF2-40B4-BE49-F238E27FC236}">
                <a16:creationId xmlns:a16="http://schemas.microsoft.com/office/drawing/2014/main" id="{0FDF2ED6-8F4C-4AD7-913F-30769D4CC342}"/>
              </a:ext>
            </a:extLst>
          </p:cNvPr>
          <p:cNvSpPr/>
          <p:nvPr userDrawn="1"/>
        </p:nvSpPr>
        <p:spPr>
          <a:xfrm rot="5400000">
            <a:off x="10885215" y="2263239"/>
            <a:ext cx="2528684" cy="84880"/>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2" name="组合 151">
            <a:extLst>
              <a:ext uri="{FF2B5EF4-FFF2-40B4-BE49-F238E27FC236}">
                <a16:creationId xmlns:a16="http://schemas.microsoft.com/office/drawing/2014/main" id="{556F6A2E-5F79-4B5B-93E4-56A69F68080B}"/>
              </a:ext>
            </a:extLst>
          </p:cNvPr>
          <p:cNvGrpSpPr/>
          <p:nvPr userDrawn="1"/>
        </p:nvGrpSpPr>
        <p:grpSpPr>
          <a:xfrm>
            <a:off x="10477913" y="446123"/>
            <a:ext cx="1234662" cy="419641"/>
            <a:chOff x="1398368" y="5051425"/>
            <a:chExt cx="3242941" cy="1102222"/>
          </a:xfrm>
        </p:grpSpPr>
        <p:sp>
          <p:nvSpPr>
            <p:cNvPr id="153" name="Freeform 5">
              <a:extLst>
                <a:ext uri="{FF2B5EF4-FFF2-40B4-BE49-F238E27FC236}">
                  <a16:creationId xmlns:a16="http://schemas.microsoft.com/office/drawing/2014/main" id="{68751F16-EA38-4FAB-AD03-C55041361A9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7">
              <a:extLst>
                <a:ext uri="{FF2B5EF4-FFF2-40B4-BE49-F238E27FC236}">
                  <a16:creationId xmlns:a16="http://schemas.microsoft.com/office/drawing/2014/main" id="{3C9915C0-7C84-46FD-9F44-56B13989A0F6}"/>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
              <a:extLst>
                <a:ext uri="{FF2B5EF4-FFF2-40B4-BE49-F238E27FC236}">
                  <a16:creationId xmlns:a16="http://schemas.microsoft.com/office/drawing/2014/main" id="{2DD7F170-490F-4A0A-A5CB-2F1EC1B160CE}"/>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6" name="组合 155">
              <a:extLst>
                <a:ext uri="{FF2B5EF4-FFF2-40B4-BE49-F238E27FC236}">
                  <a16:creationId xmlns:a16="http://schemas.microsoft.com/office/drawing/2014/main" id="{0B3A2441-CE57-48FF-BD1E-DF3DB6012DA9}"/>
                </a:ext>
              </a:extLst>
            </p:cNvPr>
            <p:cNvGrpSpPr/>
            <p:nvPr/>
          </p:nvGrpSpPr>
          <p:grpSpPr>
            <a:xfrm>
              <a:off x="2921957" y="5168150"/>
              <a:ext cx="542765" cy="642593"/>
              <a:chOff x="3102298" y="5183391"/>
              <a:chExt cx="501880" cy="594188"/>
            </a:xfrm>
          </p:grpSpPr>
          <p:sp>
            <p:nvSpPr>
              <p:cNvPr id="197" name="Freeform 6">
                <a:extLst>
                  <a:ext uri="{FF2B5EF4-FFF2-40B4-BE49-F238E27FC236}">
                    <a16:creationId xmlns:a16="http://schemas.microsoft.com/office/drawing/2014/main" id="{69D6732E-A1EE-461A-8E24-DF405B4B9E3A}"/>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0">
                <a:extLst>
                  <a:ext uri="{FF2B5EF4-FFF2-40B4-BE49-F238E27FC236}">
                    <a16:creationId xmlns:a16="http://schemas.microsoft.com/office/drawing/2014/main" id="{E765A850-56EE-40EC-9319-1917376B49CD}"/>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3">
                <a:extLst>
                  <a:ext uri="{FF2B5EF4-FFF2-40B4-BE49-F238E27FC236}">
                    <a16:creationId xmlns:a16="http://schemas.microsoft.com/office/drawing/2014/main" id="{EAA228E5-600B-4E1B-98EC-BF78492009C4}"/>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7" name="组合 156">
              <a:extLst>
                <a:ext uri="{FF2B5EF4-FFF2-40B4-BE49-F238E27FC236}">
                  <a16:creationId xmlns:a16="http://schemas.microsoft.com/office/drawing/2014/main" id="{189C0CF7-8457-43FA-9610-959A2DA473F5}"/>
                </a:ext>
              </a:extLst>
            </p:cNvPr>
            <p:cNvGrpSpPr/>
            <p:nvPr/>
          </p:nvGrpSpPr>
          <p:grpSpPr>
            <a:xfrm>
              <a:off x="4196892" y="5154476"/>
              <a:ext cx="444417" cy="649987"/>
              <a:chOff x="4257853" y="5169716"/>
              <a:chExt cx="410940" cy="601025"/>
            </a:xfrm>
          </p:grpSpPr>
          <p:sp>
            <p:nvSpPr>
              <p:cNvPr id="192" name="Freeform 9">
                <a:extLst>
                  <a:ext uri="{FF2B5EF4-FFF2-40B4-BE49-F238E27FC236}">
                    <a16:creationId xmlns:a16="http://schemas.microsoft.com/office/drawing/2014/main" id="{2A5C2264-009A-4F99-9BAE-48831FC40FD6}"/>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1">
                <a:extLst>
                  <a:ext uri="{FF2B5EF4-FFF2-40B4-BE49-F238E27FC236}">
                    <a16:creationId xmlns:a16="http://schemas.microsoft.com/office/drawing/2014/main" id="{25E2918E-4470-496B-B661-2D227FF17362}"/>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2">
                <a:extLst>
                  <a:ext uri="{FF2B5EF4-FFF2-40B4-BE49-F238E27FC236}">
                    <a16:creationId xmlns:a16="http://schemas.microsoft.com/office/drawing/2014/main" id="{3A8670DF-2F3A-4642-9107-332E2EDB50D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4">
                <a:extLst>
                  <a:ext uri="{FF2B5EF4-FFF2-40B4-BE49-F238E27FC236}">
                    <a16:creationId xmlns:a16="http://schemas.microsoft.com/office/drawing/2014/main" id="{B4ED2C19-5825-4CB4-9D2E-AED355FC9B09}"/>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5">
                <a:extLst>
                  <a:ext uri="{FF2B5EF4-FFF2-40B4-BE49-F238E27FC236}">
                    <a16:creationId xmlns:a16="http://schemas.microsoft.com/office/drawing/2014/main" id="{D1A6C857-4D0E-4418-88FB-8188C53045BA}"/>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8" name="Freeform 16">
              <a:extLst>
                <a:ext uri="{FF2B5EF4-FFF2-40B4-BE49-F238E27FC236}">
                  <a16:creationId xmlns:a16="http://schemas.microsoft.com/office/drawing/2014/main" id="{95B2FFC8-A5DB-48C8-836A-91AD34CD0740}"/>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7">
              <a:extLst>
                <a:ext uri="{FF2B5EF4-FFF2-40B4-BE49-F238E27FC236}">
                  <a16:creationId xmlns:a16="http://schemas.microsoft.com/office/drawing/2014/main" id="{4DA649DB-A243-40B0-9EE1-C07AE29F9C8A}"/>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18">
              <a:extLst>
                <a:ext uri="{FF2B5EF4-FFF2-40B4-BE49-F238E27FC236}">
                  <a16:creationId xmlns:a16="http://schemas.microsoft.com/office/drawing/2014/main" id="{2636198C-2BCD-45F6-A855-1B932312E7F1}"/>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9">
              <a:extLst>
                <a:ext uri="{FF2B5EF4-FFF2-40B4-BE49-F238E27FC236}">
                  <a16:creationId xmlns:a16="http://schemas.microsoft.com/office/drawing/2014/main" id="{EE8EF157-6385-42F5-9F9F-653FF5CFC5B2}"/>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0">
              <a:extLst>
                <a:ext uri="{FF2B5EF4-FFF2-40B4-BE49-F238E27FC236}">
                  <a16:creationId xmlns:a16="http://schemas.microsoft.com/office/drawing/2014/main" id="{03F90104-B738-4A27-B59C-BB34CA42E13A}"/>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1">
              <a:extLst>
                <a:ext uri="{FF2B5EF4-FFF2-40B4-BE49-F238E27FC236}">
                  <a16:creationId xmlns:a16="http://schemas.microsoft.com/office/drawing/2014/main" id="{4799A3A4-2415-43C0-BA8C-8179587735A0}"/>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2">
              <a:extLst>
                <a:ext uri="{FF2B5EF4-FFF2-40B4-BE49-F238E27FC236}">
                  <a16:creationId xmlns:a16="http://schemas.microsoft.com/office/drawing/2014/main" id="{7466F1DC-1403-49A5-A6E1-5D680B3D539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3">
              <a:extLst>
                <a:ext uri="{FF2B5EF4-FFF2-40B4-BE49-F238E27FC236}">
                  <a16:creationId xmlns:a16="http://schemas.microsoft.com/office/drawing/2014/main" id="{C1C78C50-3038-4F08-9F19-B2B094DEEE5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24">
              <a:extLst>
                <a:ext uri="{FF2B5EF4-FFF2-40B4-BE49-F238E27FC236}">
                  <a16:creationId xmlns:a16="http://schemas.microsoft.com/office/drawing/2014/main" id="{7D567599-72F5-4B9B-8193-F9C2030D7908}"/>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5">
              <a:extLst>
                <a:ext uri="{FF2B5EF4-FFF2-40B4-BE49-F238E27FC236}">
                  <a16:creationId xmlns:a16="http://schemas.microsoft.com/office/drawing/2014/main" id="{2878B465-658A-440A-86A1-0DF4545FFD37}"/>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6">
              <a:extLst>
                <a:ext uri="{FF2B5EF4-FFF2-40B4-BE49-F238E27FC236}">
                  <a16:creationId xmlns:a16="http://schemas.microsoft.com/office/drawing/2014/main" id="{31404212-799F-4F1D-B152-EB8397685E08}"/>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7">
              <a:extLst>
                <a:ext uri="{FF2B5EF4-FFF2-40B4-BE49-F238E27FC236}">
                  <a16:creationId xmlns:a16="http://schemas.microsoft.com/office/drawing/2014/main" id="{11587B18-E181-45E3-B433-C12D43C0ACDA}"/>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8">
              <a:extLst>
                <a:ext uri="{FF2B5EF4-FFF2-40B4-BE49-F238E27FC236}">
                  <a16:creationId xmlns:a16="http://schemas.microsoft.com/office/drawing/2014/main" id="{483F52ED-1056-4FC0-B3D3-1A502E7B3958}"/>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9">
              <a:extLst>
                <a:ext uri="{FF2B5EF4-FFF2-40B4-BE49-F238E27FC236}">
                  <a16:creationId xmlns:a16="http://schemas.microsoft.com/office/drawing/2014/main" id="{C7B25AAC-B115-433A-85ED-838D63024897}"/>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0">
              <a:extLst>
                <a:ext uri="{FF2B5EF4-FFF2-40B4-BE49-F238E27FC236}">
                  <a16:creationId xmlns:a16="http://schemas.microsoft.com/office/drawing/2014/main" id="{B6F98FAD-845C-41C0-B6D4-29F657B6729D}"/>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1">
              <a:extLst>
                <a:ext uri="{FF2B5EF4-FFF2-40B4-BE49-F238E27FC236}">
                  <a16:creationId xmlns:a16="http://schemas.microsoft.com/office/drawing/2014/main" id="{BB8315A3-4522-401E-8D82-1C81EB81DFFC}"/>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2">
              <a:extLst>
                <a:ext uri="{FF2B5EF4-FFF2-40B4-BE49-F238E27FC236}">
                  <a16:creationId xmlns:a16="http://schemas.microsoft.com/office/drawing/2014/main" id="{5A8EE34C-8ECD-415D-B6FA-9DBA2F412538}"/>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33">
              <a:extLst>
                <a:ext uri="{FF2B5EF4-FFF2-40B4-BE49-F238E27FC236}">
                  <a16:creationId xmlns:a16="http://schemas.microsoft.com/office/drawing/2014/main" id="{3DC53973-8E5F-455C-AB3D-F736D2958578}"/>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4">
              <a:extLst>
                <a:ext uri="{FF2B5EF4-FFF2-40B4-BE49-F238E27FC236}">
                  <a16:creationId xmlns:a16="http://schemas.microsoft.com/office/drawing/2014/main" id="{63ADCF43-CD0F-42EC-862F-87C67B593E12}"/>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5">
              <a:extLst>
                <a:ext uri="{FF2B5EF4-FFF2-40B4-BE49-F238E27FC236}">
                  <a16:creationId xmlns:a16="http://schemas.microsoft.com/office/drawing/2014/main" id="{91231BEC-C5F6-4E18-B347-6C4D4D05685F}"/>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6">
              <a:extLst>
                <a:ext uri="{FF2B5EF4-FFF2-40B4-BE49-F238E27FC236}">
                  <a16:creationId xmlns:a16="http://schemas.microsoft.com/office/drawing/2014/main" id="{7C6478E8-BBAD-487F-B070-085D06AF3C31}"/>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7">
              <a:extLst>
                <a:ext uri="{FF2B5EF4-FFF2-40B4-BE49-F238E27FC236}">
                  <a16:creationId xmlns:a16="http://schemas.microsoft.com/office/drawing/2014/main" id="{148E8AA6-A909-48E4-B6A7-2AFD51D8F79B}"/>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8">
              <a:extLst>
                <a:ext uri="{FF2B5EF4-FFF2-40B4-BE49-F238E27FC236}">
                  <a16:creationId xmlns:a16="http://schemas.microsoft.com/office/drawing/2014/main" id="{229715F2-0A07-4227-9393-C2AE127023E6}"/>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9">
              <a:extLst>
                <a:ext uri="{FF2B5EF4-FFF2-40B4-BE49-F238E27FC236}">
                  <a16:creationId xmlns:a16="http://schemas.microsoft.com/office/drawing/2014/main" id="{8129EB63-08A7-4206-AA76-2418D09D1264}"/>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0">
              <a:extLst>
                <a:ext uri="{FF2B5EF4-FFF2-40B4-BE49-F238E27FC236}">
                  <a16:creationId xmlns:a16="http://schemas.microsoft.com/office/drawing/2014/main" id="{79D4D1CD-2C12-4088-A7FE-196D74393A57}"/>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1">
              <a:extLst>
                <a:ext uri="{FF2B5EF4-FFF2-40B4-BE49-F238E27FC236}">
                  <a16:creationId xmlns:a16="http://schemas.microsoft.com/office/drawing/2014/main" id="{101E3709-9D6E-492A-A0BD-AFD2D038C261}"/>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2">
              <a:extLst>
                <a:ext uri="{FF2B5EF4-FFF2-40B4-BE49-F238E27FC236}">
                  <a16:creationId xmlns:a16="http://schemas.microsoft.com/office/drawing/2014/main" id="{FD70F9E8-5DAA-44FF-A08B-5028F744D247}"/>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43">
              <a:extLst>
                <a:ext uri="{FF2B5EF4-FFF2-40B4-BE49-F238E27FC236}">
                  <a16:creationId xmlns:a16="http://schemas.microsoft.com/office/drawing/2014/main" id="{0ED8DB69-4684-4452-9AF7-98CE9E4F96DC}"/>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4">
              <a:extLst>
                <a:ext uri="{FF2B5EF4-FFF2-40B4-BE49-F238E27FC236}">
                  <a16:creationId xmlns:a16="http://schemas.microsoft.com/office/drawing/2014/main" id="{D7A982DE-39C2-48C5-9189-67CC13C4A23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5">
              <a:extLst>
                <a:ext uri="{FF2B5EF4-FFF2-40B4-BE49-F238E27FC236}">
                  <a16:creationId xmlns:a16="http://schemas.microsoft.com/office/drawing/2014/main" id="{587F27C6-41DB-46EC-92E6-111690B3D4F1}"/>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6">
              <a:extLst>
                <a:ext uri="{FF2B5EF4-FFF2-40B4-BE49-F238E27FC236}">
                  <a16:creationId xmlns:a16="http://schemas.microsoft.com/office/drawing/2014/main" id="{9950CE34-F639-440E-85D0-755DA18BD161}"/>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7">
              <a:extLst>
                <a:ext uri="{FF2B5EF4-FFF2-40B4-BE49-F238E27FC236}">
                  <a16:creationId xmlns:a16="http://schemas.microsoft.com/office/drawing/2014/main" id="{A70A5BAE-54B4-4120-B994-8B9D4B3C4814}"/>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8">
              <a:extLst>
                <a:ext uri="{FF2B5EF4-FFF2-40B4-BE49-F238E27FC236}">
                  <a16:creationId xmlns:a16="http://schemas.microsoft.com/office/drawing/2014/main" id="{79458AF7-2DE4-4561-B1AB-FCB3CD700C5D}"/>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9">
              <a:extLst>
                <a:ext uri="{FF2B5EF4-FFF2-40B4-BE49-F238E27FC236}">
                  <a16:creationId xmlns:a16="http://schemas.microsoft.com/office/drawing/2014/main" id="{31E3F9E7-31FB-433F-A7C5-BEBE6B8BDBD6}"/>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2" name="直接连接符 61">
            <a:extLst>
              <a:ext uri="{FF2B5EF4-FFF2-40B4-BE49-F238E27FC236}">
                <a16:creationId xmlns:a16="http://schemas.microsoft.com/office/drawing/2014/main" id="{22D87D91-9183-4349-89FB-F347AA43BABC}"/>
              </a:ext>
            </a:extLst>
          </p:cNvPr>
          <p:cNvCxnSpPr>
            <a:cxnSpLocks/>
          </p:cNvCxnSpPr>
          <p:nvPr userDrawn="1"/>
        </p:nvCxnSpPr>
        <p:spPr>
          <a:xfrm flipV="1">
            <a:off x="890400" y="2303362"/>
            <a:ext cx="0" cy="334508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B6FF2164-94A9-46A7-9080-036F0CB6BD23}"/>
              </a:ext>
            </a:extLst>
          </p:cNvPr>
          <p:cNvCxnSpPr>
            <a:cxnSpLocks/>
          </p:cNvCxnSpPr>
          <p:nvPr userDrawn="1"/>
        </p:nvCxnSpPr>
        <p:spPr>
          <a:xfrm flipH="1" flipV="1">
            <a:off x="1724911" y="3726181"/>
            <a:ext cx="1" cy="192226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1557125E-F94A-4BE3-8A70-F9B10F19DD3F}"/>
              </a:ext>
            </a:extLst>
          </p:cNvPr>
          <p:cNvCxnSpPr>
            <a:cxnSpLocks/>
          </p:cNvCxnSpPr>
          <p:nvPr userDrawn="1"/>
        </p:nvCxnSpPr>
        <p:spPr>
          <a:xfrm flipV="1">
            <a:off x="5537506" y="2370045"/>
            <a:ext cx="409" cy="298903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8D766F4C-16CC-43A0-B983-DB8B07BFC944}"/>
              </a:ext>
            </a:extLst>
          </p:cNvPr>
          <p:cNvCxnSpPr>
            <a:cxnSpLocks/>
          </p:cNvCxnSpPr>
          <p:nvPr userDrawn="1"/>
        </p:nvCxnSpPr>
        <p:spPr>
          <a:xfrm flipV="1">
            <a:off x="6372222" y="3738623"/>
            <a:ext cx="0" cy="162045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sp>
        <p:nvSpPr>
          <p:cNvPr id="66" name="矩形: 对角圆角 65">
            <a:extLst>
              <a:ext uri="{FF2B5EF4-FFF2-40B4-BE49-F238E27FC236}">
                <a16:creationId xmlns:a16="http://schemas.microsoft.com/office/drawing/2014/main" id="{9C4488AB-8BAB-48CE-995D-90CB74B385C2}"/>
              </a:ext>
            </a:extLst>
          </p:cNvPr>
          <p:cNvSpPr/>
          <p:nvPr userDrawn="1"/>
        </p:nvSpPr>
        <p:spPr>
          <a:xfrm>
            <a:off x="550039"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7" name="文本占位符 6">
            <a:extLst>
              <a:ext uri="{FF2B5EF4-FFF2-40B4-BE49-F238E27FC236}">
                <a16:creationId xmlns:a16="http://schemas.microsoft.com/office/drawing/2014/main" id="{F78A9E7F-D111-4A29-BD05-994758AF84E2}"/>
              </a:ext>
            </a:extLst>
          </p:cNvPr>
          <p:cNvSpPr>
            <a:spLocks noGrp="1"/>
          </p:cNvSpPr>
          <p:nvPr>
            <p:ph type="body" sz="quarter" idx="10"/>
          </p:nvPr>
        </p:nvSpPr>
        <p:spPr>
          <a:xfrm>
            <a:off x="1353110"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8" name="文本占位符 6">
            <a:extLst>
              <a:ext uri="{FF2B5EF4-FFF2-40B4-BE49-F238E27FC236}">
                <a16:creationId xmlns:a16="http://schemas.microsoft.com/office/drawing/2014/main" id="{4F6AB336-4907-497B-83D6-1A6150550930}"/>
              </a:ext>
            </a:extLst>
          </p:cNvPr>
          <p:cNvSpPr>
            <a:spLocks noGrp="1"/>
          </p:cNvSpPr>
          <p:nvPr>
            <p:ph type="body" sz="quarter" idx="11"/>
          </p:nvPr>
        </p:nvSpPr>
        <p:spPr>
          <a:xfrm>
            <a:off x="1353110"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9" name="文本占位符 6">
            <a:extLst>
              <a:ext uri="{FF2B5EF4-FFF2-40B4-BE49-F238E27FC236}">
                <a16:creationId xmlns:a16="http://schemas.microsoft.com/office/drawing/2014/main" id="{909EFF3D-6C55-48DE-BCEF-9FFF58A1054F}"/>
              </a:ext>
            </a:extLst>
          </p:cNvPr>
          <p:cNvSpPr>
            <a:spLocks noGrp="1"/>
          </p:cNvSpPr>
          <p:nvPr>
            <p:ph type="body" sz="quarter" idx="12" hasCustomPrompt="1"/>
          </p:nvPr>
        </p:nvSpPr>
        <p:spPr>
          <a:xfrm>
            <a:off x="515938" y="1446401"/>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0" name="直接连接符 69">
            <a:extLst>
              <a:ext uri="{FF2B5EF4-FFF2-40B4-BE49-F238E27FC236}">
                <a16:creationId xmlns:a16="http://schemas.microsoft.com/office/drawing/2014/main" id="{92FF09F0-6EC0-4AAF-B754-ABAD74E51F6F}"/>
              </a:ext>
            </a:extLst>
          </p:cNvPr>
          <p:cNvCxnSpPr>
            <a:cxnSpLocks/>
          </p:cNvCxnSpPr>
          <p:nvPr userDrawn="1"/>
        </p:nvCxnSpPr>
        <p:spPr>
          <a:xfrm>
            <a:off x="1353110"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1" name="矩形: 对角圆角 70">
            <a:extLst>
              <a:ext uri="{FF2B5EF4-FFF2-40B4-BE49-F238E27FC236}">
                <a16:creationId xmlns:a16="http://schemas.microsoft.com/office/drawing/2014/main" id="{E2E7F5F0-5205-4086-9BBB-8564125F2024}"/>
              </a:ext>
            </a:extLst>
          </p:cNvPr>
          <p:cNvSpPr/>
          <p:nvPr userDrawn="1"/>
        </p:nvSpPr>
        <p:spPr>
          <a:xfrm>
            <a:off x="1384551"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文本占位符 6">
            <a:extLst>
              <a:ext uri="{FF2B5EF4-FFF2-40B4-BE49-F238E27FC236}">
                <a16:creationId xmlns:a16="http://schemas.microsoft.com/office/drawing/2014/main" id="{C78812EE-6F43-412E-BB72-2B325DD14223}"/>
              </a:ext>
            </a:extLst>
          </p:cNvPr>
          <p:cNvSpPr>
            <a:spLocks noGrp="1"/>
          </p:cNvSpPr>
          <p:nvPr>
            <p:ph type="body" sz="quarter" idx="13"/>
          </p:nvPr>
        </p:nvSpPr>
        <p:spPr>
          <a:xfrm>
            <a:off x="2187622"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3" name="文本占位符 6">
            <a:extLst>
              <a:ext uri="{FF2B5EF4-FFF2-40B4-BE49-F238E27FC236}">
                <a16:creationId xmlns:a16="http://schemas.microsoft.com/office/drawing/2014/main" id="{69BD8BD1-32A2-43A6-B6CA-011DBF476916}"/>
              </a:ext>
            </a:extLst>
          </p:cNvPr>
          <p:cNvSpPr>
            <a:spLocks noGrp="1"/>
          </p:cNvSpPr>
          <p:nvPr>
            <p:ph type="body" sz="quarter" idx="14"/>
          </p:nvPr>
        </p:nvSpPr>
        <p:spPr>
          <a:xfrm>
            <a:off x="2187622"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4" name="文本占位符 6">
            <a:extLst>
              <a:ext uri="{FF2B5EF4-FFF2-40B4-BE49-F238E27FC236}">
                <a16:creationId xmlns:a16="http://schemas.microsoft.com/office/drawing/2014/main" id="{C6F3AE11-C459-418C-BB45-E642B849B713}"/>
              </a:ext>
            </a:extLst>
          </p:cNvPr>
          <p:cNvSpPr>
            <a:spLocks noGrp="1"/>
          </p:cNvSpPr>
          <p:nvPr>
            <p:ph type="body" sz="quarter" idx="15" hasCustomPrompt="1"/>
          </p:nvPr>
        </p:nvSpPr>
        <p:spPr>
          <a:xfrm>
            <a:off x="1312779" y="287120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5" name="直接连接符 74">
            <a:extLst>
              <a:ext uri="{FF2B5EF4-FFF2-40B4-BE49-F238E27FC236}">
                <a16:creationId xmlns:a16="http://schemas.microsoft.com/office/drawing/2014/main" id="{AC6508A2-E5D0-47F3-89A2-A804221C0C2C}"/>
              </a:ext>
            </a:extLst>
          </p:cNvPr>
          <p:cNvCxnSpPr>
            <a:cxnSpLocks/>
          </p:cNvCxnSpPr>
          <p:nvPr userDrawn="1"/>
        </p:nvCxnSpPr>
        <p:spPr>
          <a:xfrm>
            <a:off x="2187622"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矩形: 对角圆角 75">
            <a:extLst>
              <a:ext uri="{FF2B5EF4-FFF2-40B4-BE49-F238E27FC236}">
                <a16:creationId xmlns:a16="http://schemas.microsoft.com/office/drawing/2014/main" id="{F59EECC9-6902-4E92-8BB3-382091DDF6C7}"/>
              </a:ext>
            </a:extLst>
          </p:cNvPr>
          <p:cNvSpPr/>
          <p:nvPr userDrawn="1"/>
        </p:nvSpPr>
        <p:spPr>
          <a:xfrm>
            <a:off x="5197350"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7" name="文本占位符 6">
            <a:extLst>
              <a:ext uri="{FF2B5EF4-FFF2-40B4-BE49-F238E27FC236}">
                <a16:creationId xmlns:a16="http://schemas.microsoft.com/office/drawing/2014/main" id="{8E9FBB3D-EAC4-49D6-9CE6-5D1F3C945A8C}"/>
              </a:ext>
            </a:extLst>
          </p:cNvPr>
          <p:cNvSpPr>
            <a:spLocks noGrp="1"/>
          </p:cNvSpPr>
          <p:nvPr>
            <p:ph type="body" sz="quarter" idx="19"/>
          </p:nvPr>
        </p:nvSpPr>
        <p:spPr>
          <a:xfrm>
            <a:off x="6000421"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8" name="文本占位符 6">
            <a:extLst>
              <a:ext uri="{FF2B5EF4-FFF2-40B4-BE49-F238E27FC236}">
                <a16:creationId xmlns:a16="http://schemas.microsoft.com/office/drawing/2014/main" id="{5122E474-5319-478F-98AC-88246B0860A6}"/>
              </a:ext>
            </a:extLst>
          </p:cNvPr>
          <p:cNvSpPr>
            <a:spLocks noGrp="1"/>
          </p:cNvSpPr>
          <p:nvPr>
            <p:ph type="body" sz="quarter" idx="20"/>
          </p:nvPr>
        </p:nvSpPr>
        <p:spPr>
          <a:xfrm>
            <a:off x="6000421"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9" name="文本占位符 6">
            <a:extLst>
              <a:ext uri="{FF2B5EF4-FFF2-40B4-BE49-F238E27FC236}">
                <a16:creationId xmlns:a16="http://schemas.microsoft.com/office/drawing/2014/main" id="{96E002CE-1766-4047-82E2-AE0B85E3D7B8}"/>
              </a:ext>
            </a:extLst>
          </p:cNvPr>
          <p:cNvSpPr>
            <a:spLocks noGrp="1"/>
          </p:cNvSpPr>
          <p:nvPr>
            <p:ph type="body" sz="quarter" idx="21" hasCustomPrompt="1"/>
          </p:nvPr>
        </p:nvSpPr>
        <p:spPr>
          <a:xfrm>
            <a:off x="5116762" y="144640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0" name="直接连接符 79">
            <a:extLst>
              <a:ext uri="{FF2B5EF4-FFF2-40B4-BE49-F238E27FC236}">
                <a16:creationId xmlns:a16="http://schemas.microsoft.com/office/drawing/2014/main" id="{B35216D6-C50A-4FC9-9803-6E9C685A31C8}"/>
              </a:ext>
            </a:extLst>
          </p:cNvPr>
          <p:cNvCxnSpPr>
            <a:cxnSpLocks/>
          </p:cNvCxnSpPr>
          <p:nvPr userDrawn="1"/>
        </p:nvCxnSpPr>
        <p:spPr>
          <a:xfrm>
            <a:off x="6000421"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1" name="矩形: 对角圆角 80">
            <a:extLst>
              <a:ext uri="{FF2B5EF4-FFF2-40B4-BE49-F238E27FC236}">
                <a16:creationId xmlns:a16="http://schemas.microsoft.com/office/drawing/2014/main" id="{7575BFEF-A6BF-4109-8EA3-33FFA09CA2FB}"/>
              </a:ext>
            </a:extLst>
          </p:cNvPr>
          <p:cNvSpPr/>
          <p:nvPr userDrawn="1"/>
        </p:nvSpPr>
        <p:spPr>
          <a:xfrm>
            <a:off x="6031862"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2" name="文本占位符 6">
            <a:extLst>
              <a:ext uri="{FF2B5EF4-FFF2-40B4-BE49-F238E27FC236}">
                <a16:creationId xmlns:a16="http://schemas.microsoft.com/office/drawing/2014/main" id="{2D65661E-ED04-4FC6-961F-7D85FDD65E0A}"/>
              </a:ext>
            </a:extLst>
          </p:cNvPr>
          <p:cNvSpPr>
            <a:spLocks noGrp="1"/>
          </p:cNvSpPr>
          <p:nvPr>
            <p:ph type="body" sz="quarter" idx="22"/>
          </p:nvPr>
        </p:nvSpPr>
        <p:spPr>
          <a:xfrm>
            <a:off x="6834933"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3" name="文本占位符 6">
            <a:extLst>
              <a:ext uri="{FF2B5EF4-FFF2-40B4-BE49-F238E27FC236}">
                <a16:creationId xmlns:a16="http://schemas.microsoft.com/office/drawing/2014/main" id="{AD9D95D2-C292-4D18-9E6C-C5A3F2BE73AC}"/>
              </a:ext>
            </a:extLst>
          </p:cNvPr>
          <p:cNvSpPr>
            <a:spLocks noGrp="1"/>
          </p:cNvSpPr>
          <p:nvPr>
            <p:ph type="body" sz="quarter" idx="23"/>
          </p:nvPr>
        </p:nvSpPr>
        <p:spPr>
          <a:xfrm>
            <a:off x="6834933"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4" name="文本占位符 6">
            <a:extLst>
              <a:ext uri="{FF2B5EF4-FFF2-40B4-BE49-F238E27FC236}">
                <a16:creationId xmlns:a16="http://schemas.microsoft.com/office/drawing/2014/main" id="{D811A90D-18C5-4187-8FA9-58BB0BDA6A42}"/>
              </a:ext>
            </a:extLst>
          </p:cNvPr>
          <p:cNvSpPr>
            <a:spLocks noGrp="1"/>
          </p:cNvSpPr>
          <p:nvPr>
            <p:ph type="body" sz="quarter" idx="24" hasCustomPrompt="1"/>
          </p:nvPr>
        </p:nvSpPr>
        <p:spPr>
          <a:xfrm>
            <a:off x="5960892" y="287120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5" name="直接连接符 84">
            <a:extLst>
              <a:ext uri="{FF2B5EF4-FFF2-40B4-BE49-F238E27FC236}">
                <a16:creationId xmlns:a16="http://schemas.microsoft.com/office/drawing/2014/main" id="{C4A6ABAA-4347-4830-95BB-F02294E877E4}"/>
              </a:ext>
            </a:extLst>
          </p:cNvPr>
          <p:cNvCxnSpPr>
            <a:cxnSpLocks/>
          </p:cNvCxnSpPr>
          <p:nvPr userDrawn="1"/>
        </p:nvCxnSpPr>
        <p:spPr>
          <a:xfrm>
            <a:off x="6834933"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00853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目录5-1">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22E1ECFC-8538-4076-9289-B852DD1A376F}"/>
              </a:ext>
            </a:extLst>
          </p:cNvPr>
          <p:cNvPicPr>
            <a:picLocks noChangeAspect="1"/>
          </p:cNvPicPr>
          <p:nvPr userDrawn="1"/>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矩形 6">
            <a:extLst>
              <a:ext uri="{FF2B5EF4-FFF2-40B4-BE49-F238E27FC236}">
                <a16:creationId xmlns:a16="http://schemas.microsoft.com/office/drawing/2014/main" id="{68472E84-214D-489C-A745-0C0ABEBAA31D}"/>
              </a:ext>
            </a:extLst>
          </p:cNvPr>
          <p:cNvSpPr/>
          <p:nvPr userDrawn="1"/>
        </p:nvSpPr>
        <p:spPr>
          <a:xfrm>
            <a:off x="0" y="0"/>
            <a:ext cx="12192000" cy="6858000"/>
          </a:xfrm>
          <a:prstGeom prst="rect">
            <a:avLst/>
          </a:prstGeom>
          <a:gradFill flip="none" rotWithShape="1">
            <a:gsLst>
              <a:gs pos="0">
                <a:schemeClr val="bg1">
                  <a:alpha val="0"/>
                </a:schemeClr>
              </a:gs>
              <a:gs pos="58000">
                <a:schemeClr val="bg1">
                  <a:alpha val="45000"/>
                </a:schemeClr>
              </a:gs>
              <a:gs pos="80000">
                <a:schemeClr val="bg1">
                  <a:alpha val="82000"/>
                </a:schemeClr>
              </a:gs>
            </a:gsLst>
            <a:path path="circle">
              <a:fillToRect l="50000" t="50000" r="50000" b="50000"/>
            </a:path>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任意多边形: 形状 117">
            <a:extLst>
              <a:ext uri="{FF2B5EF4-FFF2-40B4-BE49-F238E27FC236}">
                <a16:creationId xmlns:a16="http://schemas.microsoft.com/office/drawing/2014/main" id="{6DC6AE27-90FE-4E35-A04A-EFA388819C1A}"/>
              </a:ext>
            </a:extLst>
          </p:cNvPr>
          <p:cNvSpPr/>
          <p:nvPr userDrawn="1"/>
        </p:nvSpPr>
        <p:spPr>
          <a:xfrm>
            <a:off x="4119624" y="3588636"/>
            <a:ext cx="3728976" cy="3269364"/>
          </a:xfrm>
          <a:custGeom>
            <a:avLst/>
            <a:gdLst>
              <a:gd name="connsiteX0" fmla="*/ 1864488 w 3728976"/>
              <a:gd name="connsiteY0" fmla="*/ 0 h 3269364"/>
              <a:gd name="connsiteX1" fmla="*/ 3728976 w 3728976"/>
              <a:gd name="connsiteY1" fmla="*/ 1864487 h 3269364"/>
              <a:gd name="connsiteX2" fmla="*/ 3182880 w 3728976"/>
              <a:gd name="connsiteY2" fmla="*/ 3182879 h 3269364"/>
              <a:gd name="connsiteX3" fmla="*/ 3087722 w 3728976"/>
              <a:gd name="connsiteY3" fmla="*/ 3269364 h 3269364"/>
              <a:gd name="connsiteX4" fmla="*/ 2866319 w 3728976"/>
              <a:gd name="connsiteY4" fmla="*/ 3269364 h 3269364"/>
              <a:gd name="connsiteX5" fmla="*/ 2962984 w 3728976"/>
              <a:gd name="connsiteY5" fmla="*/ 3197080 h 3269364"/>
              <a:gd name="connsiteX6" fmla="*/ 3591431 w 3728976"/>
              <a:gd name="connsiteY6" fmla="*/ 1864487 h 3269364"/>
              <a:gd name="connsiteX7" fmla="*/ 1864488 w 3728976"/>
              <a:gd name="connsiteY7" fmla="*/ 137545 h 3269364"/>
              <a:gd name="connsiteX8" fmla="*/ 137545 w 3728976"/>
              <a:gd name="connsiteY8" fmla="*/ 1864487 h 3269364"/>
              <a:gd name="connsiteX9" fmla="*/ 765992 w 3728976"/>
              <a:gd name="connsiteY9" fmla="*/ 3197080 h 3269364"/>
              <a:gd name="connsiteX10" fmla="*/ 862657 w 3728976"/>
              <a:gd name="connsiteY10" fmla="*/ 3269364 h 3269364"/>
              <a:gd name="connsiteX11" fmla="*/ 641255 w 3728976"/>
              <a:gd name="connsiteY11" fmla="*/ 3269364 h 3269364"/>
              <a:gd name="connsiteX12" fmla="*/ 546097 w 3728976"/>
              <a:gd name="connsiteY12" fmla="*/ 3182879 h 3269364"/>
              <a:gd name="connsiteX13" fmla="*/ 0 w 3728976"/>
              <a:gd name="connsiteY13" fmla="*/ 1864487 h 3269364"/>
              <a:gd name="connsiteX14" fmla="*/ 1864488 w 3728976"/>
              <a:gd name="connsiteY14" fmla="*/ 0 h 326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28976" h="3269364">
                <a:moveTo>
                  <a:pt x="1864488" y="0"/>
                </a:moveTo>
                <a:cubicBezTo>
                  <a:pt x="2894216" y="0"/>
                  <a:pt x="3728976" y="834759"/>
                  <a:pt x="3728976" y="1864487"/>
                </a:cubicBezTo>
                <a:cubicBezTo>
                  <a:pt x="3728976" y="2379351"/>
                  <a:pt x="3520286" y="2845473"/>
                  <a:pt x="3182880" y="3182879"/>
                </a:cubicBezTo>
                <a:lnTo>
                  <a:pt x="3087722" y="3269364"/>
                </a:lnTo>
                <a:lnTo>
                  <a:pt x="2866319" y="3269364"/>
                </a:lnTo>
                <a:lnTo>
                  <a:pt x="2962984" y="3197080"/>
                </a:lnTo>
                <a:cubicBezTo>
                  <a:pt x="3346793" y="2880333"/>
                  <a:pt x="3591431" y="2400980"/>
                  <a:pt x="3591431" y="1864487"/>
                </a:cubicBezTo>
                <a:cubicBezTo>
                  <a:pt x="3591431" y="910723"/>
                  <a:pt x="2818252" y="137545"/>
                  <a:pt x="1864488" y="137545"/>
                </a:cubicBezTo>
                <a:cubicBezTo>
                  <a:pt x="910724" y="137545"/>
                  <a:pt x="137545" y="910723"/>
                  <a:pt x="137545" y="1864487"/>
                </a:cubicBezTo>
                <a:cubicBezTo>
                  <a:pt x="137545" y="2400980"/>
                  <a:pt x="382184" y="2880333"/>
                  <a:pt x="765992" y="3197080"/>
                </a:cubicBezTo>
                <a:lnTo>
                  <a:pt x="862657" y="3269364"/>
                </a:lnTo>
                <a:lnTo>
                  <a:pt x="641255" y="3269364"/>
                </a:lnTo>
                <a:lnTo>
                  <a:pt x="546097" y="3182879"/>
                </a:lnTo>
                <a:cubicBezTo>
                  <a:pt x="208690" y="2845473"/>
                  <a:pt x="0" y="2379351"/>
                  <a:pt x="0" y="1864487"/>
                </a:cubicBezTo>
                <a:cubicBezTo>
                  <a:pt x="0" y="834759"/>
                  <a:pt x="834760" y="0"/>
                  <a:pt x="1864488" y="0"/>
                </a:cubicBez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0" name="任意多边形: 形状 119">
            <a:extLst>
              <a:ext uri="{FF2B5EF4-FFF2-40B4-BE49-F238E27FC236}">
                <a16:creationId xmlns:a16="http://schemas.microsoft.com/office/drawing/2014/main" id="{2E51FF78-7097-436B-A6AF-FB455144A795}"/>
              </a:ext>
            </a:extLst>
          </p:cNvPr>
          <p:cNvSpPr/>
          <p:nvPr userDrawn="1"/>
        </p:nvSpPr>
        <p:spPr>
          <a:xfrm>
            <a:off x="4257169" y="3726182"/>
            <a:ext cx="3453886" cy="3131819"/>
          </a:xfrm>
          <a:custGeom>
            <a:avLst/>
            <a:gdLst>
              <a:gd name="connsiteX0" fmla="*/ 1726943 w 3453886"/>
              <a:gd name="connsiteY0" fmla="*/ 0 h 3131819"/>
              <a:gd name="connsiteX1" fmla="*/ 3453886 w 3453886"/>
              <a:gd name="connsiteY1" fmla="*/ 1726942 h 3131819"/>
              <a:gd name="connsiteX2" fmla="*/ 2825439 w 3453886"/>
              <a:gd name="connsiteY2" fmla="*/ 3059535 h 3131819"/>
              <a:gd name="connsiteX3" fmla="*/ 2728775 w 3453886"/>
              <a:gd name="connsiteY3" fmla="*/ 3131819 h 3131819"/>
              <a:gd name="connsiteX4" fmla="*/ 725112 w 3453886"/>
              <a:gd name="connsiteY4" fmla="*/ 3131819 h 3131819"/>
              <a:gd name="connsiteX5" fmla="*/ 628447 w 3453886"/>
              <a:gd name="connsiteY5" fmla="*/ 3059535 h 3131819"/>
              <a:gd name="connsiteX6" fmla="*/ 0 w 3453886"/>
              <a:gd name="connsiteY6" fmla="*/ 1726942 h 3131819"/>
              <a:gd name="connsiteX7" fmla="*/ 1726943 w 3453886"/>
              <a:gd name="connsiteY7" fmla="*/ 0 h 313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3886" h="3131819">
                <a:moveTo>
                  <a:pt x="1726943" y="0"/>
                </a:moveTo>
                <a:cubicBezTo>
                  <a:pt x="2680707" y="0"/>
                  <a:pt x="3453886" y="773178"/>
                  <a:pt x="3453886" y="1726942"/>
                </a:cubicBezTo>
                <a:cubicBezTo>
                  <a:pt x="3453886" y="2263435"/>
                  <a:pt x="3209248" y="2742788"/>
                  <a:pt x="2825439" y="3059535"/>
                </a:cubicBezTo>
                <a:lnTo>
                  <a:pt x="2728775" y="3131819"/>
                </a:lnTo>
                <a:lnTo>
                  <a:pt x="725112" y="3131819"/>
                </a:lnTo>
                <a:lnTo>
                  <a:pt x="628447" y="3059535"/>
                </a:lnTo>
                <a:cubicBezTo>
                  <a:pt x="244639" y="2742788"/>
                  <a:pt x="0" y="2263435"/>
                  <a:pt x="0" y="1726942"/>
                </a:cubicBezTo>
                <a:cubicBezTo>
                  <a:pt x="0" y="773178"/>
                  <a:pt x="773179" y="0"/>
                  <a:pt x="1726943" y="0"/>
                </a:cubicBez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55" name="直接连接符 54">
            <a:extLst>
              <a:ext uri="{FF2B5EF4-FFF2-40B4-BE49-F238E27FC236}">
                <a16:creationId xmlns:a16="http://schemas.microsoft.com/office/drawing/2014/main" id="{75F4B549-78BD-4DCA-926E-6B1FBA830714}"/>
              </a:ext>
            </a:extLst>
          </p:cNvPr>
          <p:cNvCxnSpPr>
            <a:cxnSpLocks/>
          </p:cNvCxnSpPr>
          <p:nvPr userDrawn="1"/>
        </p:nvCxnSpPr>
        <p:spPr>
          <a:xfrm>
            <a:off x="4899439" y="5634424"/>
            <a:ext cx="2166842"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文本框 55">
            <a:extLst>
              <a:ext uri="{FF2B5EF4-FFF2-40B4-BE49-F238E27FC236}">
                <a16:creationId xmlns:a16="http://schemas.microsoft.com/office/drawing/2014/main" id="{5FC807D9-ED77-4A4C-80C1-D96391238A51}"/>
              </a:ext>
            </a:extLst>
          </p:cNvPr>
          <p:cNvSpPr txBox="1"/>
          <p:nvPr userDrawn="1"/>
        </p:nvSpPr>
        <p:spPr>
          <a:xfrm>
            <a:off x="4899439" y="5774684"/>
            <a:ext cx="2166842" cy="425456"/>
          </a:xfrm>
          <a:prstGeom prst="rect">
            <a:avLst/>
          </a:prstGeom>
          <a:noFill/>
        </p:spPr>
        <p:txBody>
          <a:bodyPr wrap="square" lIns="0" rIns="0" rtlCol="0" anchor="ctr">
            <a:noAutofit/>
          </a:bodyPr>
          <a:lstStyle/>
          <a:p>
            <a:pPr algn="dist"/>
            <a:r>
              <a:rPr lang="en-US" altLang="zh-CN" sz="2000" dirty="0">
                <a:solidFill>
                  <a:schemeClr val="bg1">
                    <a:alpha val="70000"/>
                  </a:schemeClr>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bg1">
                    <a:alpha val="70000"/>
                  </a:schemeClr>
                </a:solidFill>
                <a:latin typeface="Impact" panose="020B0806030902050204" pitchFamily="34" charset="0"/>
              </a:rPr>
              <a:t>TENTS</a:t>
            </a:r>
          </a:p>
        </p:txBody>
      </p:sp>
      <p:cxnSp>
        <p:nvCxnSpPr>
          <p:cNvPr id="57" name="直接连接符 56">
            <a:extLst>
              <a:ext uri="{FF2B5EF4-FFF2-40B4-BE49-F238E27FC236}">
                <a16:creationId xmlns:a16="http://schemas.microsoft.com/office/drawing/2014/main" id="{468EAA44-7588-4680-9F35-826664677756}"/>
              </a:ext>
            </a:extLst>
          </p:cNvPr>
          <p:cNvCxnSpPr>
            <a:cxnSpLocks/>
          </p:cNvCxnSpPr>
          <p:nvPr userDrawn="1"/>
        </p:nvCxnSpPr>
        <p:spPr>
          <a:xfrm>
            <a:off x="4899439" y="5705544"/>
            <a:ext cx="2166842"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4" name="标题 1">
            <a:extLst>
              <a:ext uri="{FF2B5EF4-FFF2-40B4-BE49-F238E27FC236}">
                <a16:creationId xmlns:a16="http://schemas.microsoft.com/office/drawing/2014/main" id="{6512DFD9-739B-4366-8DB3-CC3C67268B74}"/>
              </a:ext>
            </a:extLst>
          </p:cNvPr>
          <p:cNvSpPr>
            <a:spLocks noGrp="1"/>
          </p:cNvSpPr>
          <p:nvPr userDrawn="1">
            <p:ph type="ctrTitle" hasCustomPrompt="1"/>
          </p:nvPr>
        </p:nvSpPr>
        <p:spPr>
          <a:xfrm>
            <a:off x="4966750" y="4613761"/>
            <a:ext cx="203222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sp>
        <p:nvSpPr>
          <p:cNvPr id="60" name="文本框 59">
            <a:extLst>
              <a:ext uri="{FF2B5EF4-FFF2-40B4-BE49-F238E27FC236}">
                <a16:creationId xmlns:a16="http://schemas.microsoft.com/office/drawing/2014/main" id="{27196716-310E-450B-99C9-FFBAD5640998}"/>
              </a:ext>
            </a:extLst>
          </p:cNvPr>
          <p:cNvSpPr txBox="1"/>
          <p:nvPr/>
        </p:nvSpPr>
        <p:spPr>
          <a:xfrm>
            <a:off x="4899439" y="4532109"/>
            <a:ext cx="216684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sp>
        <p:nvSpPr>
          <p:cNvPr id="119" name="任意多边形: 形状 118">
            <a:extLst>
              <a:ext uri="{FF2B5EF4-FFF2-40B4-BE49-F238E27FC236}">
                <a16:creationId xmlns:a16="http://schemas.microsoft.com/office/drawing/2014/main" id="{880FF84D-353A-4D91-9FD2-85D33B9D53C7}"/>
              </a:ext>
            </a:extLst>
          </p:cNvPr>
          <p:cNvSpPr/>
          <p:nvPr userDrawn="1"/>
        </p:nvSpPr>
        <p:spPr>
          <a:xfrm>
            <a:off x="4338191" y="3807204"/>
            <a:ext cx="3291842" cy="3050797"/>
          </a:xfrm>
          <a:custGeom>
            <a:avLst/>
            <a:gdLst>
              <a:gd name="connsiteX0" fmla="*/ 1645921 w 3291842"/>
              <a:gd name="connsiteY0" fmla="*/ 0 h 3050797"/>
              <a:gd name="connsiteX1" fmla="*/ 3291842 w 3291842"/>
              <a:gd name="connsiteY1" fmla="*/ 1645920 h 3050797"/>
              <a:gd name="connsiteX2" fmla="*/ 2566171 w 3291842"/>
              <a:gd name="connsiteY2" fmla="*/ 3010743 h 3050797"/>
              <a:gd name="connsiteX3" fmla="*/ 2500240 w 3291842"/>
              <a:gd name="connsiteY3" fmla="*/ 3050797 h 3050797"/>
              <a:gd name="connsiteX4" fmla="*/ 791603 w 3291842"/>
              <a:gd name="connsiteY4" fmla="*/ 3050797 h 3050797"/>
              <a:gd name="connsiteX5" fmla="*/ 725671 w 3291842"/>
              <a:gd name="connsiteY5" fmla="*/ 3010743 h 3050797"/>
              <a:gd name="connsiteX6" fmla="*/ 0 w 3291842"/>
              <a:gd name="connsiteY6" fmla="*/ 1645920 h 3050797"/>
              <a:gd name="connsiteX7" fmla="*/ 1645921 w 3291842"/>
              <a:gd name="connsiteY7" fmla="*/ 0 h 3050797"/>
              <a:gd name="connsiteX0" fmla="*/ 1645921 w 3291842"/>
              <a:gd name="connsiteY0" fmla="*/ 0 h 3553716"/>
              <a:gd name="connsiteX1" fmla="*/ 3291842 w 3291842"/>
              <a:gd name="connsiteY1" fmla="*/ 1645920 h 3553716"/>
              <a:gd name="connsiteX2" fmla="*/ 2566171 w 3291842"/>
              <a:gd name="connsiteY2" fmla="*/ 3010743 h 3553716"/>
              <a:gd name="connsiteX3" fmla="*/ 2500240 w 3291842"/>
              <a:gd name="connsiteY3" fmla="*/ 3050797 h 3553716"/>
              <a:gd name="connsiteX4" fmla="*/ 1483489 w 3291842"/>
              <a:gd name="connsiteY4" fmla="*/ 3553716 h 3553716"/>
              <a:gd name="connsiteX5" fmla="*/ 791603 w 3291842"/>
              <a:gd name="connsiteY5" fmla="*/ 3050797 h 3553716"/>
              <a:gd name="connsiteX6" fmla="*/ 725671 w 3291842"/>
              <a:gd name="connsiteY6" fmla="*/ 3010743 h 3553716"/>
              <a:gd name="connsiteX7" fmla="*/ 0 w 3291842"/>
              <a:gd name="connsiteY7" fmla="*/ 1645920 h 3553716"/>
              <a:gd name="connsiteX8" fmla="*/ 1645921 w 3291842"/>
              <a:gd name="connsiteY8" fmla="*/ 0 h 3553716"/>
              <a:gd name="connsiteX0" fmla="*/ 1483489 w 3291842"/>
              <a:gd name="connsiteY0" fmla="*/ 3553716 h 3645156"/>
              <a:gd name="connsiteX1" fmla="*/ 791603 w 3291842"/>
              <a:gd name="connsiteY1" fmla="*/ 3050797 h 3645156"/>
              <a:gd name="connsiteX2" fmla="*/ 725671 w 3291842"/>
              <a:gd name="connsiteY2" fmla="*/ 3010743 h 3645156"/>
              <a:gd name="connsiteX3" fmla="*/ 0 w 3291842"/>
              <a:gd name="connsiteY3" fmla="*/ 1645920 h 3645156"/>
              <a:gd name="connsiteX4" fmla="*/ 1645921 w 3291842"/>
              <a:gd name="connsiteY4" fmla="*/ 0 h 3645156"/>
              <a:gd name="connsiteX5" fmla="*/ 3291842 w 3291842"/>
              <a:gd name="connsiteY5" fmla="*/ 1645920 h 3645156"/>
              <a:gd name="connsiteX6" fmla="*/ 2566171 w 3291842"/>
              <a:gd name="connsiteY6" fmla="*/ 3010743 h 3645156"/>
              <a:gd name="connsiteX7" fmla="*/ 2500240 w 3291842"/>
              <a:gd name="connsiteY7" fmla="*/ 3050797 h 3645156"/>
              <a:gd name="connsiteX8" fmla="*/ 1574929 w 3291842"/>
              <a:gd name="connsiteY8" fmla="*/ 3645156 h 3645156"/>
              <a:gd name="connsiteX0" fmla="*/ 1483489 w 3291842"/>
              <a:gd name="connsiteY0" fmla="*/ 3553716 h 3553716"/>
              <a:gd name="connsiteX1" fmla="*/ 791603 w 3291842"/>
              <a:gd name="connsiteY1" fmla="*/ 3050797 h 3553716"/>
              <a:gd name="connsiteX2" fmla="*/ 725671 w 3291842"/>
              <a:gd name="connsiteY2" fmla="*/ 3010743 h 3553716"/>
              <a:gd name="connsiteX3" fmla="*/ 0 w 3291842"/>
              <a:gd name="connsiteY3" fmla="*/ 1645920 h 3553716"/>
              <a:gd name="connsiteX4" fmla="*/ 1645921 w 3291842"/>
              <a:gd name="connsiteY4" fmla="*/ 0 h 3553716"/>
              <a:gd name="connsiteX5" fmla="*/ 3291842 w 3291842"/>
              <a:gd name="connsiteY5" fmla="*/ 1645920 h 3553716"/>
              <a:gd name="connsiteX6" fmla="*/ 2566171 w 3291842"/>
              <a:gd name="connsiteY6" fmla="*/ 3010743 h 3553716"/>
              <a:gd name="connsiteX7" fmla="*/ 2500240 w 3291842"/>
              <a:gd name="connsiteY7" fmla="*/ 3050797 h 3553716"/>
              <a:gd name="connsiteX0" fmla="*/ 791603 w 3291842"/>
              <a:gd name="connsiteY0" fmla="*/ 3050797 h 3050797"/>
              <a:gd name="connsiteX1" fmla="*/ 725671 w 3291842"/>
              <a:gd name="connsiteY1" fmla="*/ 3010743 h 3050797"/>
              <a:gd name="connsiteX2" fmla="*/ 0 w 3291842"/>
              <a:gd name="connsiteY2" fmla="*/ 1645920 h 3050797"/>
              <a:gd name="connsiteX3" fmla="*/ 1645921 w 3291842"/>
              <a:gd name="connsiteY3" fmla="*/ 0 h 3050797"/>
              <a:gd name="connsiteX4" fmla="*/ 3291842 w 3291842"/>
              <a:gd name="connsiteY4" fmla="*/ 1645920 h 3050797"/>
              <a:gd name="connsiteX5" fmla="*/ 2566171 w 3291842"/>
              <a:gd name="connsiteY5" fmla="*/ 3010743 h 3050797"/>
              <a:gd name="connsiteX6" fmla="*/ 2500240 w 3291842"/>
              <a:gd name="connsiteY6" fmla="*/ 3050797 h 305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842" h="3050797">
                <a:moveTo>
                  <a:pt x="791603" y="3050797"/>
                </a:moveTo>
                <a:lnTo>
                  <a:pt x="725671" y="3010743"/>
                </a:lnTo>
                <a:cubicBezTo>
                  <a:pt x="287854" y="2714959"/>
                  <a:pt x="0" y="2214056"/>
                  <a:pt x="0" y="1645920"/>
                </a:cubicBezTo>
                <a:cubicBezTo>
                  <a:pt x="0" y="736903"/>
                  <a:pt x="736904" y="0"/>
                  <a:pt x="1645921" y="0"/>
                </a:cubicBezTo>
                <a:cubicBezTo>
                  <a:pt x="2554938" y="0"/>
                  <a:pt x="3291842" y="736903"/>
                  <a:pt x="3291842" y="1645920"/>
                </a:cubicBezTo>
                <a:cubicBezTo>
                  <a:pt x="3291842" y="2214056"/>
                  <a:pt x="3003989" y="2714959"/>
                  <a:pt x="2566171" y="3010743"/>
                </a:cubicBezTo>
                <a:lnTo>
                  <a:pt x="2500240" y="3050797"/>
                </a:lnTo>
              </a:path>
            </a:pathLst>
          </a:custGeom>
          <a:noFill/>
          <a:ln w="12700" cap="flat" cmpd="sng" algn="ctr">
            <a:solidFill>
              <a:schemeClr val="bg1"/>
            </a:solidFill>
            <a:prstDash val="dash"/>
            <a:miter lim="800000"/>
          </a:ln>
          <a:effectLst/>
          <a:extLst>
            <a:ext uri="{909E8E84-426E-40DD-AFC4-6F175D3DCCD1}">
              <a14:hiddenFill xmlns:a14="http://schemas.microsoft.com/office/drawing/2010/main">
                <a:gradFill flip="none" rotWithShape="1">
                  <a:gsLst>
                    <a:gs pos="0">
                      <a:schemeClr val="accent1">
                        <a:alpha val="90000"/>
                      </a:schemeClr>
                    </a:gs>
                    <a:gs pos="100000">
                      <a:schemeClr val="accent1">
                        <a:lumMod val="75000"/>
                        <a:alpha val="90000"/>
                      </a:schemeClr>
                    </a:gs>
                  </a:gsLst>
                  <a:lin ang="1620000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61" name="组合 160">
            <a:extLst>
              <a:ext uri="{FF2B5EF4-FFF2-40B4-BE49-F238E27FC236}">
                <a16:creationId xmlns:a16="http://schemas.microsoft.com/office/drawing/2014/main" id="{6E067A9B-9161-4302-9462-F450A60591D3}"/>
              </a:ext>
            </a:extLst>
          </p:cNvPr>
          <p:cNvGrpSpPr/>
          <p:nvPr userDrawn="1"/>
        </p:nvGrpSpPr>
        <p:grpSpPr>
          <a:xfrm>
            <a:off x="10477913" y="446123"/>
            <a:ext cx="1234662" cy="419641"/>
            <a:chOff x="1398368" y="5051425"/>
            <a:chExt cx="3242941" cy="1102222"/>
          </a:xfrm>
        </p:grpSpPr>
        <p:sp>
          <p:nvSpPr>
            <p:cNvPr id="162" name="Freeform 5">
              <a:extLst>
                <a:ext uri="{FF2B5EF4-FFF2-40B4-BE49-F238E27FC236}">
                  <a16:creationId xmlns:a16="http://schemas.microsoft.com/office/drawing/2014/main" id="{681FE68F-20D9-4ADC-BA54-2893D020F0B8}"/>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
              <a:extLst>
                <a:ext uri="{FF2B5EF4-FFF2-40B4-BE49-F238E27FC236}">
                  <a16:creationId xmlns:a16="http://schemas.microsoft.com/office/drawing/2014/main" id="{3A81DC60-FE0E-4D64-8106-59639078B9E6}"/>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8">
              <a:extLst>
                <a:ext uri="{FF2B5EF4-FFF2-40B4-BE49-F238E27FC236}">
                  <a16:creationId xmlns:a16="http://schemas.microsoft.com/office/drawing/2014/main" id="{67E6F362-E7D2-4A51-A2A1-AFB3F42C72E2}"/>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5" name="组合 164">
              <a:extLst>
                <a:ext uri="{FF2B5EF4-FFF2-40B4-BE49-F238E27FC236}">
                  <a16:creationId xmlns:a16="http://schemas.microsoft.com/office/drawing/2014/main" id="{D6B30CBC-F0E2-47F8-BE1E-CA02386BD239}"/>
                </a:ext>
              </a:extLst>
            </p:cNvPr>
            <p:cNvGrpSpPr/>
            <p:nvPr/>
          </p:nvGrpSpPr>
          <p:grpSpPr>
            <a:xfrm>
              <a:off x="2921957" y="5168150"/>
              <a:ext cx="542765" cy="642593"/>
              <a:chOff x="3102298" y="5183391"/>
              <a:chExt cx="501880" cy="594188"/>
            </a:xfrm>
          </p:grpSpPr>
          <p:sp>
            <p:nvSpPr>
              <p:cNvPr id="206" name="Freeform 6">
                <a:extLst>
                  <a:ext uri="{FF2B5EF4-FFF2-40B4-BE49-F238E27FC236}">
                    <a16:creationId xmlns:a16="http://schemas.microsoft.com/office/drawing/2014/main" id="{41F0064E-2F4D-45C1-9407-6C72043C57AE}"/>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0">
                <a:extLst>
                  <a:ext uri="{FF2B5EF4-FFF2-40B4-BE49-F238E27FC236}">
                    <a16:creationId xmlns:a16="http://schemas.microsoft.com/office/drawing/2014/main" id="{8B4A96A6-BA05-47B1-B9C8-68F2AB3CDB21}"/>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3">
                <a:extLst>
                  <a:ext uri="{FF2B5EF4-FFF2-40B4-BE49-F238E27FC236}">
                    <a16:creationId xmlns:a16="http://schemas.microsoft.com/office/drawing/2014/main" id="{7D3C1F7E-A781-4E54-895D-B380FA95033C}"/>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6" name="组合 165">
              <a:extLst>
                <a:ext uri="{FF2B5EF4-FFF2-40B4-BE49-F238E27FC236}">
                  <a16:creationId xmlns:a16="http://schemas.microsoft.com/office/drawing/2014/main" id="{D2353A11-F1AE-4D4B-AB44-38A9A1DD56E9}"/>
                </a:ext>
              </a:extLst>
            </p:cNvPr>
            <p:cNvGrpSpPr/>
            <p:nvPr/>
          </p:nvGrpSpPr>
          <p:grpSpPr>
            <a:xfrm>
              <a:off x="4196892" y="5154476"/>
              <a:ext cx="444417" cy="649987"/>
              <a:chOff x="4257853" y="5169716"/>
              <a:chExt cx="410940" cy="601025"/>
            </a:xfrm>
          </p:grpSpPr>
          <p:sp>
            <p:nvSpPr>
              <p:cNvPr id="201" name="Freeform 9">
                <a:extLst>
                  <a:ext uri="{FF2B5EF4-FFF2-40B4-BE49-F238E27FC236}">
                    <a16:creationId xmlns:a16="http://schemas.microsoft.com/office/drawing/2014/main" id="{DA85CDC3-6769-4E95-981B-E0E59D2C88CD}"/>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1">
                <a:extLst>
                  <a:ext uri="{FF2B5EF4-FFF2-40B4-BE49-F238E27FC236}">
                    <a16:creationId xmlns:a16="http://schemas.microsoft.com/office/drawing/2014/main" id="{065D1531-3CD4-4C56-857D-65CF23446331}"/>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2">
                <a:extLst>
                  <a:ext uri="{FF2B5EF4-FFF2-40B4-BE49-F238E27FC236}">
                    <a16:creationId xmlns:a16="http://schemas.microsoft.com/office/drawing/2014/main" id="{BF9B613B-3989-4772-9182-F5C6A0129CA7}"/>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4">
                <a:extLst>
                  <a:ext uri="{FF2B5EF4-FFF2-40B4-BE49-F238E27FC236}">
                    <a16:creationId xmlns:a16="http://schemas.microsoft.com/office/drawing/2014/main" id="{47741CB6-88D9-465C-8452-13B19D7A2633}"/>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5">
                <a:extLst>
                  <a:ext uri="{FF2B5EF4-FFF2-40B4-BE49-F238E27FC236}">
                    <a16:creationId xmlns:a16="http://schemas.microsoft.com/office/drawing/2014/main" id="{2EF9E5D6-7E45-4D82-8747-823FED15452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 name="Freeform 16">
              <a:extLst>
                <a:ext uri="{FF2B5EF4-FFF2-40B4-BE49-F238E27FC236}">
                  <a16:creationId xmlns:a16="http://schemas.microsoft.com/office/drawing/2014/main" id="{FE07C417-4364-48CF-9634-BD1389876208}"/>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7">
              <a:extLst>
                <a:ext uri="{FF2B5EF4-FFF2-40B4-BE49-F238E27FC236}">
                  <a16:creationId xmlns:a16="http://schemas.microsoft.com/office/drawing/2014/main" id="{411C1F21-0B28-491B-BE9A-B36976CFB9B4}"/>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8">
              <a:extLst>
                <a:ext uri="{FF2B5EF4-FFF2-40B4-BE49-F238E27FC236}">
                  <a16:creationId xmlns:a16="http://schemas.microsoft.com/office/drawing/2014/main" id="{37D17330-7FF8-4B37-8E32-61377720DFB6}"/>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9">
              <a:extLst>
                <a:ext uri="{FF2B5EF4-FFF2-40B4-BE49-F238E27FC236}">
                  <a16:creationId xmlns:a16="http://schemas.microsoft.com/office/drawing/2014/main" id="{5F9AE247-18DF-4BFD-8756-EF884C2FB2C3}"/>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0">
              <a:extLst>
                <a:ext uri="{FF2B5EF4-FFF2-40B4-BE49-F238E27FC236}">
                  <a16:creationId xmlns:a16="http://schemas.microsoft.com/office/drawing/2014/main" id="{655204DB-C70B-49E7-9CE1-34A3AFAD1D33}"/>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1">
              <a:extLst>
                <a:ext uri="{FF2B5EF4-FFF2-40B4-BE49-F238E27FC236}">
                  <a16:creationId xmlns:a16="http://schemas.microsoft.com/office/drawing/2014/main" id="{96E57BD1-C661-4C52-A085-9674FC67F88A}"/>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2">
              <a:extLst>
                <a:ext uri="{FF2B5EF4-FFF2-40B4-BE49-F238E27FC236}">
                  <a16:creationId xmlns:a16="http://schemas.microsoft.com/office/drawing/2014/main" id="{C6C3D71E-AA07-4CEA-A3EE-922ED315C64C}"/>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3">
              <a:extLst>
                <a:ext uri="{FF2B5EF4-FFF2-40B4-BE49-F238E27FC236}">
                  <a16:creationId xmlns:a16="http://schemas.microsoft.com/office/drawing/2014/main" id="{9B9AB42A-0837-433E-8A3F-73754E7999D4}"/>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4">
              <a:extLst>
                <a:ext uri="{FF2B5EF4-FFF2-40B4-BE49-F238E27FC236}">
                  <a16:creationId xmlns:a16="http://schemas.microsoft.com/office/drawing/2014/main" id="{34BC7BFC-660D-458D-AB7D-D9383DB2DBE1}"/>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5">
              <a:extLst>
                <a:ext uri="{FF2B5EF4-FFF2-40B4-BE49-F238E27FC236}">
                  <a16:creationId xmlns:a16="http://schemas.microsoft.com/office/drawing/2014/main" id="{1AD41F07-697B-44DA-8B2B-D65D5E019435}"/>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6">
              <a:extLst>
                <a:ext uri="{FF2B5EF4-FFF2-40B4-BE49-F238E27FC236}">
                  <a16:creationId xmlns:a16="http://schemas.microsoft.com/office/drawing/2014/main" id="{C0E33C2B-F9BC-4045-98E5-75B6F6BC39F6}"/>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7">
              <a:extLst>
                <a:ext uri="{FF2B5EF4-FFF2-40B4-BE49-F238E27FC236}">
                  <a16:creationId xmlns:a16="http://schemas.microsoft.com/office/drawing/2014/main" id="{728EF41C-F387-4C1F-B0BF-A452F96AB9C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8">
              <a:extLst>
                <a:ext uri="{FF2B5EF4-FFF2-40B4-BE49-F238E27FC236}">
                  <a16:creationId xmlns:a16="http://schemas.microsoft.com/office/drawing/2014/main" id="{8B0C0778-E5D1-4F06-A1F1-4F7066860DBF}"/>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9">
              <a:extLst>
                <a:ext uri="{FF2B5EF4-FFF2-40B4-BE49-F238E27FC236}">
                  <a16:creationId xmlns:a16="http://schemas.microsoft.com/office/drawing/2014/main" id="{B60F0E91-9D6D-4F9B-B69B-9AF9108F6102}"/>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0">
              <a:extLst>
                <a:ext uri="{FF2B5EF4-FFF2-40B4-BE49-F238E27FC236}">
                  <a16:creationId xmlns:a16="http://schemas.microsoft.com/office/drawing/2014/main" id="{7A0E55DE-5BC7-471E-B2C2-2BBDBACA6059}"/>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1">
              <a:extLst>
                <a:ext uri="{FF2B5EF4-FFF2-40B4-BE49-F238E27FC236}">
                  <a16:creationId xmlns:a16="http://schemas.microsoft.com/office/drawing/2014/main" id="{ECD0D540-48E1-442B-91F3-554345117C30}"/>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2">
              <a:extLst>
                <a:ext uri="{FF2B5EF4-FFF2-40B4-BE49-F238E27FC236}">
                  <a16:creationId xmlns:a16="http://schemas.microsoft.com/office/drawing/2014/main" id="{72D01F3E-CFC0-4124-8E82-DCC73AFEF8DD}"/>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3">
              <a:extLst>
                <a:ext uri="{FF2B5EF4-FFF2-40B4-BE49-F238E27FC236}">
                  <a16:creationId xmlns:a16="http://schemas.microsoft.com/office/drawing/2014/main" id="{42D57348-6710-4FF5-AC28-16DF12337D48}"/>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4">
              <a:extLst>
                <a:ext uri="{FF2B5EF4-FFF2-40B4-BE49-F238E27FC236}">
                  <a16:creationId xmlns:a16="http://schemas.microsoft.com/office/drawing/2014/main" id="{AD149CD4-0DD9-4F9E-BE24-6F2BA5B3BFE8}"/>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5">
              <a:extLst>
                <a:ext uri="{FF2B5EF4-FFF2-40B4-BE49-F238E27FC236}">
                  <a16:creationId xmlns:a16="http://schemas.microsoft.com/office/drawing/2014/main" id="{6B7FA4AE-BF12-4F80-876B-043E2BFDF913}"/>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6">
              <a:extLst>
                <a:ext uri="{FF2B5EF4-FFF2-40B4-BE49-F238E27FC236}">
                  <a16:creationId xmlns:a16="http://schemas.microsoft.com/office/drawing/2014/main" id="{C6A5CAF1-8FAB-47C8-BA08-FF29603E547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7">
              <a:extLst>
                <a:ext uri="{FF2B5EF4-FFF2-40B4-BE49-F238E27FC236}">
                  <a16:creationId xmlns:a16="http://schemas.microsoft.com/office/drawing/2014/main" id="{101F64A1-C3BF-4CE7-8A5B-6CB8E1884EC2}"/>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8">
              <a:extLst>
                <a:ext uri="{FF2B5EF4-FFF2-40B4-BE49-F238E27FC236}">
                  <a16:creationId xmlns:a16="http://schemas.microsoft.com/office/drawing/2014/main" id="{65AAC480-F8A7-4AE8-8C84-60E755E54FD8}"/>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9">
              <a:extLst>
                <a:ext uri="{FF2B5EF4-FFF2-40B4-BE49-F238E27FC236}">
                  <a16:creationId xmlns:a16="http://schemas.microsoft.com/office/drawing/2014/main" id="{91051CB8-51B7-425E-995D-11B1F8DC538A}"/>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0">
              <a:extLst>
                <a:ext uri="{FF2B5EF4-FFF2-40B4-BE49-F238E27FC236}">
                  <a16:creationId xmlns:a16="http://schemas.microsoft.com/office/drawing/2014/main" id="{164CB5F4-E358-470E-93C1-BFF9BF0D43E8}"/>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1">
              <a:extLst>
                <a:ext uri="{FF2B5EF4-FFF2-40B4-BE49-F238E27FC236}">
                  <a16:creationId xmlns:a16="http://schemas.microsoft.com/office/drawing/2014/main" id="{99435765-967D-45FD-9782-238974493D71}"/>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2">
              <a:extLst>
                <a:ext uri="{FF2B5EF4-FFF2-40B4-BE49-F238E27FC236}">
                  <a16:creationId xmlns:a16="http://schemas.microsoft.com/office/drawing/2014/main" id="{4BBAB53B-F8F3-4738-853D-62D7BD8AD2C1}"/>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3">
              <a:extLst>
                <a:ext uri="{FF2B5EF4-FFF2-40B4-BE49-F238E27FC236}">
                  <a16:creationId xmlns:a16="http://schemas.microsoft.com/office/drawing/2014/main" id="{AF9C0724-B187-4455-8014-5A616EA3C878}"/>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4">
              <a:extLst>
                <a:ext uri="{FF2B5EF4-FFF2-40B4-BE49-F238E27FC236}">
                  <a16:creationId xmlns:a16="http://schemas.microsoft.com/office/drawing/2014/main" id="{2F50F544-9B8F-4E58-A0E3-533C732F50FE}"/>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45">
              <a:extLst>
                <a:ext uri="{FF2B5EF4-FFF2-40B4-BE49-F238E27FC236}">
                  <a16:creationId xmlns:a16="http://schemas.microsoft.com/office/drawing/2014/main" id="{0ADEBF15-3082-4CD8-973C-C9CA3C5B3841}"/>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6">
              <a:extLst>
                <a:ext uri="{FF2B5EF4-FFF2-40B4-BE49-F238E27FC236}">
                  <a16:creationId xmlns:a16="http://schemas.microsoft.com/office/drawing/2014/main" id="{930D3F30-0A0C-4CA3-AE31-84819986EBAB}"/>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7">
              <a:extLst>
                <a:ext uri="{FF2B5EF4-FFF2-40B4-BE49-F238E27FC236}">
                  <a16:creationId xmlns:a16="http://schemas.microsoft.com/office/drawing/2014/main" id="{0AAE9B25-46A2-4790-8156-D7FF477321DF}"/>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8">
              <a:extLst>
                <a:ext uri="{FF2B5EF4-FFF2-40B4-BE49-F238E27FC236}">
                  <a16:creationId xmlns:a16="http://schemas.microsoft.com/office/drawing/2014/main" id="{C0DCF8B9-ACE3-418B-811C-323D41D143AD}"/>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9">
              <a:extLst>
                <a:ext uri="{FF2B5EF4-FFF2-40B4-BE49-F238E27FC236}">
                  <a16:creationId xmlns:a16="http://schemas.microsoft.com/office/drawing/2014/main" id="{071AA72B-00B6-4D06-8156-5AA0D5C2247D}"/>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箭头: 上 69">
            <a:extLst>
              <a:ext uri="{FF2B5EF4-FFF2-40B4-BE49-F238E27FC236}">
                <a16:creationId xmlns:a16="http://schemas.microsoft.com/office/drawing/2014/main" id="{30FDDDAF-9EA4-470A-A3D2-BFE284CFE42C}"/>
              </a:ext>
            </a:extLst>
          </p:cNvPr>
          <p:cNvSpPr/>
          <p:nvPr userDrawn="1"/>
        </p:nvSpPr>
        <p:spPr>
          <a:xfrm rot="1265170">
            <a:off x="2107220"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1" name="矩形: 对角圆角 80">
            <a:extLst>
              <a:ext uri="{FF2B5EF4-FFF2-40B4-BE49-F238E27FC236}">
                <a16:creationId xmlns:a16="http://schemas.microsoft.com/office/drawing/2014/main" id="{A68F3CBF-F51B-461C-A858-2B4A2915BFFC}"/>
              </a:ext>
            </a:extLst>
          </p:cNvPr>
          <p:cNvSpPr/>
          <p:nvPr/>
        </p:nvSpPr>
        <p:spPr>
          <a:xfrm>
            <a:off x="4087157" y="647177"/>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矩形: 对角圆角 71">
            <a:extLst>
              <a:ext uri="{FF2B5EF4-FFF2-40B4-BE49-F238E27FC236}">
                <a16:creationId xmlns:a16="http://schemas.microsoft.com/office/drawing/2014/main" id="{D52E5909-B063-4210-ABFC-1537E0C9608C}"/>
              </a:ext>
            </a:extLst>
          </p:cNvPr>
          <p:cNvSpPr/>
          <p:nvPr/>
        </p:nvSpPr>
        <p:spPr>
          <a:xfrm>
            <a:off x="1378004"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99" name="矩形: 对角圆角 98">
            <a:extLst>
              <a:ext uri="{FF2B5EF4-FFF2-40B4-BE49-F238E27FC236}">
                <a16:creationId xmlns:a16="http://schemas.microsoft.com/office/drawing/2014/main" id="{26838908-AE81-471E-B848-E4A7CD9EC858}"/>
              </a:ext>
            </a:extLst>
          </p:cNvPr>
          <p:cNvSpPr/>
          <p:nvPr userDrawn="1"/>
        </p:nvSpPr>
        <p:spPr>
          <a:xfrm>
            <a:off x="6796310"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2" name="矩形: 对角圆角 61">
            <a:extLst>
              <a:ext uri="{FF2B5EF4-FFF2-40B4-BE49-F238E27FC236}">
                <a16:creationId xmlns:a16="http://schemas.microsoft.com/office/drawing/2014/main" id="{703A8F98-E41C-4711-A7A7-FA29029CF303}"/>
              </a:ext>
            </a:extLst>
          </p:cNvPr>
          <p:cNvSpPr/>
          <p:nvPr userDrawn="1"/>
        </p:nvSpPr>
        <p:spPr>
          <a:xfrm>
            <a:off x="517138" y="3989202"/>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8" name="矩形: 对角圆角 107">
            <a:extLst>
              <a:ext uri="{FF2B5EF4-FFF2-40B4-BE49-F238E27FC236}">
                <a16:creationId xmlns:a16="http://schemas.microsoft.com/office/drawing/2014/main" id="{A79CD525-2C0E-4CAC-ACE9-B3E0843FF2C3}"/>
              </a:ext>
            </a:extLst>
          </p:cNvPr>
          <p:cNvSpPr/>
          <p:nvPr userDrawn="1"/>
        </p:nvSpPr>
        <p:spPr>
          <a:xfrm>
            <a:off x="7918665" y="4008658"/>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箭头: 上 116">
            <a:extLst>
              <a:ext uri="{FF2B5EF4-FFF2-40B4-BE49-F238E27FC236}">
                <a16:creationId xmlns:a16="http://schemas.microsoft.com/office/drawing/2014/main" id="{00D7F795-6BC9-4A14-B056-6F129CA0F924}"/>
              </a:ext>
            </a:extLst>
          </p:cNvPr>
          <p:cNvSpPr/>
          <p:nvPr userDrawn="1"/>
        </p:nvSpPr>
        <p:spPr>
          <a:xfrm rot="2525825">
            <a:off x="3392008"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1" name="箭头: 上 120">
            <a:extLst>
              <a:ext uri="{FF2B5EF4-FFF2-40B4-BE49-F238E27FC236}">
                <a16:creationId xmlns:a16="http://schemas.microsoft.com/office/drawing/2014/main" id="{B2B97110-5FD6-488E-A0D4-44FEB744D3AC}"/>
              </a:ext>
            </a:extLst>
          </p:cNvPr>
          <p:cNvSpPr/>
          <p:nvPr userDrawn="1"/>
        </p:nvSpPr>
        <p:spPr>
          <a:xfrm rot="7900080">
            <a:off x="7929283"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箭头: 上 121">
            <a:extLst>
              <a:ext uri="{FF2B5EF4-FFF2-40B4-BE49-F238E27FC236}">
                <a16:creationId xmlns:a16="http://schemas.microsoft.com/office/drawing/2014/main" id="{95CF144D-3EE8-4CFD-99D3-1EB6D1CCD493}"/>
              </a:ext>
            </a:extLst>
          </p:cNvPr>
          <p:cNvSpPr/>
          <p:nvPr userDrawn="1"/>
        </p:nvSpPr>
        <p:spPr>
          <a:xfrm rot="9634989">
            <a:off x="8971005"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3" name="矩形: 对角圆角 122">
            <a:extLst>
              <a:ext uri="{FF2B5EF4-FFF2-40B4-BE49-F238E27FC236}">
                <a16:creationId xmlns:a16="http://schemas.microsoft.com/office/drawing/2014/main" id="{FE5885D9-73E0-4911-A6B6-B8EB071C138C}"/>
              </a:ext>
            </a:extLst>
          </p:cNvPr>
          <p:cNvSpPr/>
          <p:nvPr userDrawn="1"/>
        </p:nvSpPr>
        <p:spPr>
          <a:xfrm>
            <a:off x="714636" y="464380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文本占位符 6">
            <a:extLst>
              <a:ext uri="{FF2B5EF4-FFF2-40B4-BE49-F238E27FC236}">
                <a16:creationId xmlns:a16="http://schemas.microsoft.com/office/drawing/2014/main" id="{C4FD7A8A-BCB2-44FC-8585-538D805FC69E}"/>
              </a:ext>
            </a:extLst>
          </p:cNvPr>
          <p:cNvSpPr>
            <a:spLocks noGrp="1"/>
          </p:cNvSpPr>
          <p:nvPr>
            <p:ph type="body" sz="quarter" idx="10"/>
          </p:nvPr>
        </p:nvSpPr>
        <p:spPr>
          <a:xfrm>
            <a:off x="1517707" y="4251374"/>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5" name="文本占位符 6">
            <a:extLst>
              <a:ext uri="{FF2B5EF4-FFF2-40B4-BE49-F238E27FC236}">
                <a16:creationId xmlns:a16="http://schemas.microsoft.com/office/drawing/2014/main" id="{A3CB6BE4-B1DD-41E9-8D39-8B69DEF044D3}"/>
              </a:ext>
            </a:extLst>
          </p:cNvPr>
          <p:cNvSpPr>
            <a:spLocks noGrp="1"/>
          </p:cNvSpPr>
          <p:nvPr>
            <p:ph type="body" sz="quarter" idx="11"/>
          </p:nvPr>
        </p:nvSpPr>
        <p:spPr>
          <a:xfrm>
            <a:off x="1517707" y="4615056"/>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6" name="文本占位符 6">
            <a:extLst>
              <a:ext uri="{FF2B5EF4-FFF2-40B4-BE49-F238E27FC236}">
                <a16:creationId xmlns:a16="http://schemas.microsoft.com/office/drawing/2014/main" id="{ACB10F2C-9A7B-4A74-A5CD-C8677A952B92}"/>
              </a:ext>
            </a:extLst>
          </p:cNvPr>
          <p:cNvSpPr>
            <a:spLocks noGrp="1"/>
          </p:cNvSpPr>
          <p:nvPr>
            <p:ph type="body" sz="quarter" idx="12" hasCustomPrompt="1"/>
          </p:nvPr>
        </p:nvSpPr>
        <p:spPr>
          <a:xfrm>
            <a:off x="680535" y="4124128"/>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127" name="直接连接符 126">
            <a:extLst>
              <a:ext uri="{FF2B5EF4-FFF2-40B4-BE49-F238E27FC236}">
                <a16:creationId xmlns:a16="http://schemas.microsoft.com/office/drawing/2014/main" id="{C017C033-CF4F-4959-94DA-AB00382544E6}"/>
              </a:ext>
            </a:extLst>
          </p:cNvPr>
          <p:cNvCxnSpPr>
            <a:cxnSpLocks/>
          </p:cNvCxnSpPr>
          <p:nvPr userDrawn="1"/>
        </p:nvCxnSpPr>
        <p:spPr>
          <a:xfrm>
            <a:off x="1517707" y="4825922"/>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8" name="矩形: 对角圆角 127">
            <a:extLst>
              <a:ext uri="{FF2B5EF4-FFF2-40B4-BE49-F238E27FC236}">
                <a16:creationId xmlns:a16="http://schemas.microsoft.com/office/drawing/2014/main" id="{D6E3FA0B-3A5D-4AE8-8F28-13742635DD4B}"/>
              </a:ext>
            </a:extLst>
          </p:cNvPr>
          <p:cNvSpPr/>
          <p:nvPr userDrawn="1"/>
        </p:nvSpPr>
        <p:spPr>
          <a:xfrm>
            <a:off x="1588006" y="279896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9" name="文本占位符 6">
            <a:extLst>
              <a:ext uri="{FF2B5EF4-FFF2-40B4-BE49-F238E27FC236}">
                <a16:creationId xmlns:a16="http://schemas.microsoft.com/office/drawing/2014/main" id="{01395E1F-E3FC-4941-BC46-0E03E1C1BEC2}"/>
              </a:ext>
            </a:extLst>
          </p:cNvPr>
          <p:cNvSpPr>
            <a:spLocks noGrp="1"/>
          </p:cNvSpPr>
          <p:nvPr>
            <p:ph type="body" sz="quarter" idx="13"/>
          </p:nvPr>
        </p:nvSpPr>
        <p:spPr>
          <a:xfrm>
            <a:off x="2391077" y="2406533"/>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0" name="文本占位符 6">
            <a:extLst>
              <a:ext uri="{FF2B5EF4-FFF2-40B4-BE49-F238E27FC236}">
                <a16:creationId xmlns:a16="http://schemas.microsoft.com/office/drawing/2014/main" id="{22596562-8A06-4E4C-BF1B-8F53683C4687}"/>
              </a:ext>
            </a:extLst>
          </p:cNvPr>
          <p:cNvSpPr>
            <a:spLocks noGrp="1"/>
          </p:cNvSpPr>
          <p:nvPr>
            <p:ph type="body" sz="quarter" idx="14"/>
          </p:nvPr>
        </p:nvSpPr>
        <p:spPr>
          <a:xfrm>
            <a:off x="2391077" y="2770215"/>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1" name="文本占位符 6">
            <a:extLst>
              <a:ext uri="{FF2B5EF4-FFF2-40B4-BE49-F238E27FC236}">
                <a16:creationId xmlns:a16="http://schemas.microsoft.com/office/drawing/2014/main" id="{7EC1A993-C139-4C5E-AC0D-01257FC29C16}"/>
              </a:ext>
            </a:extLst>
          </p:cNvPr>
          <p:cNvSpPr>
            <a:spLocks noGrp="1"/>
          </p:cNvSpPr>
          <p:nvPr>
            <p:ph type="body" sz="quarter" idx="15" hasCustomPrompt="1"/>
          </p:nvPr>
        </p:nvSpPr>
        <p:spPr>
          <a:xfrm>
            <a:off x="1516234" y="227928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32" name="直接连接符 131">
            <a:extLst>
              <a:ext uri="{FF2B5EF4-FFF2-40B4-BE49-F238E27FC236}">
                <a16:creationId xmlns:a16="http://schemas.microsoft.com/office/drawing/2014/main" id="{B98CE751-DA20-4C00-AFBC-B071C583142E}"/>
              </a:ext>
            </a:extLst>
          </p:cNvPr>
          <p:cNvCxnSpPr>
            <a:cxnSpLocks/>
          </p:cNvCxnSpPr>
          <p:nvPr userDrawn="1"/>
        </p:nvCxnSpPr>
        <p:spPr>
          <a:xfrm>
            <a:off x="2391077" y="2981081"/>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3" name="矩形: 对角圆角 132">
            <a:extLst>
              <a:ext uri="{FF2B5EF4-FFF2-40B4-BE49-F238E27FC236}">
                <a16:creationId xmlns:a16="http://schemas.microsoft.com/office/drawing/2014/main" id="{4FB5B1CB-5941-41AD-B3B8-B72C2052A1E2}"/>
              </a:ext>
            </a:extLst>
          </p:cNvPr>
          <p:cNvSpPr/>
          <p:nvPr userDrawn="1"/>
        </p:nvSpPr>
        <p:spPr>
          <a:xfrm>
            <a:off x="4307759" y="131950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4" name="文本占位符 6">
            <a:extLst>
              <a:ext uri="{FF2B5EF4-FFF2-40B4-BE49-F238E27FC236}">
                <a16:creationId xmlns:a16="http://schemas.microsoft.com/office/drawing/2014/main" id="{137904ED-3EFC-4227-B5FF-A3B1BF44F5D1}"/>
              </a:ext>
            </a:extLst>
          </p:cNvPr>
          <p:cNvSpPr>
            <a:spLocks noGrp="1"/>
          </p:cNvSpPr>
          <p:nvPr>
            <p:ph type="body" sz="quarter" idx="16"/>
          </p:nvPr>
        </p:nvSpPr>
        <p:spPr>
          <a:xfrm>
            <a:off x="5110830" y="927077"/>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5" name="文本占位符 6">
            <a:extLst>
              <a:ext uri="{FF2B5EF4-FFF2-40B4-BE49-F238E27FC236}">
                <a16:creationId xmlns:a16="http://schemas.microsoft.com/office/drawing/2014/main" id="{015B7842-8785-4A21-A8BF-7A88F9FDE4BE}"/>
              </a:ext>
            </a:extLst>
          </p:cNvPr>
          <p:cNvSpPr>
            <a:spLocks noGrp="1"/>
          </p:cNvSpPr>
          <p:nvPr>
            <p:ph type="body" sz="quarter" idx="17"/>
          </p:nvPr>
        </p:nvSpPr>
        <p:spPr>
          <a:xfrm>
            <a:off x="5110830" y="1290759"/>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6" name="文本占位符 6">
            <a:extLst>
              <a:ext uri="{FF2B5EF4-FFF2-40B4-BE49-F238E27FC236}">
                <a16:creationId xmlns:a16="http://schemas.microsoft.com/office/drawing/2014/main" id="{099316B1-3D42-4218-A78E-68D7B18D41E1}"/>
              </a:ext>
            </a:extLst>
          </p:cNvPr>
          <p:cNvSpPr>
            <a:spLocks noGrp="1"/>
          </p:cNvSpPr>
          <p:nvPr>
            <p:ph type="body" sz="quarter" idx="18" hasCustomPrompt="1"/>
          </p:nvPr>
        </p:nvSpPr>
        <p:spPr>
          <a:xfrm>
            <a:off x="4227171" y="79983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37" name="直接连接符 136">
            <a:extLst>
              <a:ext uri="{FF2B5EF4-FFF2-40B4-BE49-F238E27FC236}">
                <a16:creationId xmlns:a16="http://schemas.microsoft.com/office/drawing/2014/main" id="{0DE78F2E-9D10-4B5D-9BBF-169CDF93E33D}"/>
              </a:ext>
            </a:extLst>
          </p:cNvPr>
          <p:cNvCxnSpPr>
            <a:cxnSpLocks/>
          </p:cNvCxnSpPr>
          <p:nvPr userDrawn="1"/>
        </p:nvCxnSpPr>
        <p:spPr>
          <a:xfrm>
            <a:off x="5110830" y="1501625"/>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8" name="矩形: 对角圆角 137">
            <a:extLst>
              <a:ext uri="{FF2B5EF4-FFF2-40B4-BE49-F238E27FC236}">
                <a16:creationId xmlns:a16="http://schemas.microsoft.com/office/drawing/2014/main" id="{AEE3AFF7-9CE4-44F7-BA0F-3122191E7D5D}"/>
              </a:ext>
            </a:extLst>
          </p:cNvPr>
          <p:cNvSpPr/>
          <p:nvPr userDrawn="1"/>
        </p:nvSpPr>
        <p:spPr>
          <a:xfrm>
            <a:off x="7028752"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9" name="文本占位符 6">
            <a:extLst>
              <a:ext uri="{FF2B5EF4-FFF2-40B4-BE49-F238E27FC236}">
                <a16:creationId xmlns:a16="http://schemas.microsoft.com/office/drawing/2014/main" id="{83EA905D-3B35-4DC9-A52F-F28743F0ADC3}"/>
              </a:ext>
            </a:extLst>
          </p:cNvPr>
          <p:cNvSpPr>
            <a:spLocks noGrp="1"/>
          </p:cNvSpPr>
          <p:nvPr>
            <p:ph type="body" sz="quarter" idx="19"/>
          </p:nvPr>
        </p:nvSpPr>
        <p:spPr>
          <a:xfrm>
            <a:off x="7831823" y="2400300"/>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0" name="文本占位符 6">
            <a:extLst>
              <a:ext uri="{FF2B5EF4-FFF2-40B4-BE49-F238E27FC236}">
                <a16:creationId xmlns:a16="http://schemas.microsoft.com/office/drawing/2014/main" id="{F664787B-D1EC-42CA-B03F-A2DE9C1C553D}"/>
              </a:ext>
            </a:extLst>
          </p:cNvPr>
          <p:cNvSpPr>
            <a:spLocks noGrp="1"/>
          </p:cNvSpPr>
          <p:nvPr>
            <p:ph type="body" sz="quarter" idx="20"/>
          </p:nvPr>
        </p:nvSpPr>
        <p:spPr>
          <a:xfrm>
            <a:off x="7831823" y="2763982"/>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1" name="文本占位符 6">
            <a:extLst>
              <a:ext uri="{FF2B5EF4-FFF2-40B4-BE49-F238E27FC236}">
                <a16:creationId xmlns:a16="http://schemas.microsoft.com/office/drawing/2014/main" id="{6F779487-2605-4030-973F-5419E05B1DB3}"/>
              </a:ext>
            </a:extLst>
          </p:cNvPr>
          <p:cNvSpPr>
            <a:spLocks noGrp="1"/>
          </p:cNvSpPr>
          <p:nvPr>
            <p:ph type="body" sz="quarter" idx="21" hasCustomPrompt="1"/>
          </p:nvPr>
        </p:nvSpPr>
        <p:spPr>
          <a:xfrm>
            <a:off x="6957782"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42" name="直接连接符 141">
            <a:extLst>
              <a:ext uri="{FF2B5EF4-FFF2-40B4-BE49-F238E27FC236}">
                <a16:creationId xmlns:a16="http://schemas.microsoft.com/office/drawing/2014/main" id="{68AE0AA7-BC1C-4CD6-BD98-043067BC7EEF}"/>
              </a:ext>
            </a:extLst>
          </p:cNvPr>
          <p:cNvCxnSpPr>
            <a:cxnSpLocks/>
          </p:cNvCxnSpPr>
          <p:nvPr userDrawn="1"/>
        </p:nvCxnSpPr>
        <p:spPr>
          <a:xfrm>
            <a:off x="7831823" y="2974848"/>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3" name="矩形: 对角圆角 142">
            <a:extLst>
              <a:ext uri="{FF2B5EF4-FFF2-40B4-BE49-F238E27FC236}">
                <a16:creationId xmlns:a16="http://schemas.microsoft.com/office/drawing/2014/main" id="{C5925C72-80F8-4FDB-A196-435898D72FD7}"/>
              </a:ext>
            </a:extLst>
          </p:cNvPr>
          <p:cNvSpPr/>
          <p:nvPr userDrawn="1"/>
        </p:nvSpPr>
        <p:spPr>
          <a:xfrm>
            <a:off x="8152420" y="4674655"/>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44" name="文本占位符 6">
            <a:extLst>
              <a:ext uri="{FF2B5EF4-FFF2-40B4-BE49-F238E27FC236}">
                <a16:creationId xmlns:a16="http://schemas.microsoft.com/office/drawing/2014/main" id="{4842ECEC-1B3D-4731-BD30-6F1B7A618705}"/>
              </a:ext>
            </a:extLst>
          </p:cNvPr>
          <p:cNvSpPr>
            <a:spLocks noGrp="1"/>
          </p:cNvSpPr>
          <p:nvPr>
            <p:ph type="body" sz="quarter" idx="22"/>
          </p:nvPr>
        </p:nvSpPr>
        <p:spPr>
          <a:xfrm>
            <a:off x="8955491" y="4282225"/>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5" name="文本占位符 6">
            <a:extLst>
              <a:ext uri="{FF2B5EF4-FFF2-40B4-BE49-F238E27FC236}">
                <a16:creationId xmlns:a16="http://schemas.microsoft.com/office/drawing/2014/main" id="{835D6689-1A9F-4988-AEE3-B4AC4C830727}"/>
              </a:ext>
            </a:extLst>
          </p:cNvPr>
          <p:cNvSpPr>
            <a:spLocks noGrp="1"/>
          </p:cNvSpPr>
          <p:nvPr>
            <p:ph type="body" sz="quarter" idx="23"/>
          </p:nvPr>
        </p:nvSpPr>
        <p:spPr>
          <a:xfrm>
            <a:off x="8955491" y="4645907"/>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6" name="文本占位符 6">
            <a:extLst>
              <a:ext uri="{FF2B5EF4-FFF2-40B4-BE49-F238E27FC236}">
                <a16:creationId xmlns:a16="http://schemas.microsoft.com/office/drawing/2014/main" id="{0C61CB2D-9831-45E4-835A-D95FBF8063AE}"/>
              </a:ext>
            </a:extLst>
          </p:cNvPr>
          <p:cNvSpPr>
            <a:spLocks noGrp="1"/>
          </p:cNvSpPr>
          <p:nvPr>
            <p:ph type="body" sz="quarter" idx="24" hasCustomPrompt="1"/>
          </p:nvPr>
        </p:nvSpPr>
        <p:spPr>
          <a:xfrm>
            <a:off x="8070229" y="4154979"/>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47" name="直接连接符 146">
            <a:extLst>
              <a:ext uri="{FF2B5EF4-FFF2-40B4-BE49-F238E27FC236}">
                <a16:creationId xmlns:a16="http://schemas.microsoft.com/office/drawing/2014/main" id="{EBED2F20-4FC2-4164-83F9-CF3A1F214B60}"/>
              </a:ext>
            </a:extLst>
          </p:cNvPr>
          <p:cNvCxnSpPr>
            <a:cxnSpLocks/>
          </p:cNvCxnSpPr>
          <p:nvPr userDrawn="1"/>
        </p:nvCxnSpPr>
        <p:spPr>
          <a:xfrm>
            <a:off x="8955491" y="4856773"/>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3717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过渡页1-1">
    <p:spTree>
      <p:nvGrpSpPr>
        <p:cNvPr id="1" name=""/>
        <p:cNvGrpSpPr/>
        <p:nvPr/>
      </p:nvGrpSpPr>
      <p:grpSpPr>
        <a:xfrm>
          <a:off x="0" y="0"/>
          <a:ext cx="0" cy="0"/>
          <a:chOff x="0" y="0"/>
          <a:chExt cx="0" cy="0"/>
        </a:xfrm>
      </p:grpSpPr>
      <p:pic>
        <p:nvPicPr>
          <p:cNvPr id="63" name="图片 62">
            <a:extLst>
              <a:ext uri="{FF2B5EF4-FFF2-40B4-BE49-F238E27FC236}">
                <a16:creationId xmlns:a16="http://schemas.microsoft.com/office/drawing/2014/main" id="{D2150255-3DBF-4592-92E4-D45E0EFF41F0}"/>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64" name="矩形 63">
            <a:extLst>
              <a:ext uri="{FF2B5EF4-FFF2-40B4-BE49-F238E27FC236}">
                <a16:creationId xmlns:a16="http://schemas.microsoft.com/office/drawing/2014/main" id="{B229A918-A7ED-4CBF-A93C-DCF671D85E58}"/>
              </a:ext>
            </a:extLst>
          </p:cNvPr>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1447799" y="5151892"/>
            <a:ext cx="10264776" cy="334507"/>
          </a:xfrm>
        </p:spPr>
        <p:txBody>
          <a:bodyPr wrap="none" lIns="0" tIns="0" rIns="0" bIns="0" anchor="ctr">
            <a:noAutofit/>
          </a:bodyPr>
          <a:lstStyle>
            <a:lvl1pPr marL="0" indent="0" algn="l" defTabSz="457200" rtl="0" eaLnBrk="1" latinLnBrk="0" hangingPunct="1">
              <a:lnSpc>
                <a:spcPct val="100000"/>
              </a:lnSpc>
              <a:spcBef>
                <a:spcPts val="0"/>
              </a:spcBef>
              <a:buNone/>
              <a:defRPr lang="en-US" sz="18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1447799" y="4219594"/>
            <a:ext cx="10264776" cy="923330"/>
          </a:xfrm>
        </p:spPr>
        <p:txBody>
          <a:bodyPr wrap="none" lIns="0" tIns="0" rIns="0" bIns="0" anchor="ctr">
            <a:noAutofit/>
          </a:bodyPr>
          <a:lstStyle>
            <a:lvl1pPr marL="0" algn="l" defTabSz="457200" rtl="0" eaLnBrk="1" latinLnBrk="0" hangingPunct="1">
              <a:lnSpc>
                <a:spcPct val="100000"/>
              </a:lnSpc>
              <a:spcBef>
                <a:spcPts val="0"/>
              </a:spcBef>
              <a:defRPr lang="en-US" sz="54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endParaRPr lang="en-US" dirty="0"/>
          </a:p>
        </p:txBody>
      </p:sp>
      <p:pic>
        <p:nvPicPr>
          <p:cNvPr id="67" name="图片 66">
            <a:extLst>
              <a:ext uri="{FF2B5EF4-FFF2-40B4-BE49-F238E27FC236}">
                <a16:creationId xmlns:a16="http://schemas.microsoft.com/office/drawing/2014/main" id="{AA6BCBDB-ECA3-4DAB-803A-3070B2E98F1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81" y="0"/>
            <a:ext cx="12191238" cy="3764280"/>
          </a:xfrm>
          <a:custGeom>
            <a:avLst/>
            <a:gdLst>
              <a:gd name="connsiteX0" fmla="*/ 0 w 12191238"/>
              <a:gd name="connsiteY0" fmla="*/ 0 h 3764280"/>
              <a:gd name="connsiteX1" fmla="*/ 12191238 w 12191238"/>
              <a:gd name="connsiteY1" fmla="*/ 0 h 3764280"/>
              <a:gd name="connsiteX2" fmla="*/ 12191238 w 12191238"/>
              <a:gd name="connsiteY2" fmla="*/ 3764280 h 3764280"/>
              <a:gd name="connsiteX3" fmla="*/ 0 w 12191238"/>
              <a:gd name="connsiteY3" fmla="*/ 3764280 h 3764280"/>
            </a:gdLst>
            <a:ahLst/>
            <a:cxnLst>
              <a:cxn ang="0">
                <a:pos x="connsiteX0" y="connsiteY0"/>
              </a:cxn>
              <a:cxn ang="0">
                <a:pos x="connsiteX1" y="connsiteY1"/>
              </a:cxn>
              <a:cxn ang="0">
                <a:pos x="connsiteX2" y="connsiteY2"/>
              </a:cxn>
              <a:cxn ang="0">
                <a:pos x="connsiteX3" y="connsiteY3"/>
              </a:cxn>
            </a:cxnLst>
            <a:rect l="l" t="t" r="r" b="b"/>
            <a:pathLst>
              <a:path w="12191238" h="3764280">
                <a:moveTo>
                  <a:pt x="0" y="0"/>
                </a:moveTo>
                <a:lnTo>
                  <a:pt x="12191238" y="0"/>
                </a:lnTo>
                <a:lnTo>
                  <a:pt x="12191238" y="3764280"/>
                </a:lnTo>
                <a:lnTo>
                  <a:pt x="0" y="3764280"/>
                </a:lnTo>
                <a:close/>
              </a:path>
            </a:pathLst>
          </a:custGeom>
          <a:effectLst/>
        </p:spPr>
      </p:pic>
      <p:sp>
        <p:nvSpPr>
          <p:cNvPr id="68" name="矩形 67">
            <a:extLst>
              <a:ext uri="{FF2B5EF4-FFF2-40B4-BE49-F238E27FC236}">
                <a16:creationId xmlns:a16="http://schemas.microsoft.com/office/drawing/2014/main" id="{28D570EC-F191-4AD1-B987-9A19799D7470}"/>
              </a:ext>
            </a:extLst>
          </p:cNvPr>
          <p:cNvSpPr/>
          <p:nvPr userDrawn="1"/>
        </p:nvSpPr>
        <p:spPr>
          <a:xfrm flipV="1">
            <a:off x="0" y="0"/>
            <a:ext cx="12192000"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9" name="直接连接符 68">
            <a:extLst>
              <a:ext uri="{FF2B5EF4-FFF2-40B4-BE49-F238E27FC236}">
                <a16:creationId xmlns:a16="http://schemas.microsoft.com/office/drawing/2014/main" id="{4ED09219-FDE2-4A1D-B7EE-79B54EF8563D}"/>
              </a:ext>
            </a:extLst>
          </p:cNvPr>
          <p:cNvCxnSpPr/>
          <p:nvPr userDrawn="1"/>
        </p:nvCxnSpPr>
        <p:spPr>
          <a:xfrm>
            <a:off x="1447800" y="5964382"/>
            <a:ext cx="10744200" cy="0"/>
          </a:xfrm>
          <a:prstGeom prst="line">
            <a:avLst/>
          </a:prstGeom>
          <a:ln>
            <a:solidFill>
              <a:schemeClr val="bg1">
                <a:lumMod val="6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169" name="矩形 168">
            <a:extLst>
              <a:ext uri="{FF2B5EF4-FFF2-40B4-BE49-F238E27FC236}">
                <a16:creationId xmlns:a16="http://schemas.microsoft.com/office/drawing/2014/main" id="{B386ACF2-3681-445B-AA55-6FE85831BDF6}"/>
              </a:ext>
            </a:extLst>
          </p:cNvPr>
          <p:cNvSpPr/>
          <p:nvPr userDrawn="1"/>
        </p:nvSpPr>
        <p:spPr>
          <a:xfrm>
            <a:off x="0" y="3616036"/>
            <a:ext cx="12192000" cy="148244"/>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文本占位符 4">
            <a:extLst>
              <a:ext uri="{FF2B5EF4-FFF2-40B4-BE49-F238E27FC236}">
                <a16:creationId xmlns:a16="http://schemas.microsoft.com/office/drawing/2014/main" id="{CC426674-671F-45E0-A88E-C44E775BDB70}"/>
              </a:ext>
            </a:extLst>
          </p:cNvPr>
          <p:cNvSpPr>
            <a:spLocks noGrp="1"/>
          </p:cNvSpPr>
          <p:nvPr>
            <p:ph type="body" sz="quarter" idx="12" hasCustomPrompt="1"/>
          </p:nvPr>
        </p:nvSpPr>
        <p:spPr>
          <a:xfrm>
            <a:off x="1447801" y="1624519"/>
            <a:ext cx="2104811" cy="2320958"/>
          </a:xfrm>
        </p:spPr>
        <p:txBody>
          <a:bodyPr wrap="none" lIns="0" rIns="0">
            <a:noAutofit/>
          </a:bodyPr>
          <a:lstStyle>
            <a:lvl1pPr marL="0" indent="0" algn="ctr" defTabSz="457200" rtl="0" eaLnBrk="1" latinLnBrk="0" hangingPunct="1">
              <a:lnSpc>
                <a:spcPct val="100000"/>
              </a:lnSpc>
              <a:spcBef>
                <a:spcPts val="0"/>
              </a:spcBef>
              <a:buFontTx/>
              <a:buNone/>
              <a:defRPr lang="en-US" altLang="zh-CN" sz="16600" b="1" kern="1200"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bg1">
                        <a:alpha val="74000"/>
                      </a:schemeClr>
                    </a:gs>
                    <a:gs pos="58000">
                      <a:srgbClr val="FFFFFF">
                        <a:alpha val="24000"/>
                      </a:srgbClr>
                    </a:gs>
                    <a:gs pos="83000">
                      <a:schemeClr val="bg1">
                        <a:alpha val="0"/>
                      </a:schemeClr>
                    </a:gs>
                  </a:gsLst>
                  <a:lin ang="5400000" scaled="1"/>
                </a:gradFill>
                <a:latin typeface="Impact" panose="020B0806030902050204" pitchFamily="34" charset="0"/>
                <a:ea typeface="+mn-ea"/>
                <a:cs typeface="+mn-cs"/>
              </a:defRPr>
            </a:lvl1pPr>
          </a:lstStyle>
          <a:p>
            <a:pPr marL="0" lvl="0" indent="0" algn="ctr" defTabSz="457200" rtl="0" eaLnBrk="1" latinLnBrk="0" hangingPunct="1">
              <a:lnSpc>
                <a:spcPct val="100000"/>
              </a:lnSpc>
              <a:spcBef>
                <a:spcPts val="0"/>
              </a:spcBef>
              <a:buFontTx/>
              <a:buNone/>
            </a:pPr>
            <a:r>
              <a:rPr lang="en-US" altLang="zh-CN" dirty="0"/>
              <a:t>01</a:t>
            </a:r>
          </a:p>
        </p:txBody>
      </p:sp>
      <p:sp>
        <p:nvSpPr>
          <p:cNvPr id="171" name="矩形 170">
            <a:extLst>
              <a:ext uri="{FF2B5EF4-FFF2-40B4-BE49-F238E27FC236}">
                <a16:creationId xmlns:a16="http://schemas.microsoft.com/office/drawing/2014/main" id="{AA1B5E06-BF5C-48C1-A1FF-065AC3CFF919}"/>
              </a:ext>
            </a:extLst>
          </p:cNvPr>
          <p:cNvSpPr/>
          <p:nvPr userDrawn="1"/>
        </p:nvSpPr>
        <p:spPr>
          <a:xfrm>
            <a:off x="1447801" y="3616036"/>
            <a:ext cx="2104811" cy="14824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组合 160">
            <a:extLst>
              <a:ext uri="{FF2B5EF4-FFF2-40B4-BE49-F238E27FC236}">
                <a16:creationId xmlns:a16="http://schemas.microsoft.com/office/drawing/2014/main" id="{6AB6F889-8FFA-4913-A0A6-6914FD43D6A6}"/>
              </a:ext>
            </a:extLst>
          </p:cNvPr>
          <p:cNvGrpSpPr/>
          <p:nvPr userDrawn="1"/>
        </p:nvGrpSpPr>
        <p:grpSpPr>
          <a:xfrm>
            <a:off x="10477913" y="446123"/>
            <a:ext cx="1234662" cy="419641"/>
            <a:chOff x="1398368" y="5051425"/>
            <a:chExt cx="3242941" cy="1102222"/>
          </a:xfrm>
          <a:solidFill>
            <a:schemeClr val="bg1"/>
          </a:solidFill>
        </p:grpSpPr>
        <p:sp>
          <p:nvSpPr>
            <p:cNvPr id="162" name="Freeform 5">
              <a:extLst>
                <a:ext uri="{FF2B5EF4-FFF2-40B4-BE49-F238E27FC236}">
                  <a16:creationId xmlns:a16="http://schemas.microsoft.com/office/drawing/2014/main" id="{BEC3D301-5F4E-441C-A6AC-9D4B943AFF81}"/>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
              <a:extLst>
                <a:ext uri="{FF2B5EF4-FFF2-40B4-BE49-F238E27FC236}">
                  <a16:creationId xmlns:a16="http://schemas.microsoft.com/office/drawing/2014/main" id="{258C7C9C-7EE7-4956-827B-B6CB4207A3FF}"/>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8">
              <a:extLst>
                <a:ext uri="{FF2B5EF4-FFF2-40B4-BE49-F238E27FC236}">
                  <a16:creationId xmlns:a16="http://schemas.microsoft.com/office/drawing/2014/main" id="{639B802F-F1C0-4810-97C0-3A6466C99CE5}"/>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5" name="组合 164">
              <a:extLst>
                <a:ext uri="{FF2B5EF4-FFF2-40B4-BE49-F238E27FC236}">
                  <a16:creationId xmlns:a16="http://schemas.microsoft.com/office/drawing/2014/main" id="{0F9B9E2B-877E-41DA-B2D0-D732CFE5DDBD}"/>
                </a:ext>
              </a:extLst>
            </p:cNvPr>
            <p:cNvGrpSpPr/>
            <p:nvPr/>
          </p:nvGrpSpPr>
          <p:grpSpPr>
            <a:xfrm>
              <a:off x="2921957" y="5168150"/>
              <a:ext cx="542765" cy="642593"/>
              <a:chOff x="3102298" y="5183391"/>
              <a:chExt cx="501880" cy="594188"/>
            </a:xfrm>
            <a:grpFill/>
          </p:grpSpPr>
          <p:sp>
            <p:nvSpPr>
              <p:cNvPr id="208" name="Freeform 6">
                <a:extLst>
                  <a:ext uri="{FF2B5EF4-FFF2-40B4-BE49-F238E27FC236}">
                    <a16:creationId xmlns:a16="http://schemas.microsoft.com/office/drawing/2014/main" id="{B53DC25A-9830-4C4A-8403-94212D80611C}"/>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
                <a:extLst>
                  <a:ext uri="{FF2B5EF4-FFF2-40B4-BE49-F238E27FC236}">
                    <a16:creationId xmlns:a16="http://schemas.microsoft.com/office/drawing/2014/main" id="{47590841-8CC2-4737-A2C8-BED9FCD9568A}"/>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3">
                <a:extLst>
                  <a:ext uri="{FF2B5EF4-FFF2-40B4-BE49-F238E27FC236}">
                    <a16:creationId xmlns:a16="http://schemas.microsoft.com/office/drawing/2014/main" id="{3A62C6CB-E697-4CAF-92F5-3E41118F2D3A}"/>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6" name="组合 165">
              <a:extLst>
                <a:ext uri="{FF2B5EF4-FFF2-40B4-BE49-F238E27FC236}">
                  <a16:creationId xmlns:a16="http://schemas.microsoft.com/office/drawing/2014/main" id="{B388D4A8-AF7C-4FAE-9C35-06EA35DC06E0}"/>
                </a:ext>
              </a:extLst>
            </p:cNvPr>
            <p:cNvGrpSpPr/>
            <p:nvPr/>
          </p:nvGrpSpPr>
          <p:grpSpPr>
            <a:xfrm>
              <a:off x="4196892" y="5154476"/>
              <a:ext cx="444417" cy="649987"/>
              <a:chOff x="4257853" y="5169716"/>
              <a:chExt cx="410940" cy="601025"/>
            </a:xfrm>
            <a:grpFill/>
          </p:grpSpPr>
          <p:sp>
            <p:nvSpPr>
              <p:cNvPr id="203" name="Freeform 9">
                <a:extLst>
                  <a:ext uri="{FF2B5EF4-FFF2-40B4-BE49-F238E27FC236}">
                    <a16:creationId xmlns:a16="http://schemas.microsoft.com/office/drawing/2014/main" id="{561333E8-E464-4678-9746-DEE703AC236B}"/>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1">
                <a:extLst>
                  <a:ext uri="{FF2B5EF4-FFF2-40B4-BE49-F238E27FC236}">
                    <a16:creationId xmlns:a16="http://schemas.microsoft.com/office/drawing/2014/main" id="{B71E665C-8F31-4301-A125-7C15251D6963}"/>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2">
                <a:extLst>
                  <a:ext uri="{FF2B5EF4-FFF2-40B4-BE49-F238E27FC236}">
                    <a16:creationId xmlns:a16="http://schemas.microsoft.com/office/drawing/2014/main" id="{5ACAFB95-8368-4FE1-A54D-76657D45AB34}"/>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4">
                <a:extLst>
                  <a:ext uri="{FF2B5EF4-FFF2-40B4-BE49-F238E27FC236}">
                    <a16:creationId xmlns:a16="http://schemas.microsoft.com/office/drawing/2014/main" id="{E71E4200-FDB9-4CCA-9316-C1F737F65AE5}"/>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5">
                <a:extLst>
                  <a:ext uri="{FF2B5EF4-FFF2-40B4-BE49-F238E27FC236}">
                    <a16:creationId xmlns:a16="http://schemas.microsoft.com/office/drawing/2014/main" id="{C3144D23-D4CE-4C4D-8D22-08DACDAC9EB4}"/>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 name="Freeform 16">
              <a:extLst>
                <a:ext uri="{FF2B5EF4-FFF2-40B4-BE49-F238E27FC236}">
                  <a16:creationId xmlns:a16="http://schemas.microsoft.com/office/drawing/2014/main" id="{FCBD6B59-EE10-4BAF-B2C9-85DD62C48F5A}"/>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7">
              <a:extLst>
                <a:ext uri="{FF2B5EF4-FFF2-40B4-BE49-F238E27FC236}">
                  <a16:creationId xmlns:a16="http://schemas.microsoft.com/office/drawing/2014/main" id="{0FA717CB-C430-43E6-9665-A1800501AF7D}"/>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18">
              <a:extLst>
                <a:ext uri="{FF2B5EF4-FFF2-40B4-BE49-F238E27FC236}">
                  <a16:creationId xmlns:a16="http://schemas.microsoft.com/office/drawing/2014/main" id="{48A92B32-941F-40DF-B605-82661467C9AB}"/>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9">
              <a:extLst>
                <a:ext uri="{FF2B5EF4-FFF2-40B4-BE49-F238E27FC236}">
                  <a16:creationId xmlns:a16="http://schemas.microsoft.com/office/drawing/2014/main" id="{A71A76A7-ABBA-42E7-9DC6-960CE77E9146}"/>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0">
              <a:extLst>
                <a:ext uri="{FF2B5EF4-FFF2-40B4-BE49-F238E27FC236}">
                  <a16:creationId xmlns:a16="http://schemas.microsoft.com/office/drawing/2014/main" id="{727EA721-6DB6-42E0-84DF-40EBF5E81BA5}"/>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1">
              <a:extLst>
                <a:ext uri="{FF2B5EF4-FFF2-40B4-BE49-F238E27FC236}">
                  <a16:creationId xmlns:a16="http://schemas.microsoft.com/office/drawing/2014/main" id="{BA802AD1-7002-4DCB-B6FD-846374C45D04}"/>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2">
              <a:extLst>
                <a:ext uri="{FF2B5EF4-FFF2-40B4-BE49-F238E27FC236}">
                  <a16:creationId xmlns:a16="http://schemas.microsoft.com/office/drawing/2014/main" id="{459ED3AC-1C15-4714-91ED-D5DF4627A7CD}"/>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3">
              <a:extLst>
                <a:ext uri="{FF2B5EF4-FFF2-40B4-BE49-F238E27FC236}">
                  <a16:creationId xmlns:a16="http://schemas.microsoft.com/office/drawing/2014/main" id="{9E01D7CA-5C91-4C21-AA94-64FF1198BAC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4">
              <a:extLst>
                <a:ext uri="{FF2B5EF4-FFF2-40B4-BE49-F238E27FC236}">
                  <a16:creationId xmlns:a16="http://schemas.microsoft.com/office/drawing/2014/main" id="{CC26CBF6-B5AA-49D5-B415-478145B0109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5">
              <a:extLst>
                <a:ext uri="{FF2B5EF4-FFF2-40B4-BE49-F238E27FC236}">
                  <a16:creationId xmlns:a16="http://schemas.microsoft.com/office/drawing/2014/main" id="{5DA6934D-7E14-427D-93FA-FDF42E19B633}"/>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6">
              <a:extLst>
                <a:ext uri="{FF2B5EF4-FFF2-40B4-BE49-F238E27FC236}">
                  <a16:creationId xmlns:a16="http://schemas.microsoft.com/office/drawing/2014/main" id="{7FF1BE91-D63A-411E-9522-499E783AC5A7}"/>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7">
              <a:extLst>
                <a:ext uri="{FF2B5EF4-FFF2-40B4-BE49-F238E27FC236}">
                  <a16:creationId xmlns:a16="http://schemas.microsoft.com/office/drawing/2014/main" id="{97DD8889-C1F6-42DC-AE46-0061501A7779}"/>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8">
              <a:extLst>
                <a:ext uri="{FF2B5EF4-FFF2-40B4-BE49-F238E27FC236}">
                  <a16:creationId xmlns:a16="http://schemas.microsoft.com/office/drawing/2014/main" id="{F00656E9-415F-40EC-A738-6C967A22B59D}"/>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9">
              <a:extLst>
                <a:ext uri="{FF2B5EF4-FFF2-40B4-BE49-F238E27FC236}">
                  <a16:creationId xmlns:a16="http://schemas.microsoft.com/office/drawing/2014/main" id="{379D269F-B521-4100-AC4F-9AF0B656D3A3}"/>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0">
              <a:extLst>
                <a:ext uri="{FF2B5EF4-FFF2-40B4-BE49-F238E27FC236}">
                  <a16:creationId xmlns:a16="http://schemas.microsoft.com/office/drawing/2014/main" id="{B651DA40-FB7D-489F-B526-C7167BE08E43}"/>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1">
              <a:extLst>
                <a:ext uri="{FF2B5EF4-FFF2-40B4-BE49-F238E27FC236}">
                  <a16:creationId xmlns:a16="http://schemas.microsoft.com/office/drawing/2014/main" id="{F8E17ED3-6801-4D66-A6D4-3EB37E977D6F}"/>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2">
              <a:extLst>
                <a:ext uri="{FF2B5EF4-FFF2-40B4-BE49-F238E27FC236}">
                  <a16:creationId xmlns:a16="http://schemas.microsoft.com/office/drawing/2014/main" id="{89B8CDC7-1BFB-44CE-B8AB-8ED4CEF17AF7}"/>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3">
              <a:extLst>
                <a:ext uri="{FF2B5EF4-FFF2-40B4-BE49-F238E27FC236}">
                  <a16:creationId xmlns:a16="http://schemas.microsoft.com/office/drawing/2014/main" id="{1A4C3D51-F22C-4355-A05D-E787D65A97AB}"/>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4">
              <a:extLst>
                <a:ext uri="{FF2B5EF4-FFF2-40B4-BE49-F238E27FC236}">
                  <a16:creationId xmlns:a16="http://schemas.microsoft.com/office/drawing/2014/main" id="{8CBE9550-BE45-448A-8EDC-ECE2E4BB71E5}"/>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5">
              <a:extLst>
                <a:ext uri="{FF2B5EF4-FFF2-40B4-BE49-F238E27FC236}">
                  <a16:creationId xmlns:a16="http://schemas.microsoft.com/office/drawing/2014/main" id="{47B9E981-3041-41F6-A901-6675B9C01E1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6">
              <a:extLst>
                <a:ext uri="{FF2B5EF4-FFF2-40B4-BE49-F238E27FC236}">
                  <a16:creationId xmlns:a16="http://schemas.microsoft.com/office/drawing/2014/main" id="{AF11950B-ED7C-49C7-A468-AB39F5CC2E01}"/>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7">
              <a:extLst>
                <a:ext uri="{FF2B5EF4-FFF2-40B4-BE49-F238E27FC236}">
                  <a16:creationId xmlns:a16="http://schemas.microsoft.com/office/drawing/2014/main" id="{3829AFA6-C930-422C-B89D-8491B932FD12}"/>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8">
              <a:extLst>
                <a:ext uri="{FF2B5EF4-FFF2-40B4-BE49-F238E27FC236}">
                  <a16:creationId xmlns:a16="http://schemas.microsoft.com/office/drawing/2014/main" id="{6EC04688-6E56-4DE6-8050-ECDC18CB5C6C}"/>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9">
              <a:extLst>
                <a:ext uri="{FF2B5EF4-FFF2-40B4-BE49-F238E27FC236}">
                  <a16:creationId xmlns:a16="http://schemas.microsoft.com/office/drawing/2014/main" id="{A2EFC4D7-FF9F-4FE4-856A-04125EB29C7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0">
              <a:extLst>
                <a:ext uri="{FF2B5EF4-FFF2-40B4-BE49-F238E27FC236}">
                  <a16:creationId xmlns:a16="http://schemas.microsoft.com/office/drawing/2014/main" id="{8B220414-ACC2-4260-BA87-AF5A7D2B8522}"/>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1">
              <a:extLst>
                <a:ext uri="{FF2B5EF4-FFF2-40B4-BE49-F238E27FC236}">
                  <a16:creationId xmlns:a16="http://schemas.microsoft.com/office/drawing/2014/main" id="{B9C99CF3-22B1-4343-9461-E8AADC50F622}"/>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2">
              <a:extLst>
                <a:ext uri="{FF2B5EF4-FFF2-40B4-BE49-F238E27FC236}">
                  <a16:creationId xmlns:a16="http://schemas.microsoft.com/office/drawing/2014/main" id="{3E1A315B-7EE9-4447-9D38-D913FEBBD09A}"/>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43">
              <a:extLst>
                <a:ext uri="{FF2B5EF4-FFF2-40B4-BE49-F238E27FC236}">
                  <a16:creationId xmlns:a16="http://schemas.microsoft.com/office/drawing/2014/main" id="{AE6AE107-109E-4EEA-823B-301A183AE1C6}"/>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4">
              <a:extLst>
                <a:ext uri="{FF2B5EF4-FFF2-40B4-BE49-F238E27FC236}">
                  <a16:creationId xmlns:a16="http://schemas.microsoft.com/office/drawing/2014/main" id="{5BCF18A3-5A73-4A42-8BC7-D72A9243DC74}"/>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5">
              <a:extLst>
                <a:ext uri="{FF2B5EF4-FFF2-40B4-BE49-F238E27FC236}">
                  <a16:creationId xmlns:a16="http://schemas.microsoft.com/office/drawing/2014/main" id="{220DCE83-D451-4E1E-BD4E-22B564D8B021}"/>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6">
              <a:extLst>
                <a:ext uri="{FF2B5EF4-FFF2-40B4-BE49-F238E27FC236}">
                  <a16:creationId xmlns:a16="http://schemas.microsoft.com/office/drawing/2014/main" id="{36235F0D-B53A-413B-8E33-8C338ADC26DB}"/>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7">
              <a:extLst>
                <a:ext uri="{FF2B5EF4-FFF2-40B4-BE49-F238E27FC236}">
                  <a16:creationId xmlns:a16="http://schemas.microsoft.com/office/drawing/2014/main" id="{F54388E0-DBA8-4B8F-8743-0A351A81D002}"/>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8">
              <a:extLst>
                <a:ext uri="{FF2B5EF4-FFF2-40B4-BE49-F238E27FC236}">
                  <a16:creationId xmlns:a16="http://schemas.microsoft.com/office/drawing/2014/main" id="{A2D228CA-68B2-4F6C-B2B4-F467C025236E}"/>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9">
              <a:extLst>
                <a:ext uri="{FF2B5EF4-FFF2-40B4-BE49-F238E27FC236}">
                  <a16:creationId xmlns:a16="http://schemas.microsoft.com/office/drawing/2014/main" id="{5F84968F-C704-465A-93B7-6859F3297D5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401228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过渡页2-1">
    <p:spTree>
      <p:nvGrpSpPr>
        <p:cNvPr id="1" name=""/>
        <p:cNvGrpSpPr/>
        <p:nvPr/>
      </p:nvGrpSpPr>
      <p:grpSpPr>
        <a:xfrm>
          <a:off x="0" y="0"/>
          <a:ext cx="0" cy="0"/>
          <a:chOff x="0" y="0"/>
          <a:chExt cx="0" cy="0"/>
        </a:xfrm>
      </p:grpSpPr>
      <p:pic>
        <p:nvPicPr>
          <p:cNvPr id="61" name="图片 60">
            <a:extLst>
              <a:ext uri="{FF2B5EF4-FFF2-40B4-BE49-F238E27FC236}">
                <a16:creationId xmlns:a16="http://schemas.microsoft.com/office/drawing/2014/main" id="{A1DBBD9B-3C95-4A77-B3B4-7445485D0E7B}"/>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016868" y="4708197"/>
            <a:ext cx="815826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016868" y="3775898"/>
            <a:ext cx="8158264"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66" name="直接连接符 165">
            <a:extLst>
              <a:ext uri="{FF2B5EF4-FFF2-40B4-BE49-F238E27FC236}">
                <a16:creationId xmlns:a16="http://schemas.microsoft.com/office/drawing/2014/main" id="{D82E43AD-7448-4382-BF84-778C64343A8E}"/>
              </a:ext>
            </a:extLst>
          </p:cNvPr>
          <p:cNvCxnSpPr>
            <a:cxnSpLocks/>
          </p:cNvCxnSpPr>
          <p:nvPr userDrawn="1"/>
        </p:nvCxnSpPr>
        <p:spPr>
          <a:xfrm>
            <a:off x="2049780" y="5551166"/>
            <a:ext cx="809244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5" name="文本占位符 4">
            <a:extLst>
              <a:ext uri="{FF2B5EF4-FFF2-40B4-BE49-F238E27FC236}">
                <a16:creationId xmlns:a16="http://schemas.microsoft.com/office/drawing/2014/main" id="{754E77EE-1098-4B2C-B937-5F8AF1F7F233}"/>
              </a:ext>
            </a:extLst>
          </p:cNvPr>
          <p:cNvSpPr>
            <a:spLocks noGrp="1"/>
          </p:cNvSpPr>
          <p:nvPr>
            <p:ph type="body" sz="quarter" idx="12" hasCustomPrompt="1"/>
          </p:nvPr>
        </p:nvSpPr>
        <p:spPr>
          <a:xfrm>
            <a:off x="4954993" y="1215475"/>
            <a:ext cx="2282014" cy="2646878"/>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168" name="直接连接符 167">
            <a:extLst>
              <a:ext uri="{FF2B5EF4-FFF2-40B4-BE49-F238E27FC236}">
                <a16:creationId xmlns:a16="http://schemas.microsoft.com/office/drawing/2014/main" id="{7DC1A0A8-B3A3-43AF-8E6A-BBBDC932C8C6}"/>
              </a:ext>
            </a:extLst>
          </p:cNvPr>
          <p:cNvCxnSpPr/>
          <p:nvPr userDrawn="1"/>
        </p:nvCxnSpPr>
        <p:spPr>
          <a:xfrm>
            <a:off x="5612102" y="3681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70" name="组合 169">
            <a:extLst>
              <a:ext uri="{FF2B5EF4-FFF2-40B4-BE49-F238E27FC236}">
                <a16:creationId xmlns:a16="http://schemas.microsoft.com/office/drawing/2014/main" id="{C0549BA9-9A41-4046-8613-BB73DADA1B3A}"/>
              </a:ext>
            </a:extLst>
          </p:cNvPr>
          <p:cNvGrpSpPr/>
          <p:nvPr userDrawn="1"/>
        </p:nvGrpSpPr>
        <p:grpSpPr>
          <a:xfrm>
            <a:off x="5806353" y="-1"/>
            <a:ext cx="579293" cy="751263"/>
            <a:chOff x="5820641" y="-1"/>
            <a:chExt cx="579293" cy="751263"/>
          </a:xfrm>
        </p:grpSpPr>
        <p:sp>
          <p:nvSpPr>
            <p:cNvPr id="172" name="任意多边形: 形状 171">
              <a:extLst>
                <a:ext uri="{FF2B5EF4-FFF2-40B4-BE49-F238E27FC236}">
                  <a16:creationId xmlns:a16="http://schemas.microsoft.com/office/drawing/2014/main" id="{55E8B9C4-4B2D-4A9C-B283-19E92CDD69FA}"/>
                </a:ext>
              </a:extLst>
            </p:cNvPr>
            <p:cNvSpPr/>
            <p:nvPr/>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任意多边形: 形状 172">
              <a:extLst>
                <a:ext uri="{FF2B5EF4-FFF2-40B4-BE49-F238E27FC236}">
                  <a16:creationId xmlns:a16="http://schemas.microsoft.com/office/drawing/2014/main" id="{BF02A7FE-74A8-483D-A6C9-DEBE5030602A}"/>
                </a:ext>
              </a:extLst>
            </p:cNvPr>
            <p:cNvSpPr/>
            <p:nvPr/>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 fmla="*/ 0 w 550718"/>
                <a:gd name="connsiteY0" fmla="*/ 15239 h 766502"/>
                <a:gd name="connsiteX1" fmla="*/ 471574 w 550718"/>
                <a:gd name="connsiteY1" fmla="*/ 0 h 766502"/>
                <a:gd name="connsiteX2" fmla="*/ 550718 w 550718"/>
                <a:gd name="connsiteY2" fmla="*/ 15239 h 766502"/>
                <a:gd name="connsiteX3" fmla="*/ 550718 w 550718"/>
                <a:gd name="connsiteY3" fmla="*/ 49529 h 766502"/>
                <a:gd name="connsiteX4" fmla="*/ 550718 w 550718"/>
                <a:gd name="connsiteY4" fmla="*/ 112394 h 766502"/>
                <a:gd name="connsiteX5" fmla="*/ 550718 w 550718"/>
                <a:gd name="connsiteY5" fmla="*/ 766502 h 766502"/>
                <a:gd name="connsiteX6" fmla="*/ 332814 w 550718"/>
                <a:gd name="connsiteY6" fmla="*/ 766502 h 766502"/>
                <a:gd name="connsiteX7" fmla="*/ 275359 w 550718"/>
                <a:gd name="connsiteY7" fmla="*/ 654877 h 766502"/>
                <a:gd name="connsiteX8" fmla="*/ 217904 w 550718"/>
                <a:gd name="connsiteY8" fmla="*/ 766502 h 766502"/>
                <a:gd name="connsiteX9" fmla="*/ 0 w 550718"/>
                <a:gd name="connsiteY9" fmla="*/ 766502 h 766502"/>
                <a:gd name="connsiteX10" fmla="*/ 0 w 550718"/>
                <a:gd name="connsiteY10" fmla="*/ 112394 h 766502"/>
                <a:gd name="connsiteX11" fmla="*/ 0 w 550718"/>
                <a:gd name="connsiteY11" fmla="*/ 49529 h 766502"/>
                <a:gd name="connsiteX12" fmla="*/ 0 w 550718"/>
                <a:gd name="connsiteY12" fmla="*/ 15239 h 766502"/>
                <a:gd name="connsiteX0" fmla="*/ 471574 w 563014"/>
                <a:gd name="connsiteY0" fmla="*/ 0 h 766502"/>
                <a:gd name="connsiteX1" fmla="*/ 550718 w 563014"/>
                <a:gd name="connsiteY1" fmla="*/ 15239 h 766502"/>
                <a:gd name="connsiteX2" fmla="*/ 550718 w 563014"/>
                <a:gd name="connsiteY2" fmla="*/ 49529 h 766502"/>
                <a:gd name="connsiteX3" fmla="*/ 550718 w 563014"/>
                <a:gd name="connsiteY3" fmla="*/ 112394 h 766502"/>
                <a:gd name="connsiteX4" fmla="*/ 550718 w 563014"/>
                <a:gd name="connsiteY4" fmla="*/ 766502 h 766502"/>
                <a:gd name="connsiteX5" fmla="*/ 332814 w 563014"/>
                <a:gd name="connsiteY5" fmla="*/ 766502 h 766502"/>
                <a:gd name="connsiteX6" fmla="*/ 275359 w 563014"/>
                <a:gd name="connsiteY6" fmla="*/ 654877 h 766502"/>
                <a:gd name="connsiteX7" fmla="*/ 217904 w 563014"/>
                <a:gd name="connsiteY7" fmla="*/ 766502 h 766502"/>
                <a:gd name="connsiteX8" fmla="*/ 0 w 563014"/>
                <a:gd name="connsiteY8" fmla="*/ 766502 h 766502"/>
                <a:gd name="connsiteX9" fmla="*/ 0 w 563014"/>
                <a:gd name="connsiteY9" fmla="*/ 112394 h 766502"/>
                <a:gd name="connsiteX10" fmla="*/ 0 w 563014"/>
                <a:gd name="connsiteY10" fmla="*/ 49529 h 766502"/>
                <a:gd name="connsiteX11" fmla="*/ 0 w 563014"/>
                <a:gd name="connsiteY11" fmla="*/ 15239 h 766502"/>
                <a:gd name="connsiteX12" fmla="*/ 563014 w 563014"/>
                <a:gd name="connsiteY12" fmla="*/ 91440 h 766502"/>
                <a:gd name="connsiteX0" fmla="*/ 550718 w 563014"/>
                <a:gd name="connsiteY0" fmla="*/ 1132 h 752395"/>
                <a:gd name="connsiteX1" fmla="*/ 550718 w 563014"/>
                <a:gd name="connsiteY1" fmla="*/ 35422 h 752395"/>
                <a:gd name="connsiteX2" fmla="*/ 550718 w 563014"/>
                <a:gd name="connsiteY2" fmla="*/ 98287 h 752395"/>
                <a:gd name="connsiteX3" fmla="*/ 550718 w 563014"/>
                <a:gd name="connsiteY3" fmla="*/ 752395 h 752395"/>
                <a:gd name="connsiteX4" fmla="*/ 332814 w 563014"/>
                <a:gd name="connsiteY4" fmla="*/ 752395 h 752395"/>
                <a:gd name="connsiteX5" fmla="*/ 275359 w 563014"/>
                <a:gd name="connsiteY5" fmla="*/ 640770 h 752395"/>
                <a:gd name="connsiteX6" fmla="*/ 217904 w 563014"/>
                <a:gd name="connsiteY6" fmla="*/ 752395 h 752395"/>
                <a:gd name="connsiteX7" fmla="*/ 0 w 563014"/>
                <a:gd name="connsiteY7" fmla="*/ 752395 h 752395"/>
                <a:gd name="connsiteX8" fmla="*/ 0 w 563014"/>
                <a:gd name="connsiteY8" fmla="*/ 98287 h 752395"/>
                <a:gd name="connsiteX9" fmla="*/ 0 w 563014"/>
                <a:gd name="connsiteY9" fmla="*/ 35422 h 752395"/>
                <a:gd name="connsiteX10" fmla="*/ 0 w 563014"/>
                <a:gd name="connsiteY10" fmla="*/ 1132 h 752395"/>
                <a:gd name="connsiteX11" fmla="*/ 563014 w 563014"/>
                <a:gd name="connsiteY11" fmla="*/ 77333 h 752395"/>
                <a:gd name="connsiteX0" fmla="*/ 550718 w 550718"/>
                <a:gd name="connsiteY0" fmla="*/ 0 h 751263"/>
                <a:gd name="connsiteX1" fmla="*/ 550718 w 550718"/>
                <a:gd name="connsiteY1" fmla="*/ 34290 h 751263"/>
                <a:gd name="connsiteX2" fmla="*/ 550718 w 550718"/>
                <a:gd name="connsiteY2" fmla="*/ 97155 h 751263"/>
                <a:gd name="connsiteX3" fmla="*/ 550718 w 550718"/>
                <a:gd name="connsiteY3" fmla="*/ 751263 h 751263"/>
                <a:gd name="connsiteX4" fmla="*/ 332814 w 550718"/>
                <a:gd name="connsiteY4" fmla="*/ 751263 h 751263"/>
                <a:gd name="connsiteX5" fmla="*/ 275359 w 550718"/>
                <a:gd name="connsiteY5" fmla="*/ 639638 h 751263"/>
                <a:gd name="connsiteX6" fmla="*/ 217904 w 550718"/>
                <a:gd name="connsiteY6" fmla="*/ 751263 h 751263"/>
                <a:gd name="connsiteX7" fmla="*/ 0 w 550718"/>
                <a:gd name="connsiteY7" fmla="*/ 751263 h 751263"/>
                <a:gd name="connsiteX8" fmla="*/ 0 w 550718"/>
                <a:gd name="connsiteY8" fmla="*/ 97155 h 751263"/>
                <a:gd name="connsiteX9" fmla="*/ 0 w 550718"/>
                <a:gd name="connsiteY9" fmla="*/ 34290 h 751263"/>
                <a:gd name="connsiteX10" fmla="*/ 0 w 550718"/>
                <a:gd name="connsiteY10" fmla="*/ 0 h 75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组合 68">
            <a:extLst>
              <a:ext uri="{FF2B5EF4-FFF2-40B4-BE49-F238E27FC236}">
                <a16:creationId xmlns:a16="http://schemas.microsoft.com/office/drawing/2014/main" id="{2DD2F971-E1F9-46A7-8530-82C7B07601A1}"/>
              </a:ext>
            </a:extLst>
          </p:cNvPr>
          <p:cNvGrpSpPr/>
          <p:nvPr userDrawn="1"/>
        </p:nvGrpSpPr>
        <p:grpSpPr>
          <a:xfrm>
            <a:off x="8431598" y="0"/>
            <a:ext cx="3760402" cy="4528788"/>
            <a:chOff x="8431598" y="0"/>
            <a:chExt cx="3760402" cy="4528788"/>
          </a:xfrm>
        </p:grpSpPr>
        <p:sp>
          <p:nvSpPr>
            <p:cNvPr id="70" name="任意多边形: 形状 69">
              <a:extLst>
                <a:ext uri="{FF2B5EF4-FFF2-40B4-BE49-F238E27FC236}">
                  <a16:creationId xmlns:a16="http://schemas.microsoft.com/office/drawing/2014/main" id="{B82B7E0D-9870-45C2-9DE7-82A9A891247B}"/>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任意多边形: 形状 70">
              <a:extLst>
                <a:ext uri="{FF2B5EF4-FFF2-40B4-BE49-F238E27FC236}">
                  <a16:creationId xmlns:a16="http://schemas.microsoft.com/office/drawing/2014/main" id="{B0ABAE13-78B1-485C-AAF4-B7C5877228EE}"/>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2" name="任意多边形: 形状 71">
              <a:extLst>
                <a:ext uri="{FF2B5EF4-FFF2-40B4-BE49-F238E27FC236}">
                  <a16:creationId xmlns:a16="http://schemas.microsoft.com/office/drawing/2014/main" id="{30EDA6E0-4A99-46B3-953F-4B5DB1BB0CDB}"/>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19" name="组合 118">
            <a:extLst>
              <a:ext uri="{FF2B5EF4-FFF2-40B4-BE49-F238E27FC236}">
                <a16:creationId xmlns:a16="http://schemas.microsoft.com/office/drawing/2014/main" id="{2FAC8649-7B37-43F6-ACF0-9895D2FAC1AB}"/>
              </a:ext>
            </a:extLst>
          </p:cNvPr>
          <p:cNvGrpSpPr/>
          <p:nvPr userDrawn="1"/>
        </p:nvGrpSpPr>
        <p:grpSpPr>
          <a:xfrm>
            <a:off x="10477913" y="446123"/>
            <a:ext cx="1234662" cy="419641"/>
            <a:chOff x="1398368" y="5051425"/>
            <a:chExt cx="3242941" cy="1102222"/>
          </a:xfrm>
        </p:grpSpPr>
        <p:sp>
          <p:nvSpPr>
            <p:cNvPr id="120" name="Freeform 5">
              <a:extLst>
                <a:ext uri="{FF2B5EF4-FFF2-40B4-BE49-F238E27FC236}">
                  <a16:creationId xmlns:a16="http://schemas.microsoft.com/office/drawing/2014/main" id="{DA4A744F-293F-497F-8385-66F1CEBEF099}"/>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a:extLst>
                <a:ext uri="{FF2B5EF4-FFF2-40B4-BE49-F238E27FC236}">
                  <a16:creationId xmlns:a16="http://schemas.microsoft.com/office/drawing/2014/main" id="{28D59CC8-9BBC-460B-A934-7C29BE2CC05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a:extLst>
                <a:ext uri="{FF2B5EF4-FFF2-40B4-BE49-F238E27FC236}">
                  <a16:creationId xmlns:a16="http://schemas.microsoft.com/office/drawing/2014/main" id="{E538FC7B-9F82-408F-82BD-4160A8E8C6A9}"/>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7" name="组合 166">
              <a:extLst>
                <a:ext uri="{FF2B5EF4-FFF2-40B4-BE49-F238E27FC236}">
                  <a16:creationId xmlns:a16="http://schemas.microsoft.com/office/drawing/2014/main" id="{2A01017D-ED90-48D6-9055-3E27DCBE1756}"/>
                </a:ext>
              </a:extLst>
            </p:cNvPr>
            <p:cNvGrpSpPr/>
            <p:nvPr/>
          </p:nvGrpSpPr>
          <p:grpSpPr>
            <a:xfrm>
              <a:off x="2921957" y="5168150"/>
              <a:ext cx="542765" cy="642593"/>
              <a:chOff x="3102298" y="5183391"/>
              <a:chExt cx="501880" cy="594188"/>
            </a:xfrm>
          </p:grpSpPr>
          <p:sp>
            <p:nvSpPr>
              <p:cNvPr id="212" name="Freeform 6">
                <a:extLst>
                  <a:ext uri="{FF2B5EF4-FFF2-40B4-BE49-F238E27FC236}">
                    <a16:creationId xmlns:a16="http://schemas.microsoft.com/office/drawing/2014/main" id="{D61C9031-D970-43B2-B0E3-4AE13F09089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0">
                <a:extLst>
                  <a:ext uri="{FF2B5EF4-FFF2-40B4-BE49-F238E27FC236}">
                    <a16:creationId xmlns:a16="http://schemas.microsoft.com/office/drawing/2014/main" id="{1093F552-BFC4-4D60-B615-BB4F30C6E7E8}"/>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3">
                <a:extLst>
                  <a:ext uri="{FF2B5EF4-FFF2-40B4-BE49-F238E27FC236}">
                    <a16:creationId xmlns:a16="http://schemas.microsoft.com/office/drawing/2014/main" id="{7AD3F657-2DAC-4CCB-8F9C-F160ED8E24ED}"/>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组合 168">
              <a:extLst>
                <a:ext uri="{FF2B5EF4-FFF2-40B4-BE49-F238E27FC236}">
                  <a16:creationId xmlns:a16="http://schemas.microsoft.com/office/drawing/2014/main" id="{08FAEF02-C976-4CEF-938D-71D95C69FAD8}"/>
                </a:ext>
              </a:extLst>
            </p:cNvPr>
            <p:cNvGrpSpPr/>
            <p:nvPr/>
          </p:nvGrpSpPr>
          <p:grpSpPr>
            <a:xfrm>
              <a:off x="4196892" y="5154476"/>
              <a:ext cx="444417" cy="649987"/>
              <a:chOff x="4257853" y="5169716"/>
              <a:chExt cx="410940" cy="601025"/>
            </a:xfrm>
          </p:grpSpPr>
          <p:sp>
            <p:nvSpPr>
              <p:cNvPr id="207" name="Freeform 9">
                <a:extLst>
                  <a:ext uri="{FF2B5EF4-FFF2-40B4-BE49-F238E27FC236}">
                    <a16:creationId xmlns:a16="http://schemas.microsoft.com/office/drawing/2014/main" id="{C2549B88-DC55-45C9-A726-07822F735C1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1">
                <a:extLst>
                  <a:ext uri="{FF2B5EF4-FFF2-40B4-BE49-F238E27FC236}">
                    <a16:creationId xmlns:a16="http://schemas.microsoft.com/office/drawing/2014/main" id="{7207FFD0-9871-4E28-9993-962235D4686B}"/>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2">
                <a:extLst>
                  <a:ext uri="{FF2B5EF4-FFF2-40B4-BE49-F238E27FC236}">
                    <a16:creationId xmlns:a16="http://schemas.microsoft.com/office/drawing/2014/main" id="{56D54BAD-2E47-41CA-8EBF-53342503F43C}"/>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4">
                <a:extLst>
                  <a:ext uri="{FF2B5EF4-FFF2-40B4-BE49-F238E27FC236}">
                    <a16:creationId xmlns:a16="http://schemas.microsoft.com/office/drawing/2014/main" id="{80DC91F8-4892-46DF-8052-C502F1E17E82}"/>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5">
                <a:extLst>
                  <a:ext uri="{FF2B5EF4-FFF2-40B4-BE49-F238E27FC236}">
                    <a16:creationId xmlns:a16="http://schemas.microsoft.com/office/drawing/2014/main" id="{02590DBF-ECD3-47FE-A3D9-10693F5FD4B3}"/>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1" name="Freeform 16">
              <a:extLst>
                <a:ext uri="{FF2B5EF4-FFF2-40B4-BE49-F238E27FC236}">
                  <a16:creationId xmlns:a16="http://schemas.microsoft.com/office/drawing/2014/main" id="{CA216957-609E-459D-94A4-912F02A2F23F}"/>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7">
              <a:extLst>
                <a:ext uri="{FF2B5EF4-FFF2-40B4-BE49-F238E27FC236}">
                  <a16:creationId xmlns:a16="http://schemas.microsoft.com/office/drawing/2014/main" id="{133BCB77-7C58-4A30-8D1D-0536BA77BE4C}"/>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8">
              <a:extLst>
                <a:ext uri="{FF2B5EF4-FFF2-40B4-BE49-F238E27FC236}">
                  <a16:creationId xmlns:a16="http://schemas.microsoft.com/office/drawing/2014/main" id="{2C60AFEE-7EDC-4060-B635-F42D750C8F3D}"/>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9">
              <a:extLst>
                <a:ext uri="{FF2B5EF4-FFF2-40B4-BE49-F238E27FC236}">
                  <a16:creationId xmlns:a16="http://schemas.microsoft.com/office/drawing/2014/main" id="{1872922C-DDCC-4139-82D7-1D3F99098C9D}"/>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
              <a:extLst>
                <a:ext uri="{FF2B5EF4-FFF2-40B4-BE49-F238E27FC236}">
                  <a16:creationId xmlns:a16="http://schemas.microsoft.com/office/drawing/2014/main" id="{412C031B-2C64-4021-A3AB-0CF2FA99CB22}"/>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1">
              <a:extLst>
                <a:ext uri="{FF2B5EF4-FFF2-40B4-BE49-F238E27FC236}">
                  <a16:creationId xmlns:a16="http://schemas.microsoft.com/office/drawing/2014/main" id="{8A51ED06-7F83-4831-A272-00EF57261D0A}"/>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
              <a:extLst>
                <a:ext uri="{FF2B5EF4-FFF2-40B4-BE49-F238E27FC236}">
                  <a16:creationId xmlns:a16="http://schemas.microsoft.com/office/drawing/2014/main" id="{2CE2175B-51F0-4ED3-8099-138998030AA7}"/>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3">
              <a:extLst>
                <a:ext uri="{FF2B5EF4-FFF2-40B4-BE49-F238E27FC236}">
                  <a16:creationId xmlns:a16="http://schemas.microsoft.com/office/drawing/2014/main" id="{343ED19B-1E03-4E5C-9419-5E640555E2D2}"/>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4">
              <a:extLst>
                <a:ext uri="{FF2B5EF4-FFF2-40B4-BE49-F238E27FC236}">
                  <a16:creationId xmlns:a16="http://schemas.microsoft.com/office/drawing/2014/main" id="{6704229F-B91A-476F-AE1F-BA9FA721C8C0}"/>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5">
              <a:extLst>
                <a:ext uri="{FF2B5EF4-FFF2-40B4-BE49-F238E27FC236}">
                  <a16:creationId xmlns:a16="http://schemas.microsoft.com/office/drawing/2014/main" id="{13C7F063-03F6-48CF-8D99-BF90ADD45009}"/>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6">
              <a:extLst>
                <a:ext uri="{FF2B5EF4-FFF2-40B4-BE49-F238E27FC236}">
                  <a16:creationId xmlns:a16="http://schemas.microsoft.com/office/drawing/2014/main" id="{1A7C3634-B1B5-4324-8117-092C4B73BC33}"/>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
              <a:extLst>
                <a:ext uri="{FF2B5EF4-FFF2-40B4-BE49-F238E27FC236}">
                  <a16:creationId xmlns:a16="http://schemas.microsoft.com/office/drawing/2014/main" id="{3B6522A6-6CCA-4E58-A82C-C813B67692E7}"/>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8">
              <a:extLst>
                <a:ext uri="{FF2B5EF4-FFF2-40B4-BE49-F238E27FC236}">
                  <a16:creationId xmlns:a16="http://schemas.microsoft.com/office/drawing/2014/main" id="{35C04705-8DBD-44A2-86E6-7AFBC60206E6}"/>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9">
              <a:extLst>
                <a:ext uri="{FF2B5EF4-FFF2-40B4-BE49-F238E27FC236}">
                  <a16:creationId xmlns:a16="http://schemas.microsoft.com/office/drawing/2014/main" id="{87A3CF62-1572-4E3D-BBE5-EA74642373AE}"/>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
              <a:extLst>
                <a:ext uri="{FF2B5EF4-FFF2-40B4-BE49-F238E27FC236}">
                  <a16:creationId xmlns:a16="http://schemas.microsoft.com/office/drawing/2014/main" id="{81705BCE-3F81-4A91-82BE-21ABC13F13F9}"/>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1">
              <a:extLst>
                <a:ext uri="{FF2B5EF4-FFF2-40B4-BE49-F238E27FC236}">
                  <a16:creationId xmlns:a16="http://schemas.microsoft.com/office/drawing/2014/main" id="{AD9DF8CB-7C2C-4D51-9F1A-BCDDDFE4B524}"/>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2">
              <a:extLst>
                <a:ext uri="{FF2B5EF4-FFF2-40B4-BE49-F238E27FC236}">
                  <a16:creationId xmlns:a16="http://schemas.microsoft.com/office/drawing/2014/main" id="{5F307D9D-2D52-4A30-8C10-EC7E8295E807}"/>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3">
              <a:extLst>
                <a:ext uri="{FF2B5EF4-FFF2-40B4-BE49-F238E27FC236}">
                  <a16:creationId xmlns:a16="http://schemas.microsoft.com/office/drawing/2014/main" id="{3545C1A7-7C9C-408E-887B-BEB0845B4DA2}"/>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4">
              <a:extLst>
                <a:ext uri="{FF2B5EF4-FFF2-40B4-BE49-F238E27FC236}">
                  <a16:creationId xmlns:a16="http://schemas.microsoft.com/office/drawing/2014/main" id="{046CDA66-D0CA-4A89-BD6C-A217DAD33019}"/>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5">
              <a:extLst>
                <a:ext uri="{FF2B5EF4-FFF2-40B4-BE49-F238E27FC236}">
                  <a16:creationId xmlns:a16="http://schemas.microsoft.com/office/drawing/2014/main" id="{75B21DC1-AC4F-4DCB-AA25-6CFC6BF3E1E9}"/>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6">
              <a:extLst>
                <a:ext uri="{FF2B5EF4-FFF2-40B4-BE49-F238E27FC236}">
                  <a16:creationId xmlns:a16="http://schemas.microsoft.com/office/drawing/2014/main" id="{611C51B1-8614-4CC1-BBDA-AF28BDB38055}"/>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
              <a:extLst>
                <a:ext uri="{FF2B5EF4-FFF2-40B4-BE49-F238E27FC236}">
                  <a16:creationId xmlns:a16="http://schemas.microsoft.com/office/drawing/2014/main" id="{13FAC45D-2F4B-436B-9BD4-CB8619C700CC}"/>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38">
              <a:extLst>
                <a:ext uri="{FF2B5EF4-FFF2-40B4-BE49-F238E27FC236}">
                  <a16:creationId xmlns:a16="http://schemas.microsoft.com/office/drawing/2014/main" id="{FB82A556-D59C-4F00-B2EC-2157727D9C25}"/>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39">
              <a:extLst>
                <a:ext uri="{FF2B5EF4-FFF2-40B4-BE49-F238E27FC236}">
                  <a16:creationId xmlns:a16="http://schemas.microsoft.com/office/drawing/2014/main" id="{4F793F82-1B0A-423D-8ED6-B1C6AAD8CA0A}"/>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0">
              <a:extLst>
                <a:ext uri="{FF2B5EF4-FFF2-40B4-BE49-F238E27FC236}">
                  <a16:creationId xmlns:a16="http://schemas.microsoft.com/office/drawing/2014/main" id="{9EEA1EDF-FBC6-4D59-9622-F293FEB860AC}"/>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1">
              <a:extLst>
                <a:ext uri="{FF2B5EF4-FFF2-40B4-BE49-F238E27FC236}">
                  <a16:creationId xmlns:a16="http://schemas.microsoft.com/office/drawing/2014/main" id="{FB5E06EB-5466-44CB-9B04-1C293B63EF4A}"/>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2">
              <a:extLst>
                <a:ext uri="{FF2B5EF4-FFF2-40B4-BE49-F238E27FC236}">
                  <a16:creationId xmlns:a16="http://schemas.microsoft.com/office/drawing/2014/main" id="{2C636586-FC47-4F09-ADD1-CAA659F37535}"/>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3">
              <a:extLst>
                <a:ext uri="{FF2B5EF4-FFF2-40B4-BE49-F238E27FC236}">
                  <a16:creationId xmlns:a16="http://schemas.microsoft.com/office/drawing/2014/main" id="{5699D803-BE91-4DBE-9380-E389A59CDFF4}"/>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4">
              <a:extLst>
                <a:ext uri="{FF2B5EF4-FFF2-40B4-BE49-F238E27FC236}">
                  <a16:creationId xmlns:a16="http://schemas.microsoft.com/office/drawing/2014/main" id="{27285417-A1BA-4A90-BFB8-FD15F984EF47}"/>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5">
              <a:extLst>
                <a:ext uri="{FF2B5EF4-FFF2-40B4-BE49-F238E27FC236}">
                  <a16:creationId xmlns:a16="http://schemas.microsoft.com/office/drawing/2014/main" id="{19993207-3EDB-4F9F-A8A2-4FE0805CC825}"/>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46">
              <a:extLst>
                <a:ext uri="{FF2B5EF4-FFF2-40B4-BE49-F238E27FC236}">
                  <a16:creationId xmlns:a16="http://schemas.microsoft.com/office/drawing/2014/main" id="{F788D091-BDC9-4500-9A99-C57C933FC08A}"/>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47">
              <a:extLst>
                <a:ext uri="{FF2B5EF4-FFF2-40B4-BE49-F238E27FC236}">
                  <a16:creationId xmlns:a16="http://schemas.microsoft.com/office/drawing/2014/main" id="{E4F999A5-9209-493A-BD64-599BD2ABF071}"/>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48">
              <a:extLst>
                <a:ext uri="{FF2B5EF4-FFF2-40B4-BE49-F238E27FC236}">
                  <a16:creationId xmlns:a16="http://schemas.microsoft.com/office/drawing/2014/main" id="{6E428C89-C88E-4F48-A31F-6A86395D496E}"/>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49">
              <a:extLst>
                <a:ext uri="{FF2B5EF4-FFF2-40B4-BE49-F238E27FC236}">
                  <a16:creationId xmlns:a16="http://schemas.microsoft.com/office/drawing/2014/main" id="{62457D9A-E899-44A9-8FC0-1A4C11CE83B8}"/>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23529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过渡页3-1">
    <p:spTree>
      <p:nvGrpSpPr>
        <p:cNvPr id="1" name=""/>
        <p:cNvGrpSpPr/>
        <p:nvPr/>
      </p:nvGrpSpPr>
      <p:grpSpPr>
        <a:xfrm>
          <a:off x="0" y="0"/>
          <a:ext cx="0" cy="0"/>
          <a:chOff x="0" y="0"/>
          <a:chExt cx="0" cy="0"/>
        </a:xfrm>
      </p:grpSpPr>
      <p:pic>
        <p:nvPicPr>
          <p:cNvPr id="63" name="图片 62">
            <a:extLst>
              <a:ext uri="{FF2B5EF4-FFF2-40B4-BE49-F238E27FC236}">
                <a16:creationId xmlns:a16="http://schemas.microsoft.com/office/drawing/2014/main" id="{6B142845-88A8-41C4-97A3-1F37BA1801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2" cy="6858000"/>
          </a:xfrm>
          <a:prstGeom prst="rect">
            <a:avLst/>
          </a:prstGeom>
        </p:spPr>
      </p:pic>
      <p:sp>
        <p:nvSpPr>
          <p:cNvPr id="178" name="任意多边形: 形状 177">
            <a:extLst>
              <a:ext uri="{FF2B5EF4-FFF2-40B4-BE49-F238E27FC236}">
                <a16:creationId xmlns:a16="http://schemas.microsoft.com/office/drawing/2014/main" id="{04F8DBAB-8296-4AE7-BBA6-0044BF6985A8}"/>
              </a:ext>
            </a:extLst>
          </p:cNvPr>
          <p:cNvSpPr/>
          <p:nvPr userDrawn="1"/>
        </p:nvSpPr>
        <p:spPr>
          <a:xfrm>
            <a:off x="2551831" y="892601"/>
            <a:ext cx="6852214" cy="5965399"/>
          </a:xfrm>
          <a:custGeom>
            <a:avLst/>
            <a:gdLst>
              <a:gd name="connsiteX0" fmla="*/ 3426108 w 6852214"/>
              <a:gd name="connsiteY0" fmla="*/ 0 h 5965399"/>
              <a:gd name="connsiteX1" fmla="*/ 6852214 w 6852214"/>
              <a:gd name="connsiteY1" fmla="*/ 3426107 h 5965399"/>
              <a:gd name="connsiteX2" fmla="*/ 5848731 w 6852214"/>
              <a:gd name="connsiteY2" fmla="*/ 5848731 h 5965399"/>
              <a:gd name="connsiteX3" fmla="*/ 5720364 w 6852214"/>
              <a:gd name="connsiteY3" fmla="*/ 5965399 h 5965399"/>
              <a:gd name="connsiteX4" fmla="*/ 1131851 w 6852214"/>
              <a:gd name="connsiteY4" fmla="*/ 5965399 h 5965399"/>
              <a:gd name="connsiteX5" fmla="*/ 1003484 w 6852214"/>
              <a:gd name="connsiteY5" fmla="*/ 5848731 h 5965399"/>
              <a:gd name="connsiteX6" fmla="*/ 0 w 6852214"/>
              <a:gd name="connsiteY6" fmla="*/ 3426107 h 5965399"/>
              <a:gd name="connsiteX7" fmla="*/ 3426108 w 6852214"/>
              <a:gd name="connsiteY7" fmla="*/ 0 h 5965399"/>
              <a:gd name="connsiteX0" fmla="*/ 3426108 w 6852214"/>
              <a:gd name="connsiteY0" fmla="*/ 0 h 6483559"/>
              <a:gd name="connsiteX1" fmla="*/ 6852214 w 6852214"/>
              <a:gd name="connsiteY1" fmla="*/ 3426107 h 6483559"/>
              <a:gd name="connsiteX2" fmla="*/ 5848731 w 6852214"/>
              <a:gd name="connsiteY2" fmla="*/ 5848731 h 6483559"/>
              <a:gd name="connsiteX3" fmla="*/ 5720364 w 6852214"/>
              <a:gd name="connsiteY3" fmla="*/ 5965399 h 6483559"/>
              <a:gd name="connsiteX4" fmla="*/ 3848969 w 6852214"/>
              <a:gd name="connsiteY4" fmla="*/ 6483559 h 6483559"/>
              <a:gd name="connsiteX5" fmla="*/ 1131851 w 6852214"/>
              <a:gd name="connsiteY5" fmla="*/ 5965399 h 6483559"/>
              <a:gd name="connsiteX6" fmla="*/ 1003484 w 6852214"/>
              <a:gd name="connsiteY6" fmla="*/ 5848731 h 6483559"/>
              <a:gd name="connsiteX7" fmla="*/ 0 w 6852214"/>
              <a:gd name="connsiteY7" fmla="*/ 3426107 h 6483559"/>
              <a:gd name="connsiteX8" fmla="*/ 3426108 w 6852214"/>
              <a:gd name="connsiteY8" fmla="*/ 0 h 6483559"/>
              <a:gd name="connsiteX0" fmla="*/ 3848969 w 6852214"/>
              <a:gd name="connsiteY0" fmla="*/ 6483559 h 6574999"/>
              <a:gd name="connsiteX1" fmla="*/ 1131851 w 6852214"/>
              <a:gd name="connsiteY1" fmla="*/ 5965399 h 6574999"/>
              <a:gd name="connsiteX2" fmla="*/ 1003484 w 6852214"/>
              <a:gd name="connsiteY2" fmla="*/ 5848731 h 6574999"/>
              <a:gd name="connsiteX3" fmla="*/ 0 w 6852214"/>
              <a:gd name="connsiteY3" fmla="*/ 3426107 h 6574999"/>
              <a:gd name="connsiteX4" fmla="*/ 3426108 w 6852214"/>
              <a:gd name="connsiteY4" fmla="*/ 0 h 6574999"/>
              <a:gd name="connsiteX5" fmla="*/ 6852214 w 6852214"/>
              <a:gd name="connsiteY5" fmla="*/ 3426107 h 6574999"/>
              <a:gd name="connsiteX6" fmla="*/ 5848731 w 6852214"/>
              <a:gd name="connsiteY6" fmla="*/ 5848731 h 6574999"/>
              <a:gd name="connsiteX7" fmla="*/ 5720364 w 6852214"/>
              <a:gd name="connsiteY7" fmla="*/ 5965399 h 6574999"/>
              <a:gd name="connsiteX8" fmla="*/ 3940409 w 6852214"/>
              <a:gd name="connsiteY8" fmla="*/ 6574999 h 6574999"/>
              <a:gd name="connsiteX0" fmla="*/ 3848969 w 6852214"/>
              <a:gd name="connsiteY0" fmla="*/ 6483559 h 6483559"/>
              <a:gd name="connsiteX1" fmla="*/ 1131851 w 6852214"/>
              <a:gd name="connsiteY1" fmla="*/ 5965399 h 6483559"/>
              <a:gd name="connsiteX2" fmla="*/ 1003484 w 6852214"/>
              <a:gd name="connsiteY2" fmla="*/ 5848731 h 6483559"/>
              <a:gd name="connsiteX3" fmla="*/ 0 w 6852214"/>
              <a:gd name="connsiteY3" fmla="*/ 3426107 h 6483559"/>
              <a:gd name="connsiteX4" fmla="*/ 3426108 w 6852214"/>
              <a:gd name="connsiteY4" fmla="*/ 0 h 6483559"/>
              <a:gd name="connsiteX5" fmla="*/ 6852214 w 6852214"/>
              <a:gd name="connsiteY5" fmla="*/ 3426107 h 6483559"/>
              <a:gd name="connsiteX6" fmla="*/ 5848731 w 6852214"/>
              <a:gd name="connsiteY6" fmla="*/ 5848731 h 6483559"/>
              <a:gd name="connsiteX7" fmla="*/ 5720364 w 6852214"/>
              <a:gd name="connsiteY7" fmla="*/ 5965399 h 6483559"/>
              <a:gd name="connsiteX0" fmla="*/ 1131851 w 6852214"/>
              <a:gd name="connsiteY0" fmla="*/ 5965399 h 5965399"/>
              <a:gd name="connsiteX1" fmla="*/ 1003484 w 6852214"/>
              <a:gd name="connsiteY1" fmla="*/ 5848731 h 5965399"/>
              <a:gd name="connsiteX2" fmla="*/ 0 w 6852214"/>
              <a:gd name="connsiteY2" fmla="*/ 3426107 h 5965399"/>
              <a:gd name="connsiteX3" fmla="*/ 3426108 w 6852214"/>
              <a:gd name="connsiteY3" fmla="*/ 0 h 5965399"/>
              <a:gd name="connsiteX4" fmla="*/ 6852214 w 6852214"/>
              <a:gd name="connsiteY4" fmla="*/ 3426107 h 5965399"/>
              <a:gd name="connsiteX5" fmla="*/ 5848731 w 6852214"/>
              <a:gd name="connsiteY5" fmla="*/ 5848731 h 5965399"/>
              <a:gd name="connsiteX6" fmla="*/ 5720364 w 6852214"/>
              <a:gd name="connsiteY6" fmla="*/ 5965399 h 596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2214" h="5965399">
                <a:moveTo>
                  <a:pt x="1131851" y="5965399"/>
                </a:moveTo>
                <a:lnTo>
                  <a:pt x="1003484" y="5848731"/>
                </a:lnTo>
                <a:cubicBezTo>
                  <a:pt x="383480" y="5228727"/>
                  <a:pt x="0" y="4372201"/>
                  <a:pt x="0" y="3426107"/>
                </a:cubicBezTo>
                <a:cubicBezTo>
                  <a:pt x="0" y="1533920"/>
                  <a:pt x="1533920" y="0"/>
                  <a:pt x="3426108" y="0"/>
                </a:cubicBezTo>
                <a:cubicBezTo>
                  <a:pt x="5318294" y="0"/>
                  <a:pt x="6852214" y="1533920"/>
                  <a:pt x="6852214" y="3426107"/>
                </a:cubicBezTo>
                <a:cubicBezTo>
                  <a:pt x="6852214" y="4372201"/>
                  <a:pt x="6468734" y="5228727"/>
                  <a:pt x="5848731" y="5848731"/>
                </a:cubicBezTo>
                <a:lnTo>
                  <a:pt x="5720364" y="5965399"/>
                </a:lnTo>
              </a:path>
            </a:pathLst>
          </a:cu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781397" y="5089197"/>
            <a:ext cx="639308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718093" y="4156898"/>
            <a:ext cx="6519692"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69" name="直接连接符 68">
            <a:extLst>
              <a:ext uri="{FF2B5EF4-FFF2-40B4-BE49-F238E27FC236}">
                <a16:creationId xmlns:a16="http://schemas.microsoft.com/office/drawing/2014/main" id="{AB153194-966B-4649-94D6-40D0AEF98C2E}"/>
              </a:ext>
            </a:extLst>
          </p:cNvPr>
          <p:cNvCxnSpPr>
            <a:cxnSpLocks/>
          </p:cNvCxnSpPr>
          <p:nvPr userDrawn="1"/>
        </p:nvCxnSpPr>
        <p:spPr>
          <a:xfrm>
            <a:off x="3253788" y="5688326"/>
            <a:ext cx="544830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0" name="文本占位符 4">
            <a:extLst>
              <a:ext uri="{FF2B5EF4-FFF2-40B4-BE49-F238E27FC236}">
                <a16:creationId xmlns:a16="http://schemas.microsoft.com/office/drawing/2014/main" id="{4FA7F193-4D48-462D-BE39-D28E42419859}"/>
              </a:ext>
            </a:extLst>
          </p:cNvPr>
          <p:cNvSpPr>
            <a:spLocks noGrp="1"/>
          </p:cNvSpPr>
          <p:nvPr>
            <p:ph type="body" sz="quarter" idx="12" hasCustomPrompt="1"/>
          </p:nvPr>
        </p:nvSpPr>
        <p:spPr>
          <a:xfrm>
            <a:off x="4836932" y="1965959"/>
            <a:ext cx="2282014" cy="2064033"/>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71" name="直接连接符 70">
            <a:extLst>
              <a:ext uri="{FF2B5EF4-FFF2-40B4-BE49-F238E27FC236}">
                <a16:creationId xmlns:a16="http://schemas.microsoft.com/office/drawing/2014/main" id="{D04F6B9F-7D35-4B2B-8FCE-400A2F5288C0}"/>
              </a:ext>
            </a:extLst>
          </p:cNvPr>
          <p:cNvCxnSpPr/>
          <p:nvPr userDrawn="1"/>
        </p:nvCxnSpPr>
        <p:spPr>
          <a:xfrm>
            <a:off x="5494041" y="4062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79" name="任意多边形: 形状 178">
            <a:extLst>
              <a:ext uri="{FF2B5EF4-FFF2-40B4-BE49-F238E27FC236}">
                <a16:creationId xmlns:a16="http://schemas.microsoft.com/office/drawing/2014/main" id="{F1AC7D66-9C31-428C-A782-2A36B7F8EB31}"/>
              </a:ext>
            </a:extLst>
          </p:cNvPr>
          <p:cNvSpPr/>
          <p:nvPr userDrawn="1"/>
        </p:nvSpPr>
        <p:spPr>
          <a:xfrm>
            <a:off x="2689956" y="1030726"/>
            <a:ext cx="6575964" cy="5827275"/>
          </a:xfrm>
          <a:custGeom>
            <a:avLst/>
            <a:gdLst>
              <a:gd name="connsiteX0" fmla="*/ 3287982 w 6575964"/>
              <a:gd name="connsiteY0" fmla="*/ 0 h 5827275"/>
              <a:gd name="connsiteX1" fmla="*/ 6575964 w 6575964"/>
              <a:gd name="connsiteY1" fmla="*/ 3287982 h 5827275"/>
              <a:gd name="connsiteX2" fmla="*/ 5379444 w 6575964"/>
              <a:gd name="connsiteY2" fmla="*/ 5825149 h 5827275"/>
              <a:gd name="connsiteX3" fmla="*/ 5376601 w 6575964"/>
              <a:gd name="connsiteY3" fmla="*/ 5827275 h 5827275"/>
              <a:gd name="connsiteX4" fmla="*/ 1199364 w 6575964"/>
              <a:gd name="connsiteY4" fmla="*/ 5827275 h 5827275"/>
              <a:gd name="connsiteX5" fmla="*/ 1196521 w 6575964"/>
              <a:gd name="connsiteY5" fmla="*/ 5825149 h 5827275"/>
              <a:gd name="connsiteX6" fmla="*/ 0 w 6575964"/>
              <a:gd name="connsiteY6" fmla="*/ 3287982 h 5827275"/>
              <a:gd name="connsiteX7" fmla="*/ 3287982 w 6575964"/>
              <a:gd name="connsiteY7" fmla="*/ 0 h 5827275"/>
              <a:gd name="connsiteX0" fmla="*/ 3287982 w 6575964"/>
              <a:gd name="connsiteY0" fmla="*/ 0 h 6391154"/>
              <a:gd name="connsiteX1" fmla="*/ 6575964 w 6575964"/>
              <a:gd name="connsiteY1" fmla="*/ 3287982 h 6391154"/>
              <a:gd name="connsiteX2" fmla="*/ 5379444 w 6575964"/>
              <a:gd name="connsiteY2" fmla="*/ 5825149 h 6391154"/>
              <a:gd name="connsiteX3" fmla="*/ 5376601 w 6575964"/>
              <a:gd name="connsiteY3" fmla="*/ 5827275 h 6391154"/>
              <a:gd name="connsiteX4" fmla="*/ 3390804 w 6575964"/>
              <a:gd name="connsiteY4" fmla="*/ 6391154 h 6391154"/>
              <a:gd name="connsiteX5" fmla="*/ 1199364 w 6575964"/>
              <a:gd name="connsiteY5" fmla="*/ 5827275 h 6391154"/>
              <a:gd name="connsiteX6" fmla="*/ 1196521 w 6575964"/>
              <a:gd name="connsiteY6" fmla="*/ 5825149 h 6391154"/>
              <a:gd name="connsiteX7" fmla="*/ 0 w 6575964"/>
              <a:gd name="connsiteY7" fmla="*/ 3287982 h 6391154"/>
              <a:gd name="connsiteX8" fmla="*/ 3287982 w 6575964"/>
              <a:gd name="connsiteY8" fmla="*/ 0 h 6391154"/>
              <a:gd name="connsiteX0" fmla="*/ 3390804 w 6575964"/>
              <a:gd name="connsiteY0" fmla="*/ 6391154 h 6482594"/>
              <a:gd name="connsiteX1" fmla="*/ 1199364 w 6575964"/>
              <a:gd name="connsiteY1" fmla="*/ 5827275 h 6482594"/>
              <a:gd name="connsiteX2" fmla="*/ 1196521 w 6575964"/>
              <a:gd name="connsiteY2" fmla="*/ 5825149 h 6482594"/>
              <a:gd name="connsiteX3" fmla="*/ 0 w 6575964"/>
              <a:gd name="connsiteY3" fmla="*/ 3287982 h 6482594"/>
              <a:gd name="connsiteX4" fmla="*/ 3287982 w 6575964"/>
              <a:gd name="connsiteY4" fmla="*/ 0 h 6482594"/>
              <a:gd name="connsiteX5" fmla="*/ 6575964 w 6575964"/>
              <a:gd name="connsiteY5" fmla="*/ 3287982 h 6482594"/>
              <a:gd name="connsiteX6" fmla="*/ 5379444 w 6575964"/>
              <a:gd name="connsiteY6" fmla="*/ 5825149 h 6482594"/>
              <a:gd name="connsiteX7" fmla="*/ 5376601 w 6575964"/>
              <a:gd name="connsiteY7" fmla="*/ 5827275 h 6482594"/>
              <a:gd name="connsiteX8" fmla="*/ 3482244 w 6575964"/>
              <a:gd name="connsiteY8" fmla="*/ 6482594 h 6482594"/>
              <a:gd name="connsiteX0" fmla="*/ 3390804 w 6575964"/>
              <a:gd name="connsiteY0" fmla="*/ 6391154 h 6391154"/>
              <a:gd name="connsiteX1" fmla="*/ 1199364 w 6575964"/>
              <a:gd name="connsiteY1" fmla="*/ 5827275 h 6391154"/>
              <a:gd name="connsiteX2" fmla="*/ 1196521 w 6575964"/>
              <a:gd name="connsiteY2" fmla="*/ 5825149 h 6391154"/>
              <a:gd name="connsiteX3" fmla="*/ 0 w 6575964"/>
              <a:gd name="connsiteY3" fmla="*/ 3287982 h 6391154"/>
              <a:gd name="connsiteX4" fmla="*/ 3287982 w 6575964"/>
              <a:gd name="connsiteY4" fmla="*/ 0 h 6391154"/>
              <a:gd name="connsiteX5" fmla="*/ 6575964 w 6575964"/>
              <a:gd name="connsiteY5" fmla="*/ 3287982 h 6391154"/>
              <a:gd name="connsiteX6" fmla="*/ 5379444 w 6575964"/>
              <a:gd name="connsiteY6" fmla="*/ 5825149 h 6391154"/>
              <a:gd name="connsiteX7" fmla="*/ 5376601 w 6575964"/>
              <a:gd name="connsiteY7" fmla="*/ 5827275 h 6391154"/>
              <a:gd name="connsiteX0" fmla="*/ 1199364 w 6575964"/>
              <a:gd name="connsiteY0" fmla="*/ 5827275 h 5827275"/>
              <a:gd name="connsiteX1" fmla="*/ 1196521 w 6575964"/>
              <a:gd name="connsiteY1" fmla="*/ 5825149 h 5827275"/>
              <a:gd name="connsiteX2" fmla="*/ 0 w 6575964"/>
              <a:gd name="connsiteY2" fmla="*/ 3287982 h 5827275"/>
              <a:gd name="connsiteX3" fmla="*/ 3287982 w 6575964"/>
              <a:gd name="connsiteY3" fmla="*/ 0 h 5827275"/>
              <a:gd name="connsiteX4" fmla="*/ 6575964 w 6575964"/>
              <a:gd name="connsiteY4" fmla="*/ 3287982 h 5827275"/>
              <a:gd name="connsiteX5" fmla="*/ 5379444 w 6575964"/>
              <a:gd name="connsiteY5" fmla="*/ 5825149 h 5827275"/>
              <a:gd name="connsiteX6" fmla="*/ 5376601 w 6575964"/>
              <a:gd name="connsiteY6" fmla="*/ 5827275 h 582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5964" h="5827275">
                <a:moveTo>
                  <a:pt x="1199364" y="5827275"/>
                </a:moveTo>
                <a:lnTo>
                  <a:pt x="1196521" y="5825149"/>
                </a:lnTo>
                <a:cubicBezTo>
                  <a:pt x="465776" y="5222085"/>
                  <a:pt x="0" y="4309427"/>
                  <a:pt x="0" y="3287982"/>
                </a:cubicBezTo>
                <a:cubicBezTo>
                  <a:pt x="0" y="1472080"/>
                  <a:pt x="1472080" y="0"/>
                  <a:pt x="3287982" y="0"/>
                </a:cubicBezTo>
                <a:cubicBezTo>
                  <a:pt x="5103884" y="0"/>
                  <a:pt x="6575964" y="1472080"/>
                  <a:pt x="6575964" y="3287982"/>
                </a:cubicBezTo>
                <a:cubicBezTo>
                  <a:pt x="6575964" y="4309427"/>
                  <a:pt x="6110189" y="5222085"/>
                  <a:pt x="5379444" y="5825149"/>
                </a:cubicBezTo>
                <a:lnTo>
                  <a:pt x="5376601" y="5827275"/>
                </a:lnTo>
              </a:path>
            </a:pathLst>
          </a:cu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图片 3">
            <a:extLst>
              <a:ext uri="{FF2B5EF4-FFF2-40B4-BE49-F238E27FC236}">
                <a16:creationId xmlns:a16="http://schemas.microsoft.com/office/drawing/2014/main" id="{2066FEB1-2BC5-44E5-95EE-61944C87CA4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5592941" cy="5349240"/>
          </a:xfrm>
          <a:prstGeom prst="rect">
            <a:avLst/>
          </a:prstGeom>
        </p:spPr>
      </p:pic>
      <p:grpSp>
        <p:nvGrpSpPr>
          <p:cNvPr id="74" name="组合 73">
            <a:extLst>
              <a:ext uri="{FF2B5EF4-FFF2-40B4-BE49-F238E27FC236}">
                <a16:creationId xmlns:a16="http://schemas.microsoft.com/office/drawing/2014/main" id="{7F9AB8B8-3D79-462F-91C7-AB6483A9F2EC}"/>
              </a:ext>
            </a:extLst>
          </p:cNvPr>
          <p:cNvGrpSpPr/>
          <p:nvPr userDrawn="1"/>
        </p:nvGrpSpPr>
        <p:grpSpPr>
          <a:xfrm>
            <a:off x="5271326" y="5899132"/>
            <a:ext cx="1413226" cy="480332"/>
            <a:chOff x="1398368" y="5051425"/>
            <a:chExt cx="3242941" cy="1102222"/>
          </a:xfrm>
          <a:solidFill>
            <a:schemeClr val="accent1"/>
          </a:solidFill>
        </p:grpSpPr>
        <p:sp>
          <p:nvSpPr>
            <p:cNvPr id="75" name="Freeform 5">
              <a:extLst>
                <a:ext uri="{FF2B5EF4-FFF2-40B4-BE49-F238E27FC236}">
                  <a16:creationId xmlns:a16="http://schemas.microsoft.com/office/drawing/2014/main" id="{255C754D-94CB-49B9-B7E6-2FCC3014F669}"/>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
              <a:extLst>
                <a:ext uri="{FF2B5EF4-FFF2-40B4-BE49-F238E27FC236}">
                  <a16:creationId xmlns:a16="http://schemas.microsoft.com/office/drawing/2014/main" id="{A8D2E2C7-EE7D-4E0F-8A4B-5EB915DE4A04}"/>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8">
              <a:extLst>
                <a:ext uri="{FF2B5EF4-FFF2-40B4-BE49-F238E27FC236}">
                  <a16:creationId xmlns:a16="http://schemas.microsoft.com/office/drawing/2014/main" id="{3CD03B56-2D13-4D9D-92E7-6ADFC3A2EE5A}"/>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组合 77">
              <a:extLst>
                <a:ext uri="{FF2B5EF4-FFF2-40B4-BE49-F238E27FC236}">
                  <a16:creationId xmlns:a16="http://schemas.microsoft.com/office/drawing/2014/main" id="{9F34335B-154D-41D9-A39B-FA8B4F03BDDF}"/>
                </a:ext>
              </a:extLst>
            </p:cNvPr>
            <p:cNvGrpSpPr/>
            <p:nvPr/>
          </p:nvGrpSpPr>
          <p:grpSpPr>
            <a:xfrm>
              <a:off x="2921957" y="5168150"/>
              <a:ext cx="542765" cy="642593"/>
              <a:chOff x="3102298" y="5183391"/>
              <a:chExt cx="501880" cy="594188"/>
            </a:xfrm>
            <a:grpFill/>
          </p:grpSpPr>
          <p:sp>
            <p:nvSpPr>
              <p:cNvPr id="164" name="Freeform 6">
                <a:extLst>
                  <a:ext uri="{FF2B5EF4-FFF2-40B4-BE49-F238E27FC236}">
                    <a16:creationId xmlns:a16="http://schemas.microsoft.com/office/drawing/2014/main" id="{399E0E3E-2228-4B55-AAD0-50E2D169F352}"/>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0">
                <a:extLst>
                  <a:ext uri="{FF2B5EF4-FFF2-40B4-BE49-F238E27FC236}">
                    <a16:creationId xmlns:a16="http://schemas.microsoft.com/office/drawing/2014/main" id="{BA8060C2-A130-40D5-95CC-2B9FF7500C09}"/>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3">
                <a:extLst>
                  <a:ext uri="{FF2B5EF4-FFF2-40B4-BE49-F238E27FC236}">
                    <a16:creationId xmlns:a16="http://schemas.microsoft.com/office/drawing/2014/main" id="{DBDF2782-D48A-420E-B1D2-60C42AE29160}"/>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 name="组合 78">
              <a:extLst>
                <a:ext uri="{FF2B5EF4-FFF2-40B4-BE49-F238E27FC236}">
                  <a16:creationId xmlns:a16="http://schemas.microsoft.com/office/drawing/2014/main" id="{8720059F-0ABE-4776-B624-1869C051257E}"/>
                </a:ext>
              </a:extLst>
            </p:cNvPr>
            <p:cNvGrpSpPr/>
            <p:nvPr/>
          </p:nvGrpSpPr>
          <p:grpSpPr>
            <a:xfrm>
              <a:off x="4196892" y="5154476"/>
              <a:ext cx="444417" cy="649987"/>
              <a:chOff x="4257853" y="5169716"/>
              <a:chExt cx="410940" cy="601025"/>
            </a:xfrm>
            <a:grpFill/>
          </p:grpSpPr>
          <p:sp>
            <p:nvSpPr>
              <p:cNvPr id="115" name="Freeform 9">
                <a:extLst>
                  <a:ext uri="{FF2B5EF4-FFF2-40B4-BE49-F238E27FC236}">
                    <a16:creationId xmlns:a16="http://schemas.microsoft.com/office/drawing/2014/main" id="{9420CFCE-183E-4454-B998-CA386FFD350A}"/>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
                <a:extLst>
                  <a:ext uri="{FF2B5EF4-FFF2-40B4-BE49-F238E27FC236}">
                    <a16:creationId xmlns:a16="http://schemas.microsoft.com/office/drawing/2014/main" id="{ADF64A89-C3AB-40E1-A9D9-CC34AB20C3A4}"/>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2">
                <a:extLst>
                  <a:ext uri="{FF2B5EF4-FFF2-40B4-BE49-F238E27FC236}">
                    <a16:creationId xmlns:a16="http://schemas.microsoft.com/office/drawing/2014/main" id="{35674BD0-D3CE-4551-BBB2-AE561AB23B04}"/>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4">
                <a:extLst>
                  <a:ext uri="{FF2B5EF4-FFF2-40B4-BE49-F238E27FC236}">
                    <a16:creationId xmlns:a16="http://schemas.microsoft.com/office/drawing/2014/main" id="{39AA0788-8255-48E9-9985-23D05EC18FA7}"/>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5">
                <a:extLst>
                  <a:ext uri="{FF2B5EF4-FFF2-40B4-BE49-F238E27FC236}">
                    <a16:creationId xmlns:a16="http://schemas.microsoft.com/office/drawing/2014/main" id="{FE2ED7E3-F494-4E19-A8D4-3E7EF6E375FD}"/>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0" name="Freeform 16">
              <a:extLst>
                <a:ext uri="{FF2B5EF4-FFF2-40B4-BE49-F238E27FC236}">
                  <a16:creationId xmlns:a16="http://schemas.microsoft.com/office/drawing/2014/main" id="{9CC64B16-3E5C-4D53-B142-1C541D51EA8B}"/>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7">
              <a:extLst>
                <a:ext uri="{FF2B5EF4-FFF2-40B4-BE49-F238E27FC236}">
                  <a16:creationId xmlns:a16="http://schemas.microsoft.com/office/drawing/2014/main" id="{D8B4D2F6-C998-4BAB-869B-4E72090E7EF1}"/>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18">
              <a:extLst>
                <a:ext uri="{FF2B5EF4-FFF2-40B4-BE49-F238E27FC236}">
                  <a16:creationId xmlns:a16="http://schemas.microsoft.com/office/drawing/2014/main" id="{1363C593-25C3-403C-AEFA-CFF99733DD0C}"/>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9">
              <a:extLst>
                <a:ext uri="{FF2B5EF4-FFF2-40B4-BE49-F238E27FC236}">
                  <a16:creationId xmlns:a16="http://schemas.microsoft.com/office/drawing/2014/main" id="{8F670E36-F659-449B-938F-20824E22F0F1}"/>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0">
              <a:extLst>
                <a:ext uri="{FF2B5EF4-FFF2-40B4-BE49-F238E27FC236}">
                  <a16:creationId xmlns:a16="http://schemas.microsoft.com/office/drawing/2014/main" id="{F50F09B0-A4C8-460A-8B75-D49B21491DC8}"/>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1">
              <a:extLst>
                <a:ext uri="{FF2B5EF4-FFF2-40B4-BE49-F238E27FC236}">
                  <a16:creationId xmlns:a16="http://schemas.microsoft.com/office/drawing/2014/main" id="{88293F25-3A32-454E-B2E0-0A9EA523661E}"/>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2">
              <a:extLst>
                <a:ext uri="{FF2B5EF4-FFF2-40B4-BE49-F238E27FC236}">
                  <a16:creationId xmlns:a16="http://schemas.microsoft.com/office/drawing/2014/main" id="{67650ABB-1584-4209-BD79-8EE6D8F88E8C}"/>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3">
              <a:extLst>
                <a:ext uri="{FF2B5EF4-FFF2-40B4-BE49-F238E27FC236}">
                  <a16:creationId xmlns:a16="http://schemas.microsoft.com/office/drawing/2014/main" id="{36C615CC-582B-4157-80BD-E84CFC500338}"/>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4">
              <a:extLst>
                <a:ext uri="{FF2B5EF4-FFF2-40B4-BE49-F238E27FC236}">
                  <a16:creationId xmlns:a16="http://schemas.microsoft.com/office/drawing/2014/main" id="{DCAEDB1C-7E1A-44C6-BEF8-5212FA23861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5">
              <a:extLst>
                <a:ext uri="{FF2B5EF4-FFF2-40B4-BE49-F238E27FC236}">
                  <a16:creationId xmlns:a16="http://schemas.microsoft.com/office/drawing/2014/main" id="{7A1E627B-9A51-4CE7-99E3-DAD5329B510A}"/>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6">
              <a:extLst>
                <a:ext uri="{FF2B5EF4-FFF2-40B4-BE49-F238E27FC236}">
                  <a16:creationId xmlns:a16="http://schemas.microsoft.com/office/drawing/2014/main" id="{27781A81-CC61-4FC4-A8D3-5AE2CD2466A9}"/>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7">
              <a:extLst>
                <a:ext uri="{FF2B5EF4-FFF2-40B4-BE49-F238E27FC236}">
                  <a16:creationId xmlns:a16="http://schemas.microsoft.com/office/drawing/2014/main" id="{76C1ED63-D326-4C58-AF4A-3151F421E7A1}"/>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8">
              <a:extLst>
                <a:ext uri="{FF2B5EF4-FFF2-40B4-BE49-F238E27FC236}">
                  <a16:creationId xmlns:a16="http://schemas.microsoft.com/office/drawing/2014/main" id="{7A41BE28-8049-449F-B313-2D9A10876A7D}"/>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9">
              <a:extLst>
                <a:ext uri="{FF2B5EF4-FFF2-40B4-BE49-F238E27FC236}">
                  <a16:creationId xmlns:a16="http://schemas.microsoft.com/office/drawing/2014/main" id="{8E9119A4-A562-46A2-A09C-E3BF4441D435}"/>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0">
              <a:extLst>
                <a:ext uri="{FF2B5EF4-FFF2-40B4-BE49-F238E27FC236}">
                  <a16:creationId xmlns:a16="http://schemas.microsoft.com/office/drawing/2014/main" id="{3FB2C692-BCB5-49AF-BB72-5C8DAE1BFB4A}"/>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1">
              <a:extLst>
                <a:ext uri="{FF2B5EF4-FFF2-40B4-BE49-F238E27FC236}">
                  <a16:creationId xmlns:a16="http://schemas.microsoft.com/office/drawing/2014/main" id="{AED5FF73-0B2E-4949-93C9-2B0105EBA27D}"/>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2">
              <a:extLst>
                <a:ext uri="{FF2B5EF4-FFF2-40B4-BE49-F238E27FC236}">
                  <a16:creationId xmlns:a16="http://schemas.microsoft.com/office/drawing/2014/main" id="{9D66A287-E689-4184-AA20-34746B533937}"/>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3">
              <a:extLst>
                <a:ext uri="{FF2B5EF4-FFF2-40B4-BE49-F238E27FC236}">
                  <a16:creationId xmlns:a16="http://schemas.microsoft.com/office/drawing/2014/main" id="{84C85BAC-67B0-4FB5-8FEC-8C92D1B817E6}"/>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4">
              <a:extLst>
                <a:ext uri="{FF2B5EF4-FFF2-40B4-BE49-F238E27FC236}">
                  <a16:creationId xmlns:a16="http://schemas.microsoft.com/office/drawing/2014/main" id="{FAA440E8-395E-496B-A63F-F023B40886A1}"/>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35">
              <a:extLst>
                <a:ext uri="{FF2B5EF4-FFF2-40B4-BE49-F238E27FC236}">
                  <a16:creationId xmlns:a16="http://schemas.microsoft.com/office/drawing/2014/main" id="{EC54404C-6BA3-4A64-AFF8-27FCBE01E104}"/>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36">
              <a:extLst>
                <a:ext uri="{FF2B5EF4-FFF2-40B4-BE49-F238E27FC236}">
                  <a16:creationId xmlns:a16="http://schemas.microsoft.com/office/drawing/2014/main" id="{D3D3A219-E775-4AA2-8C81-9B771DA8BFE0}"/>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7">
              <a:extLst>
                <a:ext uri="{FF2B5EF4-FFF2-40B4-BE49-F238E27FC236}">
                  <a16:creationId xmlns:a16="http://schemas.microsoft.com/office/drawing/2014/main" id="{88D8122A-EBDF-4050-A1EC-9660686B34D5}"/>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8">
              <a:extLst>
                <a:ext uri="{FF2B5EF4-FFF2-40B4-BE49-F238E27FC236}">
                  <a16:creationId xmlns:a16="http://schemas.microsoft.com/office/drawing/2014/main" id="{BF72F5E8-449D-46F4-BAB8-E82E5480D0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39">
              <a:extLst>
                <a:ext uri="{FF2B5EF4-FFF2-40B4-BE49-F238E27FC236}">
                  <a16:creationId xmlns:a16="http://schemas.microsoft.com/office/drawing/2014/main" id="{A072D0A4-FBF7-4351-9554-DC3BFA93464E}"/>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40">
              <a:extLst>
                <a:ext uri="{FF2B5EF4-FFF2-40B4-BE49-F238E27FC236}">
                  <a16:creationId xmlns:a16="http://schemas.microsoft.com/office/drawing/2014/main" id="{442FB9D9-B51B-4A65-AFD0-222EE5BFBC4D}"/>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41">
              <a:extLst>
                <a:ext uri="{FF2B5EF4-FFF2-40B4-BE49-F238E27FC236}">
                  <a16:creationId xmlns:a16="http://schemas.microsoft.com/office/drawing/2014/main" id="{C571444F-D3D7-4300-BF5D-3238D552B6B6}"/>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42">
              <a:extLst>
                <a:ext uri="{FF2B5EF4-FFF2-40B4-BE49-F238E27FC236}">
                  <a16:creationId xmlns:a16="http://schemas.microsoft.com/office/drawing/2014/main" id="{8E44E924-2290-4E4A-AB9F-E47FD05B2083}"/>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3">
              <a:extLst>
                <a:ext uri="{FF2B5EF4-FFF2-40B4-BE49-F238E27FC236}">
                  <a16:creationId xmlns:a16="http://schemas.microsoft.com/office/drawing/2014/main" id="{BEC54CFA-28C3-4407-A945-148CF617C64E}"/>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44">
              <a:extLst>
                <a:ext uri="{FF2B5EF4-FFF2-40B4-BE49-F238E27FC236}">
                  <a16:creationId xmlns:a16="http://schemas.microsoft.com/office/drawing/2014/main" id="{9F01A003-2B17-40C5-A2C5-9BB84DEEF66A}"/>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5">
              <a:extLst>
                <a:ext uri="{FF2B5EF4-FFF2-40B4-BE49-F238E27FC236}">
                  <a16:creationId xmlns:a16="http://schemas.microsoft.com/office/drawing/2014/main" id="{2D13B6B1-80B6-454C-8FB6-E80BF460E15E}"/>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6">
              <a:extLst>
                <a:ext uri="{FF2B5EF4-FFF2-40B4-BE49-F238E27FC236}">
                  <a16:creationId xmlns:a16="http://schemas.microsoft.com/office/drawing/2014/main" id="{AAC4B4D8-1699-4FE4-9ED0-B4BE11BDA92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7">
              <a:extLst>
                <a:ext uri="{FF2B5EF4-FFF2-40B4-BE49-F238E27FC236}">
                  <a16:creationId xmlns:a16="http://schemas.microsoft.com/office/drawing/2014/main" id="{73A20B31-3A7A-49CE-8B6B-731E7AC206BC}"/>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8">
              <a:extLst>
                <a:ext uri="{FF2B5EF4-FFF2-40B4-BE49-F238E27FC236}">
                  <a16:creationId xmlns:a16="http://schemas.microsoft.com/office/drawing/2014/main" id="{714E75A5-DCC9-46E2-880E-8CD2603E244F}"/>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9">
              <a:extLst>
                <a:ext uri="{FF2B5EF4-FFF2-40B4-BE49-F238E27FC236}">
                  <a16:creationId xmlns:a16="http://schemas.microsoft.com/office/drawing/2014/main" id="{B506150E-7D12-4F7A-86C3-12C470D0D16A}"/>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 name="图片 4">
            <a:extLst>
              <a:ext uri="{FF2B5EF4-FFF2-40B4-BE49-F238E27FC236}">
                <a16:creationId xmlns:a16="http://schemas.microsoft.com/office/drawing/2014/main" id="{7097862C-F923-4BAE-895A-1A332891E90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60919" y="0"/>
            <a:ext cx="4834128" cy="5547360"/>
          </a:xfrm>
          <a:prstGeom prst="rect">
            <a:avLst/>
          </a:prstGeom>
        </p:spPr>
      </p:pic>
    </p:spTree>
    <p:extLst>
      <p:ext uri="{BB962C8B-B14F-4D97-AF65-F5344CB8AC3E}">
        <p14:creationId xmlns:p14="http://schemas.microsoft.com/office/powerpoint/2010/main" val="33456609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过渡页4-1">
    <p:spTree>
      <p:nvGrpSpPr>
        <p:cNvPr id="1" name=""/>
        <p:cNvGrpSpPr/>
        <p:nvPr/>
      </p:nvGrpSpPr>
      <p:grpSpPr>
        <a:xfrm>
          <a:off x="0" y="0"/>
          <a:ext cx="0" cy="0"/>
          <a:chOff x="0" y="0"/>
          <a:chExt cx="0" cy="0"/>
        </a:xfrm>
      </p:grpSpPr>
      <p:sp>
        <p:nvSpPr>
          <p:cNvPr id="63" name="任意多边形: 形状 62">
            <a:extLst>
              <a:ext uri="{FF2B5EF4-FFF2-40B4-BE49-F238E27FC236}">
                <a16:creationId xmlns:a16="http://schemas.microsoft.com/office/drawing/2014/main" id="{DCA28965-114F-4657-AF2D-0E474DD18556}"/>
              </a:ext>
            </a:extLst>
          </p:cNvPr>
          <p:cNvSpPr/>
          <p:nvPr userDrawn="1"/>
        </p:nvSpPr>
        <p:spPr>
          <a:xfrm>
            <a:off x="2388506" y="610"/>
            <a:ext cx="7595429" cy="1919631"/>
          </a:xfrm>
          <a:custGeom>
            <a:avLst/>
            <a:gdLst>
              <a:gd name="connsiteX0" fmla="*/ 0 w 7595429"/>
              <a:gd name="connsiteY0" fmla="*/ 0 h 1919631"/>
              <a:gd name="connsiteX1" fmla="*/ 7595429 w 7595429"/>
              <a:gd name="connsiteY1" fmla="*/ 0 h 1919631"/>
              <a:gd name="connsiteX2" fmla="*/ 7578492 w 7595429"/>
              <a:gd name="connsiteY2" fmla="*/ 21265 h 1919631"/>
              <a:gd name="connsiteX3" fmla="*/ 3786149 w 7595429"/>
              <a:gd name="connsiteY3" fmla="*/ 1919631 h 1919631"/>
              <a:gd name="connsiteX4" fmla="*/ 47793 w 7595429"/>
              <a:gd name="connsiteY4" fmla="*/ 52708 h 1919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5429" h="1919631">
                <a:moveTo>
                  <a:pt x="0" y="0"/>
                </a:moveTo>
                <a:lnTo>
                  <a:pt x="7595429" y="0"/>
                </a:lnTo>
                <a:lnTo>
                  <a:pt x="7578492" y="21265"/>
                </a:lnTo>
                <a:cubicBezTo>
                  <a:pt x="7169895" y="514635"/>
                  <a:pt x="5600779" y="1919631"/>
                  <a:pt x="3786149" y="1919631"/>
                </a:cubicBezTo>
                <a:cubicBezTo>
                  <a:pt x="2038728" y="1919631"/>
                  <a:pt x="525830" y="568764"/>
                  <a:pt x="47793" y="52708"/>
                </a:cubicBezTo>
                <a:close/>
              </a:path>
            </a:pathLst>
          </a:custGeom>
          <a:solidFill>
            <a:schemeClr val="bg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文本占位符 4">
            <a:extLst>
              <a:ext uri="{FF2B5EF4-FFF2-40B4-BE49-F238E27FC236}">
                <a16:creationId xmlns:a16="http://schemas.microsoft.com/office/drawing/2014/main" id="{DC18FFAB-5BFF-4A45-9571-234C9187C3F9}"/>
              </a:ext>
            </a:extLst>
          </p:cNvPr>
          <p:cNvSpPr>
            <a:spLocks noGrp="1"/>
          </p:cNvSpPr>
          <p:nvPr>
            <p:ph type="body" sz="quarter" idx="12" hasCustomPrompt="1"/>
          </p:nvPr>
        </p:nvSpPr>
        <p:spPr>
          <a:xfrm>
            <a:off x="4954993" y="140928"/>
            <a:ext cx="2282014" cy="2646878"/>
          </a:xfrm>
          <a:noFill/>
        </p:spPr>
        <p:txBody>
          <a:bodyPr vert="horz" wrap="none" lIns="0" tIns="45720" rIns="0" bIns="45720" rtlCol="0" anchor="ctr">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accent1"/>
                    </a:gs>
                    <a:gs pos="58000">
                      <a:schemeClr val="accent1">
                        <a:lumMod val="75000"/>
                        <a:alpha val="55000"/>
                      </a:schemeClr>
                    </a:gs>
                    <a:gs pos="72000">
                      <a:schemeClr val="accent1">
                        <a:lumMod val="75000"/>
                        <a:alpha val="0"/>
                      </a:schemeClr>
                    </a:gs>
                  </a:gsLst>
                  <a:lin ang="5400000" scaled="1"/>
                </a:gradFill>
                <a:latin typeface="Impact" panose="020B0806030902050204" pitchFamily="34" charset="0"/>
              </a:defRPr>
            </a:lvl1pPr>
          </a:lstStyle>
          <a:p>
            <a:pPr lvl="0" algn="ctr" defTabSz="457200">
              <a:lnSpc>
                <a:spcPct val="100000"/>
              </a:lnSpc>
              <a:spcBef>
                <a:spcPts val="0"/>
              </a:spcBef>
            </a:pPr>
            <a:r>
              <a:rPr lang="en-US" altLang="zh-CN" dirty="0"/>
              <a:t>01</a:t>
            </a:r>
          </a:p>
        </p:txBody>
      </p:sp>
      <p:pic>
        <p:nvPicPr>
          <p:cNvPr id="67" name="图片 66">
            <a:extLst>
              <a:ext uri="{FF2B5EF4-FFF2-40B4-BE49-F238E27FC236}">
                <a16:creationId xmlns:a16="http://schemas.microsoft.com/office/drawing/2014/main" id="{DEAC1EDE-09F8-4618-BE15-4D8D22DE7E9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609"/>
            <a:ext cx="12192000" cy="6856781"/>
          </a:xfrm>
          <a:custGeom>
            <a:avLst/>
            <a:gdLst>
              <a:gd name="connsiteX0" fmla="*/ 0 w 12192000"/>
              <a:gd name="connsiteY0" fmla="*/ 0 h 6856781"/>
              <a:gd name="connsiteX1" fmla="*/ 2388506 w 12192000"/>
              <a:gd name="connsiteY1" fmla="*/ 0 h 6856781"/>
              <a:gd name="connsiteX2" fmla="*/ 2436299 w 12192000"/>
              <a:gd name="connsiteY2" fmla="*/ 52708 h 6856781"/>
              <a:gd name="connsiteX3" fmla="*/ 6174655 w 12192000"/>
              <a:gd name="connsiteY3" fmla="*/ 1919631 h 6856781"/>
              <a:gd name="connsiteX4" fmla="*/ 9966998 w 12192000"/>
              <a:gd name="connsiteY4" fmla="*/ 21265 h 6856781"/>
              <a:gd name="connsiteX5" fmla="*/ 9983935 w 12192000"/>
              <a:gd name="connsiteY5" fmla="*/ 0 h 6856781"/>
              <a:gd name="connsiteX6" fmla="*/ 12192000 w 12192000"/>
              <a:gd name="connsiteY6" fmla="*/ 0 h 6856781"/>
              <a:gd name="connsiteX7" fmla="*/ 12192000 w 12192000"/>
              <a:gd name="connsiteY7" fmla="*/ 6856781 h 6856781"/>
              <a:gd name="connsiteX8" fmla="*/ 0 w 12192000"/>
              <a:gd name="connsiteY8" fmla="*/ 6856781 h 685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6781">
                <a:moveTo>
                  <a:pt x="0" y="0"/>
                </a:moveTo>
                <a:lnTo>
                  <a:pt x="2388506" y="0"/>
                </a:lnTo>
                <a:lnTo>
                  <a:pt x="2436299" y="52708"/>
                </a:lnTo>
                <a:cubicBezTo>
                  <a:pt x="2914336" y="568764"/>
                  <a:pt x="4427234" y="1919631"/>
                  <a:pt x="6174655" y="1919631"/>
                </a:cubicBezTo>
                <a:cubicBezTo>
                  <a:pt x="7989285" y="1919631"/>
                  <a:pt x="9558401" y="514635"/>
                  <a:pt x="9966998" y="21265"/>
                </a:cubicBezTo>
                <a:lnTo>
                  <a:pt x="9983935" y="0"/>
                </a:lnTo>
                <a:lnTo>
                  <a:pt x="12192000" y="0"/>
                </a:lnTo>
                <a:lnTo>
                  <a:pt x="12192000" y="6856781"/>
                </a:lnTo>
                <a:lnTo>
                  <a:pt x="0" y="6856781"/>
                </a:lnTo>
                <a:close/>
              </a:path>
            </a:pathLst>
          </a:custGeom>
        </p:spPr>
      </p:pic>
      <p:grpSp>
        <p:nvGrpSpPr>
          <p:cNvPr id="68" name="组合 67">
            <a:extLst>
              <a:ext uri="{FF2B5EF4-FFF2-40B4-BE49-F238E27FC236}">
                <a16:creationId xmlns:a16="http://schemas.microsoft.com/office/drawing/2014/main" id="{8BEC06AE-0CE1-46D8-8A7F-71DE9EC3174D}"/>
              </a:ext>
            </a:extLst>
          </p:cNvPr>
          <p:cNvGrpSpPr/>
          <p:nvPr userDrawn="1"/>
        </p:nvGrpSpPr>
        <p:grpSpPr>
          <a:xfrm>
            <a:off x="5536896" y="6255328"/>
            <a:ext cx="1118208" cy="380060"/>
            <a:chOff x="1398368" y="5051425"/>
            <a:chExt cx="3242941" cy="1102222"/>
          </a:xfrm>
          <a:solidFill>
            <a:schemeClr val="bg1"/>
          </a:solidFill>
        </p:grpSpPr>
        <p:sp>
          <p:nvSpPr>
            <p:cNvPr id="69" name="Freeform 5">
              <a:extLst>
                <a:ext uri="{FF2B5EF4-FFF2-40B4-BE49-F238E27FC236}">
                  <a16:creationId xmlns:a16="http://schemas.microsoft.com/office/drawing/2014/main" id="{FF6FE2F6-E99A-496F-BF02-1AD34ED05F2E}"/>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
              <a:extLst>
                <a:ext uri="{FF2B5EF4-FFF2-40B4-BE49-F238E27FC236}">
                  <a16:creationId xmlns:a16="http://schemas.microsoft.com/office/drawing/2014/main" id="{0F1D500A-AD90-463B-9E5D-BDCFB7F9ECE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
              <a:extLst>
                <a:ext uri="{FF2B5EF4-FFF2-40B4-BE49-F238E27FC236}">
                  <a16:creationId xmlns:a16="http://schemas.microsoft.com/office/drawing/2014/main" id="{7D2478E5-BD08-4FC0-B589-D5714532545F}"/>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 name="组合 71">
              <a:extLst>
                <a:ext uri="{FF2B5EF4-FFF2-40B4-BE49-F238E27FC236}">
                  <a16:creationId xmlns:a16="http://schemas.microsoft.com/office/drawing/2014/main" id="{47AEF404-31C6-4179-BE76-C73AF69C000B}"/>
                </a:ext>
              </a:extLst>
            </p:cNvPr>
            <p:cNvGrpSpPr/>
            <p:nvPr/>
          </p:nvGrpSpPr>
          <p:grpSpPr>
            <a:xfrm>
              <a:off x="2921957" y="5168150"/>
              <a:ext cx="542765" cy="642593"/>
              <a:chOff x="3102298" y="5183391"/>
              <a:chExt cx="501880" cy="594188"/>
            </a:xfrm>
            <a:grpFill/>
          </p:grpSpPr>
          <p:sp>
            <p:nvSpPr>
              <p:cNvPr id="114" name="Freeform 6">
                <a:extLst>
                  <a:ext uri="{FF2B5EF4-FFF2-40B4-BE49-F238E27FC236}">
                    <a16:creationId xmlns:a16="http://schemas.microsoft.com/office/drawing/2014/main" id="{4C7BB002-B489-48A3-90E7-A5CFCFA04B9E}"/>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
                <a:extLst>
                  <a:ext uri="{FF2B5EF4-FFF2-40B4-BE49-F238E27FC236}">
                    <a16:creationId xmlns:a16="http://schemas.microsoft.com/office/drawing/2014/main" id="{E0A7F250-CBD7-444D-9490-ED677BB4B43E}"/>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3">
                <a:extLst>
                  <a:ext uri="{FF2B5EF4-FFF2-40B4-BE49-F238E27FC236}">
                    <a16:creationId xmlns:a16="http://schemas.microsoft.com/office/drawing/2014/main" id="{A795435A-6B3C-4E83-9CBE-A435007362C4}"/>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组合 72">
              <a:extLst>
                <a:ext uri="{FF2B5EF4-FFF2-40B4-BE49-F238E27FC236}">
                  <a16:creationId xmlns:a16="http://schemas.microsoft.com/office/drawing/2014/main" id="{28D3BC26-BD3C-4D1A-9195-D3CF3C117E5B}"/>
                </a:ext>
              </a:extLst>
            </p:cNvPr>
            <p:cNvGrpSpPr/>
            <p:nvPr/>
          </p:nvGrpSpPr>
          <p:grpSpPr>
            <a:xfrm>
              <a:off x="4196892" y="5154476"/>
              <a:ext cx="444417" cy="649987"/>
              <a:chOff x="4257853" y="5169716"/>
              <a:chExt cx="410940" cy="601025"/>
            </a:xfrm>
            <a:grpFill/>
          </p:grpSpPr>
          <p:sp>
            <p:nvSpPr>
              <p:cNvPr id="108" name="Freeform 9">
                <a:extLst>
                  <a:ext uri="{FF2B5EF4-FFF2-40B4-BE49-F238E27FC236}">
                    <a16:creationId xmlns:a16="http://schemas.microsoft.com/office/drawing/2014/main" id="{B0A77AE6-E3D6-4941-84BD-04E7DE8F79C6}"/>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1">
                <a:extLst>
                  <a:ext uri="{FF2B5EF4-FFF2-40B4-BE49-F238E27FC236}">
                    <a16:creationId xmlns:a16="http://schemas.microsoft.com/office/drawing/2014/main" id="{FB05E7AF-5DAA-4B82-B06A-0DD318017690}"/>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2">
                <a:extLst>
                  <a:ext uri="{FF2B5EF4-FFF2-40B4-BE49-F238E27FC236}">
                    <a16:creationId xmlns:a16="http://schemas.microsoft.com/office/drawing/2014/main" id="{1F4D3A21-7988-4F24-8180-6120E57831EF}"/>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4">
                <a:extLst>
                  <a:ext uri="{FF2B5EF4-FFF2-40B4-BE49-F238E27FC236}">
                    <a16:creationId xmlns:a16="http://schemas.microsoft.com/office/drawing/2014/main" id="{B5B5644F-19EC-4EA7-A297-BED8F9C81E29}"/>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5">
                <a:extLst>
                  <a:ext uri="{FF2B5EF4-FFF2-40B4-BE49-F238E27FC236}">
                    <a16:creationId xmlns:a16="http://schemas.microsoft.com/office/drawing/2014/main" id="{FB08411D-4EE4-4743-954D-0A7417F81379}"/>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 name="Freeform 16">
              <a:extLst>
                <a:ext uri="{FF2B5EF4-FFF2-40B4-BE49-F238E27FC236}">
                  <a16:creationId xmlns:a16="http://schemas.microsoft.com/office/drawing/2014/main" id="{F8A23E03-43E2-4687-9188-F849EF920C06}"/>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7">
              <a:extLst>
                <a:ext uri="{FF2B5EF4-FFF2-40B4-BE49-F238E27FC236}">
                  <a16:creationId xmlns:a16="http://schemas.microsoft.com/office/drawing/2014/main" id="{200BAA2E-DE9B-483B-B3AF-921173CC974B}"/>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18">
              <a:extLst>
                <a:ext uri="{FF2B5EF4-FFF2-40B4-BE49-F238E27FC236}">
                  <a16:creationId xmlns:a16="http://schemas.microsoft.com/office/drawing/2014/main" id="{E2C0427E-B4FC-4EA8-9ACD-DB0E692C8074}"/>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9">
              <a:extLst>
                <a:ext uri="{FF2B5EF4-FFF2-40B4-BE49-F238E27FC236}">
                  <a16:creationId xmlns:a16="http://schemas.microsoft.com/office/drawing/2014/main" id="{D1554841-D628-4AF3-8CE0-31DA6D34A12B}"/>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0">
              <a:extLst>
                <a:ext uri="{FF2B5EF4-FFF2-40B4-BE49-F238E27FC236}">
                  <a16:creationId xmlns:a16="http://schemas.microsoft.com/office/drawing/2014/main" id="{63A49090-C609-466E-B04F-4DE08B9CB31D}"/>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1">
              <a:extLst>
                <a:ext uri="{FF2B5EF4-FFF2-40B4-BE49-F238E27FC236}">
                  <a16:creationId xmlns:a16="http://schemas.microsoft.com/office/drawing/2014/main" id="{897FB3E3-BDB8-4359-8BAD-FF78C904DEF4}"/>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2">
              <a:extLst>
                <a:ext uri="{FF2B5EF4-FFF2-40B4-BE49-F238E27FC236}">
                  <a16:creationId xmlns:a16="http://schemas.microsoft.com/office/drawing/2014/main" id="{A2E496F4-9130-42AC-9EBC-2FCE9822F01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3">
              <a:extLst>
                <a:ext uri="{FF2B5EF4-FFF2-40B4-BE49-F238E27FC236}">
                  <a16:creationId xmlns:a16="http://schemas.microsoft.com/office/drawing/2014/main" id="{B4E6EC26-26C3-4C04-9677-E89856AD5E4B}"/>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4">
              <a:extLst>
                <a:ext uri="{FF2B5EF4-FFF2-40B4-BE49-F238E27FC236}">
                  <a16:creationId xmlns:a16="http://schemas.microsoft.com/office/drawing/2014/main" id="{48F0C619-4048-404C-9618-05BDEE1669BD}"/>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5">
              <a:extLst>
                <a:ext uri="{FF2B5EF4-FFF2-40B4-BE49-F238E27FC236}">
                  <a16:creationId xmlns:a16="http://schemas.microsoft.com/office/drawing/2014/main" id="{7D559D9D-47DA-436A-9E34-47CB6563782C}"/>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6">
              <a:extLst>
                <a:ext uri="{FF2B5EF4-FFF2-40B4-BE49-F238E27FC236}">
                  <a16:creationId xmlns:a16="http://schemas.microsoft.com/office/drawing/2014/main" id="{E020E7C8-96D6-40F0-8CAE-72915DCC61AE}"/>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7">
              <a:extLst>
                <a:ext uri="{FF2B5EF4-FFF2-40B4-BE49-F238E27FC236}">
                  <a16:creationId xmlns:a16="http://schemas.microsoft.com/office/drawing/2014/main" id="{F0221192-1012-4FE6-98CD-A251CE0DE9F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
              <a:extLst>
                <a:ext uri="{FF2B5EF4-FFF2-40B4-BE49-F238E27FC236}">
                  <a16:creationId xmlns:a16="http://schemas.microsoft.com/office/drawing/2014/main" id="{5F0DCBC5-2EF5-47D6-973D-FBE1BDE6EFC0}"/>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9">
              <a:extLst>
                <a:ext uri="{FF2B5EF4-FFF2-40B4-BE49-F238E27FC236}">
                  <a16:creationId xmlns:a16="http://schemas.microsoft.com/office/drawing/2014/main" id="{F1E4BF93-4998-4191-83BB-1F9F4E6898AA}"/>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0">
              <a:extLst>
                <a:ext uri="{FF2B5EF4-FFF2-40B4-BE49-F238E27FC236}">
                  <a16:creationId xmlns:a16="http://schemas.microsoft.com/office/drawing/2014/main" id="{D546C16C-DEAB-4A20-98D5-DE4CEFC69A2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1">
              <a:extLst>
                <a:ext uri="{FF2B5EF4-FFF2-40B4-BE49-F238E27FC236}">
                  <a16:creationId xmlns:a16="http://schemas.microsoft.com/office/drawing/2014/main" id="{A7D3D87E-9B5A-4747-84F1-246F3E1C116C}"/>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2">
              <a:extLst>
                <a:ext uri="{FF2B5EF4-FFF2-40B4-BE49-F238E27FC236}">
                  <a16:creationId xmlns:a16="http://schemas.microsoft.com/office/drawing/2014/main" id="{263E6A8F-C568-4F0B-9D8B-838212E9A20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3">
              <a:extLst>
                <a:ext uri="{FF2B5EF4-FFF2-40B4-BE49-F238E27FC236}">
                  <a16:creationId xmlns:a16="http://schemas.microsoft.com/office/drawing/2014/main" id="{79EE4D54-E240-44F9-80C2-8B6E78499DC1}"/>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4">
              <a:extLst>
                <a:ext uri="{FF2B5EF4-FFF2-40B4-BE49-F238E27FC236}">
                  <a16:creationId xmlns:a16="http://schemas.microsoft.com/office/drawing/2014/main" id="{4D4D9890-BDB5-477F-ABA7-5E7361282542}"/>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5">
              <a:extLst>
                <a:ext uri="{FF2B5EF4-FFF2-40B4-BE49-F238E27FC236}">
                  <a16:creationId xmlns:a16="http://schemas.microsoft.com/office/drawing/2014/main" id="{0F81DE4B-4368-4941-B787-9551EB6C194D}"/>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6">
              <a:extLst>
                <a:ext uri="{FF2B5EF4-FFF2-40B4-BE49-F238E27FC236}">
                  <a16:creationId xmlns:a16="http://schemas.microsoft.com/office/drawing/2014/main" id="{0747B8BD-FDAD-49DA-B3CE-2EFEF4DE2F32}"/>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7">
              <a:extLst>
                <a:ext uri="{FF2B5EF4-FFF2-40B4-BE49-F238E27FC236}">
                  <a16:creationId xmlns:a16="http://schemas.microsoft.com/office/drawing/2014/main" id="{45447C61-1E85-416E-B524-156AF716AA0B}"/>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8">
              <a:extLst>
                <a:ext uri="{FF2B5EF4-FFF2-40B4-BE49-F238E27FC236}">
                  <a16:creationId xmlns:a16="http://schemas.microsoft.com/office/drawing/2014/main" id="{B9CAE753-516F-47AA-9802-3E0D159C9EC6}"/>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9">
              <a:extLst>
                <a:ext uri="{FF2B5EF4-FFF2-40B4-BE49-F238E27FC236}">
                  <a16:creationId xmlns:a16="http://schemas.microsoft.com/office/drawing/2014/main" id="{190ACAA0-8AD1-4BA3-984F-EFD44B5FBA76}"/>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0">
              <a:extLst>
                <a:ext uri="{FF2B5EF4-FFF2-40B4-BE49-F238E27FC236}">
                  <a16:creationId xmlns:a16="http://schemas.microsoft.com/office/drawing/2014/main" id="{C4D1EB16-7414-4B7A-8764-5334F0029D8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1">
              <a:extLst>
                <a:ext uri="{FF2B5EF4-FFF2-40B4-BE49-F238E27FC236}">
                  <a16:creationId xmlns:a16="http://schemas.microsoft.com/office/drawing/2014/main" id="{0500F95D-0AD2-4972-AFA1-526D77406E71}"/>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2">
              <a:extLst>
                <a:ext uri="{FF2B5EF4-FFF2-40B4-BE49-F238E27FC236}">
                  <a16:creationId xmlns:a16="http://schemas.microsoft.com/office/drawing/2014/main" id="{141E49FA-7898-4983-837D-EB2626E1A68D}"/>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3">
              <a:extLst>
                <a:ext uri="{FF2B5EF4-FFF2-40B4-BE49-F238E27FC236}">
                  <a16:creationId xmlns:a16="http://schemas.microsoft.com/office/drawing/2014/main" id="{77D1C810-36A0-4077-A558-38688412B22B}"/>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4">
              <a:extLst>
                <a:ext uri="{FF2B5EF4-FFF2-40B4-BE49-F238E27FC236}">
                  <a16:creationId xmlns:a16="http://schemas.microsoft.com/office/drawing/2014/main" id="{7324D0B0-4B6C-49B2-A3FC-111129C8E4D8}"/>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5">
              <a:extLst>
                <a:ext uri="{FF2B5EF4-FFF2-40B4-BE49-F238E27FC236}">
                  <a16:creationId xmlns:a16="http://schemas.microsoft.com/office/drawing/2014/main" id="{EB3BF0D5-6099-47F3-ADFA-5A424753C1B2}"/>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46">
              <a:extLst>
                <a:ext uri="{FF2B5EF4-FFF2-40B4-BE49-F238E27FC236}">
                  <a16:creationId xmlns:a16="http://schemas.microsoft.com/office/drawing/2014/main" id="{D5FE76DE-BC57-4DEE-9FA0-AD8AE26066E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47">
              <a:extLst>
                <a:ext uri="{FF2B5EF4-FFF2-40B4-BE49-F238E27FC236}">
                  <a16:creationId xmlns:a16="http://schemas.microsoft.com/office/drawing/2014/main" id="{B025B437-F41F-433D-A92A-A2ACA9B40797}"/>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48">
              <a:extLst>
                <a:ext uri="{FF2B5EF4-FFF2-40B4-BE49-F238E27FC236}">
                  <a16:creationId xmlns:a16="http://schemas.microsoft.com/office/drawing/2014/main" id="{D1B01482-A142-449D-976F-94FF0A0B5E41}"/>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9">
              <a:extLst>
                <a:ext uri="{FF2B5EF4-FFF2-40B4-BE49-F238E27FC236}">
                  <a16:creationId xmlns:a16="http://schemas.microsoft.com/office/drawing/2014/main" id="{4F33EF39-0735-40C7-BC20-D9F53A7849AB}"/>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20" name="直接连接符 119">
            <a:extLst>
              <a:ext uri="{FF2B5EF4-FFF2-40B4-BE49-F238E27FC236}">
                <a16:creationId xmlns:a16="http://schemas.microsoft.com/office/drawing/2014/main" id="{9489EDBC-D2D4-472C-A87A-B3F6E6F533D8}"/>
              </a:ext>
            </a:extLst>
          </p:cNvPr>
          <p:cNvCxnSpPr>
            <a:cxnSpLocks/>
          </p:cNvCxnSpPr>
          <p:nvPr userDrawn="1"/>
        </p:nvCxnSpPr>
        <p:spPr>
          <a:xfrm>
            <a:off x="2049780" y="5551166"/>
            <a:ext cx="8092440" cy="0"/>
          </a:xfrm>
          <a:prstGeom prst="line">
            <a:avLst/>
          </a:prstGeom>
          <a:ln>
            <a:solidFill>
              <a:schemeClr val="accent6"/>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1" name="标题 1">
            <a:extLst>
              <a:ext uri="{FF2B5EF4-FFF2-40B4-BE49-F238E27FC236}">
                <a16:creationId xmlns:a16="http://schemas.microsoft.com/office/drawing/2014/main" id="{AE66D3FE-3BF3-4CE6-9D9E-C6A2DEE0521E}"/>
              </a:ext>
            </a:extLst>
          </p:cNvPr>
          <p:cNvSpPr>
            <a:spLocks noGrp="1"/>
          </p:cNvSpPr>
          <p:nvPr>
            <p:ph type="ctrTitle"/>
          </p:nvPr>
        </p:nvSpPr>
        <p:spPr>
          <a:xfrm>
            <a:off x="2723908" y="2757325"/>
            <a:ext cx="6744184" cy="923330"/>
          </a:xfrm>
          <a:solidFill>
            <a:schemeClr val="bg1"/>
          </a:solidFill>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sp>
        <p:nvSpPr>
          <p:cNvPr id="62" name="副标题 2">
            <a:extLst>
              <a:ext uri="{FF2B5EF4-FFF2-40B4-BE49-F238E27FC236}">
                <a16:creationId xmlns:a16="http://schemas.microsoft.com/office/drawing/2014/main" id="{B2B0A65A-773F-4104-BF52-A1C39F9E217E}"/>
              </a:ext>
            </a:extLst>
          </p:cNvPr>
          <p:cNvSpPr>
            <a:spLocks noGrp="1"/>
          </p:cNvSpPr>
          <p:nvPr>
            <p:ph type="subTitle" idx="1"/>
          </p:nvPr>
        </p:nvSpPr>
        <p:spPr>
          <a:xfrm>
            <a:off x="2723908" y="3701199"/>
            <a:ext cx="6744184" cy="331948"/>
          </a:xfrm>
          <a:solidFill>
            <a:schemeClr val="bg1"/>
          </a:solidFill>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Tree>
    <p:extLst>
      <p:ext uri="{BB962C8B-B14F-4D97-AF65-F5344CB8AC3E}">
        <p14:creationId xmlns:p14="http://schemas.microsoft.com/office/powerpoint/2010/main" val="3043943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过渡页5-1">
    <p:spTree>
      <p:nvGrpSpPr>
        <p:cNvPr id="1" name=""/>
        <p:cNvGrpSpPr/>
        <p:nvPr/>
      </p:nvGrpSpPr>
      <p:grpSpPr>
        <a:xfrm>
          <a:off x="0" y="0"/>
          <a:ext cx="0" cy="0"/>
          <a:chOff x="0" y="0"/>
          <a:chExt cx="0" cy="0"/>
        </a:xfrm>
      </p:grpSpPr>
      <p:pic>
        <p:nvPicPr>
          <p:cNvPr id="67" name="图片 66">
            <a:extLst>
              <a:ext uri="{FF2B5EF4-FFF2-40B4-BE49-F238E27FC236}">
                <a16:creationId xmlns:a16="http://schemas.microsoft.com/office/drawing/2014/main" id="{43FEE9E2-ED54-498D-A08A-3EF5ACB904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62" name="组合 61">
            <a:extLst>
              <a:ext uri="{FF2B5EF4-FFF2-40B4-BE49-F238E27FC236}">
                <a16:creationId xmlns:a16="http://schemas.microsoft.com/office/drawing/2014/main" id="{164A5006-7779-4570-BEB0-20C920DE8B56}"/>
              </a:ext>
            </a:extLst>
          </p:cNvPr>
          <p:cNvGrpSpPr/>
          <p:nvPr userDrawn="1"/>
        </p:nvGrpSpPr>
        <p:grpSpPr>
          <a:xfrm>
            <a:off x="2743490" y="194553"/>
            <a:ext cx="6468898" cy="6468896"/>
            <a:chOff x="2551832" y="5787"/>
            <a:chExt cx="6852213" cy="6852213"/>
          </a:xfrm>
        </p:grpSpPr>
        <p:sp>
          <p:nvSpPr>
            <p:cNvPr id="64" name="椭圆 63">
              <a:extLst>
                <a:ext uri="{FF2B5EF4-FFF2-40B4-BE49-F238E27FC236}">
                  <a16:creationId xmlns:a16="http://schemas.microsoft.com/office/drawing/2014/main" id="{1827CC51-C56D-4E08-997F-1E385B74EC01}"/>
                </a:ext>
              </a:extLst>
            </p:cNvPr>
            <p:cNvSpPr/>
            <p:nvPr/>
          </p:nvSpPr>
          <p:spPr>
            <a:xfrm>
              <a:off x="2551832" y="5787"/>
              <a:ext cx="6852213" cy="6852213"/>
            </a:xfrm>
            <a:prstGeom prst="ellipse">
              <a:avLst/>
            </a:pr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椭圆 64">
              <a:extLst>
                <a:ext uri="{FF2B5EF4-FFF2-40B4-BE49-F238E27FC236}">
                  <a16:creationId xmlns:a16="http://schemas.microsoft.com/office/drawing/2014/main" id="{349E2725-7D53-42C9-913C-441D7D3A52EA}"/>
                </a:ext>
              </a:extLst>
            </p:cNvPr>
            <p:cNvSpPr/>
            <p:nvPr/>
          </p:nvSpPr>
          <p:spPr>
            <a:xfrm>
              <a:off x="2689956" y="143911"/>
              <a:ext cx="6575964" cy="6575964"/>
            </a:xfrm>
            <a:prstGeom prst="ellipse">
              <a:avLst/>
            </a:pr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6" name="副标题 2">
            <a:extLst>
              <a:ext uri="{FF2B5EF4-FFF2-40B4-BE49-F238E27FC236}">
                <a16:creationId xmlns:a16="http://schemas.microsoft.com/office/drawing/2014/main" id="{03D09422-1677-44B9-B243-B6350395E386}"/>
              </a:ext>
            </a:extLst>
          </p:cNvPr>
          <p:cNvSpPr>
            <a:spLocks noGrp="1"/>
          </p:cNvSpPr>
          <p:nvPr>
            <p:ph type="subTitle" idx="1"/>
          </p:nvPr>
        </p:nvSpPr>
        <p:spPr>
          <a:xfrm>
            <a:off x="3016158" y="4202383"/>
            <a:ext cx="5923562" cy="331948"/>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7" name="标题 1">
            <a:extLst>
              <a:ext uri="{FF2B5EF4-FFF2-40B4-BE49-F238E27FC236}">
                <a16:creationId xmlns:a16="http://schemas.microsoft.com/office/drawing/2014/main" id="{C116151F-A129-497F-A036-47A94529A9C9}"/>
              </a:ext>
            </a:extLst>
          </p:cNvPr>
          <p:cNvSpPr>
            <a:spLocks noGrp="1"/>
          </p:cNvSpPr>
          <p:nvPr>
            <p:ph type="ctrTitle"/>
          </p:nvPr>
        </p:nvSpPr>
        <p:spPr>
          <a:xfrm>
            <a:off x="2872837" y="3270084"/>
            <a:ext cx="6210204" cy="923330"/>
          </a:xfrm>
        </p:spPr>
        <p:txBody>
          <a:bodyPr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17" name="直接连接符 116">
            <a:extLst>
              <a:ext uri="{FF2B5EF4-FFF2-40B4-BE49-F238E27FC236}">
                <a16:creationId xmlns:a16="http://schemas.microsoft.com/office/drawing/2014/main" id="{1A3FA63B-C86F-4E7F-BFBF-F2D00CCC8F1B}"/>
              </a:ext>
            </a:extLst>
          </p:cNvPr>
          <p:cNvCxnSpPr>
            <a:cxnSpLocks/>
          </p:cNvCxnSpPr>
          <p:nvPr userDrawn="1"/>
        </p:nvCxnSpPr>
        <p:spPr>
          <a:xfrm>
            <a:off x="3726575" y="4801512"/>
            <a:ext cx="4502727"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3" name="文本占位符 4">
            <a:extLst>
              <a:ext uri="{FF2B5EF4-FFF2-40B4-BE49-F238E27FC236}">
                <a16:creationId xmlns:a16="http://schemas.microsoft.com/office/drawing/2014/main" id="{57CBDB1E-E389-4F8B-AEE3-11A7950AE88B}"/>
              </a:ext>
            </a:extLst>
          </p:cNvPr>
          <p:cNvSpPr>
            <a:spLocks noGrp="1"/>
          </p:cNvSpPr>
          <p:nvPr>
            <p:ph type="body" sz="quarter" idx="13" hasCustomPrompt="1"/>
          </p:nvPr>
        </p:nvSpPr>
        <p:spPr>
          <a:xfrm>
            <a:off x="4836932" y="1142999"/>
            <a:ext cx="2282014" cy="2000179"/>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119" name="直接连接符 118">
            <a:extLst>
              <a:ext uri="{FF2B5EF4-FFF2-40B4-BE49-F238E27FC236}">
                <a16:creationId xmlns:a16="http://schemas.microsoft.com/office/drawing/2014/main" id="{4AEAD08A-6ABB-4F06-93DF-3BE0E1990766}"/>
              </a:ext>
            </a:extLst>
          </p:cNvPr>
          <p:cNvCxnSpPr/>
          <p:nvPr userDrawn="1"/>
        </p:nvCxnSpPr>
        <p:spPr>
          <a:xfrm>
            <a:off x="5494041" y="3175193"/>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21" name="组合 120">
            <a:extLst>
              <a:ext uri="{FF2B5EF4-FFF2-40B4-BE49-F238E27FC236}">
                <a16:creationId xmlns:a16="http://schemas.microsoft.com/office/drawing/2014/main" id="{1ED71A84-1A2F-4911-A333-41E18B268DC0}"/>
              </a:ext>
            </a:extLst>
          </p:cNvPr>
          <p:cNvGrpSpPr/>
          <p:nvPr userDrawn="1"/>
        </p:nvGrpSpPr>
        <p:grpSpPr>
          <a:xfrm>
            <a:off x="5271326" y="5012318"/>
            <a:ext cx="1413226" cy="480332"/>
            <a:chOff x="1398368" y="5051425"/>
            <a:chExt cx="3242941" cy="1102222"/>
          </a:xfrm>
          <a:solidFill>
            <a:schemeClr val="accent1"/>
          </a:solidFill>
        </p:grpSpPr>
        <p:sp>
          <p:nvSpPr>
            <p:cNvPr id="122" name="Freeform 5">
              <a:extLst>
                <a:ext uri="{FF2B5EF4-FFF2-40B4-BE49-F238E27FC236}">
                  <a16:creationId xmlns:a16="http://schemas.microsoft.com/office/drawing/2014/main" id="{51531853-1772-4613-91F1-852278D94FEC}"/>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7">
              <a:extLst>
                <a:ext uri="{FF2B5EF4-FFF2-40B4-BE49-F238E27FC236}">
                  <a16:creationId xmlns:a16="http://schemas.microsoft.com/office/drawing/2014/main" id="{68BBEF23-041B-4D52-A450-17E6F9B41544}"/>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8">
              <a:extLst>
                <a:ext uri="{FF2B5EF4-FFF2-40B4-BE49-F238E27FC236}">
                  <a16:creationId xmlns:a16="http://schemas.microsoft.com/office/drawing/2014/main" id="{BF6DE9C0-0FFD-495A-BE40-3507718CEA11}"/>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5" name="组合 124">
              <a:extLst>
                <a:ext uri="{FF2B5EF4-FFF2-40B4-BE49-F238E27FC236}">
                  <a16:creationId xmlns:a16="http://schemas.microsoft.com/office/drawing/2014/main" id="{61232067-04C2-499B-A483-CCAB89FC4C51}"/>
                </a:ext>
              </a:extLst>
            </p:cNvPr>
            <p:cNvGrpSpPr/>
            <p:nvPr/>
          </p:nvGrpSpPr>
          <p:grpSpPr>
            <a:xfrm>
              <a:off x="2921957" y="5168150"/>
              <a:ext cx="542765" cy="642593"/>
              <a:chOff x="3102298" y="5183391"/>
              <a:chExt cx="501880" cy="594188"/>
            </a:xfrm>
            <a:grpFill/>
          </p:grpSpPr>
          <p:sp>
            <p:nvSpPr>
              <p:cNvPr id="166" name="Freeform 6">
                <a:extLst>
                  <a:ext uri="{FF2B5EF4-FFF2-40B4-BE49-F238E27FC236}">
                    <a16:creationId xmlns:a16="http://schemas.microsoft.com/office/drawing/2014/main" id="{4DFF6853-4A87-48D8-A14C-744D67D8548D}"/>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a:extLst>
                  <a:ext uri="{FF2B5EF4-FFF2-40B4-BE49-F238E27FC236}">
                    <a16:creationId xmlns:a16="http://schemas.microsoft.com/office/drawing/2014/main" id="{2A0DDB4E-8244-46BD-A7D5-AE43A28F4E32}"/>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3">
                <a:extLst>
                  <a:ext uri="{FF2B5EF4-FFF2-40B4-BE49-F238E27FC236}">
                    <a16:creationId xmlns:a16="http://schemas.microsoft.com/office/drawing/2014/main" id="{8E229A6E-71C4-4627-BA02-FCCAF40A83AA}"/>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组合 125">
              <a:extLst>
                <a:ext uri="{FF2B5EF4-FFF2-40B4-BE49-F238E27FC236}">
                  <a16:creationId xmlns:a16="http://schemas.microsoft.com/office/drawing/2014/main" id="{F756C8FA-F22A-4AA2-930A-1D6F61807CAD}"/>
                </a:ext>
              </a:extLst>
            </p:cNvPr>
            <p:cNvGrpSpPr/>
            <p:nvPr/>
          </p:nvGrpSpPr>
          <p:grpSpPr>
            <a:xfrm>
              <a:off x="4196892" y="5154476"/>
              <a:ext cx="444417" cy="649987"/>
              <a:chOff x="4257853" y="5169716"/>
              <a:chExt cx="410940" cy="601025"/>
            </a:xfrm>
            <a:grpFill/>
          </p:grpSpPr>
          <p:sp>
            <p:nvSpPr>
              <p:cNvPr id="161" name="Freeform 9">
                <a:extLst>
                  <a:ext uri="{FF2B5EF4-FFF2-40B4-BE49-F238E27FC236}">
                    <a16:creationId xmlns:a16="http://schemas.microsoft.com/office/drawing/2014/main" id="{BC8CD2B5-5768-4D7E-989E-07A55C3814FB}"/>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1">
                <a:extLst>
                  <a:ext uri="{FF2B5EF4-FFF2-40B4-BE49-F238E27FC236}">
                    <a16:creationId xmlns:a16="http://schemas.microsoft.com/office/drawing/2014/main" id="{AF5A566F-5B2C-49E8-865B-85A89C9C4301}"/>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
                <a:extLst>
                  <a:ext uri="{FF2B5EF4-FFF2-40B4-BE49-F238E27FC236}">
                    <a16:creationId xmlns:a16="http://schemas.microsoft.com/office/drawing/2014/main" id="{92ECD085-A2DC-467F-BEAD-F3A4407412B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
                <a:extLst>
                  <a:ext uri="{FF2B5EF4-FFF2-40B4-BE49-F238E27FC236}">
                    <a16:creationId xmlns:a16="http://schemas.microsoft.com/office/drawing/2014/main" id="{323558E0-C194-44B3-AE69-973B6C8A4ADA}"/>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
                <a:extLst>
                  <a:ext uri="{FF2B5EF4-FFF2-40B4-BE49-F238E27FC236}">
                    <a16:creationId xmlns:a16="http://schemas.microsoft.com/office/drawing/2014/main" id="{A6E0A8DF-AEC2-49A4-A842-EAF6E220266A}"/>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7" name="Freeform 16">
              <a:extLst>
                <a:ext uri="{FF2B5EF4-FFF2-40B4-BE49-F238E27FC236}">
                  <a16:creationId xmlns:a16="http://schemas.microsoft.com/office/drawing/2014/main" id="{7305AF94-0F70-4328-8F52-496E4ED058F1}"/>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
              <a:extLst>
                <a:ext uri="{FF2B5EF4-FFF2-40B4-BE49-F238E27FC236}">
                  <a16:creationId xmlns:a16="http://schemas.microsoft.com/office/drawing/2014/main" id="{AFA9D378-562D-4A19-B22B-CA8CA860CA86}"/>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8">
              <a:extLst>
                <a:ext uri="{FF2B5EF4-FFF2-40B4-BE49-F238E27FC236}">
                  <a16:creationId xmlns:a16="http://schemas.microsoft.com/office/drawing/2014/main" id="{DABB91CD-3A1F-461C-83B8-477A0219158B}"/>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9">
              <a:extLst>
                <a:ext uri="{FF2B5EF4-FFF2-40B4-BE49-F238E27FC236}">
                  <a16:creationId xmlns:a16="http://schemas.microsoft.com/office/drawing/2014/main" id="{4DA26D74-09DC-499C-B8F8-CCD2D2E5949A}"/>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0">
              <a:extLst>
                <a:ext uri="{FF2B5EF4-FFF2-40B4-BE49-F238E27FC236}">
                  <a16:creationId xmlns:a16="http://schemas.microsoft.com/office/drawing/2014/main" id="{68F6374A-1C33-4EEB-B9B8-033175336638}"/>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1">
              <a:extLst>
                <a:ext uri="{FF2B5EF4-FFF2-40B4-BE49-F238E27FC236}">
                  <a16:creationId xmlns:a16="http://schemas.microsoft.com/office/drawing/2014/main" id="{F124E39A-4C74-4B65-B675-8A57D7A1A00C}"/>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7DE84CF4-6301-4CB1-806D-02265C9D411F}"/>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3">
              <a:extLst>
                <a:ext uri="{FF2B5EF4-FFF2-40B4-BE49-F238E27FC236}">
                  <a16:creationId xmlns:a16="http://schemas.microsoft.com/office/drawing/2014/main" id="{97DB8314-4C49-4B7A-BDAA-8D7D00A086B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4">
              <a:extLst>
                <a:ext uri="{FF2B5EF4-FFF2-40B4-BE49-F238E27FC236}">
                  <a16:creationId xmlns:a16="http://schemas.microsoft.com/office/drawing/2014/main" id="{C3081801-779D-4C7B-93DE-9E47814ECE35}"/>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1B6BC2E1-BD48-4283-8112-0BB4D1B781C8}"/>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26">
              <a:extLst>
                <a:ext uri="{FF2B5EF4-FFF2-40B4-BE49-F238E27FC236}">
                  <a16:creationId xmlns:a16="http://schemas.microsoft.com/office/drawing/2014/main" id="{20F5C8E4-3DE2-4B81-9369-E967B0CFA0D8}"/>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76737C7C-E788-42D4-A67F-58846F82ABA5}"/>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8CA1D4A8-07F9-46CF-9C2E-D0D46046A5D0}"/>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ED42C73C-F329-4235-BA2A-229F913C01A3}"/>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F2E865B4-5513-4B97-8FCB-8A0B5EC7DB33}"/>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E4D3F8B5-650D-4518-9318-A5F104244FF6}"/>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2">
              <a:extLst>
                <a:ext uri="{FF2B5EF4-FFF2-40B4-BE49-F238E27FC236}">
                  <a16:creationId xmlns:a16="http://schemas.microsoft.com/office/drawing/2014/main" id="{ABAFD7C4-AE94-459A-ACA6-184D983AFD55}"/>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2F239707-C6B6-4B0F-9D94-E9159742DC38}"/>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414EE9B5-0CEA-451C-9D5D-6B72A3A144E2}"/>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3A1350C9-8F2F-4ABC-A3EC-F483EB7AB1FC}"/>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6">
              <a:extLst>
                <a:ext uri="{FF2B5EF4-FFF2-40B4-BE49-F238E27FC236}">
                  <a16:creationId xmlns:a16="http://schemas.microsoft.com/office/drawing/2014/main" id="{4D0D2D75-D2D5-4CF1-BEBE-936C5C73CCDF}"/>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7">
              <a:extLst>
                <a:ext uri="{FF2B5EF4-FFF2-40B4-BE49-F238E27FC236}">
                  <a16:creationId xmlns:a16="http://schemas.microsoft.com/office/drawing/2014/main" id="{6D490D4F-B95D-491A-AD3E-807C8053B658}"/>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8">
              <a:extLst>
                <a:ext uri="{FF2B5EF4-FFF2-40B4-BE49-F238E27FC236}">
                  <a16:creationId xmlns:a16="http://schemas.microsoft.com/office/drawing/2014/main" id="{D884ED50-BE32-4C86-98BD-F080657D1103}"/>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9">
              <a:extLst>
                <a:ext uri="{FF2B5EF4-FFF2-40B4-BE49-F238E27FC236}">
                  <a16:creationId xmlns:a16="http://schemas.microsoft.com/office/drawing/2014/main" id="{B3E7C27E-1034-4898-83E1-52959D3449EA}"/>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0">
              <a:extLst>
                <a:ext uri="{FF2B5EF4-FFF2-40B4-BE49-F238E27FC236}">
                  <a16:creationId xmlns:a16="http://schemas.microsoft.com/office/drawing/2014/main" id="{06556AF5-5326-495C-88F7-25D5619DECAE}"/>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1">
              <a:extLst>
                <a:ext uri="{FF2B5EF4-FFF2-40B4-BE49-F238E27FC236}">
                  <a16:creationId xmlns:a16="http://schemas.microsoft.com/office/drawing/2014/main" id="{04A1C966-3403-4266-945D-BA3471578777}"/>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2">
              <a:extLst>
                <a:ext uri="{FF2B5EF4-FFF2-40B4-BE49-F238E27FC236}">
                  <a16:creationId xmlns:a16="http://schemas.microsoft.com/office/drawing/2014/main" id="{2A35B206-E41E-4DD7-A308-F1394C4554F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3">
              <a:extLst>
                <a:ext uri="{FF2B5EF4-FFF2-40B4-BE49-F238E27FC236}">
                  <a16:creationId xmlns:a16="http://schemas.microsoft.com/office/drawing/2014/main" id="{F8EA50D6-A680-41F6-B432-7AF4180BE483}"/>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DF838283-DBB1-4BDA-B718-A02F12EB0CFA}"/>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AAFF6B96-278C-44B4-9088-47CE9295B933}"/>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6">
              <a:extLst>
                <a:ext uri="{FF2B5EF4-FFF2-40B4-BE49-F238E27FC236}">
                  <a16:creationId xmlns:a16="http://schemas.microsoft.com/office/drawing/2014/main" id="{8B6A4CAD-396C-4D2E-8853-E9D55188496F}"/>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965FF6DD-1BC9-4B3F-9E17-7BCB656CF97C}"/>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55B1D662-8CDE-4283-9255-2100A99A8280}"/>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49">
              <a:extLst>
                <a:ext uri="{FF2B5EF4-FFF2-40B4-BE49-F238E27FC236}">
                  <a16:creationId xmlns:a16="http://schemas.microsoft.com/office/drawing/2014/main" id="{BB532C51-9366-49B0-9EE7-13D930F91733}"/>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936939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封底1-1">
    <p:spTree>
      <p:nvGrpSpPr>
        <p:cNvPr id="1" name=""/>
        <p:cNvGrpSpPr/>
        <p:nvPr/>
      </p:nvGrpSpPr>
      <p:grpSpPr>
        <a:xfrm>
          <a:off x="0" y="0"/>
          <a:ext cx="0" cy="0"/>
          <a:chOff x="0" y="0"/>
          <a:chExt cx="0" cy="0"/>
        </a:xfrm>
      </p:grpSpPr>
      <p:pic>
        <p:nvPicPr>
          <p:cNvPr id="74" name="图片 73">
            <a:extLst>
              <a:ext uri="{FF2B5EF4-FFF2-40B4-BE49-F238E27FC236}">
                <a16:creationId xmlns:a16="http://schemas.microsoft.com/office/drawing/2014/main" id="{47F4B9A8-AA4E-4ECB-A196-FDD75225D29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02176" y="675314"/>
            <a:ext cx="10424160" cy="5507366"/>
          </a:xfrm>
          <a:prstGeom prst="rect">
            <a:avLst/>
          </a:prstGeom>
          <a:effectLst>
            <a:outerShdw blurRad="50800" dist="38100" dir="2700000" algn="tl" rotWithShape="0">
              <a:prstClr val="black">
                <a:alpha val="40000"/>
              </a:prstClr>
            </a:outerShdw>
          </a:effectLst>
        </p:spPr>
      </p:pic>
      <p:sp>
        <p:nvSpPr>
          <p:cNvPr id="64" name="任意多边形: 形状 63">
            <a:extLst>
              <a:ext uri="{FF2B5EF4-FFF2-40B4-BE49-F238E27FC236}">
                <a16:creationId xmlns:a16="http://schemas.microsoft.com/office/drawing/2014/main" id="{9FFCDE89-C0B6-426E-8763-892FC45DD85D}"/>
              </a:ext>
            </a:extLst>
          </p:cNvPr>
          <p:cNvSpPr/>
          <p:nvPr userDrawn="1"/>
        </p:nvSpPr>
        <p:spPr>
          <a:xfrm flipV="1">
            <a:off x="515938" y="1546857"/>
            <a:ext cx="11196637" cy="3764281"/>
          </a:xfrm>
          <a:custGeom>
            <a:avLst/>
            <a:gdLst>
              <a:gd name="connsiteX0" fmla="*/ 0 w 11883342"/>
              <a:gd name="connsiteY0" fmla="*/ 3764281 h 3764281"/>
              <a:gd name="connsiteX1" fmla="*/ 11883342 w 11883342"/>
              <a:gd name="connsiteY1" fmla="*/ 3764281 h 3764281"/>
              <a:gd name="connsiteX2" fmla="*/ 11883342 w 11883342"/>
              <a:gd name="connsiteY2" fmla="*/ 2064030 h 3764281"/>
              <a:gd name="connsiteX3" fmla="*/ 11689634 w 11883342"/>
              <a:gd name="connsiteY3" fmla="*/ 1882140 h 3764281"/>
              <a:gd name="connsiteX4" fmla="*/ 11883342 w 11883342"/>
              <a:gd name="connsiteY4" fmla="*/ 1700251 h 3764281"/>
              <a:gd name="connsiteX5" fmla="*/ 11883342 w 11883342"/>
              <a:gd name="connsiteY5" fmla="*/ 0 h 3764281"/>
              <a:gd name="connsiteX6" fmla="*/ 0 w 11883342"/>
              <a:gd name="connsiteY6" fmla="*/ 0 h 3764281"/>
              <a:gd name="connsiteX7" fmla="*/ 0 w 11883342"/>
              <a:gd name="connsiteY7" fmla="*/ 1700251 h 3764281"/>
              <a:gd name="connsiteX8" fmla="*/ 193708 w 11883342"/>
              <a:gd name="connsiteY8" fmla="*/ 1882140 h 3764281"/>
              <a:gd name="connsiteX9" fmla="*/ 0 w 11883342"/>
              <a:gd name="connsiteY9" fmla="*/ 2064030 h 376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3342" h="3764281">
                <a:moveTo>
                  <a:pt x="0" y="3764281"/>
                </a:moveTo>
                <a:lnTo>
                  <a:pt x="11883342" y="3764281"/>
                </a:lnTo>
                <a:lnTo>
                  <a:pt x="11883342" y="2064030"/>
                </a:lnTo>
                <a:lnTo>
                  <a:pt x="11689634" y="1882140"/>
                </a:lnTo>
                <a:lnTo>
                  <a:pt x="11883342" y="1700251"/>
                </a:lnTo>
                <a:lnTo>
                  <a:pt x="11883342" y="0"/>
                </a:lnTo>
                <a:lnTo>
                  <a:pt x="0" y="0"/>
                </a:lnTo>
                <a:lnTo>
                  <a:pt x="0" y="1700251"/>
                </a:lnTo>
                <a:lnTo>
                  <a:pt x="193708" y="1882140"/>
                </a:lnTo>
                <a:lnTo>
                  <a:pt x="0" y="2064030"/>
                </a:ln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71" name="矩形 70">
            <a:extLst>
              <a:ext uri="{FF2B5EF4-FFF2-40B4-BE49-F238E27FC236}">
                <a16:creationId xmlns:a16="http://schemas.microsoft.com/office/drawing/2014/main" id="{A7E5B227-CDCE-4680-B5CE-4ADF3BAFA804}"/>
              </a:ext>
            </a:extLst>
          </p:cNvPr>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内容占位符 123">
            <a:extLst>
              <a:ext uri="{FF2B5EF4-FFF2-40B4-BE49-F238E27FC236}">
                <a16:creationId xmlns:a16="http://schemas.microsoft.com/office/drawing/2014/main" id="{AFA7B71C-080E-4D7E-B323-56839B38C3BC}"/>
              </a:ext>
            </a:extLst>
          </p:cNvPr>
          <p:cNvSpPr>
            <a:spLocks noGrp="1"/>
          </p:cNvSpPr>
          <p:nvPr>
            <p:ph sz="quarter" idx="12"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sp>
        <p:nvSpPr>
          <p:cNvPr id="59" name="内容占位符 4">
            <a:extLst>
              <a:ext uri="{FF2B5EF4-FFF2-40B4-BE49-F238E27FC236}">
                <a16:creationId xmlns:a16="http://schemas.microsoft.com/office/drawing/2014/main" id="{E84DA093-FCBD-4B62-9AE6-1087215B6ED9}"/>
              </a:ext>
            </a:extLst>
          </p:cNvPr>
          <p:cNvSpPr>
            <a:spLocks noGrp="1"/>
          </p:cNvSpPr>
          <p:nvPr>
            <p:ph sz="quarter" idx="11"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cxnSp>
        <p:nvCxnSpPr>
          <p:cNvPr id="60" name="直接连接符 59">
            <a:extLst>
              <a:ext uri="{FF2B5EF4-FFF2-40B4-BE49-F238E27FC236}">
                <a16:creationId xmlns:a16="http://schemas.microsoft.com/office/drawing/2014/main" id="{E95F7C5A-31C4-4350-B8F9-0E08E067DE55}"/>
              </a:ext>
            </a:extLst>
          </p:cNvPr>
          <p:cNvCxnSpPr>
            <a:cxnSpLocks/>
          </p:cNvCxnSpPr>
          <p:nvPr userDrawn="1"/>
        </p:nvCxnSpPr>
        <p:spPr>
          <a:xfrm>
            <a:off x="6102495" y="4251261"/>
            <a:ext cx="0" cy="2946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1" name="组合 60">
            <a:extLst>
              <a:ext uri="{FF2B5EF4-FFF2-40B4-BE49-F238E27FC236}">
                <a16:creationId xmlns:a16="http://schemas.microsoft.com/office/drawing/2014/main" id="{BB7826A5-1F04-465F-86E6-65B7B4BD5A9E}"/>
              </a:ext>
            </a:extLst>
          </p:cNvPr>
          <p:cNvGrpSpPr/>
          <p:nvPr userDrawn="1"/>
        </p:nvGrpSpPr>
        <p:grpSpPr>
          <a:xfrm>
            <a:off x="5496925" y="987154"/>
            <a:ext cx="1234662" cy="419641"/>
            <a:chOff x="1398368" y="5051425"/>
            <a:chExt cx="3242941" cy="1102222"/>
          </a:xfrm>
        </p:grpSpPr>
        <p:sp>
          <p:nvSpPr>
            <p:cNvPr id="62" name="Freeform 5">
              <a:extLst>
                <a:ext uri="{FF2B5EF4-FFF2-40B4-BE49-F238E27FC236}">
                  <a16:creationId xmlns:a16="http://schemas.microsoft.com/office/drawing/2014/main" id="{0E505774-3A29-43B3-9D78-84F1D42B0EDB}"/>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
              <a:extLst>
                <a:ext uri="{FF2B5EF4-FFF2-40B4-BE49-F238E27FC236}">
                  <a16:creationId xmlns:a16="http://schemas.microsoft.com/office/drawing/2014/main" id="{84300F0D-646B-459A-BB9C-E7781896CACB}"/>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8">
              <a:extLst>
                <a:ext uri="{FF2B5EF4-FFF2-40B4-BE49-F238E27FC236}">
                  <a16:creationId xmlns:a16="http://schemas.microsoft.com/office/drawing/2014/main" id="{F4E8C1C2-0473-4F2F-8663-A114E284C33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 name="组合 66">
              <a:extLst>
                <a:ext uri="{FF2B5EF4-FFF2-40B4-BE49-F238E27FC236}">
                  <a16:creationId xmlns:a16="http://schemas.microsoft.com/office/drawing/2014/main" id="{79CB51FB-F1A4-4B3E-BEFF-FA668675C1A7}"/>
                </a:ext>
              </a:extLst>
            </p:cNvPr>
            <p:cNvGrpSpPr/>
            <p:nvPr/>
          </p:nvGrpSpPr>
          <p:grpSpPr>
            <a:xfrm>
              <a:off x="2921957" y="5168150"/>
              <a:ext cx="542765" cy="642593"/>
              <a:chOff x="3102298" y="5183391"/>
              <a:chExt cx="501880" cy="594188"/>
            </a:xfrm>
          </p:grpSpPr>
          <p:sp>
            <p:nvSpPr>
              <p:cNvPr id="155" name="Freeform 6">
                <a:extLst>
                  <a:ext uri="{FF2B5EF4-FFF2-40B4-BE49-F238E27FC236}">
                    <a16:creationId xmlns:a16="http://schemas.microsoft.com/office/drawing/2014/main" id="{D10D48A1-7BF1-48BB-B906-C6CB0C78A216}"/>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0">
                <a:extLst>
                  <a:ext uri="{FF2B5EF4-FFF2-40B4-BE49-F238E27FC236}">
                    <a16:creationId xmlns:a16="http://schemas.microsoft.com/office/drawing/2014/main" id="{D4B0E79D-C4D2-40C4-81D7-33BC4B6EFBFF}"/>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3">
                <a:extLst>
                  <a:ext uri="{FF2B5EF4-FFF2-40B4-BE49-F238E27FC236}">
                    <a16:creationId xmlns:a16="http://schemas.microsoft.com/office/drawing/2014/main" id="{F7CBC47C-F257-4591-A897-1C63828397E9}"/>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组合 67">
              <a:extLst>
                <a:ext uri="{FF2B5EF4-FFF2-40B4-BE49-F238E27FC236}">
                  <a16:creationId xmlns:a16="http://schemas.microsoft.com/office/drawing/2014/main" id="{C51C1A44-5D3E-4D7D-87CD-FAC075E82A73}"/>
                </a:ext>
              </a:extLst>
            </p:cNvPr>
            <p:cNvGrpSpPr/>
            <p:nvPr/>
          </p:nvGrpSpPr>
          <p:grpSpPr>
            <a:xfrm>
              <a:off x="4196892" y="5154476"/>
              <a:ext cx="444417" cy="649987"/>
              <a:chOff x="4257853" y="5169716"/>
              <a:chExt cx="410940" cy="601025"/>
            </a:xfrm>
          </p:grpSpPr>
          <p:sp>
            <p:nvSpPr>
              <p:cNvPr id="150" name="Freeform 9">
                <a:extLst>
                  <a:ext uri="{FF2B5EF4-FFF2-40B4-BE49-F238E27FC236}">
                    <a16:creationId xmlns:a16="http://schemas.microsoft.com/office/drawing/2014/main" id="{BC7C0AB0-45CD-4D0E-A156-4C83F31B3CC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1">
                <a:extLst>
                  <a:ext uri="{FF2B5EF4-FFF2-40B4-BE49-F238E27FC236}">
                    <a16:creationId xmlns:a16="http://schemas.microsoft.com/office/drawing/2014/main" id="{8425003B-C727-4461-82A7-B9CCEA57D536}"/>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2">
                <a:extLst>
                  <a:ext uri="{FF2B5EF4-FFF2-40B4-BE49-F238E27FC236}">
                    <a16:creationId xmlns:a16="http://schemas.microsoft.com/office/drawing/2014/main" id="{8DFA3228-EF8E-412C-A0B5-C1E1D4557F9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
                <a:extLst>
                  <a:ext uri="{FF2B5EF4-FFF2-40B4-BE49-F238E27FC236}">
                    <a16:creationId xmlns:a16="http://schemas.microsoft.com/office/drawing/2014/main" id="{AC1D3494-B45D-488F-ADD1-F747A2DD33C6}"/>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5">
                <a:extLst>
                  <a:ext uri="{FF2B5EF4-FFF2-40B4-BE49-F238E27FC236}">
                    <a16:creationId xmlns:a16="http://schemas.microsoft.com/office/drawing/2014/main" id="{981AD11F-A3F7-463B-99AE-CD885CC7EEB6}"/>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 name="Freeform 16">
              <a:extLst>
                <a:ext uri="{FF2B5EF4-FFF2-40B4-BE49-F238E27FC236}">
                  <a16:creationId xmlns:a16="http://schemas.microsoft.com/office/drawing/2014/main" id="{88F0C69E-104C-4F7B-B920-E4E9685A80E7}"/>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C96CA24E-024F-4E15-B655-347F5ABB0912}"/>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8">
              <a:extLst>
                <a:ext uri="{FF2B5EF4-FFF2-40B4-BE49-F238E27FC236}">
                  <a16:creationId xmlns:a16="http://schemas.microsoft.com/office/drawing/2014/main" id="{DBAF1A14-6E3F-487F-A039-80429E167474}"/>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9">
              <a:extLst>
                <a:ext uri="{FF2B5EF4-FFF2-40B4-BE49-F238E27FC236}">
                  <a16:creationId xmlns:a16="http://schemas.microsoft.com/office/drawing/2014/main" id="{CD78983A-AD43-44D2-AEC3-C58BF422D70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0">
              <a:extLst>
                <a:ext uri="{FF2B5EF4-FFF2-40B4-BE49-F238E27FC236}">
                  <a16:creationId xmlns:a16="http://schemas.microsoft.com/office/drawing/2014/main" id="{0064583A-BE0F-46D2-B03B-59DA30AC8B30}"/>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1">
              <a:extLst>
                <a:ext uri="{FF2B5EF4-FFF2-40B4-BE49-F238E27FC236}">
                  <a16:creationId xmlns:a16="http://schemas.microsoft.com/office/drawing/2014/main" id="{2D08B2D8-F5B3-4F31-8096-CA623AD596A2}"/>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2">
              <a:extLst>
                <a:ext uri="{FF2B5EF4-FFF2-40B4-BE49-F238E27FC236}">
                  <a16:creationId xmlns:a16="http://schemas.microsoft.com/office/drawing/2014/main" id="{65941729-1F42-4A4B-9FC0-488C27FC11D2}"/>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23">
              <a:extLst>
                <a:ext uri="{FF2B5EF4-FFF2-40B4-BE49-F238E27FC236}">
                  <a16:creationId xmlns:a16="http://schemas.microsoft.com/office/drawing/2014/main" id="{63584EC2-9CFD-4B41-AFF7-278C47ABB09A}"/>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24">
              <a:extLst>
                <a:ext uri="{FF2B5EF4-FFF2-40B4-BE49-F238E27FC236}">
                  <a16:creationId xmlns:a16="http://schemas.microsoft.com/office/drawing/2014/main" id="{CA538B83-AF4A-4635-9844-5F3195DD74CD}"/>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25">
              <a:extLst>
                <a:ext uri="{FF2B5EF4-FFF2-40B4-BE49-F238E27FC236}">
                  <a16:creationId xmlns:a16="http://schemas.microsoft.com/office/drawing/2014/main" id="{816D55DB-8F96-424D-B853-B41AB75964F1}"/>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6">
              <a:extLst>
                <a:ext uri="{FF2B5EF4-FFF2-40B4-BE49-F238E27FC236}">
                  <a16:creationId xmlns:a16="http://schemas.microsoft.com/office/drawing/2014/main" id="{8B2219C5-03F2-463D-8661-98CD1F4DE027}"/>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7">
              <a:extLst>
                <a:ext uri="{FF2B5EF4-FFF2-40B4-BE49-F238E27FC236}">
                  <a16:creationId xmlns:a16="http://schemas.microsoft.com/office/drawing/2014/main" id="{8B55A78E-77D8-487A-AFFC-9898AF219835}"/>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8">
              <a:extLst>
                <a:ext uri="{FF2B5EF4-FFF2-40B4-BE49-F238E27FC236}">
                  <a16:creationId xmlns:a16="http://schemas.microsoft.com/office/drawing/2014/main" id="{EAB412BD-4594-4B7E-A1E5-F15042D1EC39}"/>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9">
              <a:extLst>
                <a:ext uri="{FF2B5EF4-FFF2-40B4-BE49-F238E27FC236}">
                  <a16:creationId xmlns:a16="http://schemas.microsoft.com/office/drawing/2014/main" id="{AAF9D15F-914F-4CC9-9231-C15D34EA0B29}"/>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0">
              <a:extLst>
                <a:ext uri="{FF2B5EF4-FFF2-40B4-BE49-F238E27FC236}">
                  <a16:creationId xmlns:a16="http://schemas.microsoft.com/office/drawing/2014/main" id="{01772648-10D2-4B13-BFA0-0D16E53CA197}"/>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1">
              <a:extLst>
                <a:ext uri="{FF2B5EF4-FFF2-40B4-BE49-F238E27FC236}">
                  <a16:creationId xmlns:a16="http://schemas.microsoft.com/office/drawing/2014/main" id="{C839B3DA-F8D8-4B6D-B3DA-2EFD410E1674}"/>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2">
              <a:extLst>
                <a:ext uri="{FF2B5EF4-FFF2-40B4-BE49-F238E27FC236}">
                  <a16:creationId xmlns:a16="http://schemas.microsoft.com/office/drawing/2014/main" id="{9AB92F28-512F-4337-9375-B09E9B7291D4}"/>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3">
              <a:extLst>
                <a:ext uri="{FF2B5EF4-FFF2-40B4-BE49-F238E27FC236}">
                  <a16:creationId xmlns:a16="http://schemas.microsoft.com/office/drawing/2014/main" id="{968C5AA0-DC37-444D-BF4B-27BE044A583B}"/>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4">
              <a:extLst>
                <a:ext uri="{FF2B5EF4-FFF2-40B4-BE49-F238E27FC236}">
                  <a16:creationId xmlns:a16="http://schemas.microsoft.com/office/drawing/2014/main" id="{439F3F6A-01DB-44F5-9F00-B8A46DE2DE0D}"/>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5">
              <a:extLst>
                <a:ext uri="{FF2B5EF4-FFF2-40B4-BE49-F238E27FC236}">
                  <a16:creationId xmlns:a16="http://schemas.microsoft.com/office/drawing/2014/main" id="{CCD78A76-46CB-48E0-AD14-BAFB2D240F6D}"/>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6">
              <a:extLst>
                <a:ext uri="{FF2B5EF4-FFF2-40B4-BE49-F238E27FC236}">
                  <a16:creationId xmlns:a16="http://schemas.microsoft.com/office/drawing/2014/main" id="{BBC1AD2D-C6E5-4F20-9EBD-72A979E0469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7">
              <a:extLst>
                <a:ext uri="{FF2B5EF4-FFF2-40B4-BE49-F238E27FC236}">
                  <a16:creationId xmlns:a16="http://schemas.microsoft.com/office/drawing/2014/main" id="{71105A94-05A8-4CCF-9FD9-29073311F537}"/>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8">
              <a:extLst>
                <a:ext uri="{FF2B5EF4-FFF2-40B4-BE49-F238E27FC236}">
                  <a16:creationId xmlns:a16="http://schemas.microsoft.com/office/drawing/2014/main" id="{762EE8BF-AF1E-4B57-9F71-9263BC14433C}"/>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9">
              <a:extLst>
                <a:ext uri="{FF2B5EF4-FFF2-40B4-BE49-F238E27FC236}">
                  <a16:creationId xmlns:a16="http://schemas.microsoft.com/office/drawing/2014/main" id="{EFEEFA98-5C1E-401E-AAEA-C322131F0032}"/>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40">
              <a:extLst>
                <a:ext uri="{FF2B5EF4-FFF2-40B4-BE49-F238E27FC236}">
                  <a16:creationId xmlns:a16="http://schemas.microsoft.com/office/drawing/2014/main" id="{B16E5B9E-ABD4-4C55-A0F3-DCEBCC71466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41">
              <a:extLst>
                <a:ext uri="{FF2B5EF4-FFF2-40B4-BE49-F238E27FC236}">
                  <a16:creationId xmlns:a16="http://schemas.microsoft.com/office/drawing/2014/main" id="{FA28A733-1D01-4059-B38E-50BCE491533A}"/>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42">
              <a:extLst>
                <a:ext uri="{FF2B5EF4-FFF2-40B4-BE49-F238E27FC236}">
                  <a16:creationId xmlns:a16="http://schemas.microsoft.com/office/drawing/2014/main" id="{E7933BCF-E4A4-4F66-A63D-5F5E2EC719E1}"/>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43">
              <a:extLst>
                <a:ext uri="{FF2B5EF4-FFF2-40B4-BE49-F238E27FC236}">
                  <a16:creationId xmlns:a16="http://schemas.microsoft.com/office/drawing/2014/main" id="{36A8C0D3-319A-4023-82CE-1BAE9BA141BE}"/>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44">
              <a:extLst>
                <a:ext uri="{FF2B5EF4-FFF2-40B4-BE49-F238E27FC236}">
                  <a16:creationId xmlns:a16="http://schemas.microsoft.com/office/drawing/2014/main" id="{66230FAF-1FA2-44B1-B04E-02507733A161}"/>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5">
              <a:extLst>
                <a:ext uri="{FF2B5EF4-FFF2-40B4-BE49-F238E27FC236}">
                  <a16:creationId xmlns:a16="http://schemas.microsoft.com/office/drawing/2014/main" id="{739CA21E-B15A-4CF3-BF53-94514EAE2F28}"/>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6">
              <a:extLst>
                <a:ext uri="{FF2B5EF4-FFF2-40B4-BE49-F238E27FC236}">
                  <a16:creationId xmlns:a16="http://schemas.microsoft.com/office/drawing/2014/main" id="{B8A2F35D-E968-4310-AF42-513E205BECCA}"/>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7">
              <a:extLst>
                <a:ext uri="{FF2B5EF4-FFF2-40B4-BE49-F238E27FC236}">
                  <a16:creationId xmlns:a16="http://schemas.microsoft.com/office/drawing/2014/main" id="{DBB0D6B1-EC62-405C-A493-D5FB012CC224}"/>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8">
              <a:extLst>
                <a:ext uri="{FF2B5EF4-FFF2-40B4-BE49-F238E27FC236}">
                  <a16:creationId xmlns:a16="http://schemas.microsoft.com/office/drawing/2014/main" id="{C28CF92D-6811-477D-85D0-042B03D0B18E}"/>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9">
              <a:extLst>
                <a:ext uri="{FF2B5EF4-FFF2-40B4-BE49-F238E27FC236}">
                  <a16:creationId xmlns:a16="http://schemas.microsoft.com/office/drawing/2014/main" id="{4A5CF6EA-5DAA-4DC9-A61D-52FD314FED4E}"/>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 name="文本占位符 5">
            <a:extLst>
              <a:ext uri="{FF2B5EF4-FFF2-40B4-BE49-F238E27FC236}">
                <a16:creationId xmlns:a16="http://schemas.microsoft.com/office/drawing/2014/main" id="{8D1C9C48-A725-47A5-9F37-3BEFA22A4988}"/>
              </a:ext>
            </a:extLst>
          </p:cNvPr>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Tree>
    <p:extLst>
      <p:ext uri="{BB962C8B-B14F-4D97-AF65-F5344CB8AC3E}">
        <p14:creationId xmlns:p14="http://schemas.microsoft.com/office/powerpoint/2010/main" val="3212315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封底2-1">
    <p:spTree>
      <p:nvGrpSpPr>
        <p:cNvPr id="1" name=""/>
        <p:cNvGrpSpPr/>
        <p:nvPr/>
      </p:nvGrpSpPr>
      <p:grpSpPr>
        <a:xfrm>
          <a:off x="0" y="0"/>
          <a:ext cx="0" cy="0"/>
          <a:chOff x="0" y="0"/>
          <a:chExt cx="0" cy="0"/>
        </a:xfrm>
      </p:grpSpPr>
      <p:pic>
        <p:nvPicPr>
          <p:cNvPr id="68" name="图片 67">
            <a:extLst>
              <a:ext uri="{FF2B5EF4-FFF2-40B4-BE49-F238E27FC236}">
                <a16:creationId xmlns:a16="http://schemas.microsoft.com/office/drawing/2014/main" id="{1BC1CF4F-833E-4B05-A58D-AF722114743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834588"/>
            <a:ext cx="12192000" cy="3188826"/>
          </a:xfrm>
          <a:prstGeom prst="rect">
            <a:avLst/>
          </a:prstGeom>
          <a:effectLst/>
        </p:spPr>
      </p:pic>
      <p:sp>
        <p:nvSpPr>
          <p:cNvPr id="59" name="矩形 58">
            <a:extLst>
              <a:ext uri="{FF2B5EF4-FFF2-40B4-BE49-F238E27FC236}">
                <a16:creationId xmlns:a16="http://schemas.microsoft.com/office/drawing/2014/main" id="{40A2F554-02D6-4D27-B33D-6141B6DD9108}"/>
              </a:ext>
            </a:extLst>
          </p:cNvPr>
          <p:cNvSpPr/>
          <p:nvPr userDrawn="1"/>
        </p:nvSpPr>
        <p:spPr>
          <a:xfrm flipV="1">
            <a:off x="1080304" y="1546859"/>
            <a:ext cx="10031392"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直角三角形 165">
            <a:extLst>
              <a:ext uri="{FF2B5EF4-FFF2-40B4-BE49-F238E27FC236}">
                <a16:creationId xmlns:a16="http://schemas.microsoft.com/office/drawing/2014/main" id="{7A017D0F-0402-414D-837A-C2D5DE436C4C}"/>
              </a:ext>
            </a:extLst>
          </p:cNvPr>
          <p:cNvSpPr/>
          <p:nvPr userDrawn="1"/>
        </p:nvSpPr>
        <p:spPr>
          <a:xfrm>
            <a:off x="11111696"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直角三角形 166">
            <a:extLst>
              <a:ext uri="{FF2B5EF4-FFF2-40B4-BE49-F238E27FC236}">
                <a16:creationId xmlns:a16="http://schemas.microsoft.com/office/drawing/2014/main" id="{59895E64-9D52-4F49-8AB0-435FC0ECCB8E}"/>
              </a:ext>
            </a:extLst>
          </p:cNvPr>
          <p:cNvSpPr/>
          <p:nvPr userDrawn="1"/>
        </p:nvSpPr>
        <p:spPr>
          <a:xfrm flipH="1">
            <a:off x="779362"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矩形 167">
            <a:extLst>
              <a:ext uri="{FF2B5EF4-FFF2-40B4-BE49-F238E27FC236}">
                <a16:creationId xmlns:a16="http://schemas.microsoft.com/office/drawing/2014/main" id="{8E1F1153-B136-4EF3-9D84-581C39BCDC52}"/>
              </a:ext>
            </a:extLst>
          </p:cNvPr>
          <p:cNvSpPr/>
          <p:nvPr userDrawn="1"/>
        </p:nvSpPr>
        <p:spPr>
          <a:xfrm>
            <a:off x="0" y="6721789"/>
            <a:ext cx="12192000" cy="136211"/>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文本框 168">
            <a:extLst>
              <a:ext uri="{FF2B5EF4-FFF2-40B4-BE49-F238E27FC236}">
                <a16:creationId xmlns:a16="http://schemas.microsoft.com/office/drawing/2014/main" id="{CC4C3D6F-9E6A-45F4-A0D1-51EDE033BAD8}"/>
              </a:ext>
            </a:extLst>
          </p:cNvPr>
          <p:cNvSpPr txBox="1"/>
          <p:nvPr userDrawn="1"/>
        </p:nvSpPr>
        <p:spPr>
          <a:xfrm>
            <a:off x="2383177" y="5808390"/>
            <a:ext cx="7425647" cy="369332"/>
          </a:xfrm>
          <a:prstGeom prst="rect">
            <a:avLst/>
          </a:prstGeom>
          <a:noFill/>
        </p:spPr>
        <p:txBody>
          <a:bodyPr wrap="square" lIns="0" tIns="0" rIns="0" bIns="0" rtlCol="0" anchor="ctr">
            <a:spAutoFit/>
          </a:bodyPr>
          <a:lstStyle/>
          <a:p>
            <a:pPr algn="dist"/>
            <a:r>
              <a:rPr lang="zh-CN" altLang="en-US" sz="2400" b="1" dirty="0">
                <a:solidFill>
                  <a:schemeClr val="bg1">
                    <a:lumMod val="75000"/>
                  </a:schemeClr>
                </a:solidFill>
              </a:rPr>
              <a:t>思源 责任 青春 奉献</a:t>
            </a:r>
            <a:endParaRPr lang="en-US" sz="2400" b="1" dirty="0">
              <a:solidFill>
                <a:schemeClr val="bg1">
                  <a:lumMod val="75000"/>
                </a:schemeClr>
              </a:solidFill>
            </a:endParaRPr>
          </a:p>
        </p:txBody>
      </p:sp>
      <p:grpSp>
        <p:nvGrpSpPr>
          <p:cNvPr id="65" name="组合 64">
            <a:extLst>
              <a:ext uri="{FF2B5EF4-FFF2-40B4-BE49-F238E27FC236}">
                <a16:creationId xmlns:a16="http://schemas.microsoft.com/office/drawing/2014/main" id="{7E56CB0D-239C-4355-B03D-46B19CA1401E}"/>
              </a:ext>
            </a:extLst>
          </p:cNvPr>
          <p:cNvGrpSpPr/>
          <p:nvPr userDrawn="1"/>
        </p:nvGrpSpPr>
        <p:grpSpPr>
          <a:xfrm>
            <a:off x="5478669" y="446123"/>
            <a:ext cx="1234662" cy="419641"/>
            <a:chOff x="1398368" y="5051425"/>
            <a:chExt cx="3242941" cy="1102222"/>
          </a:xfrm>
        </p:grpSpPr>
        <p:sp>
          <p:nvSpPr>
            <p:cNvPr id="66" name="Freeform 5">
              <a:extLst>
                <a:ext uri="{FF2B5EF4-FFF2-40B4-BE49-F238E27FC236}">
                  <a16:creationId xmlns:a16="http://schemas.microsoft.com/office/drawing/2014/main" id="{1325C9FA-78B0-4F46-BB49-9EECDF15EECF}"/>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
              <a:extLst>
                <a:ext uri="{FF2B5EF4-FFF2-40B4-BE49-F238E27FC236}">
                  <a16:creationId xmlns:a16="http://schemas.microsoft.com/office/drawing/2014/main" id="{B9EA52A8-C478-46DB-9641-0A7367154998}"/>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8">
              <a:extLst>
                <a:ext uri="{FF2B5EF4-FFF2-40B4-BE49-F238E27FC236}">
                  <a16:creationId xmlns:a16="http://schemas.microsoft.com/office/drawing/2014/main" id="{36BE9EAD-1E02-4422-82E2-6287C688A300}"/>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1" name="组合 70">
              <a:extLst>
                <a:ext uri="{FF2B5EF4-FFF2-40B4-BE49-F238E27FC236}">
                  <a16:creationId xmlns:a16="http://schemas.microsoft.com/office/drawing/2014/main" id="{051FFAEA-B456-4A85-B6CB-38B873365E93}"/>
                </a:ext>
              </a:extLst>
            </p:cNvPr>
            <p:cNvGrpSpPr/>
            <p:nvPr/>
          </p:nvGrpSpPr>
          <p:grpSpPr>
            <a:xfrm>
              <a:off x="2921957" y="5168150"/>
              <a:ext cx="542765" cy="642593"/>
              <a:chOff x="3102298" y="5183391"/>
              <a:chExt cx="501880" cy="594188"/>
            </a:xfrm>
          </p:grpSpPr>
          <p:sp>
            <p:nvSpPr>
              <p:cNvPr id="114" name="Freeform 6">
                <a:extLst>
                  <a:ext uri="{FF2B5EF4-FFF2-40B4-BE49-F238E27FC236}">
                    <a16:creationId xmlns:a16="http://schemas.microsoft.com/office/drawing/2014/main" id="{817791E3-B6F8-46AA-80C0-18FAFDB2BE99}"/>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
                <a:extLst>
                  <a:ext uri="{FF2B5EF4-FFF2-40B4-BE49-F238E27FC236}">
                    <a16:creationId xmlns:a16="http://schemas.microsoft.com/office/drawing/2014/main" id="{8796D043-3EA4-4F89-970C-EDA64EBF225E}"/>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3">
                <a:extLst>
                  <a:ext uri="{FF2B5EF4-FFF2-40B4-BE49-F238E27FC236}">
                    <a16:creationId xmlns:a16="http://schemas.microsoft.com/office/drawing/2014/main" id="{BB889A94-31CF-4EE4-B3C5-04C343B21F94}"/>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 name="组合 71">
              <a:extLst>
                <a:ext uri="{FF2B5EF4-FFF2-40B4-BE49-F238E27FC236}">
                  <a16:creationId xmlns:a16="http://schemas.microsoft.com/office/drawing/2014/main" id="{825106D8-A94F-4B66-992B-E5E527E36F89}"/>
                </a:ext>
              </a:extLst>
            </p:cNvPr>
            <p:cNvGrpSpPr/>
            <p:nvPr/>
          </p:nvGrpSpPr>
          <p:grpSpPr>
            <a:xfrm>
              <a:off x="4196892" y="5154476"/>
              <a:ext cx="444417" cy="649987"/>
              <a:chOff x="4257853" y="5169716"/>
              <a:chExt cx="410940" cy="601025"/>
            </a:xfrm>
          </p:grpSpPr>
          <p:sp>
            <p:nvSpPr>
              <p:cNvPr id="107" name="Freeform 9">
                <a:extLst>
                  <a:ext uri="{FF2B5EF4-FFF2-40B4-BE49-F238E27FC236}">
                    <a16:creationId xmlns:a16="http://schemas.microsoft.com/office/drawing/2014/main" id="{DAB499B1-2D47-493C-A16E-60CB8166DBE6}"/>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
                <a:extLst>
                  <a:ext uri="{FF2B5EF4-FFF2-40B4-BE49-F238E27FC236}">
                    <a16:creationId xmlns:a16="http://schemas.microsoft.com/office/drawing/2014/main" id="{C2E35C7A-6250-4F1B-89FD-FCBDCA4A3CB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2">
                <a:extLst>
                  <a:ext uri="{FF2B5EF4-FFF2-40B4-BE49-F238E27FC236}">
                    <a16:creationId xmlns:a16="http://schemas.microsoft.com/office/drawing/2014/main" id="{81DA77F1-8F9B-4E6D-9F70-C1DD2BA339E0}"/>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4">
                <a:extLst>
                  <a:ext uri="{FF2B5EF4-FFF2-40B4-BE49-F238E27FC236}">
                    <a16:creationId xmlns:a16="http://schemas.microsoft.com/office/drawing/2014/main" id="{CD304D36-8749-4D5A-8AB9-2C1BA5C51D46}"/>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5">
                <a:extLst>
                  <a:ext uri="{FF2B5EF4-FFF2-40B4-BE49-F238E27FC236}">
                    <a16:creationId xmlns:a16="http://schemas.microsoft.com/office/drawing/2014/main" id="{8A5483D9-0AA3-4B57-A12D-36DF97D1C68B}"/>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Freeform 16">
              <a:extLst>
                <a:ext uri="{FF2B5EF4-FFF2-40B4-BE49-F238E27FC236}">
                  <a16:creationId xmlns:a16="http://schemas.microsoft.com/office/drawing/2014/main" id="{B9201CA1-4468-417E-92CA-2FAD9210C1CE}"/>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7">
              <a:extLst>
                <a:ext uri="{FF2B5EF4-FFF2-40B4-BE49-F238E27FC236}">
                  <a16:creationId xmlns:a16="http://schemas.microsoft.com/office/drawing/2014/main" id="{720FA8DC-CC12-416C-8D73-31DE87157CA4}"/>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18">
              <a:extLst>
                <a:ext uri="{FF2B5EF4-FFF2-40B4-BE49-F238E27FC236}">
                  <a16:creationId xmlns:a16="http://schemas.microsoft.com/office/drawing/2014/main" id="{3F38BB57-65F6-4923-8E34-0CB8F10941B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9">
              <a:extLst>
                <a:ext uri="{FF2B5EF4-FFF2-40B4-BE49-F238E27FC236}">
                  <a16:creationId xmlns:a16="http://schemas.microsoft.com/office/drawing/2014/main" id="{0468875A-4346-438B-A0E4-D5C9D75AC19E}"/>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0">
              <a:extLst>
                <a:ext uri="{FF2B5EF4-FFF2-40B4-BE49-F238E27FC236}">
                  <a16:creationId xmlns:a16="http://schemas.microsoft.com/office/drawing/2014/main" id="{4DAEA2C8-E7E2-4AB6-B783-A6F54C80887F}"/>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1">
              <a:extLst>
                <a:ext uri="{FF2B5EF4-FFF2-40B4-BE49-F238E27FC236}">
                  <a16:creationId xmlns:a16="http://schemas.microsoft.com/office/drawing/2014/main" id="{CC951107-EFAC-46E2-9E9A-85116DE12EA4}"/>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2">
              <a:extLst>
                <a:ext uri="{FF2B5EF4-FFF2-40B4-BE49-F238E27FC236}">
                  <a16:creationId xmlns:a16="http://schemas.microsoft.com/office/drawing/2014/main" id="{C0EF87BB-599F-41DD-AED3-305D49EEEA4B}"/>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3">
              <a:extLst>
                <a:ext uri="{FF2B5EF4-FFF2-40B4-BE49-F238E27FC236}">
                  <a16:creationId xmlns:a16="http://schemas.microsoft.com/office/drawing/2014/main" id="{60C6D869-42A0-4A5E-9936-3CC29004FC69}"/>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4">
              <a:extLst>
                <a:ext uri="{FF2B5EF4-FFF2-40B4-BE49-F238E27FC236}">
                  <a16:creationId xmlns:a16="http://schemas.microsoft.com/office/drawing/2014/main" id="{F7DA41FB-8A21-4597-9466-E614F1B06E7E}"/>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5">
              <a:extLst>
                <a:ext uri="{FF2B5EF4-FFF2-40B4-BE49-F238E27FC236}">
                  <a16:creationId xmlns:a16="http://schemas.microsoft.com/office/drawing/2014/main" id="{2C91DC2E-43AB-474C-8710-2005B2862D3F}"/>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6">
              <a:extLst>
                <a:ext uri="{FF2B5EF4-FFF2-40B4-BE49-F238E27FC236}">
                  <a16:creationId xmlns:a16="http://schemas.microsoft.com/office/drawing/2014/main" id="{C8D9A61A-36DF-4799-B3DC-3C076DB99ACD}"/>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7">
              <a:extLst>
                <a:ext uri="{FF2B5EF4-FFF2-40B4-BE49-F238E27FC236}">
                  <a16:creationId xmlns:a16="http://schemas.microsoft.com/office/drawing/2014/main" id="{EF8029C4-87A6-4CB5-B74E-05A6D694072F}"/>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8">
              <a:extLst>
                <a:ext uri="{FF2B5EF4-FFF2-40B4-BE49-F238E27FC236}">
                  <a16:creationId xmlns:a16="http://schemas.microsoft.com/office/drawing/2014/main" id="{A97BD32D-4BC5-417E-90A7-A2A7B93F59F9}"/>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9">
              <a:extLst>
                <a:ext uri="{FF2B5EF4-FFF2-40B4-BE49-F238E27FC236}">
                  <a16:creationId xmlns:a16="http://schemas.microsoft.com/office/drawing/2014/main" id="{98641CDA-ED60-4378-8BA8-4E3B7886FAE2}"/>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0">
              <a:extLst>
                <a:ext uri="{FF2B5EF4-FFF2-40B4-BE49-F238E27FC236}">
                  <a16:creationId xmlns:a16="http://schemas.microsoft.com/office/drawing/2014/main" id="{EFFC16CA-0F54-433F-B1E1-2136A5804CE9}"/>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1">
              <a:extLst>
                <a:ext uri="{FF2B5EF4-FFF2-40B4-BE49-F238E27FC236}">
                  <a16:creationId xmlns:a16="http://schemas.microsoft.com/office/drawing/2014/main" id="{45EC17A4-2993-473B-B984-A69724BC4BE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2">
              <a:extLst>
                <a:ext uri="{FF2B5EF4-FFF2-40B4-BE49-F238E27FC236}">
                  <a16:creationId xmlns:a16="http://schemas.microsoft.com/office/drawing/2014/main" id="{2E4AA870-403D-4F33-B92B-4FA4FE2AA7CC}"/>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3">
              <a:extLst>
                <a:ext uri="{FF2B5EF4-FFF2-40B4-BE49-F238E27FC236}">
                  <a16:creationId xmlns:a16="http://schemas.microsoft.com/office/drawing/2014/main" id="{A465BB46-AF26-4133-9DE6-E64A5621B10B}"/>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4">
              <a:extLst>
                <a:ext uri="{FF2B5EF4-FFF2-40B4-BE49-F238E27FC236}">
                  <a16:creationId xmlns:a16="http://schemas.microsoft.com/office/drawing/2014/main" id="{356F675D-64CA-4764-9C51-E9A4432285C7}"/>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5">
              <a:extLst>
                <a:ext uri="{FF2B5EF4-FFF2-40B4-BE49-F238E27FC236}">
                  <a16:creationId xmlns:a16="http://schemas.microsoft.com/office/drawing/2014/main" id="{F8F81933-A508-420E-9658-A56863BF2068}"/>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6">
              <a:extLst>
                <a:ext uri="{FF2B5EF4-FFF2-40B4-BE49-F238E27FC236}">
                  <a16:creationId xmlns:a16="http://schemas.microsoft.com/office/drawing/2014/main" id="{D962BFA0-520B-4422-8F3B-3E21D3513D33}"/>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7">
              <a:extLst>
                <a:ext uri="{FF2B5EF4-FFF2-40B4-BE49-F238E27FC236}">
                  <a16:creationId xmlns:a16="http://schemas.microsoft.com/office/drawing/2014/main" id="{4E5E632C-98EA-4DC8-A784-6FD63B1E8249}"/>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8">
              <a:extLst>
                <a:ext uri="{FF2B5EF4-FFF2-40B4-BE49-F238E27FC236}">
                  <a16:creationId xmlns:a16="http://schemas.microsoft.com/office/drawing/2014/main" id="{F079A5DE-0088-42AA-B30A-E90D8E7A37D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9">
              <a:extLst>
                <a:ext uri="{FF2B5EF4-FFF2-40B4-BE49-F238E27FC236}">
                  <a16:creationId xmlns:a16="http://schemas.microsoft.com/office/drawing/2014/main" id="{2B44DE5E-3861-4FD0-9904-18700CE2B8F1}"/>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0">
              <a:extLst>
                <a:ext uri="{FF2B5EF4-FFF2-40B4-BE49-F238E27FC236}">
                  <a16:creationId xmlns:a16="http://schemas.microsoft.com/office/drawing/2014/main" id="{1EBF1A8F-B700-4D27-9746-7FA80AE7C353}"/>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1">
              <a:extLst>
                <a:ext uri="{FF2B5EF4-FFF2-40B4-BE49-F238E27FC236}">
                  <a16:creationId xmlns:a16="http://schemas.microsoft.com/office/drawing/2014/main" id="{7908FC75-8432-4DCF-996B-82935F5A69FB}"/>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2">
              <a:extLst>
                <a:ext uri="{FF2B5EF4-FFF2-40B4-BE49-F238E27FC236}">
                  <a16:creationId xmlns:a16="http://schemas.microsoft.com/office/drawing/2014/main" id="{629927F4-6D0A-4C59-B657-47922FB2C0CA}"/>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3">
              <a:extLst>
                <a:ext uri="{FF2B5EF4-FFF2-40B4-BE49-F238E27FC236}">
                  <a16:creationId xmlns:a16="http://schemas.microsoft.com/office/drawing/2014/main" id="{C104AE9A-4EDA-4799-99C0-BBA4462B8BC8}"/>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4">
              <a:extLst>
                <a:ext uri="{FF2B5EF4-FFF2-40B4-BE49-F238E27FC236}">
                  <a16:creationId xmlns:a16="http://schemas.microsoft.com/office/drawing/2014/main" id="{F6E722AE-B04E-4100-AE87-3D29ADC25567}"/>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5">
              <a:extLst>
                <a:ext uri="{FF2B5EF4-FFF2-40B4-BE49-F238E27FC236}">
                  <a16:creationId xmlns:a16="http://schemas.microsoft.com/office/drawing/2014/main" id="{7017139B-910B-480E-A427-6D0947947400}"/>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6">
              <a:extLst>
                <a:ext uri="{FF2B5EF4-FFF2-40B4-BE49-F238E27FC236}">
                  <a16:creationId xmlns:a16="http://schemas.microsoft.com/office/drawing/2014/main" id="{47BEB17B-DD9C-4B76-9DCB-61E095EB20A9}"/>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47">
              <a:extLst>
                <a:ext uri="{FF2B5EF4-FFF2-40B4-BE49-F238E27FC236}">
                  <a16:creationId xmlns:a16="http://schemas.microsoft.com/office/drawing/2014/main" id="{CA7BF23C-3CFB-4899-908E-B88D5C4ECBF3}"/>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48">
              <a:extLst>
                <a:ext uri="{FF2B5EF4-FFF2-40B4-BE49-F238E27FC236}">
                  <a16:creationId xmlns:a16="http://schemas.microsoft.com/office/drawing/2014/main" id="{A91A7AE0-3544-4423-AF46-D0C738F40FF0}"/>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49">
              <a:extLst>
                <a:ext uri="{FF2B5EF4-FFF2-40B4-BE49-F238E27FC236}">
                  <a16:creationId xmlns:a16="http://schemas.microsoft.com/office/drawing/2014/main" id="{756FB9D3-CD9F-42CA-B664-65CDCB95C5FC}"/>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标题 1">
            <a:extLst>
              <a:ext uri="{FF2B5EF4-FFF2-40B4-BE49-F238E27FC236}">
                <a16:creationId xmlns:a16="http://schemas.microsoft.com/office/drawing/2014/main" id="{7AFE43DC-5052-4367-AF58-B10BE07EC135}"/>
              </a:ext>
            </a:extLst>
          </p:cNvPr>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62" name="文本占位符 5">
            <a:extLst>
              <a:ext uri="{FF2B5EF4-FFF2-40B4-BE49-F238E27FC236}">
                <a16:creationId xmlns:a16="http://schemas.microsoft.com/office/drawing/2014/main" id="{5ABE4E69-BFAE-4067-BBBA-F38EE2B0754F}"/>
              </a:ext>
            </a:extLst>
          </p:cNvPr>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13" name="矩形 112">
            <a:extLst>
              <a:ext uri="{FF2B5EF4-FFF2-40B4-BE49-F238E27FC236}">
                <a16:creationId xmlns:a16="http://schemas.microsoft.com/office/drawing/2014/main" id="{52A36678-857E-4384-B5F7-666341F656B6}"/>
              </a:ext>
            </a:extLst>
          </p:cNvPr>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4">
            <a:extLst>
              <a:ext uri="{FF2B5EF4-FFF2-40B4-BE49-F238E27FC236}">
                <a16:creationId xmlns:a16="http://schemas.microsoft.com/office/drawing/2014/main" id="{6359227C-C717-4D01-8717-3B01A013636C}"/>
              </a:ext>
            </a:extLst>
          </p:cNvPr>
          <p:cNvSpPr>
            <a:spLocks noGrp="1"/>
          </p:cNvSpPr>
          <p:nvPr>
            <p:ph sz="quarter" idx="11"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sp>
        <p:nvSpPr>
          <p:cNvPr id="117" name="内容占位符 123">
            <a:extLst>
              <a:ext uri="{FF2B5EF4-FFF2-40B4-BE49-F238E27FC236}">
                <a16:creationId xmlns:a16="http://schemas.microsoft.com/office/drawing/2014/main" id="{0E801227-F633-4F2E-AF4F-336E59AC40B5}"/>
              </a:ext>
            </a:extLst>
          </p:cNvPr>
          <p:cNvSpPr>
            <a:spLocks noGrp="1"/>
          </p:cNvSpPr>
          <p:nvPr>
            <p:ph sz="quarter" idx="12"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cxnSp>
        <p:nvCxnSpPr>
          <p:cNvPr id="119" name="直接连接符 118">
            <a:extLst>
              <a:ext uri="{FF2B5EF4-FFF2-40B4-BE49-F238E27FC236}">
                <a16:creationId xmlns:a16="http://schemas.microsoft.com/office/drawing/2014/main" id="{62C7D5E2-E37C-467E-A997-288D0A88AA13}"/>
              </a:ext>
            </a:extLst>
          </p:cNvPr>
          <p:cNvCxnSpPr>
            <a:cxnSpLocks/>
          </p:cNvCxnSpPr>
          <p:nvPr userDrawn="1"/>
        </p:nvCxnSpPr>
        <p:spPr>
          <a:xfrm>
            <a:off x="6102495" y="4251261"/>
            <a:ext cx="0" cy="2946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7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封面1-2">
    <p:spTree>
      <p:nvGrpSpPr>
        <p:cNvPr id="1" name=""/>
        <p:cNvGrpSpPr/>
        <p:nvPr/>
      </p:nvGrpSpPr>
      <p:grpSpPr>
        <a:xfrm>
          <a:off x="0" y="0"/>
          <a:ext cx="0" cy="0"/>
          <a:chOff x="0" y="0"/>
          <a:chExt cx="0" cy="0"/>
        </a:xfrm>
      </p:grpSpPr>
      <p:sp>
        <p:nvSpPr>
          <p:cNvPr id="118" name="矩形 117">
            <a:extLst>
              <a:ext uri="{FF2B5EF4-FFF2-40B4-BE49-F238E27FC236}">
                <a16:creationId xmlns:a16="http://schemas.microsoft.com/office/drawing/2014/main" id="{83460631-7A3E-489F-AFF1-C919933C0BDD}"/>
              </a:ext>
            </a:extLst>
          </p:cNvPr>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图片 59">
            <a:extLst>
              <a:ext uri="{FF2B5EF4-FFF2-40B4-BE49-F238E27FC236}">
                <a16:creationId xmlns:a16="http://schemas.microsoft.com/office/drawing/2014/main" id="{1DAD8CAD-0738-45DC-B40B-E796764C1CBF}"/>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5300"/>
                    </a14:imgEffect>
                    <a14:imgEffect>
                      <a14:brightnessContrast bright="20000"/>
                    </a14:imgEffect>
                  </a14:imgLayer>
                </a14:imgProps>
              </a:ext>
              <a:ext uri="{28A0092B-C50C-407E-A947-70E740481C1C}">
                <a14:useLocalDpi xmlns:a14="http://schemas.microsoft.com/office/drawing/2010/main"/>
              </a:ext>
            </a:extLst>
          </a:blip>
          <a:srcRect/>
          <a:stretch/>
        </p:blipFill>
        <p:spPr>
          <a:xfrm>
            <a:off x="0" y="1516893"/>
            <a:ext cx="12192000" cy="5341108"/>
          </a:xfrm>
          <a:prstGeom prst="rect">
            <a:avLst/>
          </a:prstGeom>
        </p:spPr>
      </p:pic>
      <p:sp>
        <p:nvSpPr>
          <p:cNvPr id="61" name="矩形 60">
            <a:extLst>
              <a:ext uri="{FF2B5EF4-FFF2-40B4-BE49-F238E27FC236}">
                <a16:creationId xmlns:a16="http://schemas.microsoft.com/office/drawing/2014/main" id="{4D9EEB81-12E8-42B7-9D41-46B13326DDAA}"/>
              </a:ext>
            </a:extLst>
          </p:cNvPr>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图片 61">
            <a:extLst>
              <a:ext uri="{FF2B5EF4-FFF2-40B4-BE49-F238E27FC236}">
                <a16:creationId xmlns:a16="http://schemas.microsoft.com/office/drawing/2014/main" id="{409DE6A2-9C67-4290-BC0A-A67C98E95DD0}"/>
              </a:ext>
            </a:extLst>
          </p:cNvPr>
          <p:cNvPicPr>
            <a:picLocks noChangeAspect="1"/>
          </p:cNvPicPr>
          <p:nvPr userDrawn="1"/>
        </p:nvPicPr>
        <p:blipFill rotWithShape="1">
          <a:blip r:embed="rId4" cstate="email">
            <a:alphaModFix amt="13000"/>
            <a:extLst>
              <a:ext uri="{BEBA8EAE-BF5A-486C-A8C5-ECC9F3942E4B}">
                <a14:imgProps xmlns:a14="http://schemas.microsoft.com/office/drawing/2010/main">
                  <a14:imgLayer r:embed="rId5">
                    <a14:imgEffect>
                      <a14:colorTemperature colorTemp="4700"/>
                    </a14:imgEffect>
                    <a14:imgEffect>
                      <a14:brightnessContrast bright="10000"/>
                    </a14:imgEffect>
                  </a14:imgLayer>
                </a14:imgProps>
              </a:ext>
              <a:ext uri="{28A0092B-C50C-407E-A947-70E740481C1C}">
                <a14:useLocalDpi xmlns:a14="http://schemas.microsoft.com/office/drawing/2010/main"/>
              </a:ext>
            </a:extLst>
          </a:blip>
          <a:srcRect/>
          <a:stretch/>
        </p:blipFill>
        <p:spPr>
          <a:xfrm>
            <a:off x="0" y="0"/>
            <a:ext cx="12192000" cy="3017520"/>
          </a:xfrm>
          <a:prstGeom prst="rect">
            <a:avLst/>
          </a:prstGeom>
        </p:spPr>
      </p:pic>
      <p:grpSp>
        <p:nvGrpSpPr>
          <p:cNvPr id="121" name="组合 120">
            <a:extLst>
              <a:ext uri="{FF2B5EF4-FFF2-40B4-BE49-F238E27FC236}">
                <a16:creationId xmlns:a16="http://schemas.microsoft.com/office/drawing/2014/main" id="{855908AF-97B9-4729-8037-3BA861606F0D}"/>
              </a:ext>
            </a:extLst>
          </p:cNvPr>
          <p:cNvGrpSpPr/>
          <p:nvPr userDrawn="1"/>
        </p:nvGrpSpPr>
        <p:grpSpPr>
          <a:xfrm>
            <a:off x="5271655" y="1112449"/>
            <a:ext cx="1648690" cy="560362"/>
            <a:chOff x="1398368" y="5051425"/>
            <a:chExt cx="3242941" cy="1102222"/>
          </a:xfrm>
        </p:grpSpPr>
        <p:sp>
          <p:nvSpPr>
            <p:cNvPr id="122" name="Freeform 5">
              <a:extLst>
                <a:ext uri="{FF2B5EF4-FFF2-40B4-BE49-F238E27FC236}">
                  <a16:creationId xmlns:a16="http://schemas.microsoft.com/office/drawing/2014/main" id="{CC73142E-2601-4692-A4EB-ACF356FF3D84}"/>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7">
              <a:extLst>
                <a:ext uri="{FF2B5EF4-FFF2-40B4-BE49-F238E27FC236}">
                  <a16:creationId xmlns:a16="http://schemas.microsoft.com/office/drawing/2014/main" id="{3ED37CFD-ABFD-4AA0-B60B-A5BF8DB3ECB3}"/>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8">
              <a:extLst>
                <a:ext uri="{FF2B5EF4-FFF2-40B4-BE49-F238E27FC236}">
                  <a16:creationId xmlns:a16="http://schemas.microsoft.com/office/drawing/2014/main" id="{1BC9659A-E604-48B4-B30A-860A1379C303}"/>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5" name="组合 124">
              <a:extLst>
                <a:ext uri="{FF2B5EF4-FFF2-40B4-BE49-F238E27FC236}">
                  <a16:creationId xmlns:a16="http://schemas.microsoft.com/office/drawing/2014/main" id="{4919B734-99B7-458C-B806-69DE52FE4EB6}"/>
                </a:ext>
              </a:extLst>
            </p:cNvPr>
            <p:cNvGrpSpPr/>
            <p:nvPr/>
          </p:nvGrpSpPr>
          <p:grpSpPr>
            <a:xfrm>
              <a:off x="2921957" y="5168150"/>
              <a:ext cx="542765" cy="642593"/>
              <a:chOff x="3102298" y="5183391"/>
              <a:chExt cx="501880" cy="594188"/>
            </a:xfrm>
          </p:grpSpPr>
          <p:sp>
            <p:nvSpPr>
              <p:cNvPr id="166" name="Freeform 6">
                <a:extLst>
                  <a:ext uri="{FF2B5EF4-FFF2-40B4-BE49-F238E27FC236}">
                    <a16:creationId xmlns:a16="http://schemas.microsoft.com/office/drawing/2014/main" id="{FA7FA697-46AF-4203-8AB4-AC0007667089}"/>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a:extLst>
                  <a:ext uri="{FF2B5EF4-FFF2-40B4-BE49-F238E27FC236}">
                    <a16:creationId xmlns:a16="http://schemas.microsoft.com/office/drawing/2014/main" id="{3C4C9466-58AA-4838-9D79-937FDE13549F}"/>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3">
                <a:extLst>
                  <a:ext uri="{FF2B5EF4-FFF2-40B4-BE49-F238E27FC236}">
                    <a16:creationId xmlns:a16="http://schemas.microsoft.com/office/drawing/2014/main" id="{948A922A-4E3F-4810-ADF0-0F5C17D93AC6}"/>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组合 125">
              <a:extLst>
                <a:ext uri="{FF2B5EF4-FFF2-40B4-BE49-F238E27FC236}">
                  <a16:creationId xmlns:a16="http://schemas.microsoft.com/office/drawing/2014/main" id="{05CBBEFF-915C-4C53-8013-7FC832FB6C66}"/>
                </a:ext>
              </a:extLst>
            </p:cNvPr>
            <p:cNvGrpSpPr/>
            <p:nvPr/>
          </p:nvGrpSpPr>
          <p:grpSpPr>
            <a:xfrm>
              <a:off x="4196892" y="5154476"/>
              <a:ext cx="444417" cy="649987"/>
              <a:chOff x="4257853" y="5169716"/>
              <a:chExt cx="410940" cy="601025"/>
            </a:xfrm>
          </p:grpSpPr>
          <p:sp>
            <p:nvSpPr>
              <p:cNvPr id="161" name="Freeform 9">
                <a:extLst>
                  <a:ext uri="{FF2B5EF4-FFF2-40B4-BE49-F238E27FC236}">
                    <a16:creationId xmlns:a16="http://schemas.microsoft.com/office/drawing/2014/main" id="{4EA8CB25-A7D8-4CCB-B47A-966CC3BD064D}"/>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1">
                <a:extLst>
                  <a:ext uri="{FF2B5EF4-FFF2-40B4-BE49-F238E27FC236}">
                    <a16:creationId xmlns:a16="http://schemas.microsoft.com/office/drawing/2014/main" id="{B517AAA2-0B9E-48A5-8A86-07B1310570B0}"/>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
                <a:extLst>
                  <a:ext uri="{FF2B5EF4-FFF2-40B4-BE49-F238E27FC236}">
                    <a16:creationId xmlns:a16="http://schemas.microsoft.com/office/drawing/2014/main" id="{4B3BE619-7D7A-4E8E-96F4-FFFDA6FE70AF}"/>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
                <a:extLst>
                  <a:ext uri="{FF2B5EF4-FFF2-40B4-BE49-F238E27FC236}">
                    <a16:creationId xmlns:a16="http://schemas.microsoft.com/office/drawing/2014/main" id="{B12BFDEE-C509-471B-AEDF-CC8A9B059B7D}"/>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
                <a:extLst>
                  <a:ext uri="{FF2B5EF4-FFF2-40B4-BE49-F238E27FC236}">
                    <a16:creationId xmlns:a16="http://schemas.microsoft.com/office/drawing/2014/main" id="{740E2858-1FA5-453D-BF82-8543BB571ACA}"/>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7" name="Freeform 16">
              <a:extLst>
                <a:ext uri="{FF2B5EF4-FFF2-40B4-BE49-F238E27FC236}">
                  <a16:creationId xmlns:a16="http://schemas.microsoft.com/office/drawing/2014/main" id="{41FA9D83-2920-4BD6-B6D5-BDA5C0D8B523}"/>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
              <a:extLst>
                <a:ext uri="{FF2B5EF4-FFF2-40B4-BE49-F238E27FC236}">
                  <a16:creationId xmlns:a16="http://schemas.microsoft.com/office/drawing/2014/main" id="{DE3DE6DC-37A1-4F4C-8AF4-D3E2FE57BB6B}"/>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8">
              <a:extLst>
                <a:ext uri="{FF2B5EF4-FFF2-40B4-BE49-F238E27FC236}">
                  <a16:creationId xmlns:a16="http://schemas.microsoft.com/office/drawing/2014/main" id="{56625D9E-958C-492B-B8FC-7577C7CD689F}"/>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9">
              <a:extLst>
                <a:ext uri="{FF2B5EF4-FFF2-40B4-BE49-F238E27FC236}">
                  <a16:creationId xmlns:a16="http://schemas.microsoft.com/office/drawing/2014/main" id="{1B55192E-E56B-4A57-BF41-167096A4D413}"/>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0">
              <a:extLst>
                <a:ext uri="{FF2B5EF4-FFF2-40B4-BE49-F238E27FC236}">
                  <a16:creationId xmlns:a16="http://schemas.microsoft.com/office/drawing/2014/main" id="{90CDEC93-D345-4665-873E-2C159A75E95B}"/>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1">
              <a:extLst>
                <a:ext uri="{FF2B5EF4-FFF2-40B4-BE49-F238E27FC236}">
                  <a16:creationId xmlns:a16="http://schemas.microsoft.com/office/drawing/2014/main" id="{492EDC9F-7768-44F1-9C4D-EDE95B8D12D9}"/>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50496717-7704-4DC1-A888-CE3886E5A3DD}"/>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3">
              <a:extLst>
                <a:ext uri="{FF2B5EF4-FFF2-40B4-BE49-F238E27FC236}">
                  <a16:creationId xmlns:a16="http://schemas.microsoft.com/office/drawing/2014/main" id="{DE0B1F1E-0FBC-4663-8742-4564BD9AFDB4}"/>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4">
              <a:extLst>
                <a:ext uri="{FF2B5EF4-FFF2-40B4-BE49-F238E27FC236}">
                  <a16:creationId xmlns:a16="http://schemas.microsoft.com/office/drawing/2014/main" id="{9452D8BD-D5A0-418A-AD47-3F3E9077CBD6}"/>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3DB3AD2A-D808-4250-948E-BBE9591DC60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26">
              <a:extLst>
                <a:ext uri="{FF2B5EF4-FFF2-40B4-BE49-F238E27FC236}">
                  <a16:creationId xmlns:a16="http://schemas.microsoft.com/office/drawing/2014/main" id="{D026062D-E024-4482-AACA-1605EDAD9D2A}"/>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D0FBD10A-C056-45DF-B282-4F801EFBE251}"/>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F03F1EAD-BA59-4172-A4E6-17611F77229E}"/>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59656BB1-F474-46C6-9094-7C6F69FB7858}"/>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6BE5CB86-7FC4-47A9-9BD5-5B8A074BA660}"/>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15B9BADF-0E86-4E75-8F75-74492CB965B0}"/>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2">
              <a:extLst>
                <a:ext uri="{FF2B5EF4-FFF2-40B4-BE49-F238E27FC236}">
                  <a16:creationId xmlns:a16="http://schemas.microsoft.com/office/drawing/2014/main" id="{5108697C-D2A1-4FEC-9724-D78E3C2EA341}"/>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F538E9C3-4873-4053-9E8C-362A8FB2208C}"/>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DEC02708-878B-423C-B615-DCB7D9EDCEBD}"/>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FDAFCE6F-9D36-4AFC-B918-45C12A1858C2}"/>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6">
              <a:extLst>
                <a:ext uri="{FF2B5EF4-FFF2-40B4-BE49-F238E27FC236}">
                  <a16:creationId xmlns:a16="http://schemas.microsoft.com/office/drawing/2014/main" id="{CDC5D0E5-2341-485A-8AF6-FDD38397DB3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7">
              <a:extLst>
                <a:ext uri="{FF2B5EF4-FFF2-40B4-BE49-F238E27FC236}">
                  <a16:creationId xmlns:a16="http://schemas.microsoft.com/office/drawing/2014/main" id="{49CF6C13-94FB-4241-9A82-4FEB9CE4F8A2}"/>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8">
              <a:extLst>
                <a:ext uri="{FF2B5EF4-FFF2-40B4-BE49-F238E27FC236}">
                  <a16:creationId xmlns:a16="http://schemas.microsoft.com/office/drawing/2014/main" id="{5FBD63F6-B7B0-4C19-BAD2-B115D1689652}"/>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9">
              <a:extLst>
                <a:ext uri="{FF2B5EF4-FFF2-40B4-BE49-F238E27FC236}">
                  <a16:creationId xmlns:a16="http://schemas.microsoft.com/office/drawing/2014/main" id="{98BE2DAC-CE00-49CE-8D53-7BF3F444FD1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0">
              <a:extLst>
                <a:ext uri="{FF2B5EF4-FFF2-40B4-BE49-F238E27FC236}">
                  <a16:creationId xmlns:a16="http://schemas.microsoft.com/office/drawing/2014/main" id="{4717E170-ADC5-4157-A62B-D87BED58B0E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1">
              <a:extLst>
                <a:ext uri="{FF2B5EF4-FFF2-40B4-BE49-F238E27FC236}">
                  <a16:creationId xmlns:a16="http://schemas.microsoft.com/office/drawing/2014/main" id="{3648A078-B486-4435-A641-6435D6A69AD6}"/>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2">
              <a:extLst>
                <a:ext uri="{FF2B5EF4-FFF2-40B4-BE49-F238E27FC236}">
                  <a16:creationId xmlns:a16="http://schemas.microsoft.com/office/drawing/2014/main" id="{31DA4600-C00B-4A69-B6AE-E53F172217E5}"/>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3">
              <a:extLst>
                <a:ext uri="{FF2B5EF4-FFF2-40B4-BE49-F238E27FC236}">
                  <a16:creationId xmlns:a16="http://schemas.microsoft.com/office/drawing/2014/main" id="{5FE709BC-7179-4E19-8C14-B041916EBDF5}"/>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AF9762AA-C557-4DCD-BADB-FFE9E53047BE}"/>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73F85C42-2C4F-47B8-A5DA-DEDD9F4F1C0B}"/>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6">
              <a:extLst>
                <a:ext uri="{FF2B5EF4-FFF2-40B4-BE49-F238E27FC236}">
                  <a16:creationId xmlns:a16="http://schemas.microsoft.com/office/drawing/2014/main" id="{DBCAE612-0189-4EB3-8605-F34EC7B4C86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D4E5597E-6485-4704-BFA7-334AE9D3BD9D}"/>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FF3C8819-BF17-4935-A099-6381D2BB26D3}"/>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49">
              <a:extLst>
                <a:ext uri="{FF2B5EF4-FFF2-40B4-BE49-F238E27FC236}">
                  <a16:creationId xmlns:a16="http://schemas.microsoft.com/office/drawing/2014/main" id="{3D8356E0-63F5-43B9-B84E-9CD30EBE623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73" name="矩形 172">
            <a:extLst>
              <a:ext uri="{FF2B5EF4-FFF2-40B4-BE49-F238E27FC236}">
                <a16:creationId xmlns:a16="http://schemas.microsoft.com/office/drawing/2014/main" id="{7E938967-9990-4D4C-B37A-F8DB3BCFD867}"/>
              </a:ext>
            </a:extLst>
          </p:cNvPr>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a:extLst>
              <a:ext uri="{FF2B5EF4-FFF2-40B4-BE49-F238E27FC236}">
                <a16:creationId xmlns:a16="http://schemas.microsoft.com/office/drawing/2014/main" id="{4BEC4AA5-D1F8-44A4-B512-F9342C25CB24}"/>
              </a:ext>
            </a:extLst>
          </p:cNvPr>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a:extLst>
              <a:ext uri="{FF2B5EF4-FFF2-40B4-BE49-F238E27FC236}">
                <a16:creationId xmlns:a16="http://schemas.microsoft.com/office/drawing/2014/main" id="{34BE90AC-B87D-4628-BB01-C0BD9552F31A}"/>
              </a:ext>
            </a:extLst>
          </p:cNvPr>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 fmla="*/ 0 w 550718"/>
              <a:gd name="connsiteY0" fmla="*/ 15239 h 766502"/>
              <a:gd name="connsiteX1" fmla="*/ 471574 w 550718"/>
              <a:gd name="connsiteY1" fmla="*/ 0 h 766502"/>
              <a:gd name="connsiteX2" fmla="*/ 550718 w 550718"/>
              <a:gd name="connsiteY2" fmla="*/ 15239 h 766502"/>
              <a:gd name="connsiteX3" fmla="*/ 550718 w 550718"/>
              <a:gd name="connsiteY3" fmla="*/ 49529 h 766502"/>
              <a:gd name="connsiteX4" fmla="*/ 550718 w 550718"/>
              <a:gd name="connsiteY4" fmla="*/ 112394 h 766502"/>
              <a:gd name="connsiteX5" fmla="*/ 550718 w 550718"/>
              <a:gd name="connsiteY5" fmla="*/ 766502 h 766502"/>
              <a:gd name="connsiteX6" fmla="*/ 332814 w 550718"/>
              <a:gd name="connsiteY6" fmla="*/ 766502 h 766502"/>
              <a:gd name="connsiteX7" fmla="*/ 275359 w 550718"/>
              <a:gd name="connsiteY7" fmla="*/ 654877 h 766502"/>
              <a:gd name="connsiteX8" fmla="*/ 217904 w 550718"/>
              <a:gd name="connsiteY8" fmla="*/ 766502 h 766502"/>
              <a:gd name="connsiteX9" fmla="*/ 0 w 550718"/>
              <a:gd name="connsiteY9" fmla="*/ 766502 h 766502"/>
              <a:gd name="connsiteX10" fmla="*/ 0 w 550718"/>
              <a:gd name="connsiteY10" fmla="*/ 112394 h 766502"/>
              <a:gd name="connsiteX11" fmla="*/ 0 w 550718"/>
              <a:gd name="connsiteY11" fmla="*/ 49529 h 766502"/>
              <a:gd name="connsiteX12" fmla="*/ 0 w 550718"/>
              <a:gd name="connsiteY12" fmla="*/ 15239 h 766502"/>
              <a:gd name="connsiteX0" fmla="*/ 471574 w 563014"/>
              <a:gd name="connsiteY0" fmla="*/ 0 h 766502"/>
              <a:gd name="connsiteX1" fmla="*/ 550718 w 563014"/>
              <a:gd name="connsiteY1" fmla="*/ 15239 h 766502"/>
              <a:gd name="connsiteX2" fmla="*/ 550718 w 563014"/>
              <a:gd name="connsiteY2" fmla="*/ 49529 h 766502"/>
              <a:gd name="connsiteX3" fmla="*/ 550718 w 563014"/>
              <a:gd name="connsiteY3" fmla="*/ 112394 h 766502"/>
              <a:gd name="connsiteX4" fmla="*/ 550718 w 563014"/>
              <a:gd name="connsiteY4" fmla="*/ 766502 h 766502"/>
              <a:gd name="connsiteX5" fmla="*/ 332814 w 563014"/>
              <a:gd name="connsiteY5" fmla="*/ 766502 h 766502"/>
              <a:gd name="connsiteX6" fmla="*/ 275359 w 563014"/>
              <a:gd name="connsiteY6" fmla="*/ 654877 h 766502"/>
              <a:gd name="connsiteX7" fmla="*/ 217904 w 563014"/>
              <a:gd name="connsiteY7" fmla="*/ 766502 h 766502"/>
              <a:gd name="connsiteX8" fmla="*/ 0 w 563014"/>
              <a:gd name="connsiteY8" fmla="*/ 766502 h 766502"/>
              <a:gd name="connsiteX9" fmla="*/ 0 w 563014"/>
              <a:gd name="connsiteY9" fmla="*/ 112394 h 766502"/>
              <a:gd name="connsiteX10" fmla="*/ 0 w 563014"/>
              <a:gd name="connsiteY10" fmla="*/ 49529 h 766502"/>
              <a:gd name="connsiteX11" fmla="*/ 0 w 563014"/>
              <a:gd name="connsiteY11" fmla="*/ 15239 h 766502"/>
              <a:gd name="connsiteX12" fmla="*/ 563014 w 563014"/>
              <a:gd name="connsiteY12" fmla="*/ 91440 h 766502"/>
              <a:gd name="connsiteX0" fmla="*/ 550718 w 563014"/>
              <a:gd name="connsiteY0" fmla="*/ 1132 h 752395"/>
              <a:gd name="connsiteX1" fmla="*/ 550718 w 563014"/>
              <a:gd name="connsiteY1" fmla="*/ 35422 h 752395"/>
              <a:gd name="connsiteX2" fmla="*/ 550718 w 563014"/>
              <a:gd name="connsiteY2" fmla="*/ 98287 h 752395"/>
              <a:gd name="connsiteX3" fmla="*/ 550718 w 563014"/>
              <a:gd name="connsiteY3" fmla="*/ 752395 h 752395"/>
              <a:gd name="connsiteX4" fmla="*/ 332814 w 563014"/>
              <a:gd name="connsiteY4" fmla="*/ 752395 h 752395"/>
              <a:gd name="connsiteX5" fmla="*/ 275359 w 563014"/>
              <a:gd name="connsiteY5" fmla="*/ 640770 h 752395"/>
              <a:gd name="connsiteX6" fmla="*/ 217904 w 563014"/>
              <a:gd name="connsiteY6" fmla="*/ 752395 h 752395"/>
              <a:gd name="connsiteX7" fmla="*/ 0 w 563014"/>
              <a:gd name="connsiteY7" fmla="*/ 752395 h 752395"/>
              <a:gd name="connsiteX8" fmla="*/ 0 w 563014"/>
              <a:gd name="connsiteY8" fmla="*/ 98287 h 752395"/>
              <a:gd name="connsiteX9" fmla="*/ 0 w 563014"/>
              <a:gd name="connsiteY9" fmla="*/ 35422 h 752395"/>
              <a:gd name="connsiteX10" fmla="*/ 0 w 563014"/>
              <a:gd name="connsiteY10" fmla="*/ 1132 h 752395"/>
              <a:gd name="connsiteX11" fmla="*/ 563014 w 563014"/>
              <a:gd name="connsiteY11" fmla="*/ 77333 h 752395"/>
              <a:gd name="connsiteX0" fmla="*/ 550718 w 550718"/>
              <a:gd name="connsiteY0" fmla="*/ 0 h 751263"/>
              <a:gd name="connsiteX1" fmla="*/ 550718 w 550718"/>
              <a:gd name="connsiteY1" fmla="*/ 34290 h 751263"/>
              <a:gd name="connsiteX2" fmla="*/ 550718 w 550718"/>
              <a:gd name="connsiteY2" fmla="*/ 97155 h 751263"/>
              <a:gd name="connsiteX3" fmla="*/ 550718 w 550718"/>
              <a:gd name="connsiteY3" fmla="*/ 751263 h 751263"/>
              <a:gd name="connsiteX4" fmla="*/ 332814 w 550718"/>
              <a:gd name="connsiteY4" fmla="*/ 751263 h 751263"/>
              <a:gd name="connsiteX5" fmla="*/ 275359 w 550718"/>
              <a:gd name="connsiteY5" fmla="*/ 639638 h 751263"/>
              <a:gd name="connsiteX6" fmla="*/ 217904 w 550718"/>
              <a:gd name="connsiteY6" fmla="*/ 751263 h 751263"/>
              <a:gd name="connsiteX7" fmla="*/ 0 w 550718"/>
              <a:gd name="connsiteY7" fmla="*/ 751263 h 751263"/>
              <a:gd name="connsiteX8" fmla="*/ 0 w 550718"/>
              <a:gd name="connsiteY8" fmla="*/ 97155 h 751263"/>
              <a:gd name="connsiteX9" fmla="*/ 0 w 550718"/>
              <a:gd name="connsiteY9" fmla="*/ 34290 h 751263"/>
              <a:gd name="connsiteX10" fmla="*/ 0 w 550718"/>
              <a:gd name="connsiteY10" fmla="*/ 0 h 75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文本占位符 4">
            <a:extLst>
              <a:ext uri="{FF2B5EF4-FFF2-40B4-BE49-F238E27FC236}">
                <a16:creationId xmlns:a16="http://schemas.microsoft.com/office/drawing/2014/main" id="{DC437160-BB97-44C1-8BDB-40589304DCD0}"/>
              </a:ext>
            </a:extLst>
          </p:cNvPr>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66" name="文本占位符 4">
            <a:extLst>
              <a:ext uri="{FF2B5EF4-FFF2-40B4-BE49-F238E27FC236}">
                <a16:creationId xmlns:a16="http://schemas.microsoft.com/office/drawing/2014/main" id="{3F3F4C10-99CA-4EBB-91A6-AE6D80F1C109}"/>
              </a:ext>
            </a:extLst>
          </p:cNvPr>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Tree>
    <p:extLst>
      <p:ext uri="{BB962C8B-B14F-4D97-AF65-F5344CB8AC3E}">
        <p14:creationId xmlns:p14="http://schemas.microsoft.com/office/powerpoint/2010/main" val="17529446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封底3-1">
    <p:spTree>
      <p:nvGrpSpPr>
        <p:cNvPr id="1" name=""/>
        <p:cNvGrpSpPr/>
        <p:nvPr/>
      </p:nvGrpSpPr>
      <p:grpSpPr>
        <a:xfrm>
          <a:off x="0" y="0"/>
          <a:ext cx="0" cy="0"/>
          <a:chOff x="0" y="0"/>
          <a:chExt cx="0" cy="0"/>
        </a:xfrm>
      </p:grpSpPr>
      <p:pic>
        <p:nvPicPr>
          <p:cNvPr id="63" name="图片 62">
            <a:extLst>
              <a:ext uri="{FF2B5EF4-FFF2-40B4-BE49-F238E27FC236}">
                <a16:creationId xmlns:a16="http://schemas.microsoft.com/office/drawing/2014/main" id="{CA1FD822-DF3A-491C-AF58-72DBE7CD63A6}"/>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pic>
        <p:nvPicPr>
          <p:cNvPr id="64" name="图片 63">
            <a:extLst>
              <a:ext uri="{FF2B5EF4-FFF2-40B4-BE49-F238E27FC236}">
                <a16:creationId xmlns:a16="http://schemas.microsoft.com/office/drawing/2014/main" id="{84EF9397-4DAA-41C2-8F95-6087DF7D94E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59773" y="0"/>
            <a:ext cx="4010890" cy="6858000"/>
          </a:xfrm>
          <a:prstGeom prst="parallelogram">
            <a:avLst>
              <a:gd name="adj" fmla="val 46011"/>
            </a:avLst>
          </a:prstGeom>
        </p:spPr>
      </p:pic>
      <p:pic>
        <p:nvPicPr>
          <p:cNvPr id="65" name="图片 64">
            <a:extLst>
              <a:ext uri="{FF2B5EF4-FFF2-40B4-BE49-F238E27FC236}">
                <a16:creationId xmlns:a16="http://schemas.microsoft.com/office/drawing/2014/main" id="{B11C90AD-F631-4934-B596-EA56B30E4FA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599380" y="0"/>
            <a:ext cx="2824675" cy="6858000"/>
          </a:xfrm>
          <a:prstGeom prst="parallelogram">
            <a:avLst>
              <a:gd name="adj" fmla="val 66271"/>
            </a:avLst>
          </a:prstGeom>
        </p:spPr>
      </p:pic>
      <p:sp>
        <p:nvSpPr>
          <p:cNvPr id="116" name="平行四边形 115">
            <a:extLst>
              <a:ext uri="{FF2B5EF4-FFF2-40B4-BE49-F238E27FC236}">
                <a16:creationId xmlns:a16="http://schemas.microsoft.com/office/drawing/2014/main" id="{A5041862-8590-4846-864B-54DE0E6D5862}"/>
              </a:ext>
            </a:extLst>
          </p:cNvPr>
          <p:cNvSpPr/>
          <p:nvPr userDrawn="1"/>
        </p:nvSpPr>
        <p:spPr>
          <a:xfrm>
            <a:off x="259773" y="0"/>
            <a:ext cx="4010890" cy="6858000"/>
          </a:xfrm>
          <a:prstGeom prst="parallelogram">
            <a:avLst>
              <a:gd name="adj" fmla="val 45700"/>
            </a:avLst>
          </a:prstGeom>
          <a:solidFill>
            <a:schemeClr val="accent1">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平行四边形 116">
            <a:extLst>
              <a:ext uri="{FF2B5EF4-FFF2-40B4-BE49-F238E27FC236}">
                <a16:creationId xmlns:a16="http://schemas.microsoft.com/office/drawing/2014/main" id="{C1AE957B-9C6C-48A4-ADA8-A71A2EC80E8E}"/>
              </a:ext>
            </a:extLst>
          </p:cNvPr>
          <p:cNvSpPr/>
          <p:nvPr userDrawn="1"/>
        </p:nvSpPr>
        <p:spPr>
          <a:xfrm>
            <a:off x="2599380" y="0"/>
            <a:ext cx="2824675" cy="6858000"/>
          </a:xfrm>
          <a:prstGeom prst="parallelogram">
            <a:avLst>
              <a:gd name="adj" fmla="val 65960"/>
            </a:avLst>
          </a:prstGeom>
          <a:solidFill>
            <a:schemeClr val="accent2">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4448886" y="2292367"/>
            <a:ext cx="7263689" cy="923330"/>
          </a:xfrm>
          <a:noFill/>
          <a:effectLst/>
        </p:spPr>
        <p:txBody>
          <a:bodyPr wrap="square" lIns="0" rIns="0" rtlCol="0" anchor="ctr">
            <a:noAutofit/>
          </a:bodyPr>
          <a:lstStyle>
            <a:lvl1pPr>
              <a:defRPr lang="en-US" sz="5400" b="1" spc="300" dirty="0">
                <a:solidFill>
                  <a:schemeClr val="accent1"/>
                </a:solidFill>
                <a:effectLst/>
                <a:latin typeface="+mn-lt"/>
                <a:ea typeface="+mn-ea"/>
                <a:cs typeface="+mn-cs"/>
              </a:defRPr>
            </a:lvl1pPr>
          </a:lstStyle>
          <a:p>
            <a:pPr marL="0" lvl="0" defTabSz="457200"/>
            <a:endParaRPr lang="en-US" dirty="0"/>
          </a:p>
        </p:txBody>
      </p:sp>
      <p:sp>
        <p:nvSpPr>
          <p:cNvPr id="124" name="内容占位符 123">
            <a:extLst>
              <a:ext uri="{FF2B5EF4-FFF2-40B4-BE49-F238E27FC236}">
                <a16:creationId xmlns:a16="http://schemas.microsoft.com/office/drawing/2014/main" id="{86706487-BF24-4224-A47D-9E1CEDA4525A}"/>
              </a:ext>
            </a:extLst>
          </p:cNvPr>
          <p:cNvSpPr>
            <a:spLocks noGrp="1"/>
          </p:cNvSpPr>
          <p:nvPr>
            <p:ph sz="quarter" idx="12" hasCustomPrompt="1"/>
          </p:nvPr>
        </p:nvSpPr>
        <p:spPr>
          <a:xfrm>
            <a:off x="4448886" y="422702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5" name="内容占位符 4">
            <a:extLst>
              <a:ext uri="{FF2B5EF4-FFF2-40B4-BE49-F238E27FC236}">
                <a16:creationId xmlns:a16="http://schemas.microsoft.com/office/drawing/2014/main" id="{621C1C06-275B-4702-87F2-67A313DD6796}"/>
              </a:ext>
            </a:extLst>
          </p:cNvPr>
          <p:cNvSpPr>
            <a:spLocks noGrp="1"/>
          </p:cNvSpPr>
          <p:nvPr>
            <p:ph sz="quarter" idx="11" hasCustomPrompt="1"/>
          </p:nvPr>
        </p:nvSpPr>
        <p:spPr>
          <a:xfrm>
            <a:off x="7344446" y="422702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75" name="直接连接符 174">
            <a:extLst>
              <a:ext uri="{FF2B5EF4-FFF2-40B4-BE49-F238E27FC236}">
                <a16:creationId xmlns:a16="http://schemas.microsoft.com/office/drawing/2014/main" id="{6EECF4F2-BAF9-44C3-B57F-DBA832A2290A}"/>
              </a:ext>
            </a:extLst>
          </p:cNvPr>
          <p:cNvCxnSpPr>
            <a:cxnSpLocks/>
          </p:cNvCxnSpPr>
          <p:nvPr/>
        </p:nvCxnSpPr>
        <p:spPr>
          <a:xfrm>
            <a:off x="6842144" y="428810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文本占位符 5">
            <a:extLst>
              <a:ext uri="{FF2B5EF4-FFF2-40B4-BE49-F238E27FC236}">
                <a16:creationId xmlns:a16="http://schemas.microsoft.com/office/drawing/2014/main" id="{F07AA774-0670-4843-AD04-365EDDCDBA1D}"/>
              </a:ext>
            </a:extLst>
          </p:cNvPr>
          <p:cNvSpPr>
            <a:spLocks noGrp="1"/>
          </p:cNvSpPr>
          <p:nvPr>
            <p:ph type="body" sz="quarter" idx="13"/>
          </p:nvPr>
        </p:nvSpPr>
        <p:spPr>
          <a:xfrm>
            <a:off x="4448886" y="3189478"/>
            <a:ext cx="7263689" cy="400110"/>
          </a:xfrm>
        </p:spPr>
        <p:txBody>
          <a:bodyPr lIns="0" tIns="0" rIns="0" bIns="0" anchor="ctr"/>
          <a:lstStyle>
            <a:lvl1pPr>
              <a:defRPr sz="1600" spc="3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77" name="矩形 176">
            <a:extLst>
              <a:ext uri="{FF2B5EF4-FFF2-40B4-BE49-F238E27FC236}">
                <a16:creationId xmlns:a16="http://schemas.microsoft.com/office/drawing/2014/main" id="{85459574-8297-4666-9DA0-3E5D872CEC4D}"/>
              </a:ext>
            </a:extLst>
          </p:cNvPr>
          <p:cNvSpPr/>
          <p:nvPr userDrawn="1"/>
        </p:nvSpPr>
        <p:spPr>
          <a:xfrm>
            <a:off x="4448886" y="3724242"/>
            <a:ext cx="7743114"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nvGrpSpPr>
          <p:cNvPr id="61" name="组合 60">
            <a:extLst>
              <a:ext uri="{FF2B5EF4-FFF2-40B4-BE49-F238E27FC236}">
                <a16:creationId xmlns:a16="http://schemas.microsoft.com/office/drawing/2014/main" id="{EE714EAB-07D9-44B5-B78B-6FEAA839B374}"/>
              </a:ext>
            </a:extLst>
          </p:cNvPr>
          <p:cNvGrpSpPr/>
          <p:nvPr userDrawn="1"/>
        </p:nvGrpSpPr>
        <p:grpSpPr>
          <a:xfrm>
            <a:off x="10477913" y="446123"/>
            <a:ext cx="1234662" cy="419641"/>
            <a:chOff x="1398368" y="5051425"/>
            <a:chExt cx="3242941" cy="1102222"/>
          </a:xfrm>
        </p:grpSpPr>
        <p:sp>
          <p:nvSpPr>
            <p:cNvPr id="62" name="Freeform 5">
              <a:extLst>
                <a:ext uri="{FF2B5EF4-FFF2-40B4-BE49-F238E27FC236}">
                  <a16:creationId xmlns:a16="http://schemas.microsoft.com/office/drawing/2014/main" id="{7FA45D93-729E-4D6F-A3FC-2D53595419E1}"/>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
              <a:extLst>
                <a:ext uri="{FF2B5EF4-FFF2-40B4-BE49-F238E27FC236}">
                  <a16:creationId xmlns:a16="http://schemas.microsoft.com/office/drawing/2014/main" id="{DC35FD30-451B-40C2-85D1-5021B188AB00}"/>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
              <a:extLst>
                <a:ext uri="{FF2B5EF4-FFF2-40B4-BE49-F238E27FC236}">
                  <a16:creationId xmlns:a16="http://schemas.microsoft.com/office/drawing/2014/main" id="{3AF62E0C-227D-4B9D-AFA2-99F99303A72A}"/>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组合 117">
              <a:extLst>
                <a:ext uri="{FF2B5EF4-FFF2-40B4-BE49-F238E27FC236}">
                  <a16:creationId xmlns:a16="http://schemas.microsoft.com/office/drawing/2014/main" id="{1D9D4E96-1150-4F92-A799-49013E3B02AD}"/>
                </a:ext>
              </a:extLst>
            </p:cNvPr>
            <p:cNvGrpSpPr/>
            <p:nvPr/>
          </p:nvGrpSpPr>
          <p:grpSpPr>
            <a:xfrm>
              <a:off x="2921957" y="5168150"/>
              <a:ext cx="542765" cy="642593"/>
              <a:chOff x="3102298" y="5183391"/>
              <a:chExt cx="501880" cy="594188"/>
            </a:xfrm>
          </p:grpSpPr>
          <p:sp>
            <p:nvSpPr>
              <p:cNvPr id="160" name="Freeform 6">
                <a:extLst>
                  <a:ext uri="{FF2B5EF4-FFF2-40B4-BE49-F238E27FC236}">
                    <a16:creationId xmlns:a16="http://schemas.microsoft.com/office/drawing/2014/main" id="{4984EB27-7370-42FA-887C-1D1E13F336B4}"/>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0">
                <a:extLst>
                  <a:ext uri="{FF2B5EF4-FFF2-40B4-BE49-F238E27FC236}">
                    <a16:creationId xmlns:a16="http://schemas.microsoft.com/office/drawing/2014/main" id="{FAA5CAB3-2C92-402D-A7FE-C1AF22674CB1}"/>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3">
                <a:extLst>
                  <a:ext uri="{FF2B5EF4-FFF2-40B4-BE49-F238E27FC236}">
                    <a16:creationId xmlns:a16="http://schemas.microsoft.com/office/drawing/2014/main" id="{E091D213-D18A-454B-AD1A-4778B404D9C6}"/>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组合 118">
              <a:extLst>
                <a:ext uri="{FF2B5EF4-FFF2-40B4-BE49-F238E27FC236}">
                  <a16:creationId xmlns:a16="http://schemas.microsoft.com/office/drawing/2014/main" id="{E6D2E5A5-737D-45E9-A0B6-EA91C4EFE82C}"/>
                </a:ext>
              </a:extLst>
            </p:cNvPr>
            <p:cNvGrpSpPr/>
            <p:nvPr/>
          </p:nvGrpSpPr>
          <p:grpSpPr>
            <a:xfrm>
              <a:off x="4196892" y="5154476"/>
              <a:ext cx="444417" cy="649987"/>
              <a:chOff x="4257853" y="5169716"/>
              <a:chExt cx="410940" cy="601025"/>
            </a:xfrm>
          </p:grpSpPr>
          <p:sp>
            <p:nvSpPr>
              <p:cNvPr id="155" name="Freeform 9">
                <a:extLst>
                  <a:ext uri="{FF2B5EF4-FFF2-40B4-BE49-F238E27FC236}">
                    <a16:creationId xmlns:a16="http://schemas.microsoft.com/office/drawing/2014/main" id="{B6B5DDB8-28B4-41F1-8444-0F359E9E0BA3}"/>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1">
                <a:extLst>
                  <a:ext uri="{FF2B5EF4-FFF2-40B4-BE49-F238E27FC236}">
                    <a16:creationId xmlns:a16="http://schemas.microsoft.com/office/drawing/2014/main" id="{6F783C74-733F-496F-A0C4-C50B22062A24}"/>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2">
                <a:extLst>
                  <a:ext uri="{FF2B5EF4-FFF2-40B4-BE49-F238E27FC236}">
                    <a16:creationId xmlns:a16="http://schemas.microsoft.com/office/drawing/2014/main" id="{0309682E-33D6-4654-B94A-FCD78CC89364}"/>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
                <a:extLst>
                  <a:ext uri="{FF2B5EF4-FFF2-40B4-BE49-F238E27FC236}">
                    <a16:creationId xmlns:a16="http://schemas.microsoft.com/office/drawing/2014/main" id="{99A3BEB0-9054-4932-A9CE-96E5CE88355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
                <a:extLst>
                  <a:ext uri="{FF2B5EF4-FFF2-40B4-BE49-F238E27FC236}">
                    <a16:creationId xmlns:a16="http://schemas.microsoft.com/office/drawing/2014/main" id="{0A160E54-2976-42F3-ACC8-D3C79ED4E3BF}"/>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Freeform 16">
              <a:extLst>
                <a:ext uri="{FF2B5EF4-FFF2-40B4-BE49-F238E27FC236}">
                  <a16:creationId xmlns:a16="http://schemas.microsoft.com/office/drawing/2014/main" id="{3E26CEAB-5E1B-4A81-8C79-D5F622E8857B}"/>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7">
              <a:extLst>
                <a:ext uri="{FF2B5EF4-FFF2-40B4-BE49-F238E27FC236}">
                  <a16:creationId xmlns:a16="http://schemas.microsoft.com/office/drawing/2014/main" id="{B02B6C1C-BD98-42A1-82CA-B3622E1C0084}"/>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18">
              <a:extLst>
                <a:ext uri="{FF2B5EF4-FFF2-40B4-BE49-F238E27FC236}">
                  <a16:creationId xmlns:a16="http://schemas.microsoft.com/office/drawing/2014/main" id="{E2551171-B8AC-4115-8748-5FFC1DC34C5F}"/>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9">
              <a:extLst>
                <a:ext uri="{FF2B5EF4-FFF2-40B4-BE49-F238E27FC236}">
                  <a16:creationId xmlns:a16="http://schemas.microsoft.com/office/drawing/2014/main" id="{CC26B7B1-3A45-4755-ABB4-AF9ED89F906C}"/>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0">
              <a:extLst>
                <a:ext uri="{FF2B5EF4-FFF2-40B4-BE49-F238E27FC236}">
                  <a16:creationId xmlns:a16="http://schemas.microsoft.com/office/drawing/2014/main" id="{793DC595-7878-4340-BAB9-8679FD3124A3}"/>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1">
              <a:extLst>
                <a:ext uri="{FF2B5EF4-FFF2-40B4-BE49-F238E27FC236}">
                  <a16:creationId xmlns:a16="http://schemas.microsoft.com/office/drawing/2014/main" id="{72B0CA91-C35D-438D-922D-69126B89A4B5}"/>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2">
              <a:extLst>
                <a:ext uri="{FF2B5EF4-FFF2-40B4-BE49-F238E27FC236}">
                  <a16:creationId xmlns:a16="http://schemas.microsoft.com/office/drawing/2014/main" id="{4FB8B689-EC24-426F-83FB-92F94C66E89A}"/>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3">
              <a:extLst>
                <a:ext uri="{FF2B5EF4-FFF2-40B4-BE49-F238E27FC236}">
                  <a16:creationId xmlns:a16="http://schemas.microsoft.com/office/drawing/2014/main" id="{8CB84DC3-8747-42BB-9172-7D2F1FEEB18D}"/>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4">
              <a:extLst>
                <a:ext uri="{FF2B5EF4-FFF2-40B4-BE49-F238E27FC236}">
                  <a16:creationId xmlns:a16="http://schemas.microsoft.com/office/drawing/2014/main" id="{F2F08511-9F41-4493-83B5-022C5EFAA07F}"/>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5">
              <a:extLst>
                <a:ext uri="{FF2B5EF4-FFF2-40B4-BE49-F238E27FC236}">
                  <a16:creationId xmlns:a16="http://schemas.microsoft.com/office/drawing/2014/main" id="{8884A7A1-10C5-4E32-97C1-1E8BFA8B48B2}"/>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6">
              <a:extLst>
                <a:ext uri="{FF2B5EF4-FFF2-40B4-BE49-F238E27FC236}">
                  <a16:creationId xmlns:a16="http://schemas.microsoft.com/office/drawing/2014/main" id="{893CF468-FDBF-42AE-B899-AD1D32084EBA}"/>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7">
              <a:extLst>
                <a:ext uri="{FF2B5EF4-FFF2-40B4-BE49-F238E27FC236}">
                  <a16:creationId xmlns:a16="http://schemas.microsoft.com/office/drawing/2014/main" id="{1132D65F-FA9E-4B90-8949-FE031C6947EA}"/>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8">
              <a:extLst>
                <a:ext uri="{FF2B5EF4-FFF2-40B4-BE49-F238E27FC236}">
                  <a16:creationId xmlns:a16="http://schemas.microsoft.com/office/drawing/2014/main" id="{FBD8B304-E1CF-4819-A8B0-935D03EE2C76}"/>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9">
              <a:extLst>
                <a:ext uri="{FF2B5EF4-FFF2-40B4-BE49-F238E27FC236}">
                  <a16:creationId xmlns:a16="http://schemas.microsoft.com/office/drawing/2014/main" id="{6366D1E3-0F90-43C1-B4D8-6DF3DA6C7864}"/>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0">
              <a:extLst>
                <a:ext uri="{FF2B5EF4-FFF2-40B4-BE49-F238E27FC236}">
                  <a16:creationId xmlns:a16="http://schemas.microsoft.com/office/drawing/2014/main" id="{F746B62C-19F6-44D8-A9F3-EE46A367EA7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1">
              <a:extLst>
                <a:ext uri="{FF2B5EF4-FFF2-40B4-BE49-F238E27FC236}">
                  <a16:creationId xmlns:a16="http://schemas.microsoft.com/office/drawing/2014/main" id="{6BFCB56A-CFC9-4634-BF8A-D9832955AEBA}"/>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2">
              <a:extLst>
                <a:ext uri="{FF2B5EF4-FFF2-40B4-BE49-F238E27FC236}">
                  <a16:creationId xmlns:a16="http://schemas.microsoft.com/office/drawing/2014/main" id="{1DD4FC40-A939-43FF-9382-A97E379F4F02}"/>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3">
              <a:extLst>
                <a:ext uri="{FF2B5EF4-FFF2-40B4-BE49-F238E27FC236}">
                  <a16:creationId xmlns:a16="http://schemas.microsoft.com/office/drawing/2014/main" id="{683CEE68-60F9-45CB-9995-5992BA9FFC7C}"/>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4">
              <a:extLst>
                <a:ext uri="{FF2B5EF4-FFF2-40B4-BE49-F238E27FC236}">
                  <a16:creationId xmlns:a16="http://schemas.microsoft.com/office/drawing/2014/main" id="{20599052-7279-48CE-846F-CE21E06E53CA}"/>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35">
              <a:extLst>
                <a:ext uri="{FF2B5EF4-FFF2-40B4-BE49-F238E27FC236}">
                  <a16:creationId xmlns:a16="http://schemas.microsoft.com/office/drawing/2014/main" id="{A698E171-F66B-496B-808D-85E95095B67A}"/>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6">
              <a:extLst>
                <a:ext uri="{FF2B5EF4-FFF2-40B4-BE49-F238E27FC236}">
                  <a16:creationId xmlns:a16="http://schemas.microsoft.com/office/drawing/2014/main" id="{197C7EE8-81EB-4D12-BF52-A7F5CFD4D165}"/>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7">
              <a:extLst>
                <a:ext uri="{FF2B5EF4-FFF2-40B4-BE49-F238E27FC236}">
                  <a16:creationId xmlns:a16="http://schemas.microsoft.com/office/drawing/2014/main" id="{6D61221C-796E-4B64-AC9C-DEE66A5ABB09}"/>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8">
              <a:extLst>
                <a:ext uri="{FF2B5EF4-FFF2-40B4-BE49-F238E27FC236}">
                  <a16:creationId xmlns:a16="http://schemas.microsoft.com/office/drawing/2014/main" id="{F2EF33B0-2F47-4357-9C74-6EE710D6D02C}"/>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9">
              <a:extLst>
                <a:ext uri="{FF2B5EF4-FFF2-40B4-BE49-F238E27FC236}">
                  <a16:creationId xmlns:a16="http://schemas.microsoft.com/office/drawing/2014/main" id="{AD1F9514-0CC8-4AF9-A400-72B43AE9A1B2}"/>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0">
              <a:extLst>
                <a:ext uri="{FF2B5EF4-FFF2-40B4-BE49-F238E27FC236}">
                  <a16:creationId xmlns:a16="http://schemas.microsoft.com/office/drawing/2014/main" id="{9946A920-52E7-4DF8-B116-971D8AD9E5C7}"/>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1">
              <a:extLst>
                <a:ext uri="{FF2B5EF4-FFF2-40B4-BE49-F238E27FC236}">
                  <a16:creationId xmlns:a16="http://schemas.microsoft.com/office/drawing/2014/main" id="{9D00702D-7B9F-4F07-997B-04C6BCE44C73}"/>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2">
              <a:extLst>
                <a:ext uri="{FF2B5EF4-FFF2-40B4-BE49-F238E27FC236}">
                  <a16:creationId xmlns:a16="http://schemas.microsoft.com/office/drawing/2014/main" id="{7A125BBF-89C1-42EA-994D-678FCAEA8B19}"/>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3">
              <a:extLst>
                <a:ext uri="{FF2B5EF4-FFF2-40B4-BE49-F238E27FC236}">
                  <a16:creationId xmlns:a16="http://schemas.microsoft.com/office/drawing/2014/main" id="{BA2748C6-48BA-4851-8444-4CDABA89688F}"/>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4">
              <a:extLst>
                <a:ext uri="{FF2B5EF4-FFF2-40B4-BE49-F238E27FC236}">
                  <a16:creationId xmlns:a16="http://schemas.microsoft.com/office/drawing/2014/main" id="{A21009E4-A4A4-4E3B-9099-0B19864A8EBC}"/>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5">
              <a:extLst>
                <a:ext uri="{FF2B5EF4-FFF2-40B4-BE49-F238E27FC236}">
                  <a16:creationId xmlns:a16="http://schemas.microsoft.com/office/drawing/2014/main" id="{DD497FBE-A16A-4A22-885B-31615127C583}"/>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6">
              <a:extLst>
                <a:ext uri="{FF2B5EF4-FFF2-40B4-BE49-F238E27FC236}">
                  <a16:creationId xmlns:a16="http://schemas.microsoft.com/office/drawing/2014/main" id="{E842BAC3-E354-4972-B568-69FCB48716DB}"/>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7">
              <a:extLst>
                <a:ext uri="{FF2B5EF4-FFF2-40B4-BE49-F238E27FC236}">
                  <a16:creationId xmlns:a16="http://schemas.microsoft.com/office/drawing/2014/main" id="{3BE582AE-A939-4D6C-8BB9-C98F1645A8B1}"/>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8">
              <a:extLst>
                <a:ext uri="{FF2B5EF4-FFF2-40B4-BE49-F238E27FC236}">
                  <a16:creationId xmlns:a16="http://schemas.microsoft.com/office/drawing/2014/main" id="{04FB56D0-E8F0-4721-9AF0-9D353552182D}"/>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9">
              <a:extLst>
                <a:ext uri="{FF2B5EF4-FFF2-40B4-BE49-F238E27FC236}">
                  <a16:creationId xmlns:a16="http://schemas.microsoft.com/office/drawing/2014/main" id="{87F921AE-DE5F-4580-9487-6A8CBF205BA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495504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封底4-1">
    <p:spTree>
      <p:nvGrpSpPr>
        <p:cNvPr id="1" name=""/>
        <p:cNvGrpSpPr/>
        <p:nvPr/>
      </p:nvGrpSpPr>
      <p:grpSpPr>
        <a:xfrm>
          <a:off x="0" y="0"/>
          <a:ext cx="0" cy="0"/>
          <a:chOff x="0" y="0"/>
          <a:chExt cx="0" cy="0"/>
        </a:xfrm>
      </p:grpSpPr>
      <p:pic>
        <p:nvPicPr>
          <p:cNvPr id="72" name="图片 71">
            <a:extLst>
              <a:ext uri="{FF2B5EF4-FFF2-40B4-BE49-F238E27FC236}">
                <a16:creationId xmlns:a16="http://schemas.microsoft.com/office/drawing/2014/main" id="{FB165A9C-3156-4168-8BB2-9DB13753998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09"/>
            <a:ext cx="12192000" cy="6856781"/>
          </a:xfrm>
          <a:prstGeom prst="rect">
            <a:avLst/>
          </a:prstGeom>
        </p:spPr>
      </p:pic>
      <p:sp>
        <p:nvSpPr>
          <p:cNvPr id="171" name="标题 1">
            <a:extLst>
              <a:ext uri="{FF2B5EF4-FFF2-40B4-BE49-F238E27FC236}">
                <a16:creationId xmlns:a16="http://schemas.microsoft.com/office/drawing/2014/main" id="{10439045-005D-497E-AEFF-9DF47E236919}"/>
              </a:ext>
            </a:extLst>
          </p:cNvPr>
          <p:cNvSpPr>
            <a:spLocks noGrp="1"/>
          </p:cNvSpPr>
          <p:nvPr>
            <p:ph type="ctrTitle"/>
          </p:nvPr>
        </p:nvSpPr>
        <p:spPr>
          <a:xfrm>
            <a:off x="1728355" y="2113836"/>
            <a:ext cx="8839200" cy="1200329"/>
          </a:xfrm>
        </p:spPr>
        <p:txBody>
          <a:bodyPr wrap="square" lIns="0" rIns="0">
            <a:noAutofit/>
          </a:bodyPr>
          <a:lstStyle>
            <a:lvl1pPr>
              <a:lnSpc>
                <a:spcPct val="100000"/>
              </a:lnSpc>
              <a:defRPr lang="en-US" sz="7200" b="1" dirty="0">
                <a:solidFill>
                  <a:schemeClr val="bg1"/>
                </a:solidFill>
                <a:effectLst>
                  <a:outerShdw blurRad="38100" dist="38100" dir="2700000" algn="tl">
                    <a:srgbClr val="000000">
                      <a:alpha val="43137"/>
                    </a:srgbClr>
                  </a:outerShdw>
                </a:effectLst>
                <a:latin typeface="+mn-lt"/>
                <a:ea typeface="+mn-ea"/>
                <a:cs typeface="+mn-ea"/>
              </a:defRPr>
            </a:lvl1pPr>
          </a:lstStyle>
          <a:p>
            <a:pPr marL="0" lvl="0" algn="ctr" defTabSz="457200"/>
            <a:endParaRPr lang="en-US" dirty="0"/>
          </a:p>
        </p:txBody>
      </p:sp>
      <p:grpSp>
        <p:nvGrpSpPr>
          <p:cNvPr id="66" name="组合 65">
            <a:extLst>
              <a:ext uri="{FF2B5EF4-FFF2-40B4-BE49-F238E27FC236}">
                <a16:creationId xmlns:a16="http://schemas.microsoft.com/office/drawing/2014/main" id="{E684D80F-A3CE-41ED-925F-580942B173FA}"/>
              </a:ext>
            </a:extLst>
          </p:cNvPr>
          <p:cNvGrpSpPr/>
          <p:nvPr userDrawn="1"/>
        </p:nvGrpSpPr>
        <p:grpSpPr>
          <a:xfrm>
            <a:off x="1728355" y="3451756"/>
            <a:ext cx="8839200" cy="103909"/>
            <a:chOff x="1676400" y="4353791"/>
            <a:chExt cx="8839200" cy="103909"/>
          </a:xfrm>
        </p:grpSpPr>
        <p:cxnSp>
          <p:nvCxnSpPr>
            <p:cNvPr id="67" name="直接连接符 66">
              <a:extLst>
                <a:ext uri="{FF2B5EF4-FFF2-40B4-BE49-F238E27FC236}">
                  <a16:creationId xmlns:a16="http://schemas.microsoft.com/office/drawing/2014/main" id="{B90F2160-E345-49CB-9394-650A22B3E276}"/>
                </a:ext>
              </a:extLst>
            </p:cNvPr>
            <p:cNvCxnSpPr/>
            <p:nvPr/>
          </p:nvCxnSpPr>
          <p:spPr>
            <a:xfrm>
              <a:off x="1676400" y="4353791"/>
              <a:ext cx="8839200" cy="0"/>
            </a:xfrm>
            <a:prstGeom prst="line">
              <a:avLst/>
            </a:prstGeom>
            <a:ln w="571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078BDA72-8D43-4FF3-B06D-15895AD13329}"/>
                </a:ext>
              </a:extLst>
            </p:cNvPr>
            <p:cNvCxnSpPr/>
            <p:nvPr/>
          </p:nvCxnSpPr>
          <p:spPr>
            <a:xfrm>
              <a:off x="1676400" y="4457700"/>
              <a:ext cx="8839200" cy="0"/>
            </a:xfrm>
            <a:prstGeom prst="line">
              <a:avLst/>
            </a:prstGeom>
            <a:ln w="952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0" name="文本占位符 4">
            <a:extLst>
              <a:ext uri="{FF2B5EF4-FFF2-40B4-BE49-F238E27FC236}">
                <a16:creationId xmlns:a16="http://schemas.microsoft.com/office/drawing/2014/main" id="{56944F79-42B5-4E79-A5DB-74BEFEAA905D}"/>
              </a:ext>
            </a:extLst>
          </p:cNvPr>
          <p:cNvSpPr>
            <a:spLocks noGrp="1"/>
          </p:cNvSpPr>
          <p:nvPr>
            <p:ph type="body" sz="quarter" idx="15"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117" name="文本占位符 4">
            <a:extLst>
              <a:ext uri="{FF2B5EF4-FFF2-40B4-BE49-F238E27FC236}">
                <a16:creationId xmlns:a16="http://schemas.microsoft.com/office/drawing/2014/main" id="{D76B6D23-065E-49CC-8F94-BABFC6008C8D}"/>
              </a:ext>
            </a:extLst>
          </p:cNvPr>
          <p:cNvSpPr>
            <a:spLocks noGrp="1"/>
          </p:cNvSpPr>
          <p:nvPr>
            <p:ph type="body" sz="quarter" idx="16"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grpSp>
        <p:nvGrpSpPr>
          <p:cNvPr id="57" name="组合 56">
            <a:extLst>
              <a:ext uri="{FF2B5EF4-FFF2-40B4-BE49-F238E27FC236}">
                <a16:creationId xmlns:a16="http://schemas.microsoft.com/office/drawing/2014/main" id="{59E7CDB0-31AD-4998-BD5D-4BD5F347704A}"/>
              </a:ext>
            </a:extLst>
          </p:cNvPr>
          <p:cNvGrpSpPr/>
          <p:nvPr userDrawn="1"/>
        </p:nvGrpSpPr>
        <p:grpSpPr>
          <a:xfrm>
            <a:off x="5478669" y="446123"/>
            <a:ext cx="1234662" cy="419641"/>
            <a:chOff x="1398368" y="5051425"/>
            <a:chExt cx="3242941" cy="1102222"/>
          </a:xfrm>
          <a:solidFill>
            <a:schemeClr val="bg1"/>
          </a:solidFill>
        </p:grpSpPr>
        <p:sp>
          <p:nvSpPr>
            <p:cNvPr id="58" name="Freeform 5">
              <a:extLst>
                <a:ext uri="{FF2B5EF4-FFF2-40B4-BE49-F238E27FC236}">
                  <a16:creationId xmlns:a16="http://schemas.microsoft.com/office/drawing/2014/main" id="{439049B5-3511-4B79-9291-1582995139DD}"/>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7">
              <a:extLst>
                <a:ext uri="{FF2B5EF4-FFF2-40B4-BE49-F238E27FC236}">
                  <a16:creationId xmlns:a16="http://schemas.microsoft.com/office/drawing/2014/main" id="{CFA1AAD6-FA48-4EF6-A741-32C1DAFF3BA9}"/>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
              <a:extLst>
                <a:ext uri="{FF2B5EF4-FFF2-40B4-BE49-F238E27FC236}">
                  <a16:creationId xmlns:a16="http://schemas.microsoft.com/office/drawing/2014/main" id="{93D1CF40-EC2F-47C7-9E4C-BC71F58D066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组合 61">
              <a:extLst>
                <a:ext uri="{FF2B5EF4-FFF2-40B4-BE49-F238E27FC236}">
                  <a16:creationId xmlns:a16="http://schemas.microsoft.com/office/drawing/2014/main" id="{B8F705B3-5724-47E6-8A0A-EF15964B8F7E}"/>
                </a:ext>
              </a:extLst>
            </p:cNvPr>
            <p:cNvGrpSpPr/>
            <p:nvPr/>
          </p:nvGrpSpPr>
          <p:grpSpPr>
            <a:xfrm>
              <a:off x="2921957" y="5168150"/>
              <a:ext cx="542765" cy="642593"/>
              <a:chOff x="3102298" y="5183391"/>
              <a:chExt cx="501880" cy="594188"/>
            </a:xfrm>
            <a:grpFill/>
          </p:grpSpPr>
          <p:sp>
            <p:nvSpPr>
              <p:cNvPr id="155" name="Freeform 6">
                <a:extLst>
                  <a:ext uri="{FF2B5EF4-FFF2-40B4-BE49-F238E27FC236}">
                    <a16:creationId xmlns:a16="http://schemas.microsoft.com/office/drawing/2014/main" id="{B09E83B7-3FD6-4926-A0FF-740001A8EA14}"/>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0">
                <a:extLst>
                  <a:ext uri="{FF2B5EF4-FFF2-40B4-BE49-F238E27FC236}">
                    <a16:creationId xmlns:a16="http://schemas.microsoft.com/office/drawing/2014/main" id="{A19C4D02-3DD4-4284-8FA2-18504F99B79A}"/>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3">
                <a:extLst>
                  <a:ext uri="{FF2B5EF4-FFF2-40B4-BE49-F238E27FC236}">
                    <a16:creationId xmlns:a16="http://schemas.microsoft.com/office/drawing/2014/main" id="{933BDA9B-C71F-4875-858C-F421328AA152}"/>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组合 62">
              <a:extLst>
                <a:ext uri="{FF2B5EF4-FFF2-40B4-BE49-F238E27FC236}">
                  <a16:creationId xmlns:a16="http://schemas.microsoft.com/office/drawing/2014/main" id="{A865DE86-209D-4D5A-8D99-7FFF17946E1A}"/>
                </a:ext>
              </a:extLst>
            </p:cNvPr>
            <p:cNvGrpSpPr/>
            <p:nvPr/>
          </p:nvGrpSpPr>
          <p:grpSpPr>
            <a:xfrm>
              <a:off x="4196892" y="5154476"/>
              <a:ext cx="444417" cy="649987"/>
              <a:chOff x="4257853" y="5169716"/>
              <a:chExt cx="410940" cy="601025"/>
            </a:xfrm>
            <a:grpFill/>
          </p:grpSpPr>
          <p:sp>
            <p:nvSpPr>
              <p:cNvPr id="150" name="Freeform 9">
                <a:extLst>
                  <a:ext uri="{FF2B5EF4-FFF2-40B4-BE49-F238E27FC236}">
                    <a16:creationId xmlns:a16="http://schemas.microsoft.com/office/drawing/2014/main" id="{79C25719-1D31-4BA1-9799-418BF1603774}"/>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1">
                <a:extLst>
                  <a:ext uri="{FF2B5EF4-FFF2-40B4-BE49-F238E27FC236}">
                    <a16:creationId xmlns:a16="http://schemas.microsoft.com/office/drawing/2014/main" id="{1B85BC88-85F7-4115-BAFC-1A25909A3E55}"/>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2">
                <a:extLst>
                  <a:ext uri="{FF2B5EF4-FFF2-40B4-BE49-F238E27FC236}">
                    <a16:creationId xmlns:a16="http://schemas.microsoft.com/office/drawing/2014/main" id="{B13A5777-A6A2-4142-A404-DD30B496A22E}"/>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
                <a:extLst>
                  <a:ext uri="{FF2B5EF4-FFF2-40B4-BE49-F238E27FC236}">
                    <a16:creationId xmlns:a16="http://schemas.microsoft.com/office/drawing/2014/main" id="{61B2B235-9EC2-43FE-BBA5-7A7440279CB0}"/>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5">
                <a:extLst>
                  <a:ext uri="{FF2B5EF4-FFF2-40B4-BE49-F238E27FC236}">
                    <a16:creationId xmlns:a16="http://schemas.microsoft.com/office/drawing/2014/main" id="{DA6D2405-18A9-4CE8-9C26-7B982A0CC51C}"/>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4" name="Freeform 16">
              <a:extLst>
                <a:ext uri="{FF2B5EF4-FFF2-40B4-BE49-F238E27FC236}">
                  <a16:creationId xmlns:a16="http://schemas.microsoft.com/office/drawing/2014/main" id="{7A3D84FA-03C5-465E-BDDB-922414EBD645}"/>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7">
              <a:extLst>
                <a:ext uri="{FF2B5EF4-FFF2-40B4-BE49-F238E27FC236}">
                  <a16:creationId xmlns:a16="http://schemas.microsoft.com/office/drawing/2014/main" id="{9D037C15-16A3-4E76-8B70-A77CAFB6F021}"/>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18">
              <a:extLst>
                <a:ext uri="{FF2B5EF4-FFF2-40B4-BE49-F238E27FC236}">
                  <a16:creationId xmlns:a16="http://schemas.microsoft.com/office/drawing/2014/main" id="{F31711E3-AAEE-45E2-A94E-14ECC57D9D15}"/>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9">
              <a:extLst>
                <a:ext uri="{FF2B5EF4-FFF2-40B4-BE49-F238E27FC236}">
                  <a16:creationId xmlns:a16="http://schemas.microsoft.com/office/drawing/2014/main" id="{2E4BFA2E-680D-46C7-8BDF-DF62427A4CAA}"/>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0">
              <a:extLst>
                <a:ext uri="{FF2B5EF4-FFF2-40B4-BE49-F238E27FC236}">
                  <a16:creationId xmlns:a16="http://schemas.microsoft.com/office/drawing/2014/main" id="{0CD549C0-D41D-40ED-9735-CD68B05E5C2A}"/>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1">
              <a:extLst>
                <a:ext uri="{FF2B5EF4-FFF2-40B4-BE49-F238E27FC236}">
                  <a16:creationId xmlns:a16="http://schemas.microsoft.com/office/drawing/2014/main" id="{3F3E13A1-5962-4384-A27E-8646C95D10CA}"/>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22">
              <a:extLst>
                <a:ext uri="{FF2B5EF4-FFF2-40B4-BE49-F238E27FC236}">
                  <a16:creationId xmlns:a16="http://schemas.microsoft.com/office/drawing/2014/main" id="{5753220B-B6F0-4874-A427-F30CA07A2938}"/>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23">
              <a:extLst>
                <a:ext uri="{FF2B5EF4-FFF2-40B4-BE49-F238E27FC236}">
                  <a16:creationId xmlns:a16="http://schemas.microsoft.com/office/drawing/2014/main" id="{F0CCC601-165F-40B5-84C6-834890924AF0}"/>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24">
              <a:extLst>
                <a:ext uri="{FF2B5EF4-FFF2-40B4-BE49-F238E27FC236}">
                  <a16:creationId xmlns:a16="http://schemas.microsoft.com/office/drawing/2014/main" id="{D872C481-DBDF-47FD-8BBA-011AF5C674AD}"/>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5">
              <a:extLst>
                <a:ext uri="{FF2B5EF4-FFF2-40B4-BE49-F238E27FC236}">
                  <a16:creationId xmlns:a16="http://schemas.microsoft.com/office/drawing/2014/main" id="{653C524E-0561-4FD5-87C1-0E911B4573F0}"/>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6">
              <a:extLst>
                <a:ext uri="{FF2B5EF4-FFF2-40B4-BE49-F238E27FC236}">
                  <a16:creationId xmlns:a16="http://schemas.microsoft.com/office/drawing/2014/main" id="{9A094E36-5834-4B4E-8F19-EEA9EC9175A1}"/>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7">
              <a:extLst>
                <a:ext uri="{FF2B5EF4-FFF2-40B4-BE49-F238E27FC236}">
                  <a16:creationId xmlns:a16="http://schemas.microsoft.com/office/drawing/2014/main" id="{74595C4C-D3FD-43C9-AFB3-C518E69D617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8">
              <a:extLst>
                <a:ext uri="{FF2B5EF4-FFF2-40B4-BE49-F238E27FC236}">
                  <a16:creationId xmlns:a16="http://schemas.microsoft.com/office/drawing/2014/main" id="{2E001D32-3768-492F-983D-DC21BD1D4ACD}"/>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9">
              <a:extLst>
                <a:ext uri="{FF2B5EF4-FFF2-40B4-BE49-F238E27FC236}">
                  <a16:creationId xmlns:a16="http://schemas.microsoft.com/office/drawing/2014/main" id="{BE5C9797-CFE8-48D0-AFAA-16935C76F047}"/>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0">
              <a:extLst>
                <a:ext uri="{FF2B5EF4-FFF2-40B4-BE49-F238E27FC236}">
                  <a16:creationId xmlns:a16="http://schemas.microsoft.com/office/drawing/2014/main" id="{22F08195-6B8C-407E-A3EB-160DC7D205D3}"/>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1">
              <a:extLst>
                <a:ext uri="{FF2B5EF4-FFF2-40B4-BE49-F238E27FC236}">
                  <a16:creationId xmlns:a16="http://schemas.microsoft.com/office/drawing/2014/main" id="{B04BB8DE-45DD-476A-AE35-EDE98F922031}"/>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2">
              <a:extLst>
                <a:ext uri="{FF2B5EF4-FFF2-40B4-BE49-F238E27FC236}">
                  <a16:creationId xmlns:a16="http://schemas.microsoft.com/office/drawing/2014/main" id="{C015FB5E-A52A-4B90-ACB5-03C83B2DDA11}"/>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3">
              <a:extLst>
                <a:ext uri="{FF2B5EF4-FFF2-40B4-BE49-F238E27FC236}">
                  <a16:creationId xmlns:a16="http://schemas.microsoft.com/office/drawing/2014/main" id="{A1FC1145-8606-4E35-9DA0-1A8F1AB1CC17}"/>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4">
              <a:extLst>
                <a:ext uri="{FF2B5EF4-FFF2-40B4-BE49-F238E27FC236}">
                  <a16:creationId xmlns:a16="http://schemas.microsoft.com/office/drawing/2014/main" id="{74327716-B9AB-4C62-BE93-84EA831327C3}"/>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5">
              <a:extLst>
                <a:ext uri="{FF2B5EF4-FFF2-40B4-BE49-F238E27FC236}">
                  <a16:creationId xmlns:a16="http://schemas.microsoft.com/office/drawing/2014/main" id="{50B2BD67-B41F-4D16-AF2E-BACB13338879}"/>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6">
              <a:extLst>
                <a:ext uri="{FF2B5EF4-FFF2-40B4-BE49-F238E27FC236}">
                  <a16:creationId xmlns:a16="http://schemas.microsoft.com/office/drawing/2014/main" id="{319FABAD-CF10-4B8A-BB85-6D8E07E9C20F}"/>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7">
              <a:extLst>
                <a:ext uri="{FF2B5EF4-FFF2-40B4-BE49-F238E27FC236}">
                  <a16:creationId xmlns:a16="http://schemas.microsoft.com/office/drawing/2014/main" id="{86D3AF3A-E6A4-4759-AB79-337513DC6D4A}"/>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8">
              <a:extLst>
                <a:ext uri="{FF2B5EF4-FFF2-40B4-BE49-F238E27FC236}">
                  <a16:creationId xmlns:a16="http://schemas.microsoft.com/office/drawing/2014/main" id="{FDB22518-8317-44EA-AD55-C08E75A35946}"/>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9">
              <a:extLst>
                <a:ext uri="{FF2B5EF4-FFF2-40B4-BE49-F238E27FC236}">
                  <a16:creationId xmlns:a16="http://schemas.microsoft.com/office/drawing/2014/main" id="{8CF1859E-2119-4B47-8A3D-BC6D41F06C2C}"/>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40">
              <a:extLst>
                <a:ext uri="{FF2B5EF4-FFF2-40B4-BE49-F238E27FC236}">
                  <a16:creationId xmlns:a16="http://schemas.microsoft.com/office/drawing/2014/main" id="{EC17AD47-33F4-4325-9810-AD3395D6D63B}"/>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41">
              <a:extLst>
                <a:ext uri="{FF2B5EF4-FFF2-40B4-BE49-F238E27FC236}">
                  <a16:creationId xmlns:a16="http://schemas.microsoft.com/office/drawing/2014/main" id="{9B477136-DF2C-4405-8B1B-AB10433DD425}"/>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42">
              <a:extLst>
                <a:ext uri="{FF2B5EF4-FFF2-40B4-BE49-F238E27FC236}">
                  <a16:creationId xmlns:a16="http://schemas.microsoft.com/office/drawing/2014/main" id="{75EBA9EA-19ED-445D-90E4-8455D02DFBF5}"/>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43">
              <a:extLst>
                <a:ext uri="{FF2B5EF4-FFF2-40B4-BE49-F238E27FC236}">
                  <a16:creationId xmlns:a16="http://schemas.microsoft.com/office/drawing/2014/main" id="{743CCEC2-95D9-4CB8-B82C-F3861F582F5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44">
              <a:extLst>
                <a:ext uri="{FF2B5EF4-FFF2-40B4-BE49-F238E27FC236}">
                  <a16:creationId xmlns:a16="http://schemas.microsoft.com/office/drawing/2014/main" id="{759C834D-0521-45CA-8F0B-6DD200AA307C}"/>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5">
              <a:extLst>
                <a:ext uri="{FF2B5EF4-FFF2-40B4-BE49-F238E27FC236}">
                  <a16:creationId xmlns:a16="http://schemas.microsoft.com/office/drawing/2014/main" id="{D8C1FD23-C756-4A1D-91B8-FDAF7BA8445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6">
              <a:extLst>
                <a:ext uri="{FF2B5EF4-FFF2-40B4-BE49-F238E27FC236}">
                  <a16:creationId xmlns:a16="http://schemas.microsoft.com/office/drawing/2014/main" id="{E7AACED7-81C5-4930-B855-3D3EFDB11EB5}"/>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7">
              <a:extLst>
                <a:ext uri="{FF2B5EF4-FFF2-40B4-BE49-F238E27FC236}">
                  <a16:creationId xmlns:a16="http://schemas.microsoft.com/office/drawing/2014/main" id="{95BF82FA-5963-4063-B172-F332D479A59D}"/>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8">
              <a:extLst>
                <a:ext uri="{FF2B5EF4-FFF2-40B4-BE49-F238E27FC236}">
                  <a16:creationId xmlns:a16="http://schemas.microsoft.com/office/drawing/2014/main" id="{9FF05089-8AEE-4CC3-8158-707056AA74B8}"/>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9">
              <a:extLst>
                <a:ext uri="{FF2B5EF4-FFF2-40B4-BE49-F238E27FC236}">
                  <a16:creationId xmlns:a16="http://schemas.microsoft.com/office/drawing/2014/main" id="{D973C5D5-1E14-43C4-B911-1C8E3BFF5EF1}"/>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22103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093669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图片占位符 6">
            <a:extLst>
              <a:ext uri="{FF2B5EF4-FFF2-40B4-BE49-F238E27FC236}">
                <a16:creationId xmlns:a16="http://schemas.microsoft.com/office/drawing/2014/main" id="{5EB9489E-354F-4F71-9B87-6AC7B89CA464}"/>
              </a:ext>
            </a:extLst>
          </p:cNvPr>
          <p:cNvSpPr>
            <a:spLocks noGrp="1"/>
          </p:cNvSpPr>
          <p:nvPr>
            <p:ph type="pic" sz="quarter" idx="10"/>
          </p:nvPr>
        </p:nvSpPr>
        <p:spPr>
          <a:xfrm>
            <a:off x="518811" y="1196974"/>
            <a:ext cx="7182469" cy="4926861"/>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40931141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图片占位符 112">
            <a:extLst>
              <a:ext uri="{FF2B5EF4-FFF2-40B4-BE49-F238E27FC236}">
                <a16:creationId xmlns:a16="http://schemas.microsoft.com/office/drawing/2014/main" id="{7271F348-4736-42D1-B9AC-E4986E55D3D7}"/>
              </a:ext>
            </a:extLst>
          </p:cNvPr>
          <p:cNvSpPr>
            <a:spLocks noGrp="1"/>
          </p:cNvSpPr>
          <p:nvPr>
            <p:ph type="pic" sz="quarter" idx="10"/>
          </p:nvPr>
        </p:nvSpPr>
        <p:spPr>
          <a:xfrm>
            <a:off x="515938" y="1196975"/>
            <a:ext cx="6107810" cy="5041779"/>
          </a:xfrm>
          <a:custGeom>
            <a:avLst/>
            <a:gdLst>
              <a:gd name="connsiteX0" fmla="*/ 5336222 w 6107810"/>
              <a:gd name="connsiteY0" fmla="*/ 5039816 h 5041779"/>
              <a:gd name="connsiteX1" fmla="*/ 5336222 w 6107810"/>
              <a:gd name="connsiteY1" fmla="*/ 5041779 h 5041779"/>
              <a:gd name="connsiteX2" fmla="*/ 3707617 w 6107810"/>
              <a:gd name="connsiteY2" fmla="*/ 5041779 h 5041779"/>
              <a:gd name="connsiteX3" fmla="*/ 0 w 6107810"/>
              <a:gd name="connsiteY3" fmla="*/ 0 h 5041779"/>
              <a:gd name="connsiteX4" fmla="*/ 4785360 w 6107810"/>
              <a:gd name="connsiteY4" fmla="*/ 0 h 5041779"/>
              <a:gd name="connsiteX5" fmla="*/ 4788433 w 6107810"/>
              <a:gd name="connsiteY5" fmla="*/ 28395 h 5041779"/>
              <a:gd name="connsiteX6" fmla="*/ 4741665 w 6107810"/>
              <a:gd name="connsiteY6" fmla="*/ 75141 h 5041779"/>
              <a:gd name="connsiteX7" fmla="*/ 4383076 w 6107810"/>
              <a:gd name="connsiteY7" fmla="*/ 433565 h 5041779"/>
              <a:gd name="connsiteX8" fmla="*/ 4398870 w 6107810"/>
              <a:gd name="connsiteY8" fmla="*/ 433565 h 5041779"/>
              <a:gd name="connsiteX9" fmla="*/ 4398868 w 6107810"/>
              <a:gd name="connsiteY9" fmla="*/ 433566 h 5041779"/>
              <a:gd name="connsiteX10" fmla="*/ 4644798 w 6107810"/>
              <a:gd name="connsiteY10" fmla="*/ 433566 h 5041779"/>
              <a:gd name="connsiteX11" fmla="*/ 4664139 w 6107810"/>
              <a:gd name="connsiteY11" fmla="*/ 433566 h 5041779"/>
              <a:gd name="connsiteX12" fmla="*/ 4663218 w 6107810"/>
              <a:gd name="connsiteY12" fmla="*/ 446025 h 5041779"/>
              <a:gd name="connsiteX13" fmla="*/ 4972402 w 6107810"/>
              <a:gd name="connsiteY13" fmla="*/ 1919793 h 5041779"/>
              <a:gd name="connsiteX14" fmla="*/ 6105722 w 6107810"/>
              <a:gd name="connsiteY14" fmla="*/ 3147744 h 5041779"/>
              <a:gd name="connsiteX15" fmla="*/ 3707617 w 6107810"/>
              <a:gd name="connsiteY15" fmla="*/ 5041779 h 5041779"/>
              <a:gd name="connsiteX16" fmla="*/ 0 w 6107810"/>
              <a:gd name="connsiteY16" fmla="*/ 5041779 h 5041779"/>
              <a:gd name="connsiteX17" fmla="*/ 0 w 6107810"/>
              <a:gd name="connsiteY17" fmla="*/ 4932363 h 5041779"/>
              <a:gd name="connsiteX18" fmla="*/ 0 w 6107810"/>
              <a:gd name="connsiteY18" fmla="*/ 4716659 h 504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07810" h="5041779">
                <a:moveTo>
                  <a:pt x="5336222" y="5039816"/>
                </a:moveTo>
                <a:lnTo>
                  <a:pt x="5336222" y="5041779"/>
                </a:lnTo>
                <a:lnTo>
                  <a:pt x="3707617" y="5041779"/>
                </a:lnTo>
                <a:close/>
                <a:moveTo>
                  <a:pt x="0" y="0"/>
                </a:moveTo>
                <a:lnTo>
                  <a:pt x="4785360" y="0"/>
                </a:lnTo>
                <a:lnTo>
                  <a:pt x="4788433" y="28395"/>
                </a:lnTo>
                <a:lnTo>
                  <a:pt x="4741665" y="75141"/>
                </a:lnTo>
                <a:cubicBezTo>
                  <a:pt x="4383076" y="433565"/>
                  <a:pt x="4383076" y="433565"/>
                  <a:pt x="4383076" y="433565"/>
                </a:cubicBezTo>
                <a:lnTo>
                  <a:pt x="4398870" y="433565"/>
                </a:lnTo>
                <a:lnTo>
                  <a:pt x="4398868" y="433566"/>
                </a:lnTo>
                <a:cubicBezTo>
                  <a:pt x="4539400" y="433566"/>
                  <a:pt x="4609665" y="433566"/>
                  <a:pt x="4644798" y="433566"/>
                </a:cubicBezTo>
                <a:lnTo>
                  <a:pt x="4664139" y="433566"/>
                </a:lnTo>
                <a:lnTo>
                  <a:pt x="4663218" y="446025"/>
                </a:lnTo>
                <a:cubicBezTo>
                  <a:pt x="4654719" y="568403"/>
                  <a:pt x="4598407" y="1558715"/>
                  <a:pt x="4972402" y="1919793"/>
                </a:cubicBezTo>
                <a:cubicBezTo>
                  <a:pt x="5371331" y="2304944"/>
                  <a:pt x="6055856" y="2531503"/>
                  <a:pt x="6105722" y="3147744"/>
                </a:cubicBezTo>
                <a:cubicBezTo>
                  <a:pt x="6146521" y="3736798"/>
                  <a:pt x="5597995" y="4289603"/>
                  <a:pt x="3707617" y="5041779"/>
                </a:cubicBezTo>
                <a:lnTo>
                  <a:pt x="0" y="5041779"/>
                </a:lnTo>
                <a:lnTo>
                  <a:pt x="0" y="4932363"/>
                </a:lnTo>
                <a:lnTo>
                  <a:pt x="0" y="4716659"/>
                </a:lnTo>
                <a:close/>
              </a:path>
            </a:pathLst>
          </a:custGeom>
          <a:solidFill>
            <a:schemeClr val="accent1">
              <a:lumMod val="20000"/>
              <a:lumOff val="80000"/>
            </a:schemeClr>
          </a:solidFill>
        </p:spPr>
        <p:txBody>
          <a:bodyPr wrap="square">
            <a:noAutofit/>
          </a:bodyPr>
          <a:lstStyle/>
          <a:p>
            <a:endParaRPr lang="en-US"/>
          </a:p>
        </p:txBody>
      </p:sp>
      <p:grpSp>
        <p:nvGrpSpPr>
          <p:cNvPr id="114" name="Group 63">
            <a:extLst>
              <a:ext uri="{FF2B5EF4-FFF2-40B4-BE49-F238E27FC236}">
                <a16:creationId xmlns:a16="http://schemas.microsoft.com/office/drawing/2014/main" id="{234A340D-CB29-4C2E-A35B-6B23EC5B6F19}"/>
              </a:ext>
            </a:extLst>
          </p:cNvPr>
          <p:cNvGrpSpPr/>
          <p:nvPr userDrawn="1"/>
        </p:nvGrpSpPr>
        <p:grpSpPr>
          <a:xfrm>
            <a:off x="4589315" y="1195546"/>
            <a:ext cx="5063673" cy="5043208"/>
            <a:chOff x="4199068" y="646963"/>
            <a:chExt cx="6351005" cy="6325337"/>
          </a:xfrm>
        </p:grpSpPr>
        <p:sp>
          <p:nvSpPr>
            <p:cNvPr id="115" name="Oval 11">
              <a:extLst>
                <a:ext uri="{FF2B5EF4-FFF2-40B4-BE49-F238E27FC236}">
                  <a16:creationId xmlns:a16="http://schemas.microsoft.com/office/drawing/2014/main" id="{49F29ADA-80A2-46CB-B882-BD0364B660BC}"/>
                </a:ext>
              </a:extLst>
            </p:cNvPr>
            <p:cNvSpPr/>
            <p:nvPr/>
          </p:nvSpPr>
          <p:spPr>
            <a:xfrm rot="1582756">
              <a:off x="4703499" y="2695709"/>
              <a:ext cx="2905739" cy="559769"/>
            </a:xfrm>
            <a:prstGeom prst="ellipse">
              <a:avLst/>
            </a:prstGeom>
            <a:gradFill flip="none" rotWithShape="1">
              <a:gsLst>
                <a:gs pos="0">
                  <a:schemeClr val="tx1">
                    <a:alpha val="19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5">
              <a:extLst>
                <a:ext uri="{FF2B5EF4-FFF2-40B4-BE49-F238E27FC236}">
                  <a16:creationId xmlns:a16="http://schemas.microsoft.com/office/drawing/2014/main" id="{9F392F43-BDF1-4580-BBCA-2B40C03F2A25}"/>
                </a:ext>
              </a:extLst>
            </p:cNvPr>
            <p:cNvSpPr>
              <a:spLocks/>
            </p:cNvSpPr>
            <p:nvPr/>
          </p:nvSpPr>
          <p:spPr bwMode="auto">
            <a:xfrm>
              <a:off x="4199068" y="646963"/>
              <a:ext cx="6351005" cy="6325337"/>
            </a:xfrm>
            <a:custGeom>
              <a:avLst/>
              <a:gdLst>
                <a:gd name="T0" fmla="*/ 829 w 1117"/>
                <a:gd name="T1" fmla="*/ 1112 h 1113"/>
                <a:gd name="T2" fmla="*/ 819 w 1117"/>
                <a:gd name="T3" fmla="*/ 565 h 1113"/>
                <a:gd name="T4" fmla="*/ 283 w 1117"/>
                <a:gd name="T5" fmla="*/ 93 h 1113"/>
                <a:gd name="T6" fmla="*/ 343 w 1117"/>
                <a:gd name="T7" fmla="*/ 93 h 1113"/>
                <a:gd name="T8" fmla="*/ 245 w 1117"/>
                <a:gd name="T9" fmla="*/ 0 h 1113"/>
                <a:gd name="T10" fmla="*/ 149 w 1117"/>
                <a:gd name="T11" fmla="*/ 96 h 1113"/>
                <a:gd name="T12" fmla="*/ 211 w 1117"/>
                <a:gd name="T13" fmla="*/ 96 h 1113"/>
                <a:gd name="T14" fmla="*/ 279 w 1117"/>
                <a:gd name="T15" fmla="*/ 424 h 1113"/>
                <a:gd name="T16" fmla="*/ 529 w 1117"/>
                <a:gd name="T17" fmla="*/ 695 h 1113"/>
                <a:gd name="T18" fmla="*/ 0 w 1117"/>
                <a:gd name="T19" fmla="*/ 1113 h 1113"/>
                <a:gd name="T20" fmla="*/ 829 w 1117"/>
                <a:gd name="T21" fmla="*/ 1112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7" h="1113">
                  <a:moveTo>
                    <a:pt x="829" y="1112"/>
                  </a:moveTo>
                  <a:cubicBezTo>
                    <a:pt x="829" y="1112"/>
                    <a:pt x="1117" y="775"/>
                    <a:pt x="819" y="565"/>
                  </a:cubicBezTo>
                  <a:cubicBezTo>
                    <a:pt x="521" y="355"/>
                    <a:pt x="289" y="468"/>
                    <a:pt x="283" y="93"/>
                  </a:cubicBezTo>
                  <a:cubicBezTo>
                    <a:pt x="343" y="93"/>
                    <a:pt x="343" y="93"/>
                    <a:pt x="343" y="93"/>
                  </a:cubicBezTo>
                  <a:cubicBezTo>
                    <a:pt x="245" y="0"/>
                    <a:pt x="245" y="0"/>
                    <a:pt x="245" y="0"/>
                  </a:cubicBezTo>
                  <a:cubicBezTo>
                    <a:pt x="149" y="96"/>
                    <a:pt x="149" y="96"/>
                    <a:pt x="149" y="96"/>
                  </a:cubicBezTo>
                  <a:cubicBezTo>
                    <a:pt x="211" y="96"/>
                    <a:pt x="211" y="96"/>
                    <a:pt x="211" y="96"/>
                  </a:cubicBezTo>
                  <a:cubicBezTo>
                    <a:pt x="211" y="96"/>
                    <a:pt x="191" y="339"/>
                    <a:pt x="279" y="424"/>
                  </a:cubicBezTo>
                  <a:cubicBezTo>
                    <a:pt x="367" y="509"/>
                    <a:pt x="518" y="559"/>
                    <a:pt x="529" y="695"/>
                  </a:cubicBezTo>
                  <a:cubicBezTo>
                    <a:pt x="538" y="825"/>
                    <a:pt x="417" y="947"/>
                    <a:pt x="0" y="1113"/>
                  </a:cubicBezTo>
                  <a:lnTo>
                    <a:pt x="829" y="111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6">
              <a:extLst>
                <a:ext uri="{FF2B5EF4-FFF2-40B4-BE49-F238E27FC236}">
                  <a16:creationId xmlns:a16="http://schemas.microsoft.com/office/drawing/2014/main" id="{6593BD77-3FED-4748-8F58-79FFA4B65F3E}"/>
                </a:ext>
              </a:extLst>
            </p:cNvPr>
            <p:cNvSpPr>
              <a:spLocks/>
            </p:cNvSpPr>
            <p:nvPr/>
          </p:nvSpPr>
          <p:spPr bwMode="auto">
            <a:xfrm>
              <a:off x="5398644" y="1162107"/>
              <a:ext cx="3147779" cy="5797493"/>
            </a:xfrm>
            <a:custGeom>
              <a:avLst/>
              <a:gdLst>
                <a:gd name="T0" fmla="*/ 274 w 555"/>
                <a:gd name="T1" fmla="*/ 1022 h 1022"/>
                <a:gd name="T2" fmla="*/ 518 w 555"/>
                <a:gd name="T3" fmla="*/ 628 h 1022"/>
                <a:gd name="T4" fmla="*/ 38 w 555"/>
                <a:gd name="T5" fmla="*/ 0 h 1022"/>
              </a:gdLst>
              <a:ahLst/>
              <a:cxnLst>
                <a:cxn ang="0">
                  <a:pos x="T0" y="T1"/>
                </a:cxn>
                <a:cxn ang="0">
                  <a:pos x="T2" y="T3"/>
                </a:cxn>
                <a:cxn ang="0">
                  <a:pos x="T4" y="T5"/>
                </a:cxn>
              </a:cxnLst>
              <a:rect l="0" t="0" r="r" b="b"/>
              <a:pathLst>
                <a:path w="555" h="1022">
                  <a:moveTo>
                    <a:pt x="274" y="1022"/>
                  </a:moveTo>
                  <a:cubicBezTo>
                    <a:pt x="274" y="1022"/>
                    <a:pt x="555" y="831"/>
                    <a:pt x="518" y="628"/>
                  </a:cubicBezTo>
                  <a:cubicBezTo>
                    <a:pt x="477" y="411"/>
                    <a:pt x="0" y="394"/>
                    <a:pt x="38" y="0"/>
                  </a:cubicBezTo>
                </a:path>
              </a:pathLst>
            </a:custGeom>
            <a:noFill/>
            <a:ln w="31750" cap="flat">
              <a:solidFill>
                <a:schemeClr val="bg1"/>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712023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0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组合 111">
            <a:extLst>
              <a:ext uri="{FF2B5EF4-FFF2-40B4-BE49-F238E27FC236}">
                <a16:creationId xmlns:a16="http://schemas.microsoft.com/office/drawing/2014/main" id="{D401022F-207B-42C3-8907-8D15A9ADB27D}"/>
              </a:ext>
            </a:extLst>
          </p:cNvPr>
          <p:cNvGrpSpPr/>
          <p:nvPr userDrawn="1"/>
        </p:nvGrpSpPr>
        <p:grpSpPr>
          <a:xfrm>
            <a:off x="0" y="1220125"/>
            <a:ext cx="6094645" cy="5047254"/>
            <a:chOff x="0" y="1220125"/>
            <a:chExt cx="6094645" cy="5047254"/>
          </a:xfrm>
        </p:grpSpPr>
        <p:grpSp>
          <p:nvGrpSpPr>
            <p:cNvPr id="113" name="组合 112">
              <a:extLst>
                <a:ext uri="{FF2B5EF4-FFF2-40B4-BE49-F238E27FC236}">
                  <a16:creationId xmlns:a16="http://schemas.microsoft.com/office/drawing/2014/main" id="{80938A22-F360-4368-9742-CFA01E47E72A}"/>
                </a:ext>
              </a:extLst>
            </p:cNvPr>
            <p:cNvGrpSpPr/>
            <p:nvPr userDrawn="1"/>
          </p:nvGrpSpPr>
          <p:grpSpPr>
            <a:xfrm>
              <a:off x="0" y="1220125"/>
              <a:ext cx="6094645" cy="5047254"/>
              <a:chOff x="0" y="1220125"/>
              <a:chExt cx="6094645" cy="5047254"/>
            </a:xfrm>
          </p:grpSpPr>
          <p:sp>
            <p:nvSpPr>
              <p:cNvPr id="119" name="Freeform 8">
                <a:extLst>
                  <a:ext uri="{FF2B5EF4-FFF2-40B4-BE49-F238E27FC236}">
                    <a16:creationId xmlns:a16="http://schemas.microsoft.com/office/drawing/2014/main" id="{812CB100-BA4C-47CC-8AA1-369D1E14118A}"/>
                  </a:ext>
                </a:extLst>
              </p:cNvPr>
              <p:cNvSpPr>
                <a:spLocks noEditPoints="1"/>
              </p:cNvSpPr>
              <p:nvPr/>
            </p:nvSpPr>
            <p:spPr bwMode="auto">
              <a:xfrm>
                <a:off x="2555147" y="1461205"/>
                <a:ext cx="291676" cy="315674"/>
              </a:xfrm>
              <a:custGeom>
                <a:avLst/>
                <a:gdLst>
                  <a:gd name="T0" fmla="*/ 180 w 2662"/>
                  <a:gd name="T1" fmla="*/ 0 h 2879"/>
                  <a:gd name="T2" fmla="*/ 0 w 2662"/>
                  <a:gd name="T3" fmla="*/ 155 h 2879"/>
                  <a:gd name="T4" fmla="*/ 0 w 2662"/>
                  <a:gd name="T5" fmla="*/ 2723 h 2879"/>
                  <a:gd name="T6" fmla="*/ 177 w 2662"/>
                  <a:gd name="T7" fmla="*/ 2879 h 2879"/>
                  <a:gd name="T8" fmla="*/ 357 w 2662"/>
                  <a:gd name="T9" fmla="*/ 2723 h 2879"/>
                  <a:gd name="T10" fmla="*/ 357 w 2662"/>
                  <a:gd name="T11" fmla="*/ 155 h 2879"/>
                  <a:gd name="T12" fmla="*/ 180 w 2662"/>
                  <a:gd name="T13" fmla="*/ 0 h 2879"/>
                  <a:gd name="T14" fmla="*/ 2028 w 2662"/>
                  <a:gd name="T15" fmla="*/ 213 h 2879"/>
                  <a:gd name="T16" fmla="*/ 1018 w 2662"/>
                  <a:gd name="T17" fmla="*/ 6 h 2879"/>
                  <a:gd name="T18" fmla="*/ 501 w 2662"/>
                  <a:gd name="T19" fmla="*/ 142 h 2879"/>
                  <a:gd name="T20" fmla="*/ 499 w 2662"/>
                  <a:gd name="T21" fmla="*/ 1692 h 2879"/>
                  <a:gd name="T22" fmla="*/ 1018 w 2662"/>
                  <a:gd name="T23" fmla="*/ 1556 h 2879"/>
                  <a:gd name="T24" fmla="*/ 2028 w 2662"/>
                  <a:gd name="T25" fmla="*/ 1763 h 2879"/>
                  <a:gd name="T26" fmla="*/ 2662 w 2662"/>
                  <a:gd name="T27" fmla="*/ 1598 h 2879"/>
                  <a:gd name="T28" fmla="*/ 2662 w 2662"/>
                  <a:gd name="T29" fmla="*/ 48 h 2879"/>
                  <a:gd name="T30" fmla="*/ 2028 w 2662"/>
                  <a:gd name="T31" fmla="*/ 213 h 2879"/>
                  <a:gd name="T32" fmla="*/ 2028 w 2662"/>
                  <a:gd name="T33" fmla="*/ 213 h 2879"/>
                  <a:gd name="T34" fmla="*/ 2028 w 2662"/>
                  <a:gd name="T35" fmla="*/ 213 h 2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62" h="2879">
                    <a:moveTo>
                      <a:pt x="180" y="0"/>
                    </a:moveTo>
                    <a:cubicBezTo>
                      <a:pt x="94" y="0"/>
                      <a:pt x="0" y="69"/>
                      <a:pt x="0" y="155"/>
                    </a:cubicBezTo>
                    <a:cubicBezTo>
                      <a:pt x="0" y="2723"/>
                      <a:pt x="0" y="2723"/>
                      <a:pt x="0" y="2723"/>
                    </a:cubicBezTo>
                    <a:cubicBezTo>
                      <a:pt x="0" y="2809"/>
                      <a:pt x="92" y="2879"/>
                      <a:pt x="177" y="2879"/>
                    </a:cubicBezTo>
                    <a:cubicBezTo>
                      <a:pt x="263" y="2879"/>
                      <a:pt x="357" y="2809"/>
                      <a:pt x="357" y="2723"/>
                    </a:cubicBezTo>
                    <a:cubicBezTo>
                      <a:pt x="357" y="155"/>
                      <a:pt x="357" y="155"/>
                      <a:pt x="357" y="155"/>
                    </a:cubicBezTo>
                    <a:cubicBezTo>
                      <a:pt x="357" y="69"/>
                      <a:pt x="265" y="0"/>
                      <a:pt x="180" y="0"/>
                    </a:cubicBezTo>
                    <a:close/>
                    <a:moveTo>
                      <a:pt x="2028" y="213"/>
                    </a:moveTo>
                    <a:cubicBezTo>
                      <a:pt x="1523" y="213"/>
                      <a:pt x="1523" y="6"/>
                      <a:pt x="1018" y="6"/>
                    </a:cubicBezTo>
                    <a:cubicBezTo>
                      <a:pt x="727" y="6"/>
                      <a:pt x="501" y="142"/>
                      <a:pt x="501" y="142"/>
                    </a:cubicBezTo>
                    <a:cubicBezTo>
                      <a:pt x="499" y="1692"/>
                      <a:pt x="499" y="1692"/>
                      <a:pt x="499" y="1692"/>
                    </a:cubicBezTo>
                    <a:cubicBezTo>
                      <a:pt x="499" y="1692"/>
                      <a:pt x="727" y="1556"/>
                      <a:pt x="1018" y="1556"/>
                    </a:cubicBezTo>
                    <a:cubicBezTo>
                      <a:pt x="1523" y="1556"/>
                      <a:pt x="1523" y="1763"/>
                      <a:pt x="2028" y="1763"/>
                    </a:cubicBezTo>
                    <a:cubicBezTo>
                      <a:pt x="2344" y="1763"/>
                      <a:pt x="2662" y="1598"/>
                      <a:pt x="2662" y="1598"/>
                    </a:cubicBezTo>
                    <a:cubicBezTo>
                      <a:pt x="2662" y="48"/>
                      <a:pt x="2662" y="48"/>
                      <a:pt x="2662" y="48"/>
                    </a:cubicBezTo>
                    <a:cubicBezTo>
                      <a:pt x="2662" y="48"/>
                      <a:pt x="2344" y="213"/>
                      <a:pt x="2028" y="213"/>
                    </a:cubicBezTo>
                    <a:close/>
                    <a:moveTo>
                      <a:pt x="2028" y="213"/>
                    </a:moveTo>
                    <a:cubicBezTo>
                      <a:pt x="2028" y="213"/>
                      <a:pt x="2028" y="213"/>
                      <a:pt x="2028" y="21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任意多边形: 形状 119">
                <a:extLst>
                  <a:ext uri="{FF2B5EF4-FFF2-40B4-BE49-F238E27FC236}">
                    <a16:creationId xmlns:a16="http://schemas.microsoft.com/office/drawing/2014/main" id="{277B10A6-B723-4E47-8EDE-9FE770B6DBFF}"/>
                  </a:ext>
                </a:extLst>
              </p:cNvPr>
              <p:cNvSpPr/>
              <p:nvPr/>
            </p:nvSpPr>
            <p:spPr>
              <a:xfrm>
                <a:off x="0" y="3346172"/>
                <a:ext cx="1819933" cy="2896402"/>
              </a:xfrm>
              <a:custGeom>
                <a:avLst/>
                <a:gdLst>
                  <a:gd name="connsiteX0" fmla="*/ 575078 w 1819933"/>
                  <a:gd name="connsiteY0" fmla="*/ 0 h 2896402"/>
                  <a:gd name="connsiteX1" fmla="*/ 1053093 w 1819933"/>
                  <a:gd name="connsiteY1" fmla="*/ 256646 h 2896402"/>
                  <a:gd name="connsiteX2" fmla="*/ 1309030 w 1819933"/>
                  <a:gd name="connsiteY2" fmla="*/ 168522 h 2896402"/>
                  <a:gd name="connsiteX3" fmla="*/ 1819933 w 1819933"/>
                  <a:gd name="connsiteY3" fmla="*/ 568631 h 2896402"/>
                  <a:gd name="connsiteX4" fmla="*/ 1612659 w 1819933"/>
                  <a:gd name="connsiteY4" fmla="*/ 2896402 h 2896402"/>
                  <a:gd name="connsiteX5" fmla="*/ 0 w 1819933"/>
                  <a:gd name="connsiteY5" fmla="*/ 2841632 h 2896402"/>
                  <a:gd name="connsiteX6" fmla="*/ 0 w 1819933"/>
                  <a:gd name="connsiteY6" fmla="*/ 152872 h 2896402"/>
                  <a:gd name="connsiteX7" fmla="*/ 183103 w 1819933"/>
                  <a:gd name="connsiteY7" fmla="*/ 257899 h 2896402"/>
                  <a:gd name="connsiteX8" fmla="*/ 217689 w 1819933"/>
                  <a:gd name="connsiteY8" fmla="*/ 188465 h 289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9933" h="2896402">
                    <a:moveTo>
                      <a:pt x="575078" y="0"/>
                    </a:moveTo>
                    <a:cubicBezTo>
                      <a:pt x="754804" y="93066"/>
                      <a:pt x="873368" y="163580"/>
                      <a:pt x="1053093" y="256646"/>
                    </a:cubicBezTo>
                    <a:lnTo>
                      <a:pt x="1309030" y="168522"/>
                    </a:lnTo>
                    <a:lnTo>
                      <a:pt x="1819933" y="568631"/>
                    </a:lnTo>
                    <a:lnTo>
                      <a:pt x="1612659" y="2896402"/>
                    </a:lnTo>
                    <a:lnTo>
                      <a:pt x="0" y="2841632"/>
                    </a:lnTo>
                    <a:lnTo>
                      <a:pt x="0" y="152872"/>
                    </a:lnTo>
                    <a:lnTo>
                      <a:pt x="183103" y="257899"/>
                    </a:lnTo>
                    <a:lnTo>
                      <a:pt x="217689" y="188465"/>
                    </a:lnTo>
                    <a:close/>
                  </a:path>
                </a:pathLst>
              </a:custGeom>
              <a:solidFill>
                <a:srgbClr val="9A9A9A">
                  <a:alpha val="16000"/>
                </a:srgbClr>
              </a:solidFill>
              <a:ln>
                <a:noFill/>
              </a:ln>
            </p:spPr>
            <p:txBody>
              <a:bodyPr wrap="square">
                <a:noAutofit/>
              </a:bodyPr>
              <a:lstStyle/>
              <a:p>
                <a:endParaRPr lang="en-US" dirty="0"/>
              </a:p>
            </p:txBody>
          </p:sp>
          <p:sp>
            <p:nvSpPr>
              <p:cNvPr id="121" name="Freeform 99">
                <a:extLst>
                  <a:ext uri="{FF2B5EF4-FFF2-40B4-BE49-F238E27FC236}">
                    <a16:creationId xmlns:a16="http://schemas.microsoft.com/office/drawing/2014/main" id="{E83B6830-408E-4BA4-9E9C-8141DBFD8598}"/>
                  </a:ext>
                </a:extLst>
              </p:cNvPr>
              <p:cNvSpPr/>
              <p:nvPr/>
            </p:nvSpPr>
            <p:spPr>
              <a:xfrm>
                <a:off x="546317" y="3376757"/>
                <a:ext cx="1273616" cy="1218398"/>
              </a:xfrm>
              <a:custGeom>
                <a:avLst/>
                <a:gdLst>
                  <a:gd name="connsiteX0" fmla="*/ 95349 w 1403016"/>
                  <a:gd name="connsiteY0" fmla="*/ 0 h 1559972"/>
                  <a:gd name="connsiteX1" fmla="*/ 169645 w 1403016"/>
                  <a:gd name="connsiteY1" fmla="*/ 45697 h 1559972"/>
                  <a:gd name="connsiteX2" fmla="*/ 558265 w 1403016"/>
                  <a:gd name="connsiteY2" fmla="*/ 289437 h 1559972"/>
                  <a:gd name="connsiteX3" fmla="*/ 840205 w 1403016"/>
                  <a:gd name="connsiteY3" fmla="*/ 176607 h 1559972"/>
                  <a:gd name="connsiteX4" fmla="*/ 1403016 w 1403016"/>
                  <a:gd name="connsiteY4" fmla="*/ 688886 h 1559972"/>
                  <a:gd name="connsiteX5" fmla="*/ 1356283 w 1403016"/>
                  <a:gd name="connsiteY5" fmla="*/ 1298877 h 1559972"/>
                  <a:gd name="connsiteX6" fmla="*/ 385010 w 1403016"/>
                  <a:gd name="connsiteY6" fmla="*/ 1559972 h 1559972"/>
                  <a:gd name="connsiteX7" fmla="*/ 288758 w 1403016"/>
                  <a:gd name="connsiteY7" fmla="*/ 1030582 h 1559972"/>
                  <a:gd name="connsiteX8" fmla="*/ 0 w 1403016"/>
                  <a:gd name="connsiteY8" fmla="*/ 655197 h 1559972"/>
                  <a:gd name="connsiteX9" fmla="*/ 86627 w 1403016"/>
                  <a:gd name="connsiteY9" fmla="*/ 679 h 15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3016" h="1559972">
                    <a:moveTo>
                      <a:pt x="95349" y="0"/>
                    </a:moveTo>
                    <a:lnTo>
                      <a:pt x="169645" y="45697"/>
                    </a:lnTo>
                    <a:cubicBezTo>
                      <a:pt x="299185" y="126944"/>
                      <a:pt x="409776" y="200069"/>
                      <a:pt x="558265" y="289437"/>
                    </a:cubicBezTo>
                    <a:lnTo>
                      <a:pt x="840205" y="176607"/>
                    </a:lnTo>
                    <a:lnTo>
                      <a:pt x="1403016" y="688886"/>
                    </a:lnTo>
                    <a:lnTo>
                      <a:pt x="1356283" y="1298877"/>
                    </a:lnTo>
                    <a:lnTo>
                      <a:pt x="385010" y="1559972"/>
                    </a:lnTo>
                    <a:lnTo>
                      <a:pt x="288758" y="1030582"/>
                    </a:lnTo>
                    <a:lnTo>
                      <a:pt x="0" y="655197"/>
                    </a:lnTo>
                    <a:lnTo>
                      <a:pt x="86627" y="679"/>
                    </a:lnTo>
                    <a:close/>
                  </a:path>
                </a:pathLst>
              </a:custGeom>
              <a:solidFill>
                <a:srgbClr val="F7F7F7"/>
              </a:solidFill>
              <a:ln>
                <a:noFill/>
              </a:ln>
            </p:spPr>
            <p:txBody>
              <a:bodyPr/>
              <a:lstStyle/>
              <a:p>
                <a:endParaRPr lang="en-US" dirty="0"/>
              </a:p>
            </p:txBody>
          </p:sp>
          <p:sp>
            <p:nvSpPr>
              <p:cNvPr id="122" name="Freeform 100">
                <a:extLst>
                  <a:ext uri="{FF2B5EF4-FFF2-40B4-BE49-F238E27FC236}">
                    <a16:creationId xmlns:a16="http://schemas.microsoft.com/office/drawing/2014/main" id="{E19E6AEB-3B93-47A0-9FC3-A3FC0DAD3A0B}"/>
                  </a:ext>
                </a:extLst>
              </p:cNvPr>
              <p:cNvSpPr/>
              <p:nvPr/>
            </p:nvSpPr>
            <p:spPr>
              <a:xfrm>
                <a:off x="3586975" y="3037601"/>
                <a:ext cx="2507670" cy="3195022"/>
              </a:xfrm>
              <a:custGeom>
                <a:avLst/>
                <a:gdLst>
                  <a:gd name="connsiteX0" fmla="*/ 163630 w 2762451"/>
                  <a:gd name="connsiteY0" fmla="*/ 1289785 h 4090737"/>
                  <a:gd name="connsiteX1" fmla="*/ 279133 w 2762451"/>
                  <a:gd name="connsiteY1" fmla="*/ 1193533 h 4090737"/>
                  <a:gd name="connsiteX2" fmla="*/ 481264 w 2762451"/>
                  <a:gd name="connsiteY2" fmla="*/ 1126156 h 4090737"/>
                  <a:gd name="connsiteX3" fmla="*/ 1155032 w 2762451"/>
                  <a:gd name="connsiteY3" fmla="*/ 0 h 4090737"/>
                  <a:gd name="connsiteX4" fmla="*/ 1674796 w 2762451"/>
                  <a:gd name="connsiteY4" fmla="*/ 423512 h 4090737"/>
                  <a:gd name="connsiteX5" fmla="*/ 1867301 w 2762451"/>
                  <a:gd name="connsiteY5" fmla="*/ 991402 h 4090737"/>
                  <a:gd name="connsiteX6" fmla="*/ 2098308 w 2762451"/>
                  <a:gd name="connsiteY6" fmla="*/ 1058779 h 4090737"/>
                  <a:gd name="connsiteX7" fmla="*/ 2310064 w 2762451"/>
                  <a:gd name="connsiteY7" fmla="*/ 1472665 h 4090737"/>
                  <a:gd name="connsiteX8" fmla="*/ 2454443 w 2762451"/>
                  <a:gd name="connsiteY8" fmla="*/ 1607419 h 4090737"/>
                  <a:gd name="connsiteX9" fmla="*/ 2579571 w 2762451"/>
                  <a:gd name="connsiteY9" fmla="*/ 1568918 h 4090737"/>
                  <a:gd name="connsiteX10" fmla="*/ 2762451 w 2762451"/>
                  <a:gd name="connsiteY10" fmla="*/ 3012707 h 4090737"/>
                  <a:gd name="connsiteX11" fmla="*/ 2723950 w 2762451"/>
                  <a:gd name="connsiteY11" fmla="*/ 3426594 h 4090737"/>
                  <a:gd name="connsiteX12" fmla="*/ 2666198 w 2762451"/>
                  <a:gd name="connsiteY12" fmla="*/ 4090737 h 4090737"/>
                  <a:gd name="connsiteX13" fmla="*/ 0 w 2762451"/>
                  <a:gd name="connsiteY13" fmla="*/ 1607419 h 4090737"/>
                  <a:gd name="connsiteX14" fmla="*/ 163630 w 2762451"/>
                  <a:gd name="connsiteY14" fmla="*/ 1289785 h 409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62451" h="4090737">
                    <a:moveTo>
                      <a:pt x="163630" y="1289785"/>
                    </a:moveTo>
                    <a:lnTo>
                      <a:pt x="279133" y="1193533"/>
                    </a:lnTo>
                    <a:lnTo>
                      <a:pt x="481264" y="1126156"/>
                    </a:lnTo>
                    <a:lnTo>
                      <a:pt x="1155032" y="0"/>
                    </a:lnTo>
                    <a:lnTo>
                      <a:pt x="1674796" y="423512"/>
                    </a:lnTo>
                    <a:lnTo>
                      <a:pt x="1867301" y="991402"/>
                    </a:lnTo>
                    <a:lnTo>
                      <a:pt x="2098308" y="1058779"/>
                    </a:lnTo>
                    <a:lnTo>
                      <a:pt x="2310064" y="1472665"/>
                    </a:lnTo>
                    <a:lnTo>
                      <a:pt x="2454443" y="1607419"/>
                    </a:lnTo>
                    <a:lnTo>
                      <a:pt x="2579571" y="1568918"/>
                    </a:lnTo>
                    <a:lnTo>
                      <a:pt x="2762451" y="3012707"/>
                    </a:lnTo>
                    <a:lnTo>
                      <a:pt x="2723950" y="3426594"/>
                    </a:lnTo>
                    <a:lnTo>
                      <a:pt x="2666198" y="4090737"/>
                    </a:lnTo>
                    <a:lnTo>
                      <a:pt x="0" y="1607419"/>
                    </a:lnTo>
                    <a:lnTo>
                      <a:pt x="163630" y="1289785"/>
                    </a:lnTo>
                    <a:close/>
                  </a:path>
                </a:pathLst>
              </a:custGeom>
              <a:solidFill>
                <a:srgbClr val="9A9A9A">
                  <a:alpha val="16000"/>
                </a:srgbClr>
              </a:solidFill>
              <a:ln>
                <a:noFill/>
              </a:ln>
            </p:spPr>
            <p:txBody>
              <a:bodyPr/>
              <a:lstStyle/>
              <a:p>
                <a:endParaRPr lang="en-US" dirty="0">
                  <a:solidFill>
                    <a:schemeClr val="tx1"/>
                  </a:solidFill>
                </a:endParaRPr>
              </a:p>
            </p:txBody>
          </p:sp>
          <p:sp>
            <p:nvSpPr>
              <p:cNvPr id="123" name="Freeform 101">
                <a:extLst>
                  <a:ext uri="{FF2B5EF4-FFF2-40B4-BE49-F238E27FC236}">
                    <a16:creationId xmlns:a16="http://schemas.microsoft.com/office/drawing/2014/main" id="{C15DFD6C-6438-487B-AF1D-DDF9DB46A77B}"/>
                  </a:ext>
                </a:extLst>
              </p:cNvPr>
              <p:cNvSpPr/>
              <p:nvPr/>
            </p:nvSpPr>
            <p:spPr>
              <a:xfrm>
                <a:off x="4599622" y="3078144"/>
                <a:ext cx="1495023" cy="3154479"/>
              </a:xfrm>
              <a:custGeom>
                <a:avLst/>
                <a:gdLst>
                  <a:gd name="connsiteX0" fmla="*/ 8443 w 1646918"/>
                  <a:gd name="connsiteY0" fmla="*/ 0 h 4038828"/>
                  <a:gd name="connsiteX1" fmla="*/ 138610 w 1646918"/>
                  <a:gd name="connsiteY1" fmla="*/ 28848 h 4038828"/>
                  <a:gd name="connsiteX2" fmla="*/ 559263 w 1646918"/>
                  <a:gd name="connsiteY2" fmla="*/ 371603 h 4038828"/>
                  <a:gd name="connsiteX3" fmla="*/ 751768 w 1646918"/>
                  <a:gd name="connsiteY3" fmla="*/ 939493 h 4038828"/>
                  <a:gd name="connsiteX4" fmla="*/ 982775 w 1646918"/>
                  <a:gd name="connsiteY4" fmla="*/ 1006870 h 4038828"/>
                  <a:gd name="connsiteX5" fmla="*/ 1194531 w 1646918"/>
                  <a:gd name="connsiteY5" fmla="*/ 1420756 h 4038828"/>
                  <a:gd name="connsiteX6" fmla="*/ 1338910 w 1646918"/>
                  <a:gd name="connsiteY6" fmla="*/ 1555510 h 4038828"/>
                  <a:gd name="connsiteX7" fmla="*/ 1464038 w 1646918"/>
                  <a:gd name="connsiteY7" fmla="*/ 1517009 h 4038828"/>
                  <a:gd name="connsiteX8" fmla="*/ 1646918 w 1646918"/>
                  <a:gd name="connsiteY8" fmla="*/ 2960798 h 4038828"/>
                  <a:gd name="connsiteX9" fmla="*/ 1608417 w 1646918"/>
                  <a:gd name="connsiteY9" fmla="*/ 3374685 h 4038828"/>
                  <a:gd name="connsiteX10" fmla="*/ 1550665 w 1646918"/>
                  <a:gd name="connsiteY10" fmla="*/ 4038828 h 4038828"/>
                  <a:gd name="connsiteX11" fmla="*/ 446919 w 1646918"/>
                  <a:gd name="connsiteY11" fmla="*/ 3010790 h 4038828"/>
                  <a:gd name="connsiteX12" fmla="*/ 366758 w 1646918"/>
                  <a:gd name="connsiteY12" fmla="*/ 2903047 h 4038828"/>
                  <a:gd name="connsiteX13" fmla="*/ 732518 w 1646918"/>
                  <a:gd name="connsiteY13" fmla="*/ 1642137 h 4038828"/>
                  <a:gd name="connsiteX14" fmla="*/ 106876 w 1646918"/>
                  <a:gd name="connsiteY14" fmla="*/ 1247502 h 4038828"/>
                  <a:gd name="connsiteX15" fmla="*/ 251255 w 1646918"/>
                  <a:gd name="connsiteY15" fmla="*/ 535232 h 4038828"/>
                  <a:gd name="connsiteX16" fmla="*/ 0 w 1646918"/>
                  <a:gd name="connsiteY16" fmla="*/ 14111 h 403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46918" h="4038828">
                    <a:moveTo>
                      <a:pt x="8443" y="0"/>
                    </a:moveTo>
                    <a:lnTo>
                      <a:pt x="138610" y="28848"/>
                    </a:lnTo>
                    <a:lnTo>
                      <a:pt x="559263" y="371603"/>
                    </a:lnTo>
                    <a:lnTo>
                      <a:pt x="751768" y="939493"/>
                    </a:lnTo>
                    <a:lnTo>
                      <a:pt x="982775" y="1006870"/>
                    </a:lnTo>
                    <a:lnTo>
                      <a:pt x="1194531" y="1420756"/>
                    </a:lnTo>
                    <a:lnTo>
                      <a:pt x="1338910" y="1555510"/>
                    </a:lnTo>
                    <a:lnTo>
                      <a:pt x="1464038" y="1517009"/>
                    </a:lnTo>
                    <a:lnTo>
                      <a:pt x="1646918" y="2960798"/>
                    </a:lnTo>
                    <a:lnTo>
                      <a:pt x="1608417" y="3374685"/>
                    </a:lnTo>
                    <a:lnTo>
                      <a:pt x="1550665" y="4038828"/>
                    </a:lnTo>
                    <a:lnTo>
                      <a:pt x="446919" y="3010790"/>
                    </a:lnTo>
                    <a:lnTo>
                      <a:pt x="366758" y="2903047"/>
                    </a:lnTo>
                    <a:lnTo>
                      <a:pt x="732518" y="1642137"/>
                    </a:lnTo>
                    <a:lnTo>
                      <a:pt x="106876" y="1247502"/>
                    </a:lnTo>
                    <a:lnTo>
                      <a:pt x="251255" y="535232"/>
                    </a:lnTo>
                    <a:lnTo>
                      <a:pt x="0" y="14111"/>
                    </a:lnTo>
                    <a:close/>
                  </a:path>
                </a:pathLst>
              </a:custGeom>
              <a:solidFill>
                <a:srgbClr val="F7F7F7"/>
              </a:solidFill>
              <a:ln>
                <a:noFill/>
              </a:ln>
            </p:spPr>
            <p:txBody>
              <a:bodyPr/>
              <a:lstStyle/>
              <a:p>
                <a:endParaRPr lang="en-US" dirty="0">
                  <a:solidFill>
                    <a:schemeClr val="tx1"/>
                  </a:solidFill>
                </a:endParaRPr>
              </a:p>
            </p:txBody>
          </p:sp>
          <p:sp>
            <p:nvSpPr>
              <p:cNvPr id="124" name="任意多边形: 形状 123">
                <a:extLst>
                  <a:ext uri="{FF2B5EF4-FFF2-40B4-BE49-F238E27FC236}">
                    <a16:creationId xmlns:a16="http://schemas.microsoft.com/office/drawing/2014/main" id="{E1091EE4-E167-4236-B398-46A82B9650E8}"/>
                  </a:ext>
                </a:extLst>
              </p:cNvPr>
              <p:cNvSpPr/>
              <p:nvPr/>
            </p:nvSpPr>
            <p:spPr>
              <a:xfrm>
                <a:off x="0" y="1802698"/>
                <a:ext cx="6033482" cy="4464521"/>
              </a:xfrm>
              <a:custGeom>
                <a:avLst/>
                <a:gdLst>
                  <a:gd name="connsiteX0" fmla="*/ 2643323 w 6033482"/>
                  <a:gd name="connsiteY0" fmla="*/ 0 h 4464521"/>
                  <a:gd name="connsiteX1" fmla="*/ 2861761 w 6033482"/>
                  <a:gd name="connsiteY1" fmla="*/ 777640 h 4464521"/>
                  <a:gd name="connsiteX2" fmla="*/ 3150099 w 6033482"/>
                  <a:gd name="connsiteY2" fmla="*/ 1057241 h 4464521"/>
                  <a:gd name="connsiteX3" fmla="*/ 3403487 w 6033482"/>
                  <a:gd name="connsiteY3" fmla="*/ 1607705 h 4464521"/>
                  <a:gd name="connsiteX4" fmla="*/ 3648138 w 6033482"/>
                  <a:gd name="connsiteY4" fmla="*/ 1467905 h 4464521"/>
                  <a:gd name="connsiteX5" fmla="*/ 3658999 w 6033482"/>
                  <a:gd name="connsiteY5" fmla="*/ 1669151 h 4464521"/>
                  <a:gd name="connsiteX6" fmla="*/ 3616727 w 6033482"/>
                  <a:gd name="connsiteY6" fmla="*/ 1772910 h 4464521"/>
                  <a:gd name="connsiteX7" fmla="*/ 3884051 w 6033482"/>
                  <a:gd name="connsiteY7" fmla="*/ 2184382 h 4464521"/>
                  <a:gd name="connsiteX8" fmla="*/ 4117677 w 6033482"/>
                  <a:gd name="connsiteY8" fmla="*/ 2579908 h 4464521"/>
                  <a:gd name="connsiteX9" fmla="*/ 4356080 w 6033482"/>
                  <a:gd name="connsiteY9" fmla="*/ 2768733 h 4464521"/>
                  <a:gd name="connsiteX10" fmla="*/ 4546600 w 6033482"/>
                  <a:gd name="connsiteY10" fmla="*/ 3154637 h 4464521"/>
                  <a:gd name="connsiteX11" fmla="*/ 4944492 w 6033482"/>
                  <a:gd name="connsiteY11" fmla="*/ 3228472 h 4464521"/>
                  <a:gd name="connsiteX12" fmla="*/ 5314951 w 6033482"/>
                  <a:gd name="connsiteY12" fmla="*/ 3294338 h 4464521"/>
                  <a:gd name="connsiteX13" fmla="*/ 6033482 w 6033482"/>
                  <a:gd name="connsiteY13" fmla="*/ 4438663 h 4464521"/>
                  <a:gd name="connsiteX14" fmla="*/ 0 w 6033482"/>
                  <a:gd name="connsiteY14" fmla="*/ 4464521 h 4464521"/>
                  <a:gd name="connsiteX15" fmla="*/ 0 w 6033482"/>
                  <a:gd name="connsiteY15" fmla="*/ 2962022 h 4464521"/>
                  <a:gd name="connsiteX16" fmla="*/ 39541 w 6033482"/>
                  <a:gd name="connsiteY16" fmla="*/ 2962022 h 4464521"/>
                  <a:gd name="connsiteX17" fmla="*/ 467679 w 6033482"/>
                  <a:gd name="connsiteY17" fmla="*/ 2673683 h 4464521"/>
                  <a:gd name="connsiteX18" fmla="*/ 1000668 w 6033482"/>
                  <a:gd name="connsiteY18" fmla="*/ 2062057 h 4464521"/>
                  <a:gd name="connsiteX19" fmla="*/ 1323956 w 6033482"/>
                  <a:gd name="connsiteY19" fmla="*/ 1992156 h 4464521"/>
                  <a:gd name="connsiteX20" fmla="*/ 1472495 w 6033482"/>
                  <a:gd name="connsiteY20" fmla="*/ 1415480 h 4464521"/>
                  <a:gd name="connsiteX21" fmla="*/ 1725882 w 6033482"/>
                  <a:gd name="connsiteY21" fmla="*/ 996079 h 4464521"/>
                  <a:gd name="connsiteX22" fmla="*/ 2031696 w 6033482"/>
                  <a:gd name="connsiteY22" fmla="*/ 244651 h 446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33482" h="4464521">
                    <a:moveTo>
                      <a:pt x="2643323" y="0"/>
                    </a:moveTo>
                    <a:lnTo>
                      <a:pt x="2861761" y="777640"/>
                    </a:lnTo>
                    <a:lnTo>
                      <a:pt x="3150099" y="1057241"/>
                    </a:lnTo>
                    <a:lnTo>
                      <a:pt x="3403487" y="1607705"/>
                    </a:lnTo>
                    <a:lnTo>
                      <a:pt x="3648138" y="1467905"/>
                    </a:lnTo>
                    <a:cubicBezTo>
                      <a:pt x="3647915" y="1528582"/>
                      <a:pt x="3657300" y="1620003"/>
                      <a:pt x="3658999" y="1669151"/>
                    </a:cubicBezTo>
                    <a:cubicBezTo>
                      <a:pt x="3645550" y="1701176"/>
                      <a:pt x="3603277" y="1744729"/>
                      <a:pt x="3616727" y="1772910"/>
                    </a:cubicBezTo>
                    <a:lnTo>
                      <a:pt x="3884051" y="2184382"/>
                    </a:lnTo>
                    <a:lnTo>
                      <a:pt x="4117677" y="2579908"/>
                    </a:lnTo>
                    <a:lnTo>
                      <a:pt x="4356080" y="2768733"/>
                    </a:lnTo>
                    <a:cubicBezTo>
                      <a:pt x="4436520" y="2929118"/>
                      <a:pt x="4466160" y="2994252"/>
                      <a:pt x="4546600" y="3154637"/>
                    </a:cubicBezTo>
                    <a:lnTo>
                      <a:pt x="4944492" y="3228472"/>
                    </a:lnTo>
                    <a:cubicBezTo>
                      <a:pt x="5015062" y="3307576"/>
                      <a:pt x="5244381" y="3215233"/>
                      <a:pt x="5314951" y="3294338"/>
                    </a:cubicBezTo>
                    <a:lnTo>
                      <a:pt x="6033482" y="4438663"/>
                    </a:lnTo>
                    <a:lnTo>
                      <a:pt x="0" y="4464521"/>
                    </a:lnTo>
                    <a:lnTo>
                      <a:pt x="0" y="2962022"/>
                    </a:lnTo>
                    <a:lnTo>
                      <a:pt x="39541" y="2962022"/>
                    </a:lnTo>
                    <a:lnTo>
                      <a:pt x="467679" y="2673683"/>
                    </a:lnTo>
                    <a:lnTo>
                      <a:pt x="1000668" y="2062057"/>
                    </a:lnTo>
                    <a:lnTo>
                      <a:pt x="1323956" y="1992156"/>
                    </a:lnTo>
                    <a:lnTo>
                      <a:pt x="1472495" y="1415480"/>
                    </a:lnTo>
                    <a:lnTo>
                      <a:pt x="1725882" y="996079"/>
                    </a:lnTo>
                    <a:lnTo>
                      <a:pt x="2031696" y="244651"/>
                    </a:lnTo>
                    <a:close/>
                  </a:path>
                </a:pathLst>
              </a:custGeom>
              <a:solidFill>
                <a:schemeClr val="bg1">
                  <a:lumMod val="85000"/>
                </a:schemeClr>
              </a:solidFill>
              <a:ln w="6350" cap="flat" cmpd="sng" algn="ctr">
                <a:solidFill>
                  <a:srgbClr val="DCDCDC"/>
                </a:solidFill>
                <a:prstDash val="solid"/>
                <a:round/>
                <a:headEnd type="none" w="med" len="med"/>
                <a:tailEnd type="none" w="med" len="med"/>
              </a:ln>
            </p:spPr>
            <p:txBody>
              <a:bodyPr wrap="square">
                <a:noAutofit/>
              </a:bodyPr>
              <a:lstStyle/>
              <a:p>
                <a:endParaRPr lang="en-US" dirty="0">
                  <a:solidFill>
                    <a:schemeClr val="tx1"/>
                  </a:solidFill>
                </a:endParaRPr>
              </a:p>
            </p:txBody>
          </p:sp>
          <p:sp>
            <p:nvSpPr>
              <p:cNvPr id="125" name="Freeform 103">
                <a:extLst>
                  <a:ext uri="{FF2B5EF4-FFF2-40B4-BE49-F238E27FC236}">
                    <a16:creationId xmlns:a16="http://schemas.microsoft.com/office/drawing/2014/main" id="{506402B7-3280-49BC-BB68-595CBFE55B1E}"/>
                  </a:ext>
                </a:extLst>
              </p:cNvPr>
              <p:cNvSpPr/>
              <p:nvPr/>
            </p:nvSpPr>
            <p:spPr>
              <a:xfrm>
                <a:off x="1815172" y="1807439"/>
                <a:ext cx="4218309" cy="4439195"/>
              </a:xfrm>
              <a:custGeom>
                <a:avLst/>
                <a:gdLst>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973179 w 3984859"/>
                  <a:gd name="connsiteY12" fmla="*/ 3305867 h 4890220"/>
                  <a:gd name="connsiteX13" fmla="*/ 1578543 w 3984859"/>
                  <a:gd name="connsiteY13" fmla="*/ 3402120 h 4890220"/>
                  <a:gd name="connsiteX14" fmla="*/ 895150 w 3984859"/>
                  <a:gd name="connsiteY14" fmla="*/ 31614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973179 w 3984859"/>
                  <a:gd name="connsiteY12" fmla="*/ 3305867 h 4890220"/>
                  <a:gd name="connsiteX13" fmla="*/ 1578543 w 3984859"/>
                  <a:gd name="connsiteY13" fmla="*/ 3402120 h 4890220"/>
                  <a:gd name="connsiteX14" fmla="*/ 615750 w 3984859"/>
                  <a:gd name="connsiteY14" fmla="*/ 30598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19" fmla="*/ 251725 w 3984859"/>
                  <a:gd name="connsiteY19"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973179 w 3984859"/>
                  <a:gd name="connsiteY12" fmla="*/ 3305867 h 4890220"/>
                  <a:gd name="connsiteX13" fmla="*/ 1286443 w 3984859"/>
                  <a:gd name="connsiteY13" fmla="*/ 3427520 h 4890220"/>
                  <a:gd name="connsiteX14" fmla="*/ 615750 w 3984859"/>
                  <a:gd name="connsiteY14" fmla="*/ 30598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19" fmla="*/ 251725 w 3984859"/>
                  <a:gd name="connsiteY19"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782679 w 3984859"/>
                  <a:gd name="connsiteY12" fmla="*/ 3610667 h 4890220"/>
                  <a:gd name="connsiteX13" fmla="*/ 1286443 w 3984859"/>
                  <a:gd name="connsiteY13" fmla="*/ 3427520 h 4890220"/>
                  <a:gd name="connsiteX14" fmla="*/ 615750 w 3984859"/>
                  <a:gd name="connsiteY14" fmla="*/ 30598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19" fmla="*/ 251725 w 3984859"/>
                  <a:gd name="connsiteY19"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782679 w 3984859"/>
                  <a:gd name="connsiteY12" fmla="*/ 3610667 h 4890220"/>
                  <a:gd name="connsiteX13" fmla="*/ 1286443 w 3984859"/>
                  <a:gd name="connsiteY13" fmla="*/ 3427520 h 4890220"/>
                  <a:gd name="connsiteX14" fmla="*/ 615750 w 3984859"/>
                  <a:gd name="connsiteY14" fmla="*/ 30598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19" fmla="*/ 251725 w 3984859"/>
                  <a:gd name="connsiteY19"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617044 w 3984859"/>
                  <a:gd name="connsiteY6" fmla="*/ 2401092 h 4890220"/>
                  <a:gd name="connsiteX7" fmla="*/ 2021305 w 3984859"/>
                  <a:gd name="connsiteY7" fmla="*/ 2766852 h 4890220"/>
                  <a:gd name="connsiteX8" fmla="*/ 2444817 w 3984859"/>
                  <a:gd name="connsiteY8" fmla="*/ 2632099 h 4890220"/>
                  <a:gd name="connsiteX9" fmla="*/ 2820202 w 3984859"/>
                  <a:gd name="connsiteY9" fmla="*/ 2872730 h 4890220"/>
                  <a:gd name="connsiteX10" fmla="*/ 3984859 w 3984859"/>
                  <a:gd name="connsiteY10" fmla="*/ 4884410 h 4890220"/>
                  <a:gd name="connsiteX11" fmla="*/ 2629207 w 3984859"/>
                  <a:gd name="connsiteY11" fmla="*/ 4890220 h 4890220"/>
                  <a:gd name="connsiteX12" fmla="*/ 2540951 w 3984859"/>
                  <a:gd name="connsiteY12" fmla="*/ 4686873 h 4890220"/>
                  <a:gd name="connsiteX13" fmla="*/ 1782679 w 3984859"/>
                  <a:gd name="connsiteY13" fmla="*/ 3610667 h 4890220"/>
                  <a:gd name="connsiteX14" fmla="*/ 1286443 w 3984859"/>
                  <a:gd name="connsiteY14" fmla="*/ 3427520 h 4890220"/>
                  <a:gd name="connsiteX15" fmla="*/ 615750 w 3984859"/>
                  <a:gd name="connsiteY15" fmla="*/ 3059888 h 4890220"/>
                  <a:gd name="connsiteX16" fmla="*/ 375385 w 3984859"/>
                  <a:gd name="connsiteY16" fmla="*/ 2006456 h 4890220"/>
                  <a:gd name="connsiteX17" fmla="*/ 221381 w 3984859"/>
                  <a:gd name="connsiteY17" fmla="*/ 1823576 h 4890220"/>
                  <a:gd name="connsiteX18" fmla="*/ 336884 w 3984859"/>
                  <a:gd name="connsiteY18" fmla="*/ 1197934 h 4890220"/>
                  <a:gd name="connsiteX19" fmla="*/ 0 w 3984859"/>
                  <a:gd name="connsiteY19" fmla="*/ 755172 h 4890220"/>
                  <a:gd name="connsiteX20" fmla="*/ 251725 w 3984859"/>
                  <a:gd name="connsiteY20"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286443 w 3984859"/>
                  <a:gd name="connsiteY15" fmla="*/ 3427520 h 4890220"/>
                  <a:gd name="connsiteX16" fmla="*/ 615750 w 3984859"/>
                  <a:gd name="connsiteY16" fmla="*/ 3059888 h 4890220"/>
                  <a:gd name="connsiteX17" fmla="*/ 375385 w 3984859"/>
                  <a:gd name="connsiteY17" fmla="*/ 2006456 h 4890220"/>
                  <a:gd name="connsiteX18" fmla="*/ 221381 w 3984859"/>
                  <a:gd name="connsiteY18" fmla="*/ 1823576 h 4890220"/>
                  <a:gd name="connsiteX19" fmla="*/ 336884 w 3984859"/>
                  <a:gd name="connsiteY19" fmla="*/ 1197934 h 4890220"/>
                  <a:gd name="connsiteX20" fmla="*/ 0 w 3984859"/>
                  <a:gd name="connsiteY20" fmla="*/ 755172 h 4890220"/>
                  <a:gd name="connsiteX21" fmla="*/ 251725 w 3984859"/>
                  <a:gd name="connsiteY21"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286443 w 3984859"/>
                  <a:gd name="connsiteY15" fmla="*/ 3427520 h 4890220"/>
                  <a:gd name="connsiteX16" fmla="*/ 615750 w 3984859"/>
                  <a:gd name="connsiteY16" fmla="*/ 3059888 h 4890220"/>
                  <a:gd name="connsiteX17" fmla="*/ 375385 w 3984859"/>
                  <a:gd name="connsiteY17" fmla="*/ 2006456 h 4890220"/>
                  <a:gd name="connsiteX18" fmla="*/ 221381 w 3984859"/>
                  <a:gd name="connsiteY18" fmla="*/ 1823576 h 4890220"/>
                  <a:gd name="connsiteX19" fmla="*/ 336884 w 3984859"/>
                  <a:gd name="connsiteY19" fmla="*/ 1197934 h 4890220"/>
                  <a:gd name="connsiteX20" fmla="*/ 0 w 3984859"/>
                  <a:gd name="connsiteY20" fmla="*/ 755172 h 4890220"/>
                  <a:gd name="connsiteX21" fmla="*/ 251725 w 3984859"/>
                  <a:gd name="connsiteY21"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286443 w 3984859"/>
                  <a:gd name="connsiteY15" fmla="*/ 3427520 h 4890220"/>
                  <a:gd name="connsiteX16" fmla="*/ 615750 w 3984859"/>
                  <a:gd name="connsiteY16" fmla="*/ 3059888 h 4890220"/>
                  <a:gd name="connsiteX17" fmla="*/ 375385 w 3984859"/>
                  <a:gd name="connsiteY17" fmla="*/ 2006456 h 4890220"/>
                  <a:gd name="connsiteX18" fmla="*/ 221381 w 3984859"/>
                  <a:gd name="connsiteY18" fmla="*/ 1823576 h 4890220"/>
                  <a:gd name="connsiteX19" fmla="*/ 336884 w 3984859"/>
                  <a:gd name="connsiteY19" fmla="*/ 1197934 h 4890220"/>
                  <a:gd name="connsiteX20" fmla="*/ 0 w 3984859"/>
                  <a:gd name="connsiteY20" fmla="*/ 755172 h 4890220"/>
                  <a:gd name="connsiteX21" fmla="*/ 251725 w 3984859"/>
                  <a:gd name="connsiteY21"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337243 w 3984859"/>
                  <a:gd name="connsiteY15" fmla="*/ 3532295 h 4890220"/>
                  <a:gd name="connsiteX16" fmla="*/ 615750 w 3984859"/>
                  <a:gd name="connsiteY16" fmla="*/ 3059888 h 4890220"/>
                  <a:gd name="connsiteX17" fmla="*/ 375385 w 3984859"/>
                  <a:gd name="connsiteY17" fmla="*/ 2006456 h 4890220"/>
                  <a:gd name="connsiteX18" fmla="*/ 221381 w 3984859"/>
                  <a:gd name="connsiteY18" fmla="*/ 1823576 h 4890220"/>
                  <a:gd name="connsiteX19" fmla="*/ 336884 w 3984859"/>
                  <a:gd name="connsiteY19" fmla="*/ 1197934 h 4890220"/>
                  <a:gd name="connsiteX20" fmla="*/ 0 w 3984859"/>
                  <a:gd name="connsiteY20" fmla="*/ 755172 h 4890220"/>
                  <a:gd name="connsiteX21" fmla="*/ 251725 w 3984859"/>
                  <a:gd name="connsiteY21"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692977 w 3984859"/>
                  <a:gd name="connsiteY15" fmla="*/ 3561772 h 4890220"/>
                  <a:gd name="connsiteX16" fmla="*/ 1337243 w 3984859"/>
                  <a:gd name="connsiteY16" fmla="*/ 3532295 h 4890220"/>
                  <a:gd name="connsiteX17" fmla="*/ 615750 w 3984859"/>
                  <a:gd name="connsiteY17" fmla="*/ 3059888 h 4890220"/>
                  <a:gd name="connsiteX18" fmla="*/ 375385 w 3984859"/>
                  <a:gd name="connsiteY18" fmla="*/ 2006456 h 4890220"/>
                  <a:gd name="connsiteX19" fmla="*/ 221381 w 3984859"/>
                  <a:gd name="connsiteY19" fmla="*/ 1823576 h 4890220"/>
                  <a:gd name="connsiteX20" fmla="*/ 336884 w 3984859"/>
                  <a:gd name="connsiteY20" fmla="*/ 1197934 h 4890220"/>
                  <a:gd name="connsiteX21" fmla="*/ 0 w 3984859"/>
                  <a:gd name="connsiteY21" fmla="*/ 755172 h 4890220"/>
                  <a:gd name="connsiteX22" fmla="*/ 251725 w 3984859"/>
                  <a:gd name="connsiteY22"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827129 w 3984859"/>
                  <a:gd name="connsiteY14" fmla="*/ 3632892 h 4890220"/>
                  <a:gd name="connsiteX15" fmla="*/ 1692977 w 3984859"/>
                  <a:gd name="connsiteY15" fmla="*/ 3561772 h 4890220"/>
                  <a:gd name="connsiteX16" fmla="*/ 1337243 w 3984859"/>
                  <a:gd name="connsiteY16" fmla="*/ 3532295 h 4890220"/>
                  <a:gd name="connsiteX17" fmla="*/ 615750 w 3984859"/>
                  <a:gd name="connsiteY17" fmla="*/ 3059888 h 4890220"/>
                  <a:gd name="connsiteX18" fmla="*/ 375385 w 3984859"/>
                  <a:gd name="connsiteY18" fmla="*/ 2006456 h 4890220"/>
                  <a:gd name="connsiteX19" fmla="*/ 221381 w 3984859"/>
                  <a:gd name="connsiteY19" fmla="*/ 1823576 h 4890220"/>
                  <a:gd name="connsiteX20" fmla="*/ 336884 w 3984859"/>
                  <a:gd name="connsiteY20" fmla="*/ 1197934 h 4890220"/>
                  <a:gd name="connsiteX21" fmla="*/ 0 w 3984859"/>
                  <a:gd name="connsiteY21" fmla="*/ 755172 h 4890220"/>
                  <a:gd name="connsiteX22" fmla="*/ 251725 w 3984859"/>
                  <a:gd name="connsiteY22"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827129 w 3984859"/>
                  <a:gd name="connsiteY14" fmla="*/ 3632892 h 4890220"/>
                  <a:gd name="connsiteX15" fmla="*/ 1712027 w 3984859"/>
                  <a:gd name="connsiteY15" fmla="*/ 3564947 h 4890220"/>
                  <a:gd name="connsiteX16" fmla="*/ 1337243 w 3984859"/>
                  <a:gd name="connsiteY16" fmla="*/ 3532295 h 4890220"/>
                  <a:gd name="connsiteX17" fmla="*/ 615750 w 3984859"/>
                  <a:gd name="connsiteY17" fmla="*/ 3059888 h 4890220"/>
                  <a:gd name="connsiteX18" fmla="*/ 375385 w 3984859"/>
                  <a:gd name="connsiteY18" fmla="*/ 2006456 h 4890220"/>
                  <a:gd name="connsiteX19" fmla="*/ 221381 w 3984859"/>
                  <a:gd name="connsiteY19" fmla="*/ 1823576 h 4890220"/>
                  <a:gd name="connsiteX20" fmla="*/ 336884 w 3984859"/>
                  <a:gd name="connsiteY20" fmla="*/ 1197934 h 4890220"/>
                  <a:gd name="connsiteX21" fmla="*/ 0 w 3984859"/>
                  <a:gd name="connsiteY21" fmla="*/ 755172 h 4890220"/>
                  <a:gd name="connsiteX22" fmla="*/ 251725 w 3984859"/>
                  <a:gd name="connsiteY22"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785227 w 3984859"/>
                  <a:gd name="connsiteY10" fmla="*/ 3495299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827129 w 3984859"/>
                  <a:gd name="connsiteY14" fmla="*/ 3632892 h 4890220"/>
                  <a:gd name="connsiteX15" fmla="*/ 1712027 w 3984859"/>
                  <a:gd name="connsiteY15" fmla="*/ 3564947 h 4890220"/>
                  <a:gd name="connsiteX16" fmla="*/ 1337243 w 3984859"/>
                  <a:gd name="connsiteY16" fmla="*/ 3532295 h 4890220"/>
                  <a:gd name="connsiteX17" fmla="*/ 615750 w 3984859"/>
                  <a:gd name="connsiteY17" fmla="*/ 3059888 h 4890220"/>
                  <a:gd name="connsiteX18" fmla="*/ 375385 w 3984859"/>
                  <a:gd name="connsiteY18" fmla="*/ 2006456 h 4890220"/>
                  <a:gd name="connsiteX19" fmla="*/ 221381 w 3984859"/>
                  <a:gd name="connsiteY19" fmla="*/ 1823576 h 4890220"/>
                  <a:gd name="connsiteX20" fmla="*/ 336884 w 3984859"/>
                  <a:gd name="connsiteY20" fmla="*/ 1197934 h 4890220"/>
                  <a:gd name="connsiteX21" fmla="*/ 0 w 3984859"/>
                  <a:gd name="connsiteY21" fmla="*/ 755172 h 4890220"/>
                  <a:gd name="connsiteX22" fmla="*/ 251725 w 3984859"/>
                  <a:gd name="connsiteY22"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785227 w 3984859"/>
                  <a:gd name="connsiteY10" fmla="*/ 3495299 h 4890220"/>
                  <a:gd name="connsiteX11" fmla="*/ 3102386 w 3984859"/>
                  <a:gd name="connsiteY11" fmla="*/ 3630815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13207 w 3984859"/>
                  <a:gd name="connsiteY10" fmla="*/ 3565251 h 4890220"/>
                  <a:gd name="connsiteX11" fmla="*/ 3102386 w 3984859"/>
                  <a:gd name="connsiteY11" fmla="*/ 3630815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13207 w 3984859"/>
                  <a:gd name="connsiteY10" fmla="*/ 3565251 h 4890220"/>
                  <a:gd name="connsiteX11" fmla="*/ 3186328 w 3984859"/>
                  <a:gd name="connsiteY11" fmla="*/ 3609830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1804455 w 3984859"/>
                  <a:gd name="connsiteY8" fmla="*/ 2759857 h 4890220"/>
                  <a:gd name="connsiteX9" fmla="*/ 2444817 w 3984859"/>
                  <a:gd name="connsiteY9" fmla="*/ 2632099 h 4890220"/>
                  <a:gd name="connsiteX10" fmla="*/ 2813207 w 3984859"/>
                  <a:gd name="connsiteY10" fmla="*/ 3565251 h 4890220"/>
                  <a:gd name="connsiteX11" fmla="*/ 3186328 w 3984859"/>
                  <a:gd name="connsiteY11" fmla="*/ 3609830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1804455 w 3984859"/>
                  <a:gd name="connsiteY8" fmla="*/ 2759857 h 4890220"/>
                  <a:gd name="connsiteX9" fmla="*/ 2109049 w 3984859"/>
                  <a:gd name="connsiteY9" fmla="*/ 3002843 h 4890220"/>
                  <a:gd name="connsiteX10" fmla="*/ 2813207 w 3984859"/>
                  <a:gd name="connsiteY10" fmla="*/ 3565251 h 4890220"/>
                  <a:gd name="connsiteX11" fmla="*/ 3186328 w 3984859"/>
                  <a:gd name="connsiteY11" fmla="*/ 3609830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1804455 w 3984859"/>
                  <a:gd name="connsiteY8" fmla="*/ 2759857 h 4890220"/>
                  <a:gd name="connsiteX9" fmla="*/ 2109049 w 3984859"/>
                  <a:gd name="connsiteY9" fmla="*/ 3002843 h 4890220"/>
                  <a:gd name="connsiteX10" fmla="*/ 2381884 w 3984859"/>
                  <a:gd name="connsiteY10" fmla="*/ 3434950 h 4890220"/>
                  <a:gd name="connsiteX11" fmla="*/ 2813207 w 3984859"/>
                  <a:gd name="connsiteY11" fmla="*/ 3565251 h 4890220"/>
                  <a:gd name="connsiteX12" fmla="*/ 3186328 w 3984859"/>
                  <a:gd name="connsiteY12" fmla="*/ 3609830 h 4890220"/>
                  <a:gd name="connsiteX13" fmla="*/ 3984859 w 3984859"/>
                  <a:gd name="connsiteY13" fmla="*/ 4884410 h 4890220"/>
                  <a:gd name="connsiteX14" fmla="*/ 2629207 w 3984859"/>
                  <a:gd name="connsiteY14" fmla="*/ 4890220 h 4890220"/>
                  <a:gd name="connsiteX15" fmla="*/ 2540951 w 3984859"/>
                  <a:gd name="connsiteY15" fmla="*/ 4686873 h 4890220"/>
                  <a:gd name="connsiteX16" fmla="*/ 1827129 w 3984859"/>
                  <a:gd name="connsiteY16" fmla="*/ 3632892 h 4890220"/>
                  <a:gd name="connsiteX17" fmla="*/ 1712027 w 3984859"/>
                  <a:gd name="connsiteY17" fmla="*/ 3564947 h 4890220"/>
                  <a:gd name="connsiteX18" fmla="*/ 1337243 w 3984859"/>
                  <a:gd name="connsiteY18" fmla="*/ 3532295 h 4890220"/>
                  <a:gd name="connsiteX19" fmla="*/ 615750 w 3984859"/>
                  <a:gd name="connsiteY19" fmla="*/ 3059888 h 4890220"/>
                  <a:gd name="connsiteX20" fmla="*/ 375385 w 3984859"/>
                  <a:gd name="connsiteY20" fmla="*/ 2006456 h 4890220"/>
                  <a:gd name="connsiteX21" fmla="*/ 221381 w 3984859"/>
                  <a:gd name="connsiteY21" fmla="*/ 1823576 h 4890220"/>
                  <a:gd name="connsiteX22" fmla="*/ 336884 w 3984859"/>
                  <a:gd name="connsiteY22" fmla="*/ 1197934 h 4890220"/>
                  <a:gd name="connsiteX23" fmla="*/ 0 w 3984859"/>
                  <a:gd name="connsiteY23" fmla="*/ 755172 h 4890220"/>
                  <a:gd name="connsiteX24" fmla="*/ 251725 w 3984859"/>
                  <a:gd name="connsiteY24" fmla="*/ 0 h 4890220"/>
                  <a:gd name="connsiteX0" fmla="*/ 606146 w 4339280"/>
                  <a:gd name="connsiteY0" fmla="*/ 0 h 4890220"/>
                  <a:gd name="connsiteX1" fmla="*/ 845310 w 4339280"/>
                  <a:gd name="connsiteY1" fmla="*/ 851425 h 4890220"/>
                  <a:gd name="connsiteX2" fmla="*/ 1162943 w 4339280"/>
                  <a:gd name="connsiteY2" fmla="*/ 1159433 h 4890220"/>
                  <a:gd name="connsiteX3" fmla="*/ 1442076 w 4339280"/>
                  <a:gd name="connsiteY3" fmla="*/ 1765825 h 4890220"/>
                  <a:gd name="connsiteX4" fmla="*/ 1711583 w 4339280"/>
                  <a:gd name="connsiteY4" fmla="*/ 1611821 h 4890220"/>
                  <a:gd name="connsiteX5" fmla="*/ 1723548 w 4339280"/>
                  <a:gd name="connsiteY5" fmla="*/ 1818697 h 4890220"/>
                  <a:gd name="connsiteX6" fmla="*/ 1672748 w 4339280"/>
                  <a:gd name="connsiteY6" fmla="*/ 1949930 h 4890220"/>
                  <a:gd name="connsiteX7" fmla="*/ 1971465 w 4339280"/>
                  <a:gd name="connsiteY7" fmla="*/ 2401092 h 4890220"/>
                  <a:gd name="connsiteX8" fmla="*/ 2158876 w 4339280"/>
                  <a:gd name="connsiteY8" fmla="*/ 2759857 h 4890220"/>
                  <a:gd name="connsiteX9" fmla="*/ 2463470 w 4339280"/>
                  <a:gd name="connsiteY9" fmla="*/ 3002843 h 4890220"/>
                  <a:gd name="connsiteX10" fmla="*/ 2736305 w 4339280"/>
                  <a:gd name="connsiteY10" fmla="*/ 3434950 h 4890220"/>
                  <a:gd name="connsiteX11" fmla="*/ 3167628 w 4339280"/>
                  <a:gd name="connsiteY11" fmla="*/ 3565251 h 4890220"/>
                  <a:gd name="connsiteX12" fmla="*/ 3540749 w 4339280"/>
                  <a:gd name="connsiteY12" fmla="*/ 3609830 h 4890220"/>
                  <a:gd name="connsiteX13" fmla="*/ 4339280 w 4339280"/>
                  <a:gd name="connsiteY13" fmla="*/ 4884410 h 4890220"/>
                  <a:gd name="connsiteX14" fmla="*/ 2983628 w 4339280"/>
                  <a:gd name="connsiteY14" fmla="*/ 4890220 h 4890220"/>
                  <a:gd name="connsiteX15" fmla="*/ 2895372 w 4339280"/>
                  <a:gd name="connsiteY15" fmla="*/ 4686873 h 4890220"/>
                  <a:gd name="connsiteX16" fmla="*/ 2181550 w 4339280"/>
                  <a:gd name="connsiteY16" fmla="*/ 3632892 h 4890220"/>
                  <a:gd name="connsiteX17" fmla="*/ 2066448 w 4339280"/>
                  <a:gd name="connsiteY17" fmla="*/ 3564947 h 4890220"/>
                  <a:gd name="connsiteX18" fmla="*/ 1691664 w 4339280"/>
                  <a:gd name="connsiteY18" fmla="*/ 3532295 h 4890220"/>
                  <a:gd name="connsiteX19" fmla="*/ 970171 w 4339280"/>
                  <a:gd name="connsiteY19" fmla="*/ 3059888 h 4890220"/>
                  <a:gd name="connsiteX20" fmla="*/ 729806 w 4339280"/>
                  <a:gd name="connsiteY20" fmla="*/ 2006456 h 4890220"/>
                  <a:gd name="connsiteX21" fmla="*/ 575802 w 4339280"/>
                  <a:gd name="connsiteY21" fmla="*/ 1823576 h 4890220"/>
                  <a:gd name="connsiteX22" fmla="*/ 691305 w 4339280"/>
                  <a:gd name="connsiteY22" fmla="*/ 1197934 h 4890220"/>
                  <a:gd name="connsiteX23" fmla="*/ 0 w 4339280"/>
                  <a:gd name="connsiteY23" fmla="*/ 1081613 h 4890220"/>
                  <a:gd name="connsiteX24" fmla="*/ 606146 w 4339280"/>
                  <a:gd name="connsiteY24" fmla="*/ 0 h 4890220"/>
                  <a:gd name="connsiteX0" fmla="*/ 606146 w 4339280"/>
                  <a:gd name="connsiteY0" fmla="*/ 0 h 4890220"/>
                  <a:gd name="connsiteX1" fmla="*/ 845310 w 4339280"/>
                  <a:gd name="connsiteY1" fmla="*/ 851425 h 4890220"/>
                  <a:gd name="connsiteX2" fmla="*/ 1162943 w 4339280"/>
                  <a:gd name="connsiteY2" fmla="*/ 1159433 h 4890220"/>
                  <a:gd name="connsiteX3" fmla="*/ 1442076 w 4339280"/>
                  <a:gd name="connsiteY3" fmla="*/ 1765825 h 4890220"/>
                  <a:gd name="connsiteX4" fmla="*/ 1711583 w 4339280"/>
                  <a:gd name="connsiteY4" fmla="*/ 1611821 h 4890220"/>
                  <a:gd name="connsiteX5" fmla="*/ 1723548 w 4339280"/>
                  <a:gd name="connsiteY5" fmla="*/ 1818697 h 4890220"/>
                  <a:gd name="connsiteX6" fmla="*/ 1672748 w 4339280"/>
                  <a:gd name="connsiteY6" fmla="*/ 1949930 h 4890220"/>
                  <a:gd name="connsiteX7" fmla="*/ 1971465 w 4339280"/>
                  <a:gd name="connsiteY7" fmla="*/ 2401092 h 4890220"/>
                  <a:gd name="connsiteX8" fmla="*/ 2158876 w 4339280"/>
                  <a:gd name="connsiteY8" fmla="*/ 2759857 h 4890220"/>
                  <a:gd name="connsiteX9" fmla="*/ 2463470 w 4339280"/>
                  <a:gd name="connsiteY9" fmla="*/ 3002843 h 4890220"/>
                  <a:gd name="connsiteX10" fmla="*/ 2736305 w 4339280"/>
                  <a:gd name="connsiteY10" fmla="*/ 3434950 h 4890220"/>
                  <a:gd name="connsiteX11" fmla="*/ 3167628 w 4339280"/>
                  <a:gd name="connsiteY11" fmla="*/ 3565251 h 4890220"/>
                  <a:gd name="connsiteX12" fmla="*/ 3540749 w 4339280"/>
                  <a:gd name="connsiteY12" fmla="*/ 3609830 h 4890220"/>
                  <a:gd name="connsiteX13" fmla="*/ 4339280 w 4339280"/>
                  <a:gd name="connsiteY13" fmla="*/ 4884410 h 4890220"/>
                  <a:gd name="connsiteX14" fmla="*/ 2983628 w 4339280"/>
                  <a:gd name="connsiteY14" fmla="*/ 4890220 h 4890220"/>
                  <a:gd name="connsiteX15" fmla="*/ 2895372 w 4339280"/>
                  <a:gd name="connsiteY15" fmla="*/ 4686873 h 4890220"/>
                  <a:gd name="connsiteX16" fmla="*/ 2181550 w 4339280"/>
                  <a:gd name="connsiteY16" fmla="*/ 3632892 h 4890220"/>
                  <a:gd name="connsiteX17" fmla="*/ 2066448 w 4339280"/>
                  <a:gd name="connsiteY17" fmla="*/ 3564947 h 4890220"/>
                  <a:gd name="connsiteX18" fmla="*/ 1691664 w 4339280"/>
                  <a:gd name="connsiteY18" fmla="*/ 3532295 h 4890220"/>
                  <a:gd name="connsiteX19" fmla="*/ 970171 w 4339280"/>
                  <a:gd name="connsiteY19" fmla="*/ 3059888 h 4890220"/>
                  <a:gd name="connsiteX20" fmla="*/ 729806 w 4339280"/>
                  <a:gd name="connsiteY20" fmla="*/ 2006456 h 4890220"/>
                  <a:gd name="connsiteX21" fmla="*/ 575802 w 4339280"/>
                  <a:gd name="connsiteY21" fmla="*/ 1823576 h 4890220"/>
                  <a:gd name="connsiteX22" fmla="*/ 243615 w 4339280"/>
                  <a:gd name="connsiteY22" fmla="*/ 1365818 h 4890220"/>
                  <a:gd name="connsiteX23" fmla="*/ 0 w 4339280"/>
                  <a:gd name="connsiteY23" fmla="*/ 1081613 h 4890220"/>
                  <a:gd name="connsiteX24" fmla="*/ 606146 w 4339280"/>
                  <a:gd name="connsiteY24" fmla="*/ 0 h 4890220"/>
                  <a:gd name="connsiteX0" fmla="*/ 568838 w 4301972"/>
                  <a:gd name="connsiteY0" fmla="*/ 0 h 4890220"/>
                  <a:gd name="connsiteX1" fmla="*/ 808002 w 4301972"/>
                  <a:gd name="connsiteY1" fmla="*/ 851425 h 4890220"/>
                  <a:gd name="connsiteX2" fmla="*/ 1125635 w 4301972"/>
                  <a:gd name="connsiteY2" fmla="*/ 1159433 h 4890220"/>
                  <a:gd name="connsiteX3" fmla="*/ 1404768 w 4301972"/>
                  <a:gd name="connsiteY3" fmla="*/ 1765825 h 4890220"/>
                  <a:gd name="connsiteX4" fmla="*/ 1674275 w 4301972"/>
                  <a:gd name="connsiteY4" fmla="*/ 1611821 h 4890220"/>
                  <a:gd name="connsiteX5" fmla="*/ 1686240 w 4301972"/>
                  <a:gd name="connsiteY5" fmla="*/ 1818697 h 4890220"/>
                  <a:gd name="connsiteX6" fmla="*/ 1635440 w 4301972"/>
                  <a:gd name="connsiteY6" fmla="*/ 1949930 h 4890220"/>
                  <a:gd name="connsiteX7" fmla="*/ 1934157 w 4301972"/>
                  <a:gd name="connsiteY7" fmla="*/ 2401092 h 4890220"/>
                  <a:gd name="connsiteX8" fmla="*/ 2121568 w 4301972"/>
                  <a:gd name="connsiteY8" fmla="*/ 2759857 h 4890220"/>
                  <a:gd name="connsiteX9" fmla="*/ 2426162 w 4301972"/>
                  <a:gd name="connsiteY9" fmla="*/ 3002843 h 4890220"/>
                  <a:gd name="connsiteX10" fmla="*/ 2698997 w 4301972"/>
                  <a:gd name="connsiteY10" fmla="*/ 3434950 h 4890220"/>
                  <a:gd name="connsiteX11" fmla="*/ 3130320 w 4301972"/>
                  <a:gd name="connsiteY11" fmla="*/ 3565251 h 4890220"/>
                  <a:gd name="connsiteX12" fmla="*/ 3503441 w 4301972"/>
                  <a:gd name="connsiteY12" fmla="*/ 3609830 h 4890220"/>
                  <a:gd name="connsiteX13" fmla="*/ 4301972 w 4301972"/>
                  <a:gd name="connsiteY13" fmla="*/ 4884410 h 4890220"/>
                  <a:gd name="connsiteX14" fmla="*/ 2946320 w 4301972"/>
                  <a:gd name="connsiteY14" fmla="*/ 4890220 h 4890220"/>
                  <a:gd name="connsiteX15" fmla="*/ 2858064 w 4301972"/>
                  <a:gd name="connsiteY15" fmla="*/ 4686873 h 4890220"/>
                  <a:gd name="connsiteX16" fmla="*/ 2144242 w 4301972"/>
                  <a:gd name="connsiteY16" fmla="*/ 3632892 h 4890220"/>
                  <a:gd name="connsiteX17" fmla="*/ 2029140 w 4301972"/>
                  <a:gd name="connsiteY17" fmla="*/ 3564947 h 4890220"/>
                  <a:gd name="connsiteX18" fmla="*/ 1654356 w 4301972"/>
                  <a:gd name="connsiteY18" fmla="*/ 3532295 h 4890220"/>
                  <a:gd name="connsiteX19" fmla="*/ 932863 w 4301972"/>
                  <a:gd name="connsiteY19" fmla="*/ 3059888 h 4890220"/>
                  <a:gd name="connsiteX20" fmla="*/ 692498 w 4301972"/>
                  <a:gd name="connsiteY20" fmla="*/ 2006456 h 4890220"/>
                  <a:gd name="connsiteX21" fmla="*/ 538494 w 4301972"/>
                  <a:gd name="connsiteY21" fmla="*/ 1823576 h 4890220"/>
                  <a:gd name="connsiteX22" fmla="*/ 206307 w 4301972"/>
                  <a:gd name="connsiteY22" fmla="*/ 1365818 h 4890220"/>
                  <a:gd name="connsiteX23" fmla="*/ 0 w 4301972"/>
                  <a:gd name="connsiteY23" fmla="*/ 1062960 h 4890220"/>
                  <a:gd name="connsiteX24" fmla="*/ 568838 w 4301972"/>
                  <a:gd name="connsiteY24" fmla="*/ 0 h 4890220"/>
                  <a:gd name="connsiteX0" fmla="*/ 568838 w 4301972"/>
                  <a:gd name="connsiteY0" fmla="*/ 0 h 4890220"/>
                  <a:gd name="connsiteX1" fmla="*/ 808002 w 4301972"/>
                  <a:gd name="connsiteY1" fmla="*/ 851425 h 4890220"/>
                  <a:gd name="connsiteX2" fmla="*/ 1125635 w 4301972"/>
                  <a:gd name="connsiteY2" fmla="*/ 1159433 h 4890220"/>
                  <a:gd name="connsiteX3" fmla="*/ 1404768 w 4301972"/>
                  <a:gd name="connsiteY3" fmla="*/ 1765825 h 4890220"/>
                  <a:gd name="connsiteX4" fmla="*/ 1674275 w 4301972"/>
                  <a:gd name="connsiteY4" fmla="*/ 1611821 h 4890220"/>
                  <a:gd name="connsiteX5" fmla="*/ 1686240 w 4301972"/>
                  <a:gd name="connsiteY5" fmla="*/ 1818697 h 4890220"/>
                  <a:gd name="connsiteX6" fmla="*/ 1635440 w 4301972"/>
                  <a:gd name="connsiteY6" fmla="*/ 1949930 h 4890220"/>
                  <a:gd name="connsiteX7" fmla="*/ 1934157 w 4301972"/>
                  <a:gd name="connsiteY7" fmla="*/ 2401092 h 4890220"/>
                  <a:gd name="connsiteX8" fmla="*/ 2121568 w 4301972"/>
                  <a:gd name="connsiteY8" fmla="*/ 2759857 h 4890220"/>
                  <a:gd name="connsiteX9" fmla="*/ 2426162 w 4301972"/>
                  <a:gd name="connsiteY9" fmla="*/ 3002843 h 4890220"/>
                  <a:gd name="connsiteX10" fmla="*/ 2698997 w 4301972"/>
                  <a:gd name="connsiteY10" fmla="*/ 3434950 h 4890220"/>
                  <a:gd name="connsiteX11" fmla="*/ 3130320 w 4301972"/>
                  <a:gd name="connsiteY11" fmla="*/ 3565251 h 4890220"/>
                  <a:gd name="connsiteX12" fmla="*/ 3503441 w 4301972"/>
                  <a:gd name="connsiteY12" fmla="*/ 3609830 h 4890220"/>
                  <a:gd name="connsiteX13" fmla="*/ 4301972 w 4301972"/>
                  <a:gd name="connsiteY13" fmla="*/ 4884410 h 4890220"/>
                  <a:gd name="connsiteX14" fmla="*/ 2946320 w 4301972"/>
                  <a:gd name="connsiteY14" fmla="*/ 4890220 h 4890220"/>
                  <a:gd name="connsiteX15" fmla="*/ 2858064 w 4301972"/>
                  <a:gd name="connsiteY15" fmla="*/ 4686873 h 4890220"/>
                  <a:gd name="connsiteX16" fmla="*/ 2144242 w 4301972"/>
                  <a:gd name="connsiteY16" fmla="*/ 3632892 h 4890220"/>
                  <a:gd name="connsiteX17" fmla="*/ 2029140 w 4301972"/>
                  <a:gd name="connsiteY17" fmla="*/ 3564947 h 4890220"/>
                  <a:gd name="connsiteX18" fmla="*/ 1654356 w 4301972"/>
                  <a:gd name="connsiteY18" fmla="*/ 3532295 h 4890220"/>
                  <a:gd name="connsiteX19" fmla="*/ 932863 w 4301972"/>
                  <a:gd name="connsiteY19" fmla="*/ 3059888 h 4890220"/>
                  <a:gd name="connsiteX20" fmla="*/ 1350044 w 4301972"/>
                  <a:gd name="connsiteY20" fmla="*/ 1866553 h 4890220"/>
                  <a:gd name="connsiteX21" fmla="*/ 538494 w 4301972"/>
                  <a:gd name="connsiteY21" fmla="*/ 1823576 h 4890220"/>
                  <a:gd name="connsiteX22" fmla="*/ 206307 w 4301972"/>
                  <a:gd name="connsiteY22" fmla="*/ 1365818 h 4890220"/>
                  <a:gd name="connsiteX23" fmla="*/ 0 w 4301972"/>
                  <a:gd name="connsiteY23" fmla="*/ 1062960 h 4890220"/>
                  <a:gd name="connsiteX24" fmla="*/ 568838 w 4301972"/>
                  <a:gd name="connsiteY24" fmla="*/ 0 h 4890220"/>
                  <a:gd name="connsiteX0" fmla="*/ 568838 w 4301972"/>
                  <a:gd name="connsiteY0" fmla="*/ 0 h 4890220"/>
                  <a:gd name="connsiteX1" fmla="*/ 808002 w 4301972"/>
                  <a:gd name="connsiteY1" fmla="*/ 851425 h 4890220"/>
                  <a:gd name="connsiteX2" fmla="*/ 1125635 w 4301972"/>
                  <a:gd name="connsiteY2" fmla="*/ 1159433 h 4890220"/>
                  <a:gd name="connsiteX3" fmla="*/ 1404768 w 4301972"/>
                  <a:gd name="connsiteY3" fmla="*/ 1765825 h 4890220"/>
                  <a:gd name="connsiteX4" fmla="*/ 1674275 w 4301972"/>
                  <a:gd name="connsiteY4" fmla="*/ 1611821 h 4890220"/>
                  <a:gd name="connsiteX5" fmla="*/ 1686240 w 4301972"/>
                  <a:gd name="connsiteY5" fmla="*/ 1818697 h 4890220"/>
                  <a:gd name="connsiteX6" fmla="*/ 1635440 w 4301972"/>
                  <a:gd name="connsiteY6" fmla="*/ 1949930 h 4890220"/>
                  <a:gd name="connsiteX7" fmla="*/ 1934157 w 4301972"/>
                  <a:gd name="connsiteY7" fmla="*/ 2401092 h 4890220"/>
                  <a:gd name="connsiteX8" fmla="*/ 2121568 w 4301972"/>
                  <a:gd name="connsiteY8" fmla="*/ 2759857 h 4890220"/>
                  <a:gd name="connsiteX9" fmla="*/ 2426162 w 4301972"/>
                  <a:gd name="connsiteY9" fmla="*/ 3002843 h 4890220"/>
                  <a:gd name="connsiteX10" fmla="*/ 2698997 w 4301972"/>
                  <a:gd name="connsiteY10" fmla="*/ 3434950 h 4890220"/>
                  <a:gd name="connsiteX11" fmla="*/ 3130320 w 4301972"/>
                  <a:gd name="connsiteY11" fmla="*/ 3565251 h 4890220"/>
                  <a:gd name="connsiteX12" fmla="*/ 3503441 w 4301972"/>
                  <a:gd name="connsiteY12" fmla="*/ 3609830 h 4890220"/>
                  <a:gd name="connsiteX13" fmla="*/ 4301972 w 4301972"/>
                  <a:gd name="connsiteY13" fmla="*/ 4884410 h 4890220"/>
                  <a:gd name="connsiteX14" fmla="*/ 2946320 w 4301972"/>
                  <a:gd name="connsiteY14" fmla="*/ 4890220 h 4890220"/>
                  <a:gd name="connsiteX15" fmla="*/ 2858064 w 4301972"/>
                  <a:gd name="connsiteY15" fmla="*/ 4686873 h 4890220"/>
                  <a:gd name="connsiteX16" fmla="*/ 2144242 w 4301972"/>
                  <a:gd name="connsiteY16" fmla="*/ 3632892 h 4890220"/>
                  <a:gd name="connsiteX17" fmla="*/ 2029140 w 4301972"/>
                  <a:gd name="connsiteY17" fmla="*/ 3564947 h 4890220"/>
                  <a:gd name="connsiteX18" fmla="*/ 1654356 w 4301972"/>
                  <a:gd name="connsiteY18" fmla="*/ 3532295 h 4890220"/>
                  <a:gd name="connsiteX19" fmla="*/ 932863 w 4301972"/>
                  <a:gd name="connsiteY19" fmla="*/ 3059888 h 4890220"/>
                  <a:gd name="connsiteX20" fmla="*/ 1350044 w 4301972"/>
                  <a:gd name="connsiteY20" fmla="*/ 1866553 h 4890220"/>
                  <a:gd name="connsiteX21" fmla="*/ 538494 w 4301972"/>
                  <a:gd name="connsiteY21" fmla="*/ 1823576 h 4890220"/>
                  <a:gd name="connsiteX22" fmla="*/ 842867 w 4301972"/>
                  <a:gd name="connsiteY22" fmla="*/ 1379809 h 4890220"/>
                  <a:gd name="connsiteX23" fmla="*/ 0 w 4301972"/>
                  <a:gd name="connsiteY23" fmla="*/ 1062960 h 4890220"/>
                  <a:gd name="connsiteX24" fmla="*/ 568838 w 4301972"/>
                  <a:gd name="connsiteY24" fmla="*/ 0 h 4890220"/>
                  <a:gd name="connsiteX0" fmla="*/ 568838 w 4301972"/>
                  <a:gd name="connsiteY0" fmla="*/ 0 h 4890220"/>
                  <a:gd name="connsiteX1" fmla="*/ 808002 w 4301972"/>
                  <a:gd name="connsiteY1" fmla="*/ 851425 h 4890220"/>
                  <a:gd name="connsiteX2" fmla="*/ 1125635 w 4301972"/>
                  <a:gd name="connsiteY2" fmla="*/ 1159433 h 4890220"/>
                  <a:gd name="connsiteX3" fmla="*/ 1404768 w 4301972"/>
                  <a:gd name="connsiteY3" fmla="*/ 1765825 h 4890220"/>
                  <a:gd name="connsiteX4" fmla="*/ 1674275 w 4301972"/>
                  <a:gd name="connsiteY4" fmla="*/ 1611821 h 4890220"/>
                  <a:gd name="connsiteX5" fmla="*/ 1686240 w 4301972"/>
                  <a:gd name="connsiteY5" fmla="*/ 1818697 h 4890220"/>
                  <a:gd name="connsiteX6" fmla="*/ 1635440 w 4301972"/>
                  <a:gd name="connsiteY6" fmla="*/ 1949930 h 4890220"/>
                  <a:gd name="connsiteX7" fmla="*/ 1934157 w 4301972"/>
                  <a:gd name="connsiteY7" fmla="*/ 2401092 h 4890220"/>
                  <a:gd name="connsiteX8" fmla="*/ 2121568 w 4301972"/>
                  <a:gd name="connsiteY8" fmla="*/ 2759857 h 4890220"/>
                  <a:gd name="connsiteX9" fmla="*/ 2426162 w 4301972"/>
                  <a:gd name="connsiteY9" fmla="*/ 3002843 h 4890220"/>
                  <a:gd name="connsiteX10" fmla="*/ 2698997 w 4301972"/>
                  <a:gd name="connsiteY10" fmla="*/ 3434950 h 4890220"/>
                  <a:gd name="connsiteX11" fmla="*/ 3130320 w 4301972"/>
                  <a:gd name="connsiteY11" fmla="*/ 3565251 h 4890220"/>
                  <a:gd name="connsiteX12" fmla="*/ 3503441 w 4301972"/>
                  <a:gd name="connsiteY12" fmla="*/ 3609830 h 4890220"/>
                  <a:gd name="connsiteX13" fmla="*/ 4301972 w 4301972"/>
                  <a:gd name="connsiteY13" fmla="*/ 4884410 h 4890220"/>
                  <a:gd name="connsiteX14" fmla="*/ 2946320 w 4301972"/>
                  <a:gd name="connsiteY14" fmla="*/ 4890220 h 4890220"/>
                  <a:gd name="connsiteX15" fmla="*/ 2858064 w 4301972"/>
                  <a:gd name="connsiteY15" fmla="*/ 4686873 h 4890220"/>
                  <a:gd name="connsiteX16" fmla="*/ 2144242 w 4301972"/>
                  <a:gd name="connsiteY16" fmla="*/ 3632892 h 4890220"/>
                  <a:gd name="connsiteX17" fmla="*/ 2029140 w 4301972"/>
                  <a:gd name="connsiteY17" fmla="*/ 3564947 h 4890220"/>
                  <a:gd name="connsiteX18" fmla="*/ 1654356 w 4301972"/>
                  <a:gd name="connsiteY18" fmla="*/ 3532295 h 4890220"/>
                  <a:gd name="connsiteX19" fmla="*/ 932863 w 4301972"/>
                  <a:gd name="connsiteY19" fmla="*/ 3059888 h 4890220"/>
                  <a:gd name="connsiteX20" fmla="*/ 1350044 w 4301972"/>
                  <a:gd name="connsiteY20" fmla="*/ 1866553 h 4890220"/>
                  <a:gd name="connsiteX21" fmla="*/ 1105103 w 4301972"/>
                  <a:gd name="connsiteY21" fmla="*/ 1592736 h 4890220"/>
                  <a:gd name="connsiteX22" fmla="*/ 842867 w 4301972"/>
                  <a:gd name="connsiteY22" fmla="*/ 1379809 h 4890220"/>
                  <a:gd name="connsiteX23" fmla="*/ 0 w 4301972"/>
                  <a:gd name="connsiteY23" fmla="*/ 1062960 h 4890220"/>
                  <a:gd name="connsiteX24" fmla="*/ 568838 w 4301972"/>
                  <a:gd name="connsiteY24" fmla="*/ 0 h 4890220"/>
                  <a:gd name="connsiteX0" fmla="*/ 1524669 w 5257803"/>
                  <a:gd name="connsiteY0" fmla="*/ 0 h 4890220"/>
                  <a:gd name="connsiteX1" fmla="*/ 1763833 w 5257803"/>
                  <a:gd name="connsiteY1" fmla="*/ 851425 h 4890220"/>
                  <a:gd name="connsiteX2" fmla="*/ 2081466 w 5257803"/>
                  <a:gd name="connsiteY2" fmla="*/ 1159433 h 4890220"/>
                  <a:gd name="connsiteX3" fmla="*/ 2360599 w 5257803"/>
                  <a:gd name="connsiteY3" fmla="*/ 1765825 h 4890220"/>
                  <a:gd name="connsiteX4" fmla="*/ 2630106 w 5257803"/>
                  <a:gd name="connsiteY4" fmla="*/ 1611821 h 4890220"/>
                  <a:gd name="connsiteX5" fmla="*/ 2642071 w 5257803"/>
                  <a:gd name="connsiteY5" fmla="*/ 1818697 h 4890220"/>
                  <a:gd name="connsiteX6" fmla="*/ 2591271 w 5257803"/>
                  <a:gd name="connsiteY6" fmla="*/ 1949930 h 4890220"/>
                  <a:gd name="connsiteX7" fmla="*/ 2889988 w 5257803"/>
                  <a:gd name="connsiteY7" fmla="*/ 2401092 h 4890220"/>
                  <a:gd name="connsiteX8" fmla="*/ 3077399 w 5257803"/>
                  <a:gd name="connsiteY8" fmla="*/ 2759857 h 4890220"/>
                  <a:gd name="connsiteX9" fmla="*/ 3381993 w 5257803"/>
                  <a:gd name="connsiteY9" fmla="*/ 3002843 h 4890220"/>
                  <a:gd name="connsiteX10" fmla="*/ 3654828 w 5257803"/>
                  <a:gd name="connsiteY10" fmla="*/ 3434950 h 4890220"/>
                  <a:gd name="connsiteX11" fmla="*/ 4086151 w 5257803"/>
                  <a:gd name="connsiteY11" fmla="*/ 3565251 h 4890220"/>
                  <a:gd name="connsiteX12" fmla="*/ 4459272 w 5257803"/>
                  <a:gd name="connsiteY12" fmla="*/ 3609830 h 4890220"/>
                  <a:gd name="connsiteX13" fmla="*/ 5257803 w 5257803"/>
                  <a:gd name="connsiteY13" fmla="*/ 4884410 h 4890220"/>
                  <a:gd name="connsiteX14" fmla="*/ 3902151 w 5257803"/>
                  <a:gd name="connsiteY14" fmla="*/ 4890220 h 4890220"/>
                  <a:gd name="connsiteX15" fmla="*/ 3813895 w 5257803"/>
                  <a:gd name="connsiteY15" fmla="*/ 4686873 h 4890220"/>
                  <a:gd name="connsiteX16" fmla="*/ 3100073 w 5257803"/>
                  <a:gd name="connsiteY16" fmla="*/ 3632892 h 4890220"/>
                  <a:gd name="connsiteX17" fmla="*/ 2984971 w 5257803"/>
                  <a:gd name="connsiteY17" fmla="*/ 3564947 h 4890220"/>
                  <a:gd name="connsiteX18" fmla="*/ 2610187 w 5257803"/>
                  <a:gd name="connsiteY18" fmla="*/ 3532295 h 4890220"/>
                  <a:gd name="connsiteX19" fmla="*/ 0 w 5257803"/>
                  <a:gd name="connsiteY19" fmla="*/ 3108855 h 4890220"/>
                  <a:gd name="connsiteX20" fmla="*/ 2305875 w 5257803"/>
                  <a:gd name="connsiteY20" fmla="*/ 1866553 h 4890220"/>
                  <a:gd name="connsiteX21" fmla="*/ 2060934 w 5257803"/>
                  <a:gd name="connsiteY21" fmla="*/ 1592736 h 4890220"/>
                  <a:gd name="connsiteX22" fmla="*/ 1798698 w 5257803"/>
                  <a:gd name="connsiteY22" fmla="*/ 1379809 h 4890220"/>
                  <a:gd name="connsiteX23" fmla="*/ 955831 w 5257803"/>
                  <a:gd name="connsiteY23" fmla="*/ 1062960 h 4890220"/>
                  <a:gd name="connsiteX24" fmla="*/ 1524669 w 5257803"/>
                  <a:gd name="connsiteY24" fmla="*/ 0 h 4890220"/>
                  <a:gd name="connsiteX0" fmla="*/ 1524669 w 5257803"/>
                  <a:gd name="connsiteY0" fmla="*/ 0 h 4890220"/>
                  <a:gd name="connsiteX1" fmla="*/ 1763833 w 5257803"/>
                  <a:gd name="connsiteY1" fmla="*/ 851425 h 4890220"/>
                  <a:gd name="connsiteX2" fmla="*/ 2081466 w 5257803"/>
                  <a:gd name="connsiteY2" fmla="*/ 1159433 h 4890220"/>
                  <a:gd name="connsiteX3" fmla="*/ 2360599 w 5257803"/>
                  <a:gd name="connsiteY3" fmla="*/ 1765825 h 4890220"/>
                  <a:gd name="connsiteX4" fmla="*/ 2630106 w 5257803"/>
                  <a:gd name="connsiteY4" fmla="*/ 1611821 h 4890220"/>
                  <a:gd name="connsiteX5" fmla="*/ 2642071 w 5257803"/>
                  <a:gd name="connsiteY5" fmla="*/ 1818697 h 4890220"/>
                  <a:gd name="connsiteX6" fmla="*/ 2591271 w 5257803"/>
                  <a:gd name="connsiteY6" fmla="*/ 1949930 h 4890220"/>
                  <a:gd name="connsiteX7" fmla="*/ 2889988 w 5257803"/>
                  <a:gd name="connsiteY7" fmla="*/ 2401092 h 4890220"/>
                  <a:gd name="connsiteX8" fmla="*/ 3077399 w 5257803"/>
                  <a:gd name="connsiteY8" fmla="*/ 2759857 h 4890220"/>
                  <a:gd name="connsiteX9" fmla="*/ 3381993 w 5257803"/>
                  <a:gd name="connsiteY9" fmla="*/ 3002843 h 4890220"/>
                  <a:gd name="connsiteX10" fmla="*/ 3654828 w 5257803"/>
                  <a:gd name="connsiteY10" fmla="*/ 3434950 h 4890220"/>
                  <a:gd name="connsiteX11" fmla="*/ 4086151 w 5257803"/>
                  <a:gd name="connsiteY11" fmla="*/ 3565251 h 4890220"/>
                  <a:gd name="connsiteX12" fmla="*/ 4459272 w 5257803"/>
                  <a:gd name="connsiteY12" fmla="*/ 3609830 h 4890220"/>
                  <a:gd name="connsiteX13" fmla="*/ 5257803 w 5257803"/>
                  <a:gd name="connsiteY13" fmla="*/ 4884410 h 4890220"/>
                  <a:gd name="connsiteX14" fmla="*/ 3902151 w 5257803"/>
                  <a:gd name="connsiteY14" fmla="*/ 4890220 h 4890220"/>
                  <a:gd name="connsiteX15" fmla="*/ 3813895 w 5257803"/>
                  <a:gd name="connsiteY15" fmla="*/ 4686873 h 4890220"/>
                  <a:gd name="connsiteX16" fmla="*/ 3100073 w 5257803"/>
                  <a:gd name="connsiteY16" fmla="*/ 3632892 h 4890220"/>
                  <a:gd name="connsiteX17" fmla="*/ 2984971 w 5257803"/>
                  <a:gd name="connsiteY17" fmla="*/ 3564947 h 4890220"/>
                  <a:gd name="connsiteX18" fmla="*/ 1211155 w 5257803"/>
                  <a:gd name="connsiteY18" fmla="*/ 3595252 h 4890220"/>
                  <a:gd name="connsiteX19" fmla="*/ 0 w 5257803"/>
                  <a:gd name="connsiteY19" fmla="*/ 3108855 h 4890220"/>
                  <a:gd name="connsiteX20" fmla="*/ 2305875 w 5257803"/>
                  <a:gd name="connsiteY20" fmla="*/ 1866553 h 4890220"/>
                  <a:gd name="connsiteX21" fmla="*/ 2060934 w 5257803"/>
                  <a:gd name="connsiteY21" fmla="*/ 1592736 h 4890220"/>
                  <a:gd name="connsiteX22" fmla="*/ 1798698 w 5257803"/>
                  <a:gd name="connsiteY22" fmla="*/ 1379809 h 4890220"/>
                  <a:gd name="connsiteX23" fmla="*/ 955831 w 5257803"/>
                  <a:gd name="connsiteY23" fmla="*/ 1062960 h 4890220"/>
                  <a:gd name="connsiteX24" fmla="*/ 1524669 w 5257803"/>
                  <a:gd name="connsiteY24" fmla="*/ 0 h 4890220"/>
                  <a:gd name="connsiteX0" fmla="*/ 1524669 w 5257803"/>
                  <a:gd name="connsiteY0" fmla="*/ 0 h 4890220"/>
                  <a:gd name="connsiteX1" fmla="*/ 1763833 w 5257803"/>
                  <a:gd name="connsiteY1" fmla="*/ 851425 h 4890220"/>
                  <a:gd name="connsiteX2" fmla="*/ 2081466 w 5257803"/>
                  <a:gd name="connsiteY2" fmla="*/ 1159433 h 4890220"/>
                  <a:gd name="connsiteX3" fmla="*/ 2360599 w 5257803"/>
                  <a:gd name="connsiteY3" fmla="*/ 1765825 h 4890220"/>
                  <a:gd name="connsiteX4" fmla="*/ 2630106 w 5257803"/>
                  <a:gd name="connsiteY4" fmla="*/ 1611821 h 4890220"/>
                  <a:gd name="connsiteX5" fmla="*/ 2642071 w 5257803"/>
                  <a:gd name="connsiteY5" fmla="*/ 1818697 h 4890220"/>
                  <a:gd name="connsiteX6" fmla="*/ 2591271 w 5257803"/>
                  <a:gd name="connsiteY6" fmla="*/ 1949930 h 4890220"/>
                  <a:gd name="connsiteX7" fmla="*/ 2889988 w 5257803"/>
                  <a:gd name="connsiteY7" fmla="*/ 2401092 h 4890220"/>
                  <a:gd name="connsiteX8" fmla="*/ 3077399 w 5257803"/>
                  <a:gd name="connsiteY8" fmla="*/ 2759857 h 4890220"/>
                  <a:gd name="connsiteX9" fmla="*/ 3381993 w 5257803"/>
                  <a:gd name="connsiteY9" fmla="*/ 3002843 h 4890220"/>
                  <a:gd name="connsiteX10" fmla="*/ 3654828 w 5257803"/>
                  <a:gd name="connsiteY10" fmla="*/ 3434950 h 4890220"/>
                  <a:gd name="connsiteX11" fmla="*/ 4086151 w 5257803"/>
                  <a:gd name="connsiteY11" fmla="*/ 3565251 h 4890220"/>
                  <a:gd name="connsiteX12" fmla="*/ 4459272 w 5257803"/>
                  <a:gd name="connsiteY12" fmla="*/ 3609830 h 4890220"/>
                  <a:gd name="connsiteX13" fmla="*/ 5257803 w 5257803"/>
                  <a:gd name="connsiteY13" fmla="*/ 4884410 h 4890220"/>
                  <a:gd name="connsiteX14" fmla="*/ 3902151 w 5257803"/>
                  <a:gd name="connsiteY14" fmla="*/ 4890220 h 4890220"/>
                  <a:gd name="connsiteX15" fmla="*/ 3813895 w 5257803"/>
                  <a:gd name="connsiteY15" fmla="*/ 4686873 h 4890220"/>
                  <a:gd name="connsiteX16" fmla="*/ 3100073 w 5257803"/>
                  <a:gd name="connsiteY16" fmla="*/ 3632892 h 4890220"/>
                  <a:gd name="connsiteX17" fmla="*/ 2656198 w 5257803"/>
                  <a:gd name="connsiteY17" fmla="*/ 3949681 h 4890220"/>
                  <a:gd name="connsiteX18" fmla="*/ 1211155 w 5257803"/>
                  <a:gd name="connsiteY18" fmla="*/ 3595252 h 4890220"/>
                  <a:gd name="connsiteX19" fmla="*/ 0 w 5257803"/>
                  <a:gd name="connsiteY19" fmla="*/ 3108855 h 4890220"/>
                  <a:gd name="connsiteX20" fmla="*/ 2305875 w 5257803"/>
                  <a:gd name="connsiteY20" fmla="*/ 1866553 h 4890220"/>
                  <a:gd name="connsiteX21" fmla="*/ 2060934 w 5257803"/>
                  <a:gd name="connsiteY21" fmla="*/ 1592736 h 4890220"/>
                  <a:gd name="connsiteX22" fmla="*/ 1798698 w 5257803"/>
                  <a:gd name="connsiteY22" fmla="*/ 1379809 h 4890220"/>
                  <a:gd name="connsiteX23" fmla="*/ 955831 w 5257803"/>
                  <a:gd name="connsiteY23" fmla="*/ 1062960 h 4890220"/>
                  <a:gd name="connsiteX24" fmla="*/ 1524669 w 5257803"/>
                  <a:gd name="connsiteY24" fmla="*/ 0 h 4890220"/>
                  <a:gd name="connsiteX0" fmla="*/ 1524669 w 5257803"/>
                  <a:gd name="connsiteY0" fmla="*/ 0 h 4890220"/>
                  <a:gd name="connsiteX1" fmla="*/ 1763833 w 5257803"/>
                  <a:gd name="connsiteY1" fmla="*/ 851425 h 4890220"/>
                  <a:gd name="connsiteX2" fmla="*/ 2081466 w 5257803"/>
                  <a:gd name="connsiteY2" fmla="*/ 1159433 h 4890220"/>
                  <a:gd name="connsiteX3" fmla="*/ 2360599 w 5257803"/>
                  <a:gd name="connsiteY3" fmla="*/ 1765825 h 4890220"/>
                  <a:gd name="connsiteX4" fmla="*/ 2630106 w 5257803"/>
                  <a:gd name="connsiteY4" fmla="*/ 1611821 h 4890220"/>
                  <a:gd name="connsiteX5" fmla="*/ 2642071 w 5257803"/>
                  <a:gd name="connsiteY5" fmla="*/ 1818697 h 4890220"/>
                  <a:gd name="connsiteX6" fmla="*/ 2591271 w 5257803"/>
                  <a:gd name="connsiteY6" fmla="*/ 1949930 h 4890220"/>
                  <a:gd name="connsiteX7" fmla="*/ 2889988 w 5257803"/>
                  <a:gd name="connsiteY7" fmla="*/ 2401092 h 4890220"/>
                  <a:gd name="connsiteX8" fmla="*/ 3077399 w 5257803"/>
                  <a:gd name="connsiteY8" fmla="*/ 2759857 h 4890220"/>
                  <a:gd name="connsiteX9" fmla="*/ 3381993 w 5257803"/>
                  <a:gd name="connsiteY9" fmla="*/ 3002843 h 4890220"/>
                  <a:gd name="connsiteX10" fmla="*/ 3654828 w 5257803"/>
                  <a:gd name="connsiteY10" fmla="*/ 3434950 h 4890220"/>
                  <a:gd name="connsiteX11" fmla="*/ 4086151 w 5257803"/>
                  <a:gd name="connsiteY11" fmla="*/ 3565251 h 4890220"/>
                  <a:gd name="connsiteX12" fmla="*/ 4459272 w 5257803"/>
                  <a:gd name="connsiteY12" fmla="*/ 3609830 h 4890220"/>
                  <a:gd name="connsiteX13" fmla="*/ 5257803 w 5257803"/>
                  <a:gd name="connsiteY13" fmla="*/ 4884410 h 4890220"/>
                  <a:gd name="connsiteX14" fmla="*/ 3902151 w 5257803"/>
                  <a:gd name="connsiteY14" fmla="*/ 4890220 h 4890220"/>
                  <a:gd name="connsiteX15" fmla="*/ 3813895 w 5257803"/>
                  <a:gd name="connsiteY15" fmla="*/ 4686873 h 4890220"/>
                  <a:gd name="connsiteX16" fmla="*/ 3477811 w 5257803"/>
                  <a:gd name="connsiteY16" fmla="*/ 4178514 h 4890220"/>
                  <a:gd name="connsiteX17" fmla="*/ 2656198 w 5257803"/>
                  <a:gd name="connsiteY17" fmla="*/ 3949681 h 4890220"/>
                  <a:gd name="connsiteX18" fmla="*/ 1211155 w 5257803"/>
                  <a:gd name="connsiteY18" fmla="*/ 3595252 h 4890220"/>
                  <a:gd name="connsiteX19" fmla="*/ 0 w 5257803"/>
                  <a:gd name="connsiteY19" fmla="*/ 3108855 h 4890220"/>
                  <a:gd name="connsiteX20" fmla="*/ 2305875 w 5257803"/>
                  <a:gd name="connsiteY20" fmla="*/ 1866553 h 4890220"/>
                  <a:gd name="connsiteX21" fmla="*/ 2060934 w 5257803"/>
                  <a:gd name="connsiteY21" fmla="*/ 1592736 h 4890220"/>
                  <a:gd name="connsiteX22" fmla="*/ 1798698 w 5257803"/>
                  <a:gd name="connsiteY22" fmla="*/ 1379809 h 4890220"/>
                  <a:gd name="connsiteX23" fmla="*/ 955831 w 5257803"/>
                  <a:gd name="connsiteY23" fmla="*/ 1062960 h 4890220"/>
                  <a:gd name="connsiteX24" fmla="*/ 1524669 w 5257803"/>
                  <a:gd name="connsiteY24" fmla="*/ 0 h 4890220"/>
                  <a:gd name="connsiteX0" fmla="*/ 1125945 w 4859079"/>
                  <a:gd name="connsiteY0" fmla="*/ 0 h 4890220"/>
                  <a:gd name="connsiteX1" fmla="*/ 1365109 w 4859079"/>
                  <a:gd name="connsiteY1" fmla="*/ 851425 h 4890220"/>
                  <a:gd name="connsiteX2" fmla="*/ 1682742 w 4859079"/>
                  <a:gd name="connsiteY2" fmla="*/ 1159433 h 4890220"/>
                  <a:gd name="connsiteX3" fmla="*/ 1961875 w 4859079"/>
                  <a:gd name="connsiteY3" fmla="*/ 1765825 h 4890220"/>
                  <a:gd name="connsiteX4" fmla="*/ 2231382 w 4859079"/>
                  <a:gd name="connsiteY4" fmla="*/ 1611821 h 4890220"/>
                  <a:gd name="connsiteX5" fmla="*/ 2243347 w 4859079"/>
                  <a:gd name="connsiteY5" fmla="*/ 1818697 h 4890220"/>
                  <a:gd name="connsiteX6" fmla="*/ 2192547 w 4859079"/>
                  <a:gd name="connsiteY6" fmla="*/ 1949930 h 4890220"/>
                  <a:gd name="connsiteX7" fmla="*/ 2491264 w 4859079"/>
                  <a:gd name="connsiteY7" fmla="*/ 2401092 h 4890220"/>
                  <a:gd name="connsiteX8" fmla="*/ 2678675 w 4859079"/>
                  <a:gd name="connsiteY8" fmla="*/ 2759857 h 4890220"/>
                  <a:gd name="connsiteX9" fmla="*/ 2983269 w 4859079"/>
                  <a:gd name="connsiteY9" fmla="*/ 3002843 h 4890220"/>
                  <a:gd name="connsiteX10" fmla="*/ 3256104 w 4859079"/>
                  <a:gd name="connsiteY10" fmla="*/ 3434950 h 4890220"/>
                  <a:gd name="connsiteX11" fmla="*/ 3687427 w 4859079"/>
                  <a:gd name="connsiteY11" fmla="*/ 3565251 h 4890220"/>
                  <a:gd name="connsiteX12" fmla="*/ 4060548 w 4859079"/>
                  <a:gd name="connsiteY12" fmla="*/ 3609830 h 4890220"/>
                  <a:gd name="connsiteX13" fmla="*/ 4859079 w 4859079"/>
                  <a:gd name="connsiteY13" fmla="*/ 4884410 h 4890220"/>
                  <a:gd name="connsiteX14" fmla="*/ 3503427 w 4859079"/>
                  <a:gd name="connsiteY14" fmla="*/ 4890220 h 4890220"/>
                  <a:gd name="connsiteX15" fmla="*/ 3415171 w 4859079"/>
                  <a:gd name="connsiteY15" fmla="*/ 4686873 h 4890220"/>
                  <a:gd name="connsiteX16" fmla="*/ 3079087 w 4859079"/>
                  <a:gd name="connsiteY16" fmla="*/ 4178514 h 4890220"/>
                  <a:gd name="connsiteX17" fmla="*/ 2257474 w 4859079"/>
                  <a:gd name="connsiteY17" fmla="*/ 3949681 h 4890220"/>
                  <a:gd name="connsiteX18" fmla="*/ 812431 w 4859079"/>
                  <a:gd name="connsiteY18" fmla="*/ 3595252 h 4890220"/>
                  <a:gd name="connsiteX19" fmla="*/ 0 w 4859079"/>
                  <a:gd name="connsiteY19" fmla="*/ 3150826 h 4890220"/>
                  <a:gd name="connsiteX20" fmla="*/ 1907151 w 4859079"/>
                  <a:gd name="connsiteY20" fmla="*/ 1866553 h 4890220"/>
                  <a:gd name="connsiteX21" fmla="*/ 1662210 w 4859079"/>
                  <a:gd name="connsiteY21" fmla="*/ 1592736 h 4890220"/>
                  <a:gd name="connsiteX22" fmla="*/ 1399974 w 4859079"/>
                  <a:gd name="connsiteY22" fmla="*/ 1379809 h 4890220"/>
                  <a:gd name="connsiteX23" fmla="*/ 557107 w 4859079"/>
                  <a:gd name="connsiteY23" fmla="*/ 1062960 h 4890220"/>
                  <a:gd name="connsiteX24" fmla="*/ 1125945 w 4859079"/>
                  <a:gd name="connsiteY24" fmla="*/ 0 h 4890220"/>
                  <a:gd name="connsiteX0" fmla="*/ 1125945 w 4859079"/>
                  <a:gd name="connsiteY0" fmla="*/ 0 h 4890220"/>
                  <a:gd name="connsiteX1" fmla="*/ 1365109 w 4859079"/>
                  <a:gd name="connsiteY1" fmla="*/ 851425 h 4890220"/>
                  <a:gd name="connsiteX2" fmla="*/ 1682742 w 4859079"/>
                  <a:gd name="connsiteY2" fmla="*/ 1159433 h 4890220"/>
                  <a:gd name="connsiteX3" fmla="*/ 1961875 w 4859079"/>
                  <a:gd name="connsiteY3" fmla="*/ 1765825 h 4890220"/>
                  <a:gd name="connsiteX4" fmla="*/ 2231382 w 4859079"/>
                  <a:gd name="connsiteY4" fmla="*/ 1611821 h 4890220"/>
                  <a:gd name="connsiteX5" fmla="*/ 2243347 w 4859079"/>
                  <a:gd name="connsiteY5" fmla="*/ 1818697 h 4890220"/>
                  <a:gd name="connsiteX6" fmla="*/ 2192547 w 4859079"/>
                  <a:gd name="connsiteY6" fmla="*/ 1949930 h 4890220"/>
                  <a:gd name="connsiteX7" fmla="*/ 2491264 w 4859079"/>
                  <a:gd name="connsiteY7" fmla="*/ 2401092 h 4890220"/>
                  <a:gd name="connsiteX8" fmla="*/ 2678675 w 4859079"/>
                  <a:gd name="connsiteY8" fmla="*/ 2759857 h 4890220"/>
                  <a:gd name="connsiteX9" fmla="*/ 2983269 w 4859079"/>
                  <a:gd name="connsiteY9" fmla="*/ 3002843 h 4890220"/>
                  <a:gd name="connsiteX10" fmla="*/ 3256104 w 4859079"/>
                  <a:gd name="connsiteY10" fmla="*/ 3434950 h 4890220"/>
                  <a:gd name="connsiteX11" fmla="*/ 3687427 w 4859079"/>
                  <a:gd name="connsiteY11" fmla="*/ 3565251 h 4890220"/>
                  <a:gd name="connsiteX12" fmla="*/ 4060548 w 4859079"/>
                  <a:gd name="connsiteY12" fmla="*/ 3609830 h 4890220"/>
                  <a:gd name="connsiteX13" fmla="*/ 4859079 w 4859079"/>
                  <a:gd name="connsiteY13" fmla="*/ 4884410 h 4890220"/>
                  <a:gd name="connsiteX14" fmla="*/ 3503427 w 4859079"/>
                  <a:gd name="connsiteY14" fmla="*/ 4890220 h 4890220"/>
                  <a:gd name="connsiteX15" fmla="*/ 3415171 w 4859079"/>
                  <a:gd name="connsiteY15" fmla="*/ 4686873 h 4890220"/>
                  <a:gd name="connsiteX16" fmla="*/ 3079087 w 4859079"/>
                  <a:gd name="connsiteY16" fmla="*/ 4178514 h 4890220"/>
                  <a:gd name="connsiteX17" fmla="*/ 2257474 w 4859079"/>
                  <a:gd name="connsiteY17" fmla="*/ 3949681 h 4890220"/>
                  <a:gd name="connsiteX18" fmla="*/ 812431 w 4859079"/>
                  <a:gd name="connsiteY18" fmla="*/ 3595252 h 4890220"/>
                  <a:gd name="connsiteX19" fmla="*/ 0 w 4859079"/>
                  <a:gd name="connsiteY19" fmla="*/ 3150826 h 4890220"/>
                  <a:gd name="connsiteX20" fmla="*/ 947700 w 4859079"/>
                  <a:gd name="connsiteY20" fmla="*/ 2371686 h 4890220"/>
                  <a:gd name="connsiteX21" fmla="*/ 1907151 w 4859079"/>
                  <a:gd name="connsiteY21" fmla="*/ 1866553 h 4890220"/>
                  <a:gd name="connsiteX22" fmla="*/ 1662210 w 4859079"/>
                  <a:gd name="connsiteY22" fmla="*/ 1592736 h 4890220"/>
                  <a:gd name="connsiteX23" fmla="*/ 1399974 w 4859079"/>
                  <a:gd name="connsiteY23" fmla="*/ 1379809 h 4890220"/>
                  <a:gd name="connsiteX24" fmla="*/ 557107 w 4859079"/>
                  <a:gd name="connsiteY24" fmla="*/ 1062960 h 4890220"/>
                  <a:gd name="connsiteX25" fmla="*/ 1125945 w 4859079"/>
                  <a:gd name="connsiteY25" fmla="*/ 0 h 4890220"/>
                  <a:gd name="connsiteX0" fmla="*/ 1125945 w 4859079"/>
                  <a:gd name="connsiteY0" fmla="*/ 0 h 4890220"/>
                  <a:gd name="connsiteX1" fmla="*/ 1365109 w 4859079"/>
                  <a:gd name="connsiteY1" fmla="*/ 851425 h 4890220"/>
                  <a:gd name="connsiteX2" fmla="*/ 1682742 w 4859079"/>
                  <a:gd name="connsiteY2" fmla="*/ 1159433 h 4890220"/>
                  <a:gd name="connsiteX3" fmla="*/ 1961875 w 4859079"/>
                  <a:gd name="connsiteY3" fmla="*/ 1765825 h 4890220"/>
                  <a:gd name="connsiteX4" fmla="*/ 2231382 w 4859079"/>
                  <a:gd name="connsiteY4" fmla="*/ 1611821 h 4890220"/>
                  <a:gd name="connsiteX5" fmla="*/ 2243347 w 4859079"/>
                  <a:gd name="connsiteY5" fmla="*/ 1818697 h 4890220"/>
                  <a:gd name="connsiteX6" fmla="*/ 2192547 w 4859079"/>
                  <a:gd name="connsiteY6" fmla="*/ 1949930 h 4890220"/>
                  <a:gd name="connsiteX7" fmla="*/ 2491264 w 4859079"/>
                  <a:gd name="connsiteY7" fmla="*/ 2401092 h 4890220"/>
                  <a:gd name="connsiteX8" fmla="*/ 2678675 w 4859079"/>
                  <a:gd name="connsiteY8" fmla="*/ 2759857 h 4890220"/>
                  <a:gd name="connsiteX9" fmla="*/ 2983269 w 4859079"/>
                  <a:gd name="connsiteY9" fmla="*/ 3002843 h 4890220"/>
                  <a:gd name="connsiteX10" fmla="*/ 3256104 w 4859079"/>
                  <a:gd name="connsiteY10" fmla="*/ 3434950 h 4890220"/>
                  <a:gd name="connsiteX11" fmla="*/ 3687427 w 4859079"/>
                  <a:gd name="connsiteY11" fmla="*/ 3565251 h 4890220"/>
                  <a:gd name="connsiteX12" fmla="*/ 4060548 w 4859079"/>
                  <a:gd name="connsiteY12" fmla="*/ 3609830 h 4890220"/>
                  <a:gd name="connsiteX13" fmla="*/ 4859079 w 4859079"/>
                  <a:gd name="connsiteY13" fmla="*/ 4884410 h 4890220"/>
                  <a:gd name="connsiteX14" fmla="*/ 3503427 w 4859079"/>
                  <a:gd name="connsiteY14" fmla="*/ 4890220 h 4890220"/>
                  <a:gd name="connsiteX15" fmla="*/ 3415171 w 4859079"/>
                  <a:gd name="connsiteY15" fmla="*/ 4686873 h 4890220"/>
                  <a:gd name="connsiteX16" fmla="*/ 3016131 w 4859079"/>
                  <a:gd name="connsiteY16" fmla="*/ 4213490 h 4890220"/>
                  <a:gd name="connsiteX17" fmla="*/ 2257474 w 4859079"/>
                  <a:gd name="connsiteY17" fmla="*/ 3949681 h 4890220"/>
                  <a:gd name="connsiteX18" fmla="*/ 812431 w 4859079"/>
                  <a:gd name="connsiteY18" fmla="*/ 3595252 h 4890220"/>
                  <a:gd name="connsiteX19" fmla="*/ 0 w 4859079"/>
                  <a:gd name="connsiteY19" fmla="*/ 3150826 h 4890220"/>
                  <a:gd name="connsiteX20" fmla="*/ 947700 w 4859079"/>
                  <a:gd name="connsiteY20" fmla="*/ 2371686 h 4890220"/>
                  <a:gd name="connsiteX21" fmla="*/ 1907151 w 4859079"/>
                  <a:gd name="connsiteY21" fmla="*/ 1866553 h 4890220"/>
                  <a:gd name="connsiteX22" fmla="*/ 1662210 w 4859079"/>
                  <a:gd name="connsiteY22" fmla="*/ 1592736 h 4890220"/>
                  <a:gd name="connsiteX23" fmla="*/ 1399974 w 4859079"/>
                  <a:gd name="connsiteY23" fmla="*/ 1379809 h 4890220"/>
                  <a:gd name="connsiteX24" fmla="*/ 557107 w 4859079"/>
                  <a:gd name="connsiteY24" fmla="*/ 1062960 h 4890220"/>
                  <a:gd name="connsiteX25" fmla="*/ 1125945 w 4859079"/>
                  <a:gd name="connsiteY25" fmla="*/ 0 h 4890220"/>
                  <a:gd name="connsiteX0" fmla="*/ 951066 w 4684200"/>
                  <a:gd name="connsiteY0" fmla="*/ 0 h 4890220"/>
                  <a:gd name="connsiteX1" fmla="*/ 1190230 w 4684200"/>
                  <a:gd name="connsiteY1" fmla="*/ 851425 h 4890220"/>
                  <a:gd name="connsiteX2" fmla="*/ 1507863 w 4684200"/>
                  <a:gd name="connsiteY2" fmla="*/ 1159433 h 4890220"/>
                  <a:gd name="connsiteX3" fmla="*/ 1786996 w 4684200"/>
                  <a:gd name="connsiteY3" fmla="*/ 1765825 h 4890220"/>
                  <a:gd name="connsiteX4" fmla="*/ 2056503 w 4684200"/>
                  <a:gd name="connsiteY4" fmla="*/ 1611821 h 4890220"/>
                  <a:gd name="connsiteX5" fmla="*/ 2068468 w 4684200"/>
                  <a:gd name="connsiteY5" fmla="*/ 1818697 h 4890220"/>
                  <a:gd name="connsiteX6" fmla="*/ 2017668 w 4684200"/>
                  <a:gd name="connsiteY6" fmla="*/ 1949930 h 4890220"/>
                  <a:gd name="connsiteX7" fmla="*/ 2316385 w 4684200"/>
                  <a:gd name="connsiteY7" fmla="*/ 2401092 h 4890220"/>
                  <a:gd name="connsiteX8" fmla="*/ 2503796 w 4684200"/>
                  <a:gd name="connsiteY8" fmla="*/ 2759857 h 4890220"/>
                  <a:gd name="connsiteX9" fmla="*/ 2808390 w 4684200"/>
                  <a:gd name="connsiteY9" fmla="*/ 3002843 h 4890220"/>
                  <a:gd name="connsiteX10" fmla="*/ 3081225 w 4684200"/>
                  <a:gd name="connsiteY10" fmla="*/ 3434950 h 4890220"/>
                  <a:gd name="connsiteX11" fmla="*/ 3512548 w 4684200"/>
                  <a:gd name="connsiteY11" fmla="*/ 3565251 h 4890220"/>
                  <a:gd name="connsiteX12" fmla="*/ 3885669 w 4684200"/>
                  <a:gd name="connsiteY12" fmla="*/ 3609830 h 4890220"/>
                  <a:gd name="connsiteX13" fmla="*/ 4684200 w 4684200"/>
                  <a:gd name="connsiteY13" fmla="*/ 4884410 h 4890220"/>
                  <a:gd name="connsiteX14" fmla="*/ 3328548 w 4684200"/>
                  <a:gd name="connsiteY14" fmla="*/ 4890220 h 4890220"/>
                  <a:gd name="connsiteX15" fmla="*/ 3240292 w 4684200"/>
                  <a:gd name="connsiteY15" fmla="*/ 4686873 h 4890220"/>
                  <a:gd name="connsiteX16" fmla="*/ 2841252 w 4684200"/>
                  <a:gd name="connsiteY16" fmla="*/ 4213490 h 4890220"/>
                  <a:gd name="connsiteX17" fmla="*/ 2082595 w 4684200"/>
                  <a:gd name="connsiteY17" fmla="*/ 3949681 h 4890220"/>
                  <a:gd name="connsiteX18" fmla="*/ 637552 w 4684200"/>
                  <a:gd name="connsiteY18" fmla="*/ 3595252 h 4890220"/>
                  <a:gd name="connsiteX19" fmla="*/ 0 w 4684200"/>
                  <a:gd name="connsiteY19" fmla="*/ 3171811 h 4890220"/>
                  <a:gd name="connsiteX20" fmla="*/ 772821 w 4684200"/>
                  <a:gd name="connsiteY20" fmla="*/ 2371686 h 4890220"/>
                  <a:gd name="connsiteX21" fmla="*/ 1732272 w 4684200"/>
                  <a:gd name="connsiteY21" fmla="*/ 1866553 h 4890220"/>
                  <a:gd name="connsiteX22" fmla="*/ 1487331 w 4684200"/>
                  <a:gd name="connsiteY22" fmla="*/ 1592736 h 4890220"/>
                  <a:gd name="connsiteX23" fmla="*/ 1225095 w 4684200"/>
                  <a:gd name="connsiteY23" fmla="*/ 1379809 h 4890220"/>
                  <a:gd name="connsiteX24" fmla="*/ 382228 w 4684200"/>
                  <a:gd name="connsiteY24" fmla="*/ 1062960 h 4890220"/>
                  <a:gd name="connsiteX25" fmla="*/ 951066 w 4684200"/>
                  <a:gd name="connsiteY25" fmla="*/ 0 h 4890220"/>
                  <a:gd name="connsiteX0" fmla="*/ 951066 w 4684200"/>
                  <a:gd name="connsiteY0" fmla="*/ 0 h 4890220"/>
                  <a:gd name="connsiteX1" fmla="*/ 1190230 w 4684200"/>
                  <a:gd name="connsiteY1" fmla="*/ 851425 h 4890220"/>
                  <a:gd name="connsiteX2" fmla="*/ 1507863 w 4684200"/>
                  <a:gd name="connsiteY2" fmla="*/ 1159433 h 4890220"/>
                  <a:gd name="connsiteX3" fmla="*/ 1786996 w 4684200"/>
                  <a:gd name="connsiteY3" fmla="*/ 1765825 h 4890220"/>
                  <a:gd name="connsiteX4" fmla="*/ 2056503 w 4684200"/>
                  <a:gd name="connsiteY4" fmla="*/ 1611821 h 4890220"/>
                  <a:gd name="connsiteX5" fmla="*/ 2068468 w 4684200"/>
                  <a:gd name="connsiteY5" fmla="*/ 1818697 h 4890220"/>
                  <a:gd name="connsiteX6" fmla="*/ 2017668 w 4684200"/>
                  <a:gd name="connsiteY6" fmla="*/ 1949930 h 4890220"/>
                  <a:gd name="connsiteX7" fmla="*/ 2316385 w 4684200"/>
                  <a:gd name="connsiteY7" fmla="*/ 2401092 h 4890220"/>
                  <a:gd name="connsiteX8" fmla="*/ 2503796 w 4684200"/>
                  <a:gd name="connsiteY8" fmla="*/ 2759857 h 4890220"/>
                  <a:gd name="connsiteX9" fmla="*/ 2808390 w 4684200"/>
                  <a:gd name="connsiteY9" fmla="*/ 3002843 h 4890220"/>
                  <a:gd name="connsiteX10" fmla="*/ 3081225 w 4684200"/>
                  <a:gd name="connsiteY10" fmla="*/ 3434950 h 4890220"/>
                  <a:gd name="connsiteX11" fmla="*/ 3512548 w 4684200"/>
                  <a:gd name="connsiteY11" fmla="*/ 3565251 h 4890220"/>
                  <a:gd name="connsiteX12" fmla="*/ 3885669 w 4684200"/>
                  <a:gd name="connsiteY12" fmla="*/ 3609830 h 4890220"/>
                  <a:gd name="connsiteX13" fmla="*/ 4684200 w 4684200"/>
                  <a:gd name="connsiteY13" fmla="*/ 4884410 h 4890220"/>
                  <a:gd name="connsiteX14" fmla="*/ 3328548 w 4684200"/>
                  <a:gd name="connsiteY14" fmla="*/ 4890220 h 4890220"/>
                  <a:gd name="connsiteX15" fmla="*/ 3240292 w 4684200"/>
                  <a:gd name="connsiteY15" fmla="*/ 4686873 h 4890220"/>
                  <a:gd name="connsiteX16" fmla="*/ 2841252 w 4684200"/>
                  <a:gd name="connsiteY16" fmla="*/ 4213490 h 4890220"/>
                  <a:gd name="connsiteX17" fmla="*/ 2082595 w 4684200"/>
                  <a:gd name="connsiteY17" fmla="*/ 3949681 h 4890220"/>
                  <a:gd name="connsiteX18" fmla="*/ 637552 w 4684200"/>
                  <a:gd name="connsiteY18" fmla="*/ 3595252 h 4890220"/>
                  <a:gd name="connsiteX19" fmla="*/ 0 w 4684200"/>
                  <a:gd name="connsiteY19" fmla="*/ 3171811 h 4890220"/>
                  <a:gd name="connsiteX20" fmla="*/ 772821 w 4684200"/>
                  <a:gd name="connsiteY20" fmla="*/ 2371686 h 4890220"/>
                  <a:gd name="connsiteX21" fmla="*/ 1415158 w 4684200"/>
                  <a:gd name="connsiteY21" fmla="*/ 1857227 h 4890220"/>
                  <a:gd name="connsiteX22" fmla="*/ 1487331 w 4684200"/>
                  <a:gd name="connsiteY22" fmla="*/ 1592736 h 4890220"/>
                  <a:gd name="connsiteX23" fmla="*/ 1225095 w 4684200"/>
                  <a:gd name="connsiteY23" fmla="*/ 1379809 h 4890220"/>
                  <a:gd name="connsiteX24" fmla="*/ 382228 w 4684200"/>
                  <a:gd name="connsiteY24" fmla="*/ 1062960 h 4890220"/>
                  <a:gd name="connsiteX25" fmla="*/ 951066 w 4684200"/>
                  <a:gd name="connsiteY25" fmla="*/ 0 h 4890220"/>
                  <a:gd name="connsiteX0" fmla="*/ 951066 w 4684200"/>
                  <a:gd name="connsiteY0" fmla="*/ 0 h 4890220"/>
                  <a:gd name="connsiteX1" fmla="*/ 1190230 w 4684200"/>
                  <a:gd name="connsiteY1" fmla="*/ 851425 h 4890220"/>
                  <a:gd name="connsiteX2" fmla="*/ 1507863 w 4684200"/>
                  <a:gd name="connsiteY2" fmla="*/ 1159433 h 4890220"/>
                  <a:gd name="connsiteX3" fmla="*/ 1786996 w 4684200"/>
                  <a:gd name="connsiteY3" fmla="*/ 1765825 h 4890220"/>
                  <a:gd name="connsiteX4" fmla="*/ 2056503 w 4684200"/>
                  <a:gd name="connsiteY4" fmla="*/ 1611821 h 4890220"/>
                  <a:gd name="connsiteX5" fmla="*/ 2068468 w 4684200"/>
                  <a:gd name="connsiteY5" fmla="*/ 1818697 h 4890220"/>
                  <a:gd name="connsiteX6" fmla="*/ 2017668 w 4684200"/>
                  <a:gd name="connsiteY6" fmla="*/ 1949930 h 4890220"/>
                  <a:gd name="connsiteX7" fmla="*/ 2316385 w 4684200"/>
                  <a:gd name="connsiteY7" fmla="*/ 2401092 h 4890220"/>
                  <a:gd name="connsiteX8" fmla="*/ 2503796 w 4684200"/>
                  <a:gd name="connsiteY8" fmla="*/ 2759857 h 4890220"/>
                  <a:gd name="connsiteX9" fmla="*/ 2808390 w 4684200"/>
                  <a:gd name="connsiteY9" fmla="*/ 3002843 h 4890220"/>
                  <a:gd name="connsiteX10" fmla="*/ 3081225 w 4684200"/>
                  <a:gd name="connsiteY10" fmla="*/ 3434950 h 4890220"/>
                  <a:gd name="connsiteX11" fmla="*/ 3512548 w 4684200"/>
                  <a:gd name="connsiteY11" fmla="*/ 3565251 h 4890220"/>
                  <a:gd name="connsiteX12" fmla="*/ 3885669 w 4684200"/>
                  <a:gd name="connsiteY12" fmla="*/ 3609830 h 4890220"/>
                  <a:gd name="connsiteX13" fmla="*/ 4684200 w 4684200"/>
                  <a:gd name="connsiteY13" fmla="*/ 4884410 h 4890220"/>
                  <a:gd name="connsiteX14" fmla="*/ 3328548 w 4684200"/>
                  <a:gd name="connsiteY14" fmla="*/ 4890220 h 4890220"/>
                  <a:gd name="connsiteX15" fmla="*/ 3240292 w 4684200"/>
                  <a:gd name="connsiteY15" fmla="*/ 4686873 h 4890220"/>
                  <a:gd name="connsiteX16" fmla="*/ 2841252 w 4684200"/>
                  <a:gd name="connsiteY16" fmla="*/ 4213490 h 4890220"/>
                  <a:gd name="connsiteX17" fmla="*/ 2082595 w 4684200"/>
                  <a:gd name="connsiteY17" fmla="*/ 3949681 h 4890220"/>
                  <a:gd name="connsiteX18" fmla="*/ 637552 w 4684200"/>
                  <a:gd name="connsiteY18" fmla="*/ 3595252 h 4890220"/>
                  <a:gd name="connsiteX19" fmla="*/ 0 w 4684200"/>
                  <a:gd name="connsiteY19" fmla="*/ 3171811 h 4890220"/>
                  <a:gd name="connsiteX20" fmla="*/ 772821 w 4684200"/>
                  <a:gd name="connsiteY20" fmla="*/ 2371686 h 4890220"/>
                  <a:gd name="connsiteX21" fmla="*/ 1415158 w 4684200"/>
                  <a:gd name="connsiteY21" fmla="*/ 1857227 h 4890220"/>
                  <a:gd name="connsiteX22" fmla="*/ 1487331 w 4684200"/>
                  <a:gd name="connsiteY22" fmla="*/ 1592736 h 4890220"/>
                  <a:gd name="connsiteX23" fmla="*/ 590867 w 4684200"/>
                  <a:gd name="connsiteY23" fmla="*/ 1370482 h 4890220"/>
                  <a:gd name="connsiteX24" fmla="*/ 382228 w 4684200"/>
                  <a:gd name="connsiteY24" fmla="*/ 1062960 h 4890220"/>
                  <a:gd name="connsiteX25" fmla="*/ 951066 w 4684200"/>
                  <a:gd name="connsiteY25" fmla="*/ 0 h 4890220"/>
                  <a:gd name="connsiteX0" fmla="*/ 951066 w 4684200"/>
                  <a:gd name="connsiteY0" fmla="*/ 0 h 4890220"/>
                  <a:gd name="connsiteX1" fmla="*/ 1190230 w 4684200"/>
                  <a:gd name="connsiteY1" fmla="*/ 851425 h 4890220"/>
                  <a:gd name="connsiteX2" fmla="*/ 1507863 w 4684200"/>
                  <a:gd name="connsiteY2" fmla="*/ 1159433 h 4890220"/>
                  <a:gd name="connsiteX3" fmla="*/ 1786996 w 4684200"/>
                  <a:gd name="connsiteY3" fmla="*/ 1765825 h 4890220"/>
                  <a:gd name="connsiteX4" fmla="*/ 2056503 w 4684200"/>
                  <a:gd name="connsiteY4" fmla="*/ 1611821 h 4890220"/>
                  <a:gd name="connsiteX5" fmla="*/ 2068468 w 4684200"/>
                  <a:gd name="connsiteY5" fmla="*/ 1818697 h 4890220"/>
                  <a:gd name="connsiteX6" fmla="*/ 2017668 w 4684200"/>
                  <a:gd name="connsiteY6" fmla="*/ 1949930 h 4890220"/>
                  <a:gd name="connsiteX7" fmla="*/ 2316385 w 4684200"/>
                  <a:gd name="connsiteY7" fmla="*/ 2401092 h 4890220"/>
                  <a:gd name="connsiteX8" fmla="*/ 2503796 w 4684200"/>
                  <a:gd name="connsiteY8" fmla="*/ 2759857 h 4890220"/>
                  <a:gd name="connsiteX9" fmla="*/ 2808390 w 4684200"/>
                  <a:gd name="connsiteY9" fmla="*/ 3002843 h 4890220"/>
                  <a:gd name="connsiteX10" fmla="*/ 3081225 w 4684200"/>
                  <a:gd name="connsiteY10" fmla="*/ 3434950 h 4890220"/>
                  <a:gd name="connsiteX11" fmla="*/ 3512548 w 4684200"/>
                  <a:gd name="connsiteY11" fmla="*/ 3565251 h 4890220"/>
                  <a:gd name="connsiteX12" fmla="*/ 3885669 w 4684200"/>
                  <a:gd name="connsiteY12" fmla="*/ 3609830 h 4890220"/>
                  <a:gd name="connsiteX13" fmla="*/ 4684200 w 4684200"/>
                  <a:gd name="connsiteY13" fmla="*/ 4884410 h 4890220"/>
                  <a:gd name="connsiteX14" fmla="*/ 3328548 w 4684200"/>
                  <a:gd name="connsiteY14" fmla="*/ 4890220 h 4890220"/>
                  <a:gd name="connsiteX15" fmla="*/ 3240292 w 4684200"/>
                  <a:gd name="connsiteY15" fmla="*/ 4686873 h 4890220"/>
                  <a:gd name="connsiteX16" fmla="*/ 2841252 w 4684200"/>
                  <a:gd name="connsiteY16" fmla="*/ 4213490 h 4890220"/>
                  <a:gd name="connsiteX17" fmla="*/ 2082595 w 4684200"/>
                  <a:gd name="connsiteY17" fmla="*/ 3949681 h 4890220"/>
                  <a:gd name="connsiteX18" fmla="*/ 637552 w 4684200"/>
                  <a:gd name="connsiteY18" fmla="*/ 3595252 h 4890220"/>
                  <a:gd name="connsiteX19" fmla="*/ 0 w 4684200"/>
                  <a:gd name="connsiteY19" fmla="*/ 3171811 h 4890220"/>
                  <a:gd name="connsiteX20" fmla="*/ 772821 w 4684200"/>
                  <a:gd name="connsiteY20" fmla="*/ 2371686 h 4890220"/>
                  <a:gd name="connsiteX21" fmla="*/ 1415158 w 4684200"/>
                  <a:gd name="connsiteY21" fmla="*/ 1857227 h 4890220"/>
                  <a:gd name="connsiteX22" fmla="*/ 1002333 w 4684200"/>
                  <a:gd name="connsiteY22" fmla="*/ 1611391 h 4890220"/>
                  <a:gd name="connsiteX23" fmla="*/ 590867 w 4684200"/>
                  <a:gd name="connsiteY23" fmla="*/ 1370482 h 4890220"/>
                  <a:gd name="connsiteX24" fmla="*/ 382228 w 4684200"/>
                  <a:gd name="connsiteY24" fmla="*/ 1062960 h 4890220"/>
                  <a:gd name="connsiteX25" fmla="*/ 951066 w 4684200"/>
                  <a:gd name="connsiteY25" fmla="*/ 0 h 4890220"/>
                  <a:gd name="connsiteX0" fmla="*/ 699240 w 4432374"/>
                  <a:gd name="connsiteY0" fmla="*/ 0 h 4890220"/>
                  <a:gd name="connsiteX1" fmla="*/ 938404 w 4432374"/>
                  <a:gd name="connsiteY1" fmla="*/ 851425 h 4890220"/>
                  <a:gd name="connsiteX2" fmla="*/ 1256037 w 4432374"/>
                  <a:gd name="connsiteY2" fmla="*/ 1159433 h 4890220"/>
                  <a:gd name="connsiteX3" fmla="*/ 1535170 w 4432374"/>
                  <a:gd name="connsiteY3" fmla="*/ 1765825 h 4890220"/>
                  <a:gd name="connsiteX4" fmla="*/ 1804677 w 4432374"/>
                  <a:gd name="connsiteY4" fmla="*/ 1611821 h 4890220"/>
                  <a:gd name="connsiteX5" fmla="*/ 1816642 w 4432374"/>
                  <a:gd name="connsiteY5" fmla="*/ 1818697 h 4890220"/>
                  <a:gd name="connsiteX6" fmla="*/ 1765842 w 4432374"/>
                  <a:gd name="connsiteY6" fmla="*/ 1949930 h 4890220"/>
                  <a:gd name="connsiteX7" fmla="*/ 2064559 w 4432374"/>
                  <a:gd name="connsiteY7" fmla="*/ 2401092 h 4890220"/>
                  <a:gd name="connsiteX8" fmla="*/ 2251970 w 4432374"/>
                  <a:gd name="connsiteY8" fmla="*/ 2759857 h 4890220"/>
                  <a:gd name="connsiteX9" fmla="*/ 2556564 w 4432374"/>
                  <a:gd name="connsiteY9" fmla="*/ 3002843 h 4890220"/>
                  <a:gd name="connsiteX10" fmla="*/ 2829399 w 4432374"/>
                  <a:gd name="connsiteY10" fmla="*/ 3434950 h 4890220"/>
                  <a:gd name="connsiteX11" fmla="*/ 3260722 w 4432374"/>
                  <a:gd name="connsiteY11" fmla="*/ 3565251 h 4890220"/>
                  <a:gd name="connsiteX12" fmla="*/ 3633843 w 4432374"/>
                  <a:gd name="connsiteY12" fmla="*/ 3609830 h 4890220"/>
                  <a:gd name="connsiteX13" fmla="*/ 4432374 w 4432374"/>
                  <a:gd name="connsiteY13" fmla="*/ 4884410 h 4890220"/>
                  <a:gd name="connsiteX14" fmla="*/ 3076722 w 4432374"/>
                  <a:gd name="connsiteY14" fmla="*/ 4890220 h 4890220"/>
                  <a:gd name="connsiteX15" fmla="*/ 2988466 w 4432374"/>
                  <a:gd name="connsiteY15" fmla="*/ 4686873 h 4890220"/>
                  <a:gd name="connsiteX16" fmla="*/ 2589426 w 4432374"/>
                  <a:gd name="connsiteY16" fmla="*/ 4213490 h 4890220"/>
                  <a:gd name="connsiteX17" fmla="*/ 1830769 w 4432374"/>
                  <a:gd name="connsiteY17" fmla="*/ 3949681 h 4890220"/>
                  <a:gd name="connsiteX18" fmla="*/ 385726 w 4432374"/>
                  <a:gd name="connsiteY18" fmla="*/ 3595252 h 4890220"/>
                  <a:gd name="connsiteX19" fmla="*/ 0 w 4432374"/>
                  <a:gd name="connsiteY19" fmla="*/ 3097195 h 4890220"/>
                  <a:gd name="connsiteX20" fmla="*/ 520995 w 4432374"/>
                  <a:gd name="connsiteY20" fmla="*/ 2371686 h 4890220"/>
                  <a:gd name="connsiteX21" fmla="*/ 1163332 w 4432374"/>
                  <a:gd name="connsiteY21" fmla="*/ 1857227 h 4890220"/>
                  <a:gd name="connsiteX22" fmla="*/ 750507 w 4432374"/>
                  <a:gd name="connsiteY22" fmla="*/ 1611391 h 4890220"/>
                  <a:gd name="connsiteX23" fmla="*/ 339041 w 4432374"/>
                  <a:gd name="connsiteY23" fmla="*/ 1370482 h 4890220"/>
                  <a:gd name="connsiteX24" fmla="*/ 130402 w 4432374"/>
                  <a:gd name="connsiteY24" fmla="*/ 1062960 h 4890220"/>
                  <a:gd name="connsiteX25" fmla="*/ 699240 w 4432374"/>
                  <a:gd name="connsiteY25" fmla="*/ 0 h 4890220"/>
                  <a:gd name="connsiteX0" fmla="*/ 699240 w 4432374"/>
                  <a:gd name="connsiteY0" fmla="*/ 0 h 4890220"/>
                  <a:gd name="connsiteX1" fmla="*/ 938404 w 4432374"/>
                  <a:gd name="connsiteY1" fmla="*/ 851425 h 4890220"/>
                  <a:gd name="connsiteX2" fmla="*/ 1256037 w 4432374"/>
                  <a:gd name="connsiteY2" fmla="*/ 1159433 h 4890220"/>
                  <a:gd name="connsiteX3" fmla="*/ 1535170 w 4432374"/>
                  <a:gd name="connsiteY3" fmla="*/ 1765825 h 4890220"/>
                  <a:gd name="connsiteX4" fmla="*/ 1804677 w 4432374"/>
                  <a:gd name="connsiteY4" fmla="*/ 1611821 h 4890220"/>
                  <a:gd name="connsiteX5" fmla="*/ 1816642 w 4432374"/>
                  <a:gd name="connsiteY5" fmla="*/ 1818697 h 4890220"/>
                  <a:gd name="connsiteX6" fmla="*/ 1765842 w 4432374"/>
                  <a:gd name="connsiteY6" fmla="*/ 1949930 h 4890220"/>
                  <a:gd name="connsiteX7" fmla="*/ 2064559 w 4432374"/>
                  <a:gd name="connsiteY7" fmla="*/ 2401092 h 4890220"/>
                  <a:gd name="connsiteX8" fmla="*/ 2251970 w 4432374"/>
                  <a:gd name="connsiteY8" fmla="*/ 2759857 h 4890220"/>
                  <a:gd name="connsiteX9" fmla="*/ 2556564 w 4432374"/>
                  <a:gd name="connsiteY9" fmla="*/ 3002843 h 4890220"/>
                  <a:gd name="connsiteX10" fmla="*/ 2829399 w 4432374"/>
                  <a:gd name="connsiteY10" fmla="*/ 3434950 h 4890220"/>
                  <a:gd name="connsiteX11" fmla="*/ 3260722 w 4432374"/>
                  <a:gd name="connsiteY11" fmla="*/ 3565251 h 4890220"/>
                  <a:gd name="connsiteX12" fmla="*/ 3633843 w 4432374"/>
                  <a:gd name="connsiteY12" fmla="*/ 3609830 h 4890220"/>
                  <a:gd name="connsiteX13" fmla="*/ 4432374 w 4432374"/>
                  <a:gd name="connsiteY13" fmla="*/ 4884410 h 4890220"/>
                  <a:gd name="connsiteX14" fmla="*/ 3076722 w 4432374"/>
                  <a:gd name="connsiteY14" fmla="*/ 4890220 h 4890220"/>
                  <a:gd name="connsiteX15" fmla="*/ 2988466 w 4432374"/>
                  <a:gd name="connsiteY15" fmla="*/ 4686873 h 4890220"/>
                  <a:gd name="connsiteX16" fmla="*/ 2589426 w 4432374"/>
                  <a:gd name="connsiteY16" fmla="*/ 4213490 h 4890220"/>
                  <a:gd name="connsiteX17" fmla="*/ 1830769 w 4432374"/>
                  <a:gd name="connsiteY17" fmla="*/ 3949681 h 4890220"/>
                  <a:gd name="connsiteX18" fmla="*/ 721493 w 4432374"/>
                  <a:gd name="connsiteY18" fmla="*/ 3697847 h 4890220"/>
                  <a:gd name="connsiteX19" fmla="*/ 0 w 4432374"/>
                  <a:gd name="connsiteY19" fmla="*/ 3097195 h 4890220"/>
                  <a:gd name="connsiteX20" fmla="*/ 520995 w 4432374"/>
                  <a:gd name="connsiteY20" fmla="*/ 2371686 h 4890220"/>
                  <a:gd name="connsiteX21" fmla="*/ 1163332 w 4432374"/>
                  <a:gd name="connsiteY21" fmla="*/ 1857227 h 4890220"/>
                  <a:gd name="connsiteX22" fmla="*/ 750507 w 4432374"/>
                  <a:gd name="connsiteY22" fmla="*/ 1611391 h 4890220"/>
                  <a:gd name="connsiteX23" fmla="*/ 339041 w 4432374"/>
                  <a:gd name="connsiteY23" fmla="*/ 1370482 h 4890220"/>
                  <a:gd name="connsiteX24" fmla="*/ 130402 w 4432374"/>
                  <a:gd name="connsiteY24" fmla="*/ 1062960 h 4890220"/>
                  <a:gd name="connsiteX25" fmla="*/ 699240 w 4432374"/>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45287 w 4646892"/>
                  <a:gd name="connsiteY17" fmla="*/ 3949681 h 4890220"/>
                  <a:gd name="connsiteX18" fmla="*/ 936011 w 4646892"/>
                  <a:gd name="connsiteY18" fmla="*/ 3697847 h 4890220"/>
                  <a:gd name="connsiteX19" fmla="*/ 0 w 4646892"/>
                  <a:gd name="connsiteY19" fmla="*/ 3274405 h 4890220"/>
                  <a:gd name="connsiteX20" fmla="*/ 735513 w 4646892"/>
                  <a:gd name="connsiteY20" fmla="*/ 2371686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45287 w 4646892"/>
                  <a:gd name="connsiteY17" fmla="*/ 3949681 h 4890220"/>
                  <a:gd name="connsiteX18" fmla="*/ 936011 w 4646892"/>
                  <a:gd name="connsiteY18" fmla="*/ 3697847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45287 w 4646892"/>
                  <a:gd name="connsiteY17" fmla="*/ 3949681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54614 w 4646892"/>
                  <a:gd name="connsiteY17" fmla="*/ 392170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720002 w 4646892"/>
                  <a:gd name="connsiteY16" fmla="*/ 4297432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156349 w 4646892"/>
                  <a:gd name="connsiteY15" fmla="*/ 4752161 h 4890220"/>
                  <a:gd name="connsiteX16" fmla="*/ 2720002 w 4646892"/>
                  <a:gd name="connsiteY16" fmla="*/ 4297432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156349 w 4646892"/>
                  <a:gd name="connsiteY15" fmla="*/ 4752161 h 4890220"/>
                  <a:gd name="connsiteX16" fmla="*/ 2720002 w 4646892"/>
                  <a:gd name="connsiteY16" fmla="*/ 4297432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156349 w 4646892"/>
                  <a:gd name="connsiteY15" fmla="*/ 4752161 h 4890220"/>
                  <a:gd name="connsiteX16" fmla="*/ 2720002 w 4646892"/>
                  <a:gd name="connsiteY16" fmla="*/ 4297432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877750 w 4646892"/>
                  <a:gd name="connsiteY24" fmla="*/ 1091571 h 4890220"/>
                  <a:gd name="connsiteX25" fmla="*/ 344920 w 4646892"/>
                  <a:gd name="connsiteY25" fmla="*/ 1062960 h 4890220"/>
                  <a:gd name="connsiteX26" fmla="*/ 913758 w 4646892"/>
                  <a:gd name="connsiteY26" fmla="*/ 0 h 489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46892" h="4890220">
                    <a:moveTo>
                      <a:pt x="913758" y="0"/>
                    </a:moveTo>
                    <a:lnTo>
                      <a:pt x="1152922" y="851425"/>
                    </a:lnTo>
                    <a:lnTo>
                      <a:pt x="1470555" y="1159433"/>
                    </a:lnTo>
                    <a:lnTo>
                      <a:pt x="1749688" y="1765825"/>
                    </a:lnTo>
                    <a:lnTo>
                      <a:pt x="2019195" y="1611821"/>
                    </a:lnTo>
                    <a:cubicBezTo>
                      <a:pt x="2021772" y="1675841"/>
                      <a:pt x="2026466" y="1758910"/>
                      <a:pt x="2031160" y="1818697"/>
                    </a:cubicBezTo>
                    <a:cubicBezTo>
                      <a:pt x="2043154" y="1846919"/>
                      <a:pt x="1968366" y="1921708"/>
                      <a:pt x="1980360" y="1949930"/>
                    </a:cubicBezTo>
                    <a:lnTo>
                      <a:pt x="2279077" y="2401092"/>
                    </a:lnTo>
                    <a:lnTo>
                      <a:pt x="2466488" y="2759857"/>
                    </a:lnTo>
                    <a:lnTo>
                      <a:pt x="2771082" y="3002843"/>
                    </a:lnTo>
                    <a:cubicBezTo>
                      <a:pt x="2894671" y="3102576"/>
                      <a:pt x="2920328" y="3335217"/>
                      <a:pt x="3043917" y="3434950"/>
                    </a:cubicBezTo>
                    <a:lnTo>
                      <a:pt x="3475240" y="3565251"/>
                    </a:lnTo>
                    <a:cubicBezTo>
                      <a:pt x="3524999" y="3622082"/>
                      <a:pt x="3798602" y="3552999"/>
                      <a:pt x="3848361" y="3609830"/>
                    </a:cubicBezTo>
                    <a:lnTo>
                      <a:pt x="4646892" y="4884410"/>
                    </a:lnTo>
                    <a:lnTo>
                      <a:pt x="3291240" y="4890220"/>
                    </a:lnTo>
                    <a:lnTo>
                      <a:pt x="3156349" y="4752161"/>
                    </a:lnTo>
                    <a:cubicBezTo>
                      <a:pt x="3111065" y="4608147"/>
                      <a:pt x="3072723" y="4793685"/>
                      <a:pt x="2720002" y="4297432"/>
                    </a:cubicBezTo>
                    <a:cubicBezTo>
                      <a:pt x="2667876" y="4287484"/>
                      <a:pt x="2106740" y="4024918"/>
                      <a:pt x="2054614" y="4014970"/>
                    </a:cubicBezTo>
                    <a:lnTo>
                      <a:pt x="945339" y="3856405"/>
                    </a:lnTo>
                    <a:lnTo>
                      <a:pt x="0" y="3274405"/>
                    </a:lnTo>
                    <a:cubicBezTo>
                      <a:pt x="371861" y="3026350"/>
                      <a:pt x="354325" y="2759645"/>
                      <a:pt x="726186" y="2511590"/>
                    </a:cubicBezTo>
                    <a:lnTo>
                      <a:pt x="1377850" y="1857227"/>
                    </a:lnTo>
                    <a:lnTo>
                      <a:pt x="965025" y="1611391"/>
                    </a:lnTo>
                    <a:lnTo>
                      <a:pt x="553559" y="1370482"/>
                    </a:lnTo>
                    <a:cubicBezTo>
                      <a:pt x="520165" y="1316373"/>
                      <a:pt x="911144" y="1145680"/>
                      <a:pt x="877750" y="1091571"/>
                    </a:cubicBezTo>
                    <a:lnTo>
                      <a:pt x="344920" y="1062960"/>
                    </a:lnTo>
                    <a:lnTo>
                      <a:pt x="913758" y="0"/>
                    </a:lnTo>
                    <a:close/>
                  </a:path>
                </a:pathLst>
              </a:custGeom>
              <a:solidFill>
                <a:schemeClr val="bg1">
                  <a:lumMod val="95000"/>
                </a:schemeClr>
              </a:solidFill>
              <a:ln w="6350" cap="flat" cmpd="sng" algn="ctr">
                <a:solidFill>
                  <a:srgbClr val="DCDCDC"/>
                </a:solidFill>
                <a:prstDash val="solid"/>
                <a:round/>
                <a:headEnd type="none" w="med" len="med"/>
                <a:tailEnd type="none" w="med" len="med"/>
              </a:ln>
            </p:spPr>
            <p:txBody>
              <a:bodyPr/>
              <a:lstStyle/>
              <a:p>
                <a:endParaRPr lang="en-US">
                  <a:solidFill>
                    <a:schemeClr val="tx1"/>
                  </a:solidFill>
                </a:endParaRPr>
              </a:p>
            </p:txBody>
          </p:sp>
          <p:sp>
            <p:nvSpPr>
              <p:cNvPr id="126" name="任意多边形: 形状 125">
                <a:extLst>
                  <a:ext uri="{FF2B5EF4-FFF2-40B4-BE49-F238E27FC236}">
                    <a16:creationId xmlns:a16="http://schemas.microsoft.com/office/drawing/2014/main" id="{49D0CB64-6F72-4E82-804D-1D8B8487208A}"/>
                  </a:ext>
                </a:extLst>
              </p:cNvPr>
              <p:cNvSpPr>
                <a:spLocks/>
              </p:cNvSpPr>
              <p:nvPr/>
            </p:nvSpPr>
            <p:spPr bwMode="auto">
              <a:xfrm>
                <a:off x="0" y="5887127"/>
                <a:ext cx="6094645" cy="380252"/>
              </a:xfrm>
              <a:custGeom>
                <a:avLst/>
                <a:gdLst>
                  <a:gd name="connsiteX0" fmla="*/ 2964332 w 6094645"/>
                  <a:gd name="connsiteY0" fmla="*/ 0 h 380252"/>
                  <a:gd name="connsiteX1" fmla="*/ 2870890 w 6094645"/>
                  <a:gd name="connsiteY1" fmla="*/ 148432 h 380252"/>
                  <a:gd name="connsiteX2" fmla="*/ 3475344 w 6094645"/>
                  <a:gd name="connsiteY2" fmla="*/ 246425 h 380252"/>
                  <a:gd name="connsiteX3" fmla="*/ 6094645 w 6094645"/>
                  <a:gd name="connsiteY3" fmla="*/ 371800 h 380252"/>
                  <a:gd name="connsiteX4" fmla="*/ 0 w 6094645"/>
                  <a:gd name="connsiteY4" fmla="*/ 380252 h 380252"/>
                  <a:gd name="connsiteX5" fmla="*/ 0 w 6094645"/>
                  <a:gd name="connsiteY5" fmla="*/ 363324 h 38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4645" h="380252">
                    <a:moveTo>
                      <a:pt x="2964332" y="0"/>
                    </a:moveTo>
                    <a:lnTo>
                      <a:pt x="2870890" y="148432"/>
                    </a:lnTo>
                    <a:lnTo>
                      <a:pt x="3475344" y="246425"/>
                    </a:lnTo>
                    <a:lnTo>
                      <a:pt x="6094645" y="371800"/>
                    </a:lnTo>
                    <a:lnTo>
                      <a:pt x="0" y="380252"/>
                    </a:lnTo>
                    <a:lnTo>
                      <a:pt x="0" y="363324"/>
                    </a:ln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27" name="Freeform 114">
                <a:extLst>
                  <a:ext uri="{FF2B5EF4-FFF2-40B4-BE49-F238E27FC236}">
                    <a16:creationId xmlns:a16="http://schemas.microsoft.com/office/drawing/2014/main" id="{5E8F0F2F-E03E-44BA-92C6-81B8D559D6E5}"/>
                  </a:ext>
                </a:extLst>
              </p:cNvPr>
              <p:cNvSpPr/>
              <p:nvPr/>
            </p:nvSpPr>
            <p:spPr>
              <a:xfrm>
                <a:off x="1679858" y="1773251"/>
                <a:ext cx="1375921" cy="1072259"/>
              </a:xfrm>
              <a:custGeom>
                <a:avLst/>
                <a:gdLst>
                  <a:gd name="connsiteX0" fmla="*/ 1061354 w 1641628"/>
                  <a:gd name="connsiteY0" fmla="*/ 0 h 1392808"/>
                  <a:gd name="connsiteX1" fmla="*/ 1301986 w 1641628"/>
                  <a:gd name="connsiteY1" fmla="*/ 856649 h 1392808"/>
                  <a:gd name="connsiteX2" fmla="*/ 1619619 w 1641628"/>
                  <a:gd name="connsiteY2" fmla="*/ 1164657 h 1392808"/>
                  <a:gd name="connsiteX3" fmla="*/ 1641628 w 1641628"/>
                  <a:gd name="connsiteY3" fmla="*/ 1212471 h 1392808"/>
                  <a:gd name="connsiteX4" fmla="*/ 1310274 w 1641628"/>
                  <a:gd name="connsiteY4" fmla="*/ 1291208 h 1392808"/>
                  <a:gd name="connsiteX5" fmla="*/ 1073207 w 1641628"/>
                  <a:gd name="connsiteY5" fmla="*/ 1079541 h 1392808"/>
                  <a:gd name="connsiteX6" fmla="*/ 683741 w 1641628"/>
                  <a:gd name="connsiteY6" fmla="*/ 1392808 h 1392808"/>
                  <a:gd name="connsiteX7" fmla="*/ 514407 w 1641628"/>
                  <a:gd name="connsiteY7" fmla="*/ 1096474 h 1392808"/>
                  <a:gd name="connsiteX8" fmla="*/ 0 w 1641628"/>
                  <a:gd name="connsiteY8" fmla="*/ 1181201 h 1392808"/>
                  <a:gd name="connsiteX9" fmla="*/ 50701 w 1641628"/>
                  <a:gd name="connsiteY9" fmla="*/ 1097281 h 1392808"/>
                  <a:gd name="connsiteX10" fmla="*/ 387586 w 1641628"/>
                  <a:gd name="connsiteY10" fmla="*/ 269508 h 1392808"/>
                  <a:gd name="connsiteX0" fmla="*/ 1061354 w 1641628"/>
                  <a:gd name="connsiteY0" fmla="*/ 0 h 1291208"/>
                  <a:gd name="connsiteX1" fmla="*/ 1301986 w 1641628"/>
                  <a:gd name="connsiteY1" fmla="*/ 856649 h 1291208"/>
                  <a:gd name="connsiteX2" fmla="*/ 1619619 w 1641628"/>
                  <a:gd name="connsiteY2" fmla="*/ 1164657 h 1291208"/>
                  <a:gd name="connsiteX3" fmla="*/ 1641628 w 1641628"/>
                  <a:gd name="connsiteY3" fmla="*/ 1212471 h 1291208"/>
                  <a:gd name="connsiteX4" fmla="*/ 1310274 w 1641628"/>
                  <a:gd name="connsiteY4" fmla="*/ 1291208 h 1291208"/>
                  <a:gd name="connsiteX5" fmla="*/ 1073207 w 1641628"/>
                  <a:gd name="connsiteY5" fmla="*/ 1079541 h 1291208"/>
                  <a:gd name="connsiteX6" fmla="*/ 954221 w 1641628"/>
                  <a:gd name="connsiteY6" fmla="*/ 1154972 h 1291208"/>
                  <a:gd name="connsiteX7" fmla="*/ 514407 w 1641628"/>
                  <a:gd name="connsiteY7" fmla="*/ 1096474 h 1291208"/>
                  <a:gd name="connsiteX8" fmla="*/ 0 w 1641628"/>
                  <a:gd name="connsiteY8" fmla="*/ 1181201 h 1291208"/>
                  <a:gd name="connsiteX9" fmla="*/ 50701 w 1641628"/>
                  <a:gd name="connsiteY9" fmla="*/ 1097281 h 1291208"/>
                  <a:gd name="connsiteX10" fmla="*/ 387586 w 1641628"/>
                  <a:gd name="connsiteY10" fmla="*/ 269508 h 1291208"/>
                  <a:gd name="connsiteX11" fmla="*/ 1061354 w 1641628"/>
                  <a:gd name="connsiteY11" fmla="*/ 0 h 1291208"/>
                  <a:gd name="connsiteX0" fmla="*/ 1061354 w 1641628"/>
                  <a:gd name="connsiteY0" fmla="*/ 0 h 1212471"/>
                  <a:gd name="connsiteX1" fmla="*/ 1301986 w 1641628"/>
                  <a:gd name="connsiteY1" fmla="*/ 856649 h 1212471"/>
                  <a:gd name="connsiteX2" fmla="*/ 1619619 w 1641628"/>
                  <a:gd name="connsiteY2" fmla="*/ 1164657 h 1212471"/>
                  <a:gd name="connsiteX3" fmla="*/ 1641628 w 1641628"/>
                  <a:gd name="connsiteY3" fmla="*/ 1212471 h 1212471"/>
                  <a:gd name="connsiteX4" fmla="*/ 1275299 w 1641628"/>
                  <a:gd name="connsiteY4" fmla="*/ 1158300 h 1212471"/>
                  <a:gd name="connsiteX5" fmla="*/ 1073207 w 1641628"/>
                  <a:gd name="connsiteY5" fmla="*/ 1079541 h 1212471"/>
                  <a:gd name="connsiteX6" fmla="*/ 954221 w 1641628"/>
                  <a:gd name="connsiteY6" fmla="*/ 1154972 h 1212471"/>
                  <a:gd name="connsiteX7" fmla="*/ 514407 w 1641628"/>
                  <a:gd name="connsiteY7" fmla="*/ 1096474 h 1212471"/>
                  <a:gd name="connsiteX8" fmla="*/ 0 w 1641628"/>
                  <a:gd name="connsiteY8" fmla="*/ 1181201 h 1212471"/>
                  <a:gd name="connsiteX9" fmla="*/ 50701 w 1641628"/>
                  <a:gd name="connsiteY9" fmla="*/ 1097281 h 1212471"/>
                  <a:gd name="connsiteX10" fmla="*/ 387586 w 1641628"/>
                  <a:gd name="connsiteY10" fmla="*/ 269508 h 1212471"/>
                  <a:gd name="connsiteX11" fmla="*/ 1061354 w 1641628"/>
                  <a:gd name="connsiteY11" fmla="*/ 0 h 1212471"/>
                  <a:gd name="connsiteX0" fmla="*/ 1061354 w 1641628"/>
                  <a:gd name="connsiteY0" fmla="*/ 0 h 1212471"/>
                  <a:gd name="connsiteX1" fmla="*/ 1301986 w 1641628"/>
                  <a:gd name="connsiteY1" fmla="*/ 856649 h 1212471"/>
                  <a:gd name="connsiteX2" fmla="*/ 1619619 w 1641628"/>
                  <a:gd name="connsiteY2" fmla="*/ 1164657 h 1212471"/>
                  <a:gd name="connsiteX3" fmla="*/ 1641628 w 1641628"/>
                  <a:gd name="connsiteY3" fmla="*/ 1212471 h 1212471"/>
                  <a:gd name="connsiteX4" fmla="*/ 1591087 w 1641628"/>
                  <a:gd name="connsiteY4" fmla="*/ 1199183 h 1212471"/>
                  <a:gd name="connsiteX5" fmla="*/ 1275299 w 1641628"/>
                  <a:gd name="connsiteY5" fmla="*/ 1158300 h 1212471"/>
                  <a:gd name="connsiteX6" fmla="*/ 1073207 w 1641628"/>
                  <a:gd name="connsiteY6" fmla="*/ 1079541 h 1212471"/>
                  <a:gd name="connsiteX7" fmla="*/ 954221 w 1641628"/>
                  <a:gd name="connsiteY7" fmla="*/ 1154972 h 1212471"/>
                  <a:gd name="connsiteX8" fmla="*/ 514407 w 1641628"/>
                  <a:gd name="connsiteY8" fmla="*/ 1096474 h 1212471"/>
                  <a:gd name="connsiteX9" fmla="*/ 0 w 1641628"/>
                  <a:gd name="connsiteY9" fmla="*/ 1181201 h 1212471"/>
                  <a:gd name="connsiteX10" fmla="*/ 50701 w 1641628"/>
                  <a:gd name="connsiteY10" fmla="*/ 1097281 h 1212471"/>
                  <a:gd name="connsiteX11" fmla="*/ 387586 w 1641628"/>
                  <a:gd name="connsiteY11" fmla="*/ 269508 h 1212471"/>
                  <a:gd name="connsiteX12" fmla="*/ 1061354 w 1641628"/>
                  <a:gd name="connsiteY12" fmla="*/ 0 h 1212471"/>
                  <a:gd name="connsiteX0" fmla="*/ 1061354 w 1619619"/>
                  <a:gd name="connsiteY0" fmla="*/ 0 h 1199217"/>
                  <a:gd name="connsiteX1" fmla="*/ 1301986 w 1619619"/>
                  <a:gd name="connsiteY1" fmla="*/ 856649 h 1199217"/>
                  <a:gd name="connsiteX2" fmla="*/ 1619619 w 1619619"/>
                  <a:gd name="connsiteY2" fmla="*/ 1164657 h 1199217"/>
                  <a:gd name="connsiteX3" fmla="*/ 1515715 w 1619619"/>
                  <a:gd name="connsiteY3" fmla="*/ 1107544 h 1199217"/>
                  <a:gd name="connsiteX4" fmla="*/ 1591087 w 1619619"/>
                  <a:gd name="connsiteY4" fmla="*/ 1199183 h 1199217"/>
                  <a:gd name="connsiteX5" fmla="*/ 1275299 w 1619619"/>
                  <a:gd name="connsiteY5" fmla="*/ 1158300 h 1199217"/>
                  <a:gd name="connsiteX6" fmla="*/ 1073207 w 1619619"/>
                  <a:gd name="connsiteY6" fmla="*/ 1079541 h 1199217"/>
                  <a:gd name="connsiteX7" fmla="*/ 954221 w 1619619"/>
                  <a:gd name="connsiteY7" fmla="*/ 1154972 h 1199217"/>
                  <a:gd name="connsiteX8" fmla="*/ 514407 w 1619619"/>
                  <a:gd name="connsiteY8" fmla="*/ 1096474 h 1199217"/>
                  <a:gd name="connsiteX9" fmla="*/ 0 w 1619619"/>
                  <a:gd name="connsiteY9" fmla="*/ 1181201 h 1199217"/>
                  <a:gd name="connsiteX10" fmla="*/ 50701 w 1619619"/>
                  <a:gd name="connsiteY10" fmla="*/ 1097281 h 1199217"/>
                  <a:gd name="connsiteX11" fmla="*/ 387586 w 1619619"/>
                  <a:gd name="connsiteY11" fmla="*/ 269508 h 1199217"/>
                  <a:gd name="connsiteX12" fmla="*/ 1061354 w 1619619"/>
                  <a:gd name="connsiteY12" fmla="*/ 0 h 1199217"/>
                  <a:gd name="connsiteX0" fmla="*/ 1061354 w 1619619"/>
                  <a:gd name="connsiteY0" fmla="*/ 0 h 1181201"/>
                  <a:gd name="connsiteX1" fmla="*/ 1301986 w 1619619"/>
                  <a:gd name="connsiteY1" fmla="*/ 856649 h 1181201"/>
                  <a:gd name="connsiteX2" fmla="*/ 1619619 w 1619619"/>
                  <a:gd name="connsiteY2" fmla="*/ 1164657 h 1181201"/>
                  <a:gd name="connsiteX3" fmla="*/ 1515715 w 1619619"/>
                  <a:gd name="connsiteY3" fmla="*/ 1107544 h 1181201"/>
                  <a:gd name="connsiteX4" fmla="*/ 1275299 w 1619619"/>
                  <a:gd name="connsiteY4" fmla="*/ 1158300 h 1181201"/>
                  <a:gd name="connsiteX5" fmla="*/ 1073207 w 1619619"/>
                  <a:gd name="connsiteY5" fmla="*/ 1079541 h 1181201"/>
                  <a:gd name="connsiteX6" fmla="*/ 954221 w 1619619"/>
                  <a:gd name="connsiteY6" fmla="*/ 1154972 h 1181201"/>
                  <a:gd name="connsiteX7" fmla="*/ 514407 w 1619619"/>
                  <a:gd name="connsiteY7" fmla="*/ 1096474 h 1181201"/>
                  <a:gd name="connsiteX8" fmla="*/ 0 w 1619619"/>
                  <a:gd name="connsiteY8" fmla="*/ 1181201 h 1181201"/>
                  <a:gd name="connsiteX9" fmla="*/ 50701 w 1619619"/>
                  <a:gd name="connsiteY9" fmla="*/ 1097281 h 1181201"/>
                  <a:gd name="connsiteX10" fmla="*/ 387586 w 1619619"/>
                  <a:gd name="connsiteY10" fmla="*/ 269508 h 1181201"/>
                  <a:gd name="connsiteX11" fmla="*/ 1061354 w 1619619"/>
                  <a:gd name="connsiteY11" fmla="*/ 0 h 1181201"/>
                  <a:gd name="connsiteX0" fmla="*/ 1061354 w 1515715"/>
                  <a:gd name="connsiteY0" fmla="*/ 0 h 1181201"/>
                  <a:gd name="connsiteX1" fmla="*/ 1301986 w 1515715"/>
                  <a:gd name="connsiteY1" fmla="*/ 856649 h 1181201"/>
                  <a:gd name="connsiteX2" fmla="*/ 1515715 w 1515715"/>
                  <a:gd name="connsiteY2" fmla="*/ 1107544 h 1181201"/>
                  <a:gd name="connsiteX3" fmla="*/ 1275299 w 1515715"/>
                  <a:gd name="connsiteY3" fmla="*/ 1158300 h 1181201"/>
                  <a:gd name="connsiteX4" fmla="*/ 1073207 w 1515715"/>
                  <a:gd name="connsiteY4" fmla="*/ 1079541 h 1181201"/>
                  <a:gd name="connsiteX5" fmla="*/ 954221 w 1515715"/>
                  <a:gd name="connsiteY5" fmla="*/ 1154972 h 1181201"/>
                  <a:gd name="connsiteX6" fmla="*/ 514407 w 1515715"/>
                  <a:gd name="connsiteY6" fmla="*/ 1096474 h 1181201"/>
                  <a:gd name="connsiteX7" fmla="*/ 0 w 1515715"/>
                  <a:gd name="connsiteY7" fmla="*/ 1181201 h 1181201"/>
                  <a:gd name="connsiteX8" fmla="*/ 50701 w 1515715"/>
                  <a:gd name="connsiteY8" fmla="*/ 1097281 h 1181201"/>
                  <a:gd name="connsiteX9" fmla="*/ 387586 w 1515715"/>
                  <a:gd name="connsiteY9" fmla="*/ 269508 h 1181201"/>
                  <a:gd name="connsiteX10" fmla="*/ 1061354 w 1515715"/>
                  <a:gd name="connsiteY10" fmla="*/ 0 h 118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5715" h="1181201">
                    <a:moveTo>
                      <a:pt x="1061354" y="0"/>
                    </a:moveTo>
                    <a:lnTo>
                      <a:pt x="1301986" y="856649"/>
                    </a:lnTo>
                    <a:lnTo>
                      <a:pt x="1515715" y="1107544"/>
                    </a:lnTo>
                    <a:cubicBezTo>
                      <a:pt x="1458328" y="1106485"/>
                      <a:pt x="1349050" y="1162967"/>
                      <a:pt x="1275299" y="1158300"/>
                    </a:cubicBezTo>
                    <a:lnTo>
                      <a:pt x="1073207" y="1079541"/>
                    </a:lnTo>
                    <a:lnTo>
                      <a:pt x="954221" y="1154972"/>
                    </a:lnTo>
                    <a:lnTo>
                      <a:pt x="514407" y="1096474"/>
                    </a:lnTo>
                    <a:lnTo>
                      <a:pt x="0" y="1181201"/>
                    </a:lnTo>
                    <a:lnTo>
                      <a:pt x="50701" y="1097281"/>
                    </a:lnTo>
                    <a:lnTo>
                      <a:pt x="387586" y="269508"/>
                    </a:lnTo>
                    <a:lnTo>
                      <a:pt x="1061354" y="0"/>
                    </a:lnTo>
                    <a:close/>
                  </a:path>
                </a:pathLst>
              </a:custGeom>
              <a:solidFill>
                <a:schemeClr val="bg1">
                  <a:lumMod val="95000"/>
                </a:schemeClr>
              </a:solidFill>
              <a:ln w="9525" cap="flat" cmpd="sng" algn="ctr">
                <a:solidFill>
                  <a:srgbClr val="D9D9D9"/>
                </a:solidFill>
                <a:prstDash val="solid"/>
                <a:round/>
                <a:headEnd type="none" w="med" len="med"/>
                <a:tailEnd type="none" w="med" len="med"/>
              </a:ln>
            </p:spPr>
            <p:txBody>
              <a:bodyPr/>
              <a:lstStyle/>
              <a:p>
                <a:endParaRPr lang="en-US" dirty="0"/>
              </a:p>
            </p:txBody>
          </p:sp>
          <p:sp>
            <p:nvSpPr>
              <p:cNvPr id="128" name="Freeform 116">
                <a:extLst>
                  <a:ext uri="{FF2B5EF4-FFF2-40B4-BE49-F238E27FC236}">
                    <a16:creationId xmlns:a16="http://schemas.microsoft.com/office/drawing/2014/main" id="{982F78E6-AD8A-4FBF-989D-9AF6734AA511}"/>
                  </a:ext>
                </a:extLst>
              </p:cNvPr>
              <p:cNvSpPr/>
              <p:nvPr/>
            </p:nvSpPr>
            <p:spPr>
              <a:xfrm>
                <a:off x="2416147" y="1807439"/>
                <a:ext cx="667868" cy="1040378"/>
              </a:xfrm>
              <a:custGeom>
                <a:avLst/>
                <a:gdLst>
                  <a:gd name="connsiteX0" fmla="*/ 251725 w 830532"/>
                  <a:gd name="connsiteY0" fmla="*/ 0 h 1285984"/>
                  <a:gd name="connsiteX1" fmla="*/ 490889 w 830532"/>
                  <a:gd name="connsiteY1" fmla="*/ 851425 h 1285984"/>
                  <a:gd name="connsiteX2" fmla="*/ 808522 w 830532"/>
                  <a:gd name="connsiteY2" fmla="*/ 1159433 h 1285984"/>
                  <a:gd name="connsiteX3" fmla="*/ 830532 w 830532"/>
                  <a:gd name="connsiteY3" fmla="*/ 1207247 h 1285984"/>
                  <a:gd name="connsiteX4" fmla="*/ 499177 w 830532"/>
                  <a:gd name="connsiteY4" fmla="*/ 1285984 h 1285984"/>
                  <a:gd name="connsiteX5" fmla="*/ 262110 w 830532"/>
                  <a:gd name="connsiteY5" fmla="*/ 1074317 h 1285984"/>
                  <a:gd name="connsiteX6" fmla="*/ 250148 w 830532"/>
                  <a:gd name="connsiteY6" fmla="*/ 1083939 h 1285984"/>
                  <a:gd name="connsiteX7" fmla="*/ 0 w 830532"/>
                  <a:gd name="connsiteY7" fmla="*/ 755172 h 1285984"/>
                  <a:gd name="connsiteX0" fmla="*/ 251725 w 830532"/>
                  <a:gd name="connsiteY0" fmla="*/ 0 h 1285984"/>
                  <a:gd name="connsiteX1" fmla="*/ 490889 w 830532"/>
                  <a:gd name="connsiteY1" fmla="*/ 851425 h 1285984"/>
                  <a:gd name="connsiteX2" fmla="*/ 830532 w 830532"/>
                  <a:gd name="connsiteY2" fmla="*/ 1207247 h 1285984"/>
                  <a:gd name="connsiteX3" fmla="*/ 499177 w 830532"/>
                  <a:gd name="connsiteY3" fmla="*/ 1285984 h 1285984"/>
                  <a:gd name="connsiteX4" fmla="*/ 262110 w 830532"/>
                  <a:gd name="connsiteY4" fmla="*/ 1074317 h 1285984"/>
                  <a:gd name="connsiteX5" fmla="*/ 250148 w 830532"/>
                  <a:gd name="connsiteY5" fmla="*/ 1083939 h 1285984"/>
                  <a:gd name="connsiteX6" fmla="*/ 0 w 830532"/>
                  <a:gd name="connsiteY6" fmla="*/ 755172 h 1285984"/>
                  <a:gd name="connsiteX7" fmla="*/ 251725 w 830532"/>
                  <a:gd name="connsiteY7" fmla="*/ 0 h 1285984"/>
                  <a:gd name="connsiteX0" fmla="*/ 251725 w 868632"/>
                  <a:gd name="connsiteY0" fmla="*/ 0 h 1285984"/>
                  <a:gd name="connsiteX1" fmla="*/ 490889 w 868632"/>
                  <a:gd name="connsiteY1" fmla="*/ 851425 h 1285984"/>
                  <a:gd name="connsiteX2" fmla="*/ 868632 w 868632"/>
                  <a:gd name="connsiteY2" fmla="*/ 1177613 h 1285984"/>
                  <a:gd name="connsiteX3" fmla="*/ 499177 w 868632"/>
                  <a:gd name="connsiteY3" fmla="*/ 1285984 h 1285984"/>
                  <a:gd name="connsiteX4" fmla="*/ 262110 w 868632"/>
                  <a:gd name="connsiteY4" fmla="*/ 1074317 h 1285984"/>
                  <a:gd name="connsiteX5" fmla="*/ 250148 w 868632"/>
                  <a:gd name="connsiteY5" fmla="*/ 1083939 h 1285984"/>
                  <a:gd name="connsiteX6" fmla="*/ 0 w 868632"/>
                  <a:gd name="connsiteY6" fmla="*/ 755172 h 1285984"/>
                  <a:gd name="connsiteX7" fmla="*/ 251725 w 868632"/>
                  <a:gd name="connsiteY7" fmla="*/ 0 h 1285984"/>
                  <a:gd name="connsiteX0" fmla="*/ 251725 w 868632"/>
                  <a:gd name="connsiteY0" fmla="*/ 0 h 1285984"/>
                  <a:gd name="connsiteX1" fmla="*/ 495122 w 868632"/>
                  <a:gd name="connsiteY1" fmla="*/ 817558 h 1285984"/>
                  <a:gd name="connsiteX2" fmla="*/ 868632 w 868632"/>
                  <a:gd name="connsiteY2" fmla="*/ 1177613 h 1285984"/>
                  <a:gd name="connsiteX3" fmla="*/ 499177 w 868632"/>
                  <a:gd name="connsiteY3" fmla="*/ 1285984 h 1285984"/>
                  <a:gd name="connsiteX4" fmla="*/ 262110 w 868632"/>
                  <a:gd name="connsiteY4" fmla="*/ 1074317 h 1285984"/>
                  <a:gd name="connsiteX5" fmla="*/ 250148 w 868632"/>
                  <a:gd name="connsiteY5" fmla="*/ 1083939 h 1285984"/>
                  <a:gd name="connsiteX6" fmla="*/ 0 w 868632"/>
                  <a:gd name="connsiteY6" fmla="*/ 755172 h 1285984"/>
                  <a:gd name="connsiteX7" fmla="*/ 251725 w 868632"/>
                  <a:gd name="connsiteY7" fmla="*/ 0 h 1285984"/>
                  <a:gd name="connsiteX0" fmla="*/ 251725 w 868632"/>
                  <a:gd name="connsiteY0" fmla="*/ 0 h 1177613"/>
                  <a:gd name="connsiteX1" fmla="*/ 495122 w 868632"/>
                  <a:gd name="connsiteY1" fmla="*/ 817558 h 1177613"/>
                  <a:gd name="connsiteX2" fmla="*/ 868632 w 868632"/>
                  <a:gd name="connsiteY2" fmla="*/ 1177613 h 1177613"/>
                  <a:gd name="connsiteX3" fmla="*/ 485187 w 868632"/>
                  <a:gd name="connsiteY3" fmla="*/ 1146081 h 1177613"/>
                  <a:gd name="connsiteX4" fmla="*/ 262110 w 868632"/>
                  <a:gd name="connsiteY4" fmla="*/ 1074317 h 1177613"/>
                  <a:gd name="connsiteX5" fmla="*/ 250148 w 868632"/>
                  <a:gd name="connsiteY5" fmla="*/ 1083939 h 1177613"/>
                  <a:gd name="connsiteX6" fmla="*/ 0 w 868632"/>
                  <a:gd name="connsiteY6" fmla="*/ 755172 h 1177613"/>
                  <a:gd name="connsiteX7" fmla="*/ 251725 w 868632"/>
                  <a:gd name="connsiteY7" fmla="*/ 0 h 1177613"/>
                  <a:gd name="connsiteX0" fmla="*/ 251725 w 833656"/>
                  <a:gd name="connsiteY0" fmla="*/ 0 h 1163623"/>
                  <a:gd name="connsiteX1" fmla="*/ 495122 w 833656"/>
                  <a:gd name="connsiteY1" fmla="*/ 817558 h 1163623"/>
                  <a:gd name="connsiteX2" fmla="*/ 833656 w 833656"/>
                  <a:gd name="connsiteY2" fmla="*/ 1163623 h 1163623"/>
                  <a:gd name="connsiteX3" fmla="*/ 485187 w 833656"/>
                  <a:gd name="connsiteY3" fmla="*/ 1146081 h 1163623"/>
                  <a:gd name="connsiteX4" fmla="*/ 262110 w 833656"/>
                  <a:gd name="connsiteY4" fmla="*/ 1074317 h 1163623"/>
                  <a:gd name="connsiteX5" fmla="*/ 250148 w 833656"/>
                  <a:gd name="connsiteY5" fmla="*/ 1083939 h 1163623"/>
                  <a:gd name="connsiteX6" fmla="*/ 0 w 833656"/>
                  <a:gd name="connsiteY6" fmla="*/ 755172 h 1163623"/>
                  <a:gd name="connsiteX7" fmla="*/ 251725 w 833656"/>
                  <a:gd name="connsiteY7" fmla="*/ 0 h 1163623"/>
                  <a:gd name="connsiteX0" fmla="*/ 251725 w 735724"/>
                  <a:gd name="connsiteY0" fmla="*/ 0 h 1146081"/>
                  <a:gd name="connsiteX1" fmla="*/ 495122 w 735724"/>
                  <a:gd name="connsiteY1" fmla="*/ 817558 h 1146081"/>
                  <a:gd name="connsiteX2" fmla="*/ 735724 w 735724"/>
                  <a:gd name="connsiteY2" fmla="*/ 1079681 h 1146081"/>
                  <a:gd name="connsiteX3" fmla="*/ 485187 w 735724"/>
                  <a:gd name="connsiteY3" fmla="*/ 1146081 h 1146081"/>
                  <a:gd name="connsiteX4" fmla="*/ 262110 w 735724"/>
                  <a:gd name="connsiteY4" fmla="*/ 1074317 h 1146081"/>
                  <a:gd name="connsiteX5" fmla="*/ 250148 w 735724"/>
                  <a:gd name="connsiteY5" fmla="*/ 1083939 h 1146081"/>
                  <a:gd name="connsiteX6" fmla="*/ 0 w 735724"/>
                  <a:gd name="connsiteY6" fmla="*/ 755172 h 1146081"/>
                  <a:gd name="connsiteX7" fmla="*/ 251725 w 735724"/>
                  <a:gd name="connsiteY7" fmla="*/ 0 h 114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724" h="1146081">
                    <a:moveTo>
                      <a:pt x="251725" y="0"/>
                    </a:moveTo>
                    <a:lnTo>
                      <a:pt x="495122" y="817558"/>
                    </a:lnTo>
                    <a:lnTo>
                      <a:pt x="735724" y="1079681"/>
                    </a:lnTo>
                    <a:lnTo>
                      <a:pt x="485187" y="1146081"/>
                    </a:lnTo>
                    <a:lnTo>
                      <a:pt x="262110" y="1074317"/>
                    </a:lnTo>
                    <a:lnTo>
                      <a:pt x="250148" y="1083939"/>
                    </a:lnTo>
                    <a:lnTo>
                      <a:pt x="0" y="755172"/>
                    </a:lnTo>
                    <a:lnTo>
                      <a:pt x="251725" y="0"/>
                    </a:lnTo>
                    <a:close/>
                  </a:path>
                </a:pathLst>
              </a:custGeom>
              <a:solidFill>
                <a:schemeClr val="bg1"/>
              </a:solidFill>
              <a:ln w="9525" cap="flat" cmpd="sng" algn="ctr">
                <a:solidFill>
                  <a:srgbClr val="D9D9D9"/>
                </a:solidFill>
                <a:prstDash val="solid"/>
                <a:round/>
                <a:headEnd type="none" w="med" len="med"/>
                <a:tailEnd type="none" w="med" len="med"/>
              </a:ln>
            </p:spPr>
            <p:txBody>
              <a:bodyPr/>
              <a:lstStyle/>
              <a:p>
                <a:endParaRPr lang="en-US" dirty="0">
                  <a:solidFill>
                    <a:schemeClr val="tx1"/>
                  </a:solidFill>
                </a:endParaRPr>
              </a:p>
            </p:txBody>
          </p:sp>
          <p:pic>
            <p:nvPicPr>
              <p:cNvPr id="129" name="Picture 82">
                <a:extLst>
                  <a:ext uri="{FF2B5EF4-FFF2-40B4-BE49-F238E27FC236}">
                    <a16:creationId xmlns:a16="http://schemas.microsoft.com/office/drawing/2014/main" id="{B9BDF59B-8420-4240-9259-533A707DBF50}"/>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664904" y="1431896"/>
                <a:ext cx="392727" cy="389706"/>
              </a:xfrm>
              <a:prstGeom prst="rect">
                <a:avLst/>
              </a:prstGeom>
            </p:spPr>
          </p:pic>
          <p:pic>
            <p:nvPicPr>
              <p:cNvPr id="130" name="Picture 83">
                <a:extLst>
                  <a:ext uri="{FF2B5EF4-FFF2-40B4-BE49-F238E27FC236}">
                    <a16:creationId xmlns:a16="http://schemas.microsoft.com/office/drawing/2014/main" id="{9D266FF7-67E0-45F7-ABC5-7B2EADB17FE4}"/>
                  </a:ext>
                </a:extLst>
              </p:cNvPr>
              <p:cNvPicPr>
                <a:picLocks noChangeAspect="1"/>
              </p:cNvPicPr>
              <p:nvPr/>
            </p:nvPicPr>
            <p:blipFill>
              <a:blip r:embed="rId4">
                <a:lum bright="70000" contrast="-70000"/>
                <a:extLst>
                  <a:ext uri="{BEBA8EAE-BF5A-486C-A8C5-ECC9F3942E4B}">
                    <a14:imgProps xmlns:a14="http://schemas.microsoft.com/office/drawing/2010/main">
                      <a14:imgLayer r:embed="rId5">
                        <a14:imgEffect>
                          <a14:colorTemperature colorTemp="47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flipH="1">
                <a:off x="3069155" y="1220125"/>
                <a:ext cx="374134" cy="394959"/>
              </a:xfrm>
              <a:prstGeom prst="rect">
                <a:avLst/>
              </a:prstGeom>
            </p:spPr>
          </p:pic>
          <p:sp>
            <p:nvSpPr>
              <p:cNvPr id="131" name="Freeform 40">
                <a:extLst>
                  <a:ext uri="{FF2B5EF4-FFF2-40B4-BE49-F238E27FC236}">
                    <a16:creationId xmlns:a16="http://schemas.microsoft.com/office/drawing/2014/main" id="{C991EDA7-C673-4E0D-8FA4-B73D4DF81B18}"/>
                  </a:ext>
                </a:extLst>
              </p:cNvPr>
              <p:cNvSpPr/>
              <p:nvPr/>
            </p:nvSpPr>
            <p:spPr>
              <a:xfrm>
                <a:off x="766454" y="2783970"/>
                <a:ext cx="968409" cy="1369607"/>
              </a:xfrm>
              <a:custGeom>
                <a:avLst/>
                <a:gdLst>
                  <a:gd name="connsiteX0" fmla="*/ 0 w 1066800"/>
                  <a:gd name="connsiteY0" fmla="*/ 1508760 h 1508760"/>
                  <a:gd name="connsiteX1" fmla="*/ 264160 w 1066800"/>
                  <a:gd name="connsiteY1" fmla="*/ 1183640 h 1508760"/>
                  <a:gd name="connsiteX2" fmla="*/ 619760 w 1066800"/>
                  <a:gd name="connsiteY2" fmla="*/ 1102360 h 1508760"/>
                  <a:gd name="connsiteX3" fmla="*/ 787400 w 1066800"/>
                  <a:gd name="connsiteY3" fmla="*/ 472440 h 1508760"/>
                  <a:gd name="connsiteX4" fmla="*/ 1066800 w 1066800"/>
                  <a:gd name="connsiteY4" fmla="*/ 0 h 150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1508760">
                    <a:moveTo>
                      <a:pt x="0" y="1508760"/>
                    </a:moveTo>
                    <a:lnTo>
                      <a:pt x="264160" y="1183640"/>
                    </a:lnTo>
                    <a:lnTo>
                      <a:pt x="619760" y="1102360"/>
                    </a:lnTo>
                    <a:lnTo>
                      <a:pt x="787400" y="472440"/>
                    </a:lnTo>
                    <a:lnTo>
                      <a:pt x="106680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Freeform 41">
                <a:extLst>
                  <a:ext uri="{FF2B5EF4-FFF2-40B4-BE49-F238E27FC236}">
                    <a16:creationId xmlns:a16="http://schemas.microsoft.com/office/drawing/2014/main" id="{5C7A746D-BA21-47E3-84D1-04874CE0B73F}"/>
                  </a:ext>
                </a:extLst>
              </p:cNvPr>
              <p:cNvSpPr/>
              <p:nvPr/>
            </p:nvSpPr>
            <p:spPr>
              <a:xfrm>
                <a:off x="2285454" y="2774747"/>
                <a:ext cx="757544" cy="1374145"/>
              </a:xfrm>
              <a:custGeom>
                <a:avLst/>
                <a:gdLst>
                  <a:gd name="connsiteX0" fmla="*/ 45720 w 289560"/>
                  <a:gd name="connsiteY0" fmla="*/ 0 h 1569720"/>
                  <a:gd name="connsiteX1" fmla="*/ 111760 w 289560"/>
                  <a:gd name="connsiteY1" fmla="*/ 142240 h 1569720"/>
                  <a:gd name="connsiteX2" fmla="*/ 0 w 289560"/>
                  <a:gd name="connsiteY2" fmla="*/ 762000 h 1569720"/>
                  <a:gd name="connsiteX3" fmla="*/ 167640 w 289560"/>
                  <a:gd name="connsiteY3" fmla="*/ 939800 h 1569720"/>
                  <a:gd name="connsiteX4" fmla="*/ 289560 w 289560"/>
                  <a:gd name="connsiteY4" fmla="*/ 1569720 h 1569720"/>
                  <a:gd name="connsiteX0" fmla="*/ 290185 w 414498"/>
                  <a:gd name="connsiteY0" fmla="*/ 0 h 1513759"/>
                  <a:gd name="connsiteX1" fmla="*/ 356225 w 414498"/>
                  <a:gd name="connsiteY1" fmla="*/ 142240 h 1513759"/>
                  <a:gd name="connsiteX2" fmla="*/ 244465 w 414498"/>
                  <a:gd name="connsiteY2" fmla="*/ 762000 h 1513759"/>
                  <a:gd name="connsiteX3" fmla="*/ 412105 w 414498"/>
                  <a:gd name="connsiteY3" fmla="*/ 939800 h 1513759"/>
                  <a:gd name="connsiteX4" fmla="*/ 2393 w 414498"/>
                  <a:gd name="connsiteY4" fmla="*/ 1513759 h 1513759"/>
                  <a:gd name="connsiteX0" fmla="*/ 287792 w 413314"/>
                  <a:gd name="connsiteY0" fmla="*/ 0 h 1513759"/>
                  <a:gd name="connsiteX1" fmla="*/ 353832 w 413314"/>
                  <a:gd name="connsiteY1" fmla="*/ 142240 h 1513759"/>
                  <a:gd name="connsiteX2" fmla="*/ 242072 w 413314"/>
                  <a:gd name="connsiteY2" fmla="*/ 762000 h 1513759"/>
                  <a:gd name="connsiteX3" fmla="*/ 409712 w 413314"/>
                  <a:gd name="connsiteY3" fmla="*/ 939800 h 1513759"/>
                  <a:gd name="connsiteX4" fmla="*/ 0 w 413314"/>
                  <a:gd name="connsiteY4" fmla="*/ 1513759 h 1513759"/>
                  <a:gd name="connsiteX0" fmla="*/ 287792 w 728705"/>
                  <a:gd name="connsiteY0" fmla="*/ 0 h 1513759"/>
                  <a:gd name="connsiteX1" fmla="*/ 353832 w 728705"/>
                  <a:gd name="connsiteY1" fmla="*/ 142240 h 1513759"/>
                  <a:gd name="connsiteX2" fmla="*/ 242072 w 728705"/>
                  <a:gd name="connsiteY2" fmla="*/ 762000 h 1513759"/>
                  <a:gd name="connsiteX3" fmla="*/ 726826 w 728705"/>
                  <a:gd name="connsiteY3" fmla="*/ 715954 h 1513759"/>
                  <a:gd name="connsiteX4" fmla="*/ 0 w 728705"/>
                  <a:gd name="connsiteY4" fmla="*/ 1513759 h 1513759"/>
                  <a:gd name="connsiteX0" fmla="*/ 409468 w 850380"/>
                  <a:gd name="connsiteY0" fmla="*/ 0 h 1513759"/>
                  <a:gd name="connsiteX1" fmla="*/ 475508 w 850380"/>
                  <a:gd name="connsiteY1" fmla="*/ 142240 h 1513759"/>
                  <a:gd name="connsiteX2" fmla="*/ 0 w 850380"/>
                  <a:gd name="connsiteY2" fmla="*/ 295656 h 1513759"/>
                  <a:gd name="connsiteX3" fmla="*/ 848502 w 850380"/>
                  <a:gd name="connsiteY3" fmla="*/ 715954 h 1513759"/>
                  <a:gd name="connsiteX4" fmla="*/ 121676 w 850380"/>
                  <a:gd name="connsiteY4" fmla="*/ 1513759 h 1513759"/>
                  <a:gd name="connsiteX0" fmla="*/ 409468 w 850380"/>
                  <a:gd name="connsiteY0" fmla="*/ 0 h 1513759"/>
                  <a:gd name="connsiteX1" fmla="*/ 335605 w 850380"/>
                  <a:gd name="connsiteY1" fmla="*/ 58298 h 1513759"/>
                  <a:gd name="connsiteX2" fmla="*/ 0 w 850380"/>
                  <a:gd name="connsiteY2" fmla="*/ 295656 h 1513759"/>
                  <a:gd name="connsiteX3" fmla="*/ 848502 w 850380"/>
                  <a:gd name="connsiteY3" fmla="*/ 715954 h 1513759"/>
                  <a:gd name="connsiteX4" fmla="*/ 121676 w 850380"/>
                  <a:gd name="connsiteY4" fmla="*/ 1513759 h 1513759"/>
                  <a:gd name="connsiteX0" fmla="*/ 409468 w 836429"/>
                  <a:gd name="connsiteY0" fmla="*/ 0 h 1513759"/>
                  <a:gd name="connsiteX1" fmla="*/ 335605 w 836429"/>
                  <a:gd name="connsiteY1" fmla="*/ 58298 h 1513759"/>
                  <a:gd name="connsiteX2" fmla="*/ 0 w 836429"/>
                  <a:gd name="connsiteY2" fmla="*/ 295656 h 1513759"/>
                  <a:gd name="connsiteX3" fmla="*/ 834511 w 836429"/>
                  <a:gd name="connsiteY3" fmla="*/ 771916 h 1513759"/>
                  <a:gd name="connsiteX4" fmla="*/ 121676 w 836429"/>
                  <a:gd name="connsiteY4" fmla="*/ 1513759 h 1513759"/>
                  <a:gd name="connsiteX0" fmla="*/ 409468 w 834511"/>
                  <a:gd name="connsiteY0" fmla="*/ 0 h 1513759"/>
                  <a:gd name="connsiteX1" fmla="*/ 335605 w 834511"/>
                  <a:gd name="connsiteY1" fmla="*/ 58298 h 1513759"/>
                  <a:gd name="connsiteX2" fmla="*/ 0 w 834511"/>
                  <a:gd name="connsiteY2" fmla="*/ 295656 h 1513759"/>
                  <a:gd name="connsiteX3" fmla="*/ 834511 w 834511"/>
                  <a:gd name="connsiteY3" fmla="*/ 771916 h 1513759"/>
                  <a:gd name="connsiteX4" fmla="*/ 121676 w 834511"/>
                  <a:gd name="connsiteY4" fmla="*/ 1513759 h 151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511" h="1513759">
                    <a:moveTo>
                      <a:pt x="409468" y="0"/>
                    </a:moveTo>
                    <a:lnTo>
                      <a:pt x="335605" y="58298"/>
                    </a:lnTo>
                    <a:lnTo>
                      <a:pt x="0" y="295656"/>
                    </a:lnTo>
                    <a:lnTo>
                      <a:pt x="834511" y="771916"/>
                    </a:lnTo>
                    <a:cubicBezTo>
                      <a:pt x="828517" y="907274"/>
                      <a:pt x="258248" y="1359748"/>
                      <a:pt x="121676" y="1513759"/>
                    </a:cubicBez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Freeform 42">
                <a:extLst>
                  <a:ext uri="{FF2B5EF4-FFF2-40B4-BE49-F238E27FC236}">
                    <a16:creationId xmlns:a16="http://schemas.microsoft.com/office/drawing/2014/main" id="{9A297A4D-590B-474F-8617-73402D7525A4}"/>
                  </a:ext>
                </a:extLst>
              </p:cNvPr>
              <p:cNvSpPr/>
              <p:nvPr/>
            </p:nvSpPr>
            <p:spPr>
              <a:xfrm>
                <a:off x="3145505" y="2857828"/>
                <a:ext cx="843283" cy="1346476"/>
              </a:xfrm>
              <a:custGeom>
                <a:avLst/>
                <a:gdLst>
                  <a:gd name="connsiteX0" fmla="*/ 0 w 1046480"/>
                  <a:gd name="connsiteY0" fmla="*/ 0 h 1539240"/>
                  <a:gd name="connsiteX1" fmla="*/ 284480 w 1046480"/>
                  <a:gd name="connsiteY1" fmla="*/ 650240 h 1539240"/>
                  <a:gd name="connsiteX2" fmla="*/ 553720 w 1046480"/>
                  <a:gd name="connsiteY2" fmla="*/ 487680 h 1539240"/>
                  <a:gd name="connsiteX3" fmla="*/ 822960 w 1046480"/>
                  <a:gd name="connsiteY3" fmla="*/ 1315720 h 1539240"/>
                  <a:gd name="connsiteX4" fmla="*/ 1046480 w 1046480"/>
                  <a:gd name="connsiteY4"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15620 w 1046480"/>
                  <a:gd name="connsiteY3" fmla="*/ 853017 h 1539240"/>
                  <a:gd name="connsiteX4" fmla="*/ 822960 w 1046480"/>
                  <a:gd name="connsiteY4" fmla="*/ 1315720 h 1539240"/>
                  <a:gd name="connsiteX5" fmla="*/ 1046480 w 1046480"/>
                  <a:gd name="connsiteY5"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68537 w 1046480"/>
                  <a:gd name="connsiteY3" fmla="*/ 711200 h 1539240"/>
                  <a:gd name="connsiteX4" fmla="*/ 515620 w 1046480"/>
                  <a:gd name="connsiteY4" fmla="*/ 853017 h 1539240"/>
                  <a:gd name="connsiteX5" fmla="*/ 822960 w 1046480"/>
                  <a:gd name="connsiteY5" fmla="*/ 1315720 h 1539240"/>
                  <a:gd name="connsiteX6" fmla="*/ 1046480 w 1046480"/>
                  <a:gd name="connsiteY6"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68537 w 1046480"/>
                  <a:gd name="connsiteY3" fmla="*/ 711200 h 1539240"/>
                  <a:gd name="connsiteX4" fmla="*/ 515620 w 1046480"/>
                  <a:gd name="connsiteY4" fmla="*/ 853017 h 1539240"/>
                  <a:gd name="connsiteX5" fmla="*/ 822960 w 1046480"/>
                  <a:gd name="connsiteY5" fmla="*/ 1315720 h 1539240"/>
                  <a:gd name="connsiteX6" fmla="*/ 1046480 w 1046480"/>
                  <a:gd name="connsiteY6"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68537 w 1046480"/>
                  <a:gd name="connsiteY3" fmla="*/ 711200 h 1539240"/>
                  <a:gd name="connsiteX4" fmla="*/ 515620 w 1046480"/>
                  <a:gd name="connsiteY4" fmla="*/ 853017 h 1539240"/>
                  <a:gd name="connsiteX5" fmla="*/ 822960 w 1046480"/>
                  <a:gd name="connsiteY5" fmla="*/ 1315720 h 1539240"/>
                  <a:gd name="connsiteX6" fmla="*/ 1046480 w 1046480"/>
                  <a:gd name="connsiteY6"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68537 w 1046480"/>
                  <a:gd name="connsiteY3" fmla="*/ 711200 h 1539240"/>
                  <a:gd name="connsiteX4" fmla="*/ 515620 w 1046480"/>
                  <a:gd name="connsiteY4" fmla="*/ 853017 h 1539240"/>
                  <a:gd name="connsiteX5" fmla="*/ 822960 w 1046480"/>
                  <a:gd name="connsiteY5" fmla="*/ 1315720 h 1539240"/>
                  <a:gd name="connsiteX6" fmla="*/ 1046480 w 1046480"/>
                  <a:gd name="connsiteY6" fmla="*/ 1539240 h 1539240"/>
                  <a:gd name="connsiteX0" fmla="*/ 0 w 923365"/>
                  <a:gd name="connsiteY0" fmla="*/ 0 h 1539240"/>
                  <a:gd name="connsiteX1" fmla="*/ 284480 w 923365"/>
                  <a:gd name="connsiteY1" fmla="*/ 650240 h 1539240"/>
                  <a:gd name="connsiteX2" fmla="*/ 553720 w 923365"/>
                  <a:gd name="connsiteY2" fmla="*/ 487680 h 1539240"/>
                  <a:gd name="connsiteX3" fmla="*/ 568537 w 923365"/>
                  <a:gd name="connsiteY3" fmla="*/ 711200 h 1539240"/>
                  <a:gd name="connsiteX4" fmla="*/ 515620 w 923365"/>
                  <a:gd name="connsiteY4" fmla="*/ 853017 h 1539240"/>
                  <a:gd name="connsiteX5" fmla="*/ 822960 w 923365"/>
                  <a:gd name="connsiteY5" fmla="*/ 1315720 h 1539240"/>
                  <a:gd name="connsiteX6" fmla="*/ 923365 w 923365"/>
                  <a:gd name="connsiteY6" fmla="*/ 1539240 h 1539240"/>
                  <a:gd name="connsiteX0" fmla="*/ 0 w 928961"/>
                  <a:gd name="connsiteY0" fmla="*/ 0 h 1483279"/>
                  <a:gd name="connsiteX1" fmla="*/ 290076 w 928961"/>
                  <a:gd name="connsiteY1" fmla="*/ 594279 h 1483279"/>
                  <a:gd name="connsiteX2" fmla="*/ 559316 w 928961"/>
                  <a:gd name="connsiteY2" fmla="*/ 431719 h 1483279"/>
                  <a:gd name="connsiteX3" fmla="*/ 574133 w 928961"/>
                  <a:gd name="connsiteY3" fmla="*/ 655239 h 1483279"/>
                  <a:gd name="connsiteX4" fmla="*/ 521216 w 928961"/>
                  <a:gd name="connsiteY4" fmla="*/ 797056 h 1483279"/>
                  <a:gd name="connsiteX5" fmla="*/ 828556 w 928961"/>
                  <a:gd name="connsiteY5" fmla="*/ 1259759 h 1483279"/>
                  <a:gd name="connsiteX6" fmla="*/ 928961 w 928961"/>
                  <a:gd name="connsiteY6" fmla="*/ 1483279 h 148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961" h="1483279">
                    <a:moveTo>
                      <a:pt x="0" y="0"/>
                    </a:moveTo>
                    <a:lnTo>
                      <a:pt x="290076" y="594279"/>
                    </a:lnTo>
                    <a:lnTo>
                      <a:pt x="559316" y="431719"/>
                    </a:lnTo>
                    <a:cubicBezTo>
                      <a:pt x="570676" y="507142"/>
                      <a:pt x="580483" y="594350"/>
                      <a:pt x="574133" y="655239"/>
                    </a:cubicBezTo>
                    <a:cubicBezTo>
                      <a:pt x="567783" y="684379"/>
                      <a:pt x="514795" y="767916"/>
                      <a:pt x="521216" y="797056"/>
                    </a:cubicBezTo>
                    <a:lnTo>
                      <a:pt x="828556" y="1259759"/>
                    </a:lnTo>
                    <a:lnTo>
                      <a:pt x="928961" y="1483279"/>
                    </a:ln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4" name="Group 25">
                <a:extLst>
                  <a:ext uri="{FF2B5EF4-FFF2-40B4-BE49-F238E27FC236}">
                    <a16:creationId xmlns:a16="http://schemas.microsoft.com/office/drawing/2014/main" id="{0748CF6F-3565-43B7-9B58-B4F608838E8E}"/>
                  </a:ext>
                </a:extLst>
              </p:cNvPr>
              <p:cNvGrpSpPr/>
              <p:nvPr/>
            </p:nvGrpSpPr>
            <p:grpSpPr>
              <a:xfrm>
                <a:off x="1155079" y="4256683"/>
                <a:ext cx="2833709" cy="1285720"/>
                <a:chOff x="1542196" y="4645010"/>
                <a:chExt cx="2514600" cy="1467080"/>
              </a:xfrm>
            </p:grpSpPr>
            <p:cxnSp>
              <p:nvCxnSpPr>
                <p:cNvPr id="136" name="Straight Arrow Connector 49">
                  <a:extLst>
                    <a:ext uri="{FF2B5EF4-FFF2-40B4-BE49-F238E27FC236}">
                      <a16:creationId xmlns:a16="http://schemas.microsoft.com/office/drawing/2014/main" id="{71D80279-5AC4-40FF-8FC5-C2E1351ECAE9}"/>
                    </a:ext>
                  </a:extLst>
                </p:cNvPr>
                <p:cNvCxnSpPr/>
                <p:nvPr/>
              </p:nvCxnSpPr>
              <p:spPr>
                <a:xfrm flipV="1">
                  <a:off x="23803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7" name="Straight Arrow Connector 50">
                  <a:extLst>
                    <a:ext uri="{FF2B5EF4-FFF2-40B4-BE49-F238E27FC236}">
                      <a16:creationId xmlns:a16="http://schemas.microsoft.com/office/drawing/2014/main" id="{03EAB834-45D5-42DB-BDEB-7489B9860205}"/>
                    </a:ext>
                  </a:extLst>
                </p:cNvPr>
                <p:cNvCxnSpPr/>
                <p:nvPr/>
              </p:nvCxnSpPr>
              <p:spPr>
                <a:xfrm flipV="1">
                  <a:off x="15421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8" name="Straight Arrow Connector 51">
                  <a:extLst>
                    <a:ext uri="{FF2B5EF4-FFF2-40B4-BE49-F238E27FC236}">
                      <a16:creationId xmlns:a16="http://schemas.microsoft.com/office/drawing/2014/main" id="{63C6FA90-892B-4343-B717-447E014B0912}"/>
                    </a:ext>
                  </a:extLst>
                </p:cNvPr>
                <p:cNvCxnSpPr/>
                <p:nvPr/>
              </p:nvCxnSpPr>
              <p:spPr>
                <a:xfrm flipV="1">
                  <a:off x="40567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9" name="Straight Arrow Connector 52">
                  <a:extLst>
                    <a:ext uri="{FF2B5EF4-FFF2-40B4-BE49-F238E27FC236}">
                      <a16:creationId xmlns:a16="http://schemas.microsoft.com/office/drawing/2014/main" id="{DED4C76A-9269-4E50-A84B-06FC6272F24B}"/>
                    </a:ext>
                  </a:extLst>
                </p:cNvPr>
                <p:cNvCxnSpPr/>
                <p:nvPr/>
              </p:nvCxnSpPr>
              <p:spPr>
                <a:xfrm flipV="1">
                  <a:off x="32185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grpSp>
          <p:sp>
            <p:nvSpPr>
              <p:cNvPr id="135" name="Freeform 26">
                <a:extLst>
                  <a:ext uri="{FF2B5EF4-FFF2-40B4-BE49-F238E27FC236}">
                    <a16:creationId xmlns:a16="http://schemas.microsoft.com/office/drawing/2014/main" id="{3D916310-066C-42CB-B52A-92A560A7B5DC}"/>
                  </a:ext>
                </a:extLst>
              </p:cNvPr>
              <p:cNvSpPr/>
              <p:nvPr/>
            </p:nvSpPr>
            <p:spPr>
              <a:xfrm>
                <a:off x="1734288" y="1816138"/>
                <a:ext cx="1120587" cy="929212"/>
              </a:xfrm>
              <a:custGeom>
                <a:avLst/>
                <a:gdLst>
                  <a:gd name="connsiteX0" fmla="*/ 0 w 1244600"/>
                  <a:gd name="connsiteY0" fmla="*/ 930275 h 930275"/>
                  <a:gd name="connsiteX1" fmla="*/ 342900 w 1244600"/>
                  <a:gd name="connsiteY1" fmla="*/ 711200 h 930275"/>
                  <a:gd name="connsiteX2" fmla="*/ 568325 w 1244600"/>
                  <a:gd name="connsiteY2" fmla="*/ 784225 h 930275"/>
                  <a:gd name="connsiteX3" fmla="*/ 825500 w 1244600"/>
                  <a:gd name="connsiteY3" fmla="*/ 695325 h 930275"/>
                  <a:gd name="connsiteX4" fmla="*/ 1155700 w 1244600"/>
                  <a:gd name="connsiteY4" fmla="*/ 682625 h 930275"/>
                  <a:gd name="connsiteX5" fmla="*/ 1244600 w 1244600"/>
                  <a:gd name="connsiteY5" fmla="*/ 644525 h 930275"/>
                  <a:gd name="connsiteX6" fmla="*/ 1219200 w 1244600"/>
                  <a:gd name="connsiteY6" fmla="*/ 517525 h 930275"/>
                  <a:gd name="connsiteX7" fmla="*/ 800100 w 1244600"/>
                  <a:gd name="connsiteY7" fmla="*/ 469900 h 930275"/>
                  <a:gd name="connsiteX8" fmla="*/ 428625 w 1244600"/>
                  <a:gd name="connsiteY8" fmla="*/ 492125 h 930275"/>
                  <a:gd name="connsiteX9" fmla="*/ 295275 w 1244600"/>
                  <a:gd name="connsiteY9" fmla="*/ 377825 h 930275"/>
                  <a:gd name="connsiteX10" fmla="*/ 196850 w 1244600"/>
                  <a:gd name="connsiteY10" fmla="*/ 368300 h 930275"/>
                  <a:gd name="connsiteX11" fmla="*/ 292100 w 1244600"/>
                  <a:gd name="connsiteY11" fmla="*/ 171450 h 930275"/>
                  <a:gd name="connsiteX12" fmla="*/ 692150 w 1244600"/>
                  <a:gd name="connsiteY12" fmla="*/ 114300 h 930275"/>
                  <a:gd name="connsiteX13" fmla="*/ 927100 w 1244600"/>
                  <a:gd name="connsiteY13" fmla="*/ 101600 h 930275"/>
                  <a:gd name="connsiteX14" fmla="*/ 1066800 w 1244600"/>
                  <a:gd name="connsiteY14" fmla="*/ 0 h 930275"/>
                  <a:gd name="connsiteX0" fmla="*/ 0 w 1244600"/>
                  <a:gd name="connsiteY0" fmla="*/ 1104900 h 1104900"/>
                  <a:gd name="connsiteX1" fmla="*/ 342900 w 1244600"/>
                  <a:gd name="connsiteY1" fmla="*/ 885825 h 1104900"/>
                  <a:gd name="connsiteX2" fmla="*/ 568325 w 1244600"/>
                  <a:gd name="connsiteY2" fmla="*/ 958850 h 1104900"/>
                  <a:gd name="connsiteX3" fmla="*/ 825500 w 1244600"/>
                  <a:gd name="connsiteY3" fmla="*/ 869950 h 1104900"/>
                  <a:gd name="connsiteX4" fmla="*/ 1155700 w 1244600"/>
                  <a:gd name="connsiteY4" fmla="*/ 857250 h 1104900"/>
                  <a:gd name="connsiteX5" fmla="*/ 1244600 w 1244600"/>
                  <a:gd name="connsiteY5" fmla="*/ 819150 h 1104900"/>
                  <a:gd name="connsiteX6" fmla="*/ 1219200 w 1244600"/>
                  <a:gd name="connsiteY6" fmla="*/ 692150 h 1104900"/>
                  <a:gd name="connsiteX7" fmla="*/ 800100 w 1244600"/>
                  <a:gd name="connsiteY7" fmla="*/ 644525 h 1104900"/>
                  <a:gd name="connsiteX8" fmla="*/ 428625 w 1244600"/>
                  <a:gd name="connsiteY8" fmla="*/ 666750 h 1104900"/>
                  <a:gd name="connsiteX9" fmla="*/ 295275 w 1244600"/>
                  <a:gd name="connsiteY9" fmla="*/ 552450 h 1104900"/>
                  <a:gd name="connsiteX10" fmla="*/ 196850 w 1244600"/>
                  <a:gd name="connsiteY10" fmla="*/ 542925 h 1104900"/>
                  <a:gd name="connsiteX11" fmla="*/ 292100 w 1244600"/>
                  <a:gd name="connsiteY11" fmla="*/ 346075 h 1104900"/>
                  <a:gd name="connsiteX12" fmla="*/ 692150 w 1244600"/>
                  <a:gd name="connsiteY12" fmla="*/ 288925 h 1104900"/>
                  <a:gd name="connsiteX13" fmla="*/ 927100 w 1244600"/>
                  <a:gd name="connsiteY13" fmla="*/ 276225 h 1104900"/>
                  <a:gd name="connsiteX14" fmla="*/ 1009650 w 1244600"/>
                  <a:gd name="connsiteY14" fmla="*/ 0 h 1104900"/>
                  <a:gd name="connsiteX0" fmla="*/ 0 w 1244600"/>
                  <a:gd name="connsiteY0" fmla="*/ 1104900 h 1104900"/>
                  <a:gd name="connsiteX1" fmla="*/ 342900 w 1244600"/>
                  <a:gd name="connsiteY1" fmla="*/ 885825 h 1104900"/>
                  <a:gd name="connsiteX2" fmla="*/ 568325 w 1244600"/>
                  <a:gd name="connsiteY2" fmla="*/ 958850 h 1104900"/>
                  <a:gd name="connsiteX3" fmla="*/ 825500 w 1244600"/>
                  <a:gd name="connsiteY3" fmla="*/ 869950 h 1104900"/>
                  <a:gd name="connsiteX4" fmla="*/ 1155700 w 1244600"/>
                  <a:gd name="connsiteY4" fmla="*/ 857250 h 1104900"/>
                  <a:gd name="connsiteX5" fmla="*/ 1244600 w 1244600"/>
                  <a:gd name="connsiteY5" fmla="*/ 819150 h 1104900"/>
                  <a:gd name="connsiteX6" fmla="*/ 1219200 w 1244600"/>
                  <a:gd name="connsiteY6" fmla="*/ 692150 h 1104900"/>
                  <a:gd name="connsiteX7" fmla="*/ 800100 w 1244600"/>
                  <a:gd name="connsiteY7" fmla="*/ 644525 h 1104900"/>
                  <a:gd name="connsiteX8" fmla="*/ 428625 w 1244600"/>
                  <a:gd name="connsiteY8" fmla="*/ 666750 h 1104900"/>
                  <a:gd name="connsiteX9" fmla="*/ 295275 w 1244600"/>
                  <a:gd name="connsiteY9" fmla="*/ 552450 h 1104900"/>
                  <a:gd name="connsiteX10" fmla="*/ 196850 w 1244600"/>
                  <a:gd name="connsiteY10" fmla="*/ 542925 h 1104900"/>
                  <a:gd name="connsiteX11" fmla="*/ 292100 w 1244600"/>
                  <a:gd name="connsiteY11" fmla="*/ 346075 h 1104900"/>
                  <a:gd name="connsiteX12" fmla="*/ 692150 w 1244600"/>
                  <a:gd name="connsiteY12" fmla="*/ 288925 h 1104900"/>
                  <a:gd name="connsiteX13" fmla="*/ 927100 w 1244600"/>
                  <a:gd name="connsiteY13" fmla="*/ 276225 h 1104900"/>
                  <a:gd name="connsiteX14" fmla="*/ 1082675 w 1244600"/>
                  <a:gd name="connsiteY14" fmla="*/ 215900 h 1104900"/>
                  <a:gd name="connsiteX15" fmla="*/ 1009650 w 1244600"/>
                  <a:gd name="connsiteY15" fmla="*/ 0 h 1104900"/>
                  <a:gd name="connsiteX0" fmla="*/ 0 w 1244600"/>
                  <a:gd name="connsiteY0" fmla="*/ 1104900 h 1104900"/>
                  <a:gd name="connsiteX1" fmla="*/ 342900 w 1244600"/>
                  <a:gd name="connsiteY1" fmla="*/ 885825 h 1104900"/>
                  <a:gd name="connsiteX2" fmla="*/ 568325 w 1244600"/>
                  <a:gd name="connsiteY2" fmla="*/ 958850 h 1104900"/>
                  <a:gd name="connsiteX3" fmla="*/ 825500 w 1244600"/>
                  <a:gd name="connsiteY3" fmla="*/ 869950 h 1104900"/>
                  <a:gd name="connsiteX4" fmla="*/ 1155700 w 1244600"/>
                  <a:gd name="connsiteY4" fmla="*/ 857250 h 1104900"/>
                  <a:gd name="connsiteX5" fmla="*/ 1244600 w 1244600"/>
                  <a:gd name="connsiteY5" fmla="*/ 819150 h 1104900"/>
                  <a:gd name="connsiteX6" fmla="*/ 1219200 w 1244600"/>
                  <a:gd name="connsiteY6" fmla="*/ 692150 h 1104900"/>
                  <a:gd name="connsiteX7" fmla="*/ 800100 w 1244600"/>
                  <a:gd name="connsiteY7" fmla="*/ 644525 h 1104900"/>
                  <a:gd name="connsiteX8" fmla="*/ 428625 w 1244600"/>
                  <a:gd name="connsiteY8" fmla="*/ 666750 h 1104900"/>
                  <a:gd name="connsiteX9" fmla="*/ 295275 w 1244600"/>
                  <a:gd name="connsiteY9" fmla="*/ 552450 h 1104900"/>
                  <a:gd name="connsiteX10" fmla="*/ 196850 w 1244600"/>
                  <a:gd name="connsiteY10" fmla="*/ 542925 h 1104900"/>
                  <a:gd name="connsiteX11" fmla="*/ 292100 w 1244600"/>
                  <a:gd name="connsiteY11" fmla="*/ 346075 h 1104900"/>
                  <a:gd name="connsiteX12" fmla="*/ 692150 w 1244600"/>
                  <a:gd name="connsiteY12" fmla="*/ 288925 h 1104900"/>
                  <a:gd name="connsiteX13" fmla="*/ 927100 w 1244600"/>
                  <a:gd name="connsiteY13" fmla="*/ 276225 h 1104900"/>
                  <a:gd name="connsiteX14" fmla="*/ 1082675 w 1244600"/>
                  <a:gd name="connsiteY14" fmla="*/ 215900 h 1104900"/>
                  <a:gd name="connsiteX15" fmla="*/ 1009650 w 1244600"/>
                  <a:gd name="connsiteY15" fmla="*/ 0 h 1104900"/>
                  <a:gd name="connsiteX0" fmla="*/ 0 w 1244600"/>
                  <a:gd name="connsiteY0" fmla="*/ 1104900 h 1104900"/>
                  <a:gd name="connsiteX1" fmla="*/ 342900 w 1244600"/>
                  <a:gd name="connsiteY1" fmla="*/ 885825 h 1104900"/>
                  <a:gd name="connsiteX2" fmla="*/ 568325 w 1244600"/>
                  <a:gd name="connsiteY2" fmla="*/ 958850 h 1104900"/>
                  <a:gd name="connsiteX3" fmla="*/ 825500 w 1244600"/>
                  <a:gd name="connsiteY3" fmla="*/ 869950 h 1104900"/>
                  <a:gd name="connsiteX4" fmla="*/ 1155700 w 1244600"/>
                  <a:gd name="connsiteY4" fmla="*/ 857250 h 1104900"/>
                  <a:gd name="connsiteX5" fmla="*/ 1244600 w 1244600"/>
                  <a:gd name="connsiteY5" fmla="*/ 819150 h 1104900"/>
                  <a:gd name="connsiteX6" fmla="*/ 1219200 w 1244600"/>
                  <a:gd name="connsiteY6" fmla="*/ 692150 h 1104900"/>
                  <a:gd name="connsiteX7" fmla="*/ 800100 w 1244600"/>
                  <a:gd name="connsiteY7" fmla="*/ 644525 h 1104900"/>
                  <a:gd name="connsiteX8" fmla="*/ 428625 w 1244600"/>
                  <a:gd name="connsiteY8" fmla="*/ 666750 h 1104900"/>
                  <a:gd name="connsiteX9" fmla="*/ 295275 w 1244600"/>
                  <a:gd name="connsiteY9" fmla="*/ 552450 h 1104900"/>
                  <a:gd name="connsiteX10" fmla="*/ 196850 w 1244600"/>
                  <a:gd name="connsiteY10" fmla="*/ 542925 h 1104900"/>
                  <a:gd name="connsiteX11" fmla="*/ 292100 w 1244600"/>
                  <a:gd name="connsiteY11" fmla="*/ 346075 h 1104900"/>
                  <a:gd name="connsiteX12" fmla="*/ 692150 w 1244600"/>
                  <a:gd name="connsiteY12" fmla="*/ 288925 h 1104900"/>
                  <a:gd name="connsiteX13" fmla="*/ 927100 w 1244600"/>
                  <a:gd name="connsiteY13" fmla="*/ 276225 h 1104900"/>
                  <a:gd name="connsiteX14" fmla="*/ 1082675 w 1244600"/>
                  <a:gd name="connsiteY14" fmla="*/ 215900 h 1104900"/>
                  <a:gd name="connsiteX15" fmla="*/ 1009650 w 1244600"/>
                  <a:gd name="connsiteY15" fmla="*/ 0 h 1104900"/>
                  <a:gd name="connsiteX0" fmla="*/ 0 w 1234440"/>
                  <a:gd name="connsiteY0" fmla="*/ 1059180 h 1059180"/>
                  <a:gd name="connsiteX1" fmla="*/ 332740 w 1234440"/>
                  <a:gd name="connsiteY1" fmla="*/ 885825 h 1059180"/>
                  <a:gd name="connsiteX2" fmla="*/ 558165 w 1234440"/>
                  <a:gd name="connsiteY2" fmla="*/ 958850 h 1059180"/>
                  <a:gd name="connsiteX3" fmla="*/ 815340 w 1234440"/>
                  <a:gd name="connsiteY3" fmla="*/ 869950 h 1059180"/>
                  <a:gd name="connsiteX4" fmla="*/ 1145540 w 1234440"/>
                  <a:gd name="connsiteY4" fmla="*/ 857250 h 1059180"/>
                  <a:gd name="connsiteX5" fmla="*/ 1234440 w 1234440"/>
                  <a:gd name="connsiteY5" fmla="*/ 819150 h 1059180"/>
                  <a:gd name="connsiteX6" fmla="*/ 1209040 w 1234440"/>
                  <a:gd name="connsiteY6" fmla="*/ 692150 h 1059180"/>
                  <a:gd name="connsiteX7" fmla="*/ 789940 w 1234440"/>
                  <a:gd name="connsiteY7" fmla="*/ 644525 h 1059180"/>
                  <a:gd name="connsiteX8" fmla="*/ 418465 w 1234440"/>
                  <a:gd name="connsiteY8" fmla="*/ 666750 h 1059180"/>
                  <a:gd name="connsiteX9" fmla="*/ 285115 w 1234440"/>
                  <a:gd name="connsiteY9" fmla="*/ 552450 h 1059180"/>
                  <a:gd name="connsiteX10" fmla="*/ 186690 w 1234440"/>
                  <a:gd name="connsiteY10" fmla="*/ 542925 h 1059180"/>
                  <a:gd name="connsiteX11" fmla="*/ 281940 w 1234440"/>
                  <a:gd name="connsiteY11" fmla="*/ 346075 h 1059180"/>
                  <a:gd name="connsiteX12" fmla="*/ 681990 w 1234440"/>
                  <a:gd name="connsiteY12" fmla="*/ 288925 h 1059180"/>
                  <a:gd name="connsiteX13" fmla="*/ 916940 w 1234440"/>
                  <a:gd name="connsiteY13" fmla="*/ 276225 h 1059180"/>
                  <a:gd name="connsiteX14" fmla="*/ 1072515 w 1234440"/>
                  <a:gd name="connsiteY14" fmla="*/ 215900 h 1059180"/>
                  <a:gd name="connsiteX15" fmla="*/ 999490 w 1234440"/>
                  <a:gd name="connsiteY15" fmla="*/ 0 h 1059180"/>
                  <a:gd name="connsiteX0" fmla="*/ 0 w 1234440"/>
                  <a:gd name="connsiteY0" fmla="*/ 1023620 h 1023620"/>
                  <a:gd name="connsiteX1" fmla="*/ 332740 w 1234440"/>
                  <a:gd name="connsiteY1" fmla="*/ 850265 h 1023620"/>
                  <a:gd name="connsiteX2" fmla="*/ 558165 w 1234440"/>
                  <a:gd name="connsiteY2" fmla="*/ 923290 h 1023620"/>
                  <a:gd name="connsiteX3" fmla="*/ 815340 w 1234440"/>
                  <a:gd name="connsiteY3" fmla="*/ 834390 h 1023620"/>
                  <a:gd name="connsiteX4" fmla="*/ 1145540 w 1234440"/>
                  <a:gd name="connsiteY4" fmla="*/ 821690 h 1023620"/>
                  <a:gd name="connsiteX5" fmla="*/ 1234440 w 1234440"/>
                  <a:gd name="connsiteY5" fmla="*/ 783590 h 1023620"/>
                  <a:gd name="connsiteX6" fmla="*/ 1209040 w 1234440"/>
                  <a:gd name="connsiteY6" fmla="*/ 656590 h 1023620"/>
                  <a:gd name="connsiteX7" fmla="*/ 789940 w 1234440"/>
                  <a:gd name="connsiteY7" fmla="*/ 608965 h 1023620"/>
                  <a:gd name="connsiteX8" fmla="*/ 418465 w 1234440"/>
                  <a:gd name="connsiteY8" fmla="*/ 631190 h 1023620"/>
                  <a:gd name="connsiteX9" fmla="*/ 285115 w 1234440"/>
                  <a:gd name="connsiteY9" fmla="*/ 516890 h 1023620"/>
                  <a:gd name="connsiteX10" fmla="*/ 186690 w 1234440"/>
                  <a:gd name="connsiteY10" fmla="*/ 507365 h 1023620"/>
                  <a:gd name="connsiteX11" fmla="*/ 281940 w 1234440"/>
                  <a:gd name="connsiteY11" fmla="*/ 310515 h 1023620"/>
                  <a:gd name="connsiteX12" fmla="*/ 681990 w 1234440"/>
                  <a:gd name="connsiteY12" fmla="*/ 253365 h 1023620"/>
                  <a:gd name="connsiteX13" fmla="*/ 916940 w 1234440"/>
                  <a:gd name="connsiteY13" fmla="*/ 240665 h 1023620"/>
                  <a:gd name="connsiteX14" fmla="*/ 1072515 w 1234440"/>
                  <a:gd name="connsiteY14" fmla="*/ 180340 h 1023620"/>
                  <a:gd name="connsiteX15" fmla="*/ 999490 w 1234440"/>
                  <a:gd name="connsiteY15" fmla="*/ 0 h 1023620"/>
                  <a:gd name="connsiteX0" fmla="*/ 0 w 1234440"/>
                  <a:gd name="connsiteY0" fmla="*/ 1023620 h 1023620"/>
                  <a:gd name="connsiteX1" fmla="*/ 332740 w 1234440"/>
                  <a:gd name="connsiteY1" fmla="*/ 850265 h 1023620"/>
                  <a:gd name="connsiteX2" fmla="*/ 558165 w 1234440"/>
                  <a:gd name="connsiteY2" fmla="*/ 923290 h 1023620"/>
                  <a:gd name="connsiteX3" fmla="*/ 815340 w 1234440"/>
                  <a:gd name="connsiteY3" fmla="*/ 834390 h 1023620"/>
                  <a:gd name="connsiteX4" fmla="*/ 1145540 w 1234440"/>
                  <a:gd name="connsiteY4" fmla="*/ 821690 h 1023620"/>
                  <a:gd name="connsiteX5" fmla="*/ 1234440 w 1234440"/>
                  <a:gd name="connsiteY5" fmla="*/ 783590 h 1023620"/>
                  <a:gd name="connsiteX6" fmla="*/ 1209040 w 1234440"/>
                  <a:gd name="connsiteY6" fmla="*/ 656590 h 1023620"/>
                  <a:gd name="connsiteX7" fmla="*/ 789940 w 1234440"/>
                  <a:gd name="connsiteY7" fmla="*/ 608965 h 1023620"/>
                  <a:gd name="connsiteX8" fmla="*/ 418465 w 1234440"/>
                  <a:gd name="connsiteY8" fmla="*/ 631190 h 1023620"/>
                  <a:gd name="connsiteX9" fmla="*/ 285115 w 1234440"/>
                  <a:gd name="connsiteY9" fmla="*/ 516890 h 1023620"/>
                  <a:gd name="connsiteX10" fmla="*/ 186690 w 1234440"/>
                  <a:gd name="connsiteY10" fmla="*/ 507365 h 1023620"/>
                  <a:gd name="connsiteX11" fmla="*/ 281940 w 1234440"/>
                  <a:gd name="connsiteY11" fmla="*/ 310515 h 1023620"/>
                  <a:gd name="connsiteX12" fmla="*/ 681990 w 1234440"/>
                  <a:gd name="connsiteY12" fmla="*/ 253365 h 1023620"/>
                  <a:gd name="connsiteX13" fmla="*/ 916940 w 1234440"/>
                  <a:gd name="connsiteY13" fmla="*/ 240665 h 1023620"/>
                  <a:gd name="connsiteX14" fmla="*/ 1097915 w 1234440"/>
                  <a:gd name="connsiteY14" fmla="*/ 215900 h 1023620"/>
                  <a:gd name="connsiteX15" fmla="*/ 999490 w 1234440"/>
                  <a:gd name="connsiteY15" fmla="*/ 0 h 1023620"/>
                  <a:gd name="connsiteX0" fmla="*/ 0 w 1234440"/>
                  <a:gd name="connsiteY0" fmla="*/ 1023620 h 1023620"/>
                  <a:gd name="connsiteX1" fmla="*/ 332740 w 1234440"/>
                  <a:gd name="connsiteY1" fmla="*/ 850265 h 1023620"/>
                  <a:gd name="connsiteX2" fmla="*/ 558165 w 1234440"/>
                  <a:gd name="connsiteY2" fmla="*/ 923290 h 1023620"/>
                  <a:gd name="connsiteX3" fmla="*/ 815340 w 1234440"/>
                  <a:gd name="connsiteY3" fmla="*/ 834390 h 1023620"/>
                  <a:gd name="connsiteX4" fmla="*/ 1145540 w 1234440"/>
                  <a:gd name="connsiteY4" fmla="*/ 821690 h 1023620"/>
                  <a:gd name="connsiteX5" fmla="*/ 1234440 w 1234440"/>
                  <a:gd name="connsiteY5" fmla="*/ 783590 h 1023620"/>
                  <a:gd name="connsiteX6" fmla="*/ 1209040 w 1234440"/>
                  <a:gd name="connsiteY6" fmla="*/ 656590 h 1023620"/>
                  <a:gd name="connsiteX7" fmla="*/ 789940 w 1234440"/>
                  <a:gd name="connsiteY7" fmla="*/ 608965 h 1023620"/>
                  <a:gd name="connsiteX8" fmla="*/ 418465 w 1234440"/>
                  <a:gd name="connsiteY8" fmla="*/ 631190 h 1023620"/>
                  <a:gd name="connsiteX9" fmla="*/ 285115 w 1234440"/>
                  <a:gd name="connsiteY9" fmla="*/ 516890 h 1023620"/>
                  <a:gd name="connsiteX10" fmla="*/ 186690 w 1234440"/>
                  <a:gd name="connsiteY10" fmla="*/ 507365 h 1023620"/>
                  <a:gd name="connsiteX11" fmla="*/ 281940 w 1234440"/>
                  <a:gd name="connsiteY11" fmla="*/ 310515 h 1023620"/>
                  <a:gd name="connsiteX12" fmla="*/ 681990 w 1234440"/>
                  <a:gd name="connsiteY12" fmla="*/ 253365 h 1023620"/>
                  <a:gd name="connsiteX13" fmla="*/ 1097915 w 1234440"/>
                  <a:gd name="connsiteY13" fmla="*/ 215900 h 1023620"/>
                  <a:gd name="connsiteX14" fmla="*/ 999490 w 1234440"/>
                  <a:gd name="connsiteY14" fmla="*/ 0 h 1023620"/>
                  <a:gd name="connsiteX0" fmla="*/ 0 w 1234440"/>
                  <a:gd name="connsiteY0" fmla="*/ 1023620 h 1023620"/>
                  <a:gd name="connsiteX1" fmla="*/ 332740 w 1234440"/>
                  <a:gd name="connsiteY1" fmla="*/ 850265 h 1023620"/>
                  <a:gd name="connsiteX2" fmla="*/ 558165 w 1234440"/>
                  <a:gd name="connsiteY2" fmla="*/ 923290 h 1023620"/>
                  <a:gd name="connsiteX3" fmla="*/ 815340 w 1234440"/>
                  <a:gd name="connsiteY3" fmla="*/ 834390 h 1023620"/>
                  <a:gd name="connsiteX4" fmla="*/ 1145540 w 1234440"/>
                  <a:gd name="connsiteY4" fmla="*/ 821690 h 1023620"/>
                  <a:gd name="connsiteX5" fmla="*/ 1234440 w 1234440"/>
                  <a:gd name="connsiteY5" fmla="*/ 783590 h 1023620"/>
                  <a:gd name="connsiteX6" fmla="*/ 1209040 w 1234440"/>
                  <a:gd name="connsiteY6" fmla="*/ 656590 h 1023620"/>
                  <a:gd name="connsiteX7" fmla="*/ 789940 w 1234440"/>
                  <a:gd name="connsiteY7" fmla="*/ 608965 h 1023620"/>
                  <a:gd name="connsiteX8" fmla="*/ 418465 w 1234440"/>
                  <a:gd name="connsiteY8" fmla="*/ 631190 h 1023620"/>
                  <a:gd name="connsiteX9" fmla="*/ 285115 w 1234440"/>
                  <a:gd name="connsiteY9" fmla="*/ 516890 h 1023620"/>
                  <a:gd name="connsiteX10" fmla="*/ 186690 w 1234440"/>
                  <a:gd name="connsiteY10" fmla="*/ 507365 h 1023620"/>
                  <a:gd name="connsiteX11" fmla="*/ 281940 w 1234440"/>
                  <a:gd name="connsiteY11" fmla="*/ 310515 h 1023620"/>
                  <a:gd name="connsiteX12" fmla="*/ 687070 w 1234440"/>
                  <a:gd name="connsiteY12" fmla="*/ 339725 h 1023620"/>
                  <a:gd name="connsiteX13" fmla="*/ 1097915 w 1234440"/>
                  <a:gd name="connsiteY13" fmla="*/ 215900 h 1023620"/>
                  <a:gd name="connsiteX14" fmla="*/ 999490 w 1234440"/>
                  <a:gd name="connsiteY14" fmla="*/ 0 h 102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4440" h="1023620">
                    <a:moveTo>
                      <a:pt x="0" y="1023620"/>
                    </a:moveTo>
                    <a:lnTo>
                      <a:pt x="332740" y="850265"/>
                    </a:lnTo>
                    <a:lnTo>
                      <a:pt x="558165" y="923290"/>
                    </a:lnTo>
                    <a:lnTo>
                      <a:pt x="815340" y="834390"/>
                    </a:lnTo>
                    <a:lnTo>
                      <a:pt x="1145540" y="821690"/>
                    </a:lnTo>
                    <a:lnTo>
                      <a:pt x="1234440" y="783590"/>
                    </a:lnTo>
                    <a:lnTo>
                      <a:pt x="1209040" y="656590"/>
                    </a:lnTo>
                    <a:lnTo>
                      <a:pt x="789940" y="608965"/>
                    </a:lnTo>
                    <a:lnTo>
                      <a:pt x="418465" y="631190"/>
                    </a:lnTo>
                    <a:lnTo>
                      <a:pt x="285115" y="516890"/>
                    </a:lnTo>
                    <a:lnTo>
                      <a:pt x="186690" y="507365"/>
                    </a:lnTo>
                    <a:lnTo>
                      <a:pt x="281940" y="310515"/>
                    </a:lnTo>
                    <a:lnTo>
                      <a:pt x="687070" y="339725"/>
                    </a:lnTo>
                    <a:lnTo>
                      <a:pt x="1097915" y="215900"/>
                    </a:lnTo>
                    <a:lnTo>
                      <a:pt x="99949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4" name="Picture 43">
              <a:extLst>
                <a:ext uri="{FF2B5EF4-FFF2-40B4-BE49-F238E27FC236}">
                  <a16:creationId xmlns:a16="http://schemas.microsoft.com/office/drawing/2014/main" id="{332D02C5-ACB3-4126-A667-2A56DB50CB22}"/>
                </a:ext>
              </a:extLst>
            </p:cNvPr>
            <p:cNvPicPr>
              <a:picLocks noChangeAspect="1"/>
            </p:cNvPicPr>
            <p:nvPr userDrawn="1"/>
          </p:nvPicPr>
          <p:blipFill>
            <a:blip r:embed="rId6">
              <a:duotone>
                <a:schemeClr val="accent1">
                  <a:shade val="45000"/>
                  <a:satMod val="135000"/>
                </a:schemeClr>
                <a:prstClr val="white"/>
              </a:duotone>
            </a:blip>
            <a:srcRect l="28301"/>
            <a:stretch>
              <a:fillRect/>
            </a:stretch>
          </p:blipFill>
          <p:spPr>
            <a:xfrm rot="20469780">
              <a:off x="3598290" y="3109595"/>
              <a:ext cx="359087" cy="71756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nvGrpSpPr>
            <p:cNvPr id="115" name="Group 28">
              <a:extLst>
                <a:ext uri="{FF2B5EF4-FFF2-40B4-BE49-F238E27FC236}">
                  <a16:creationId xmlns:a16="http://schemas.microsoft.com/office/drawing/2014/main" id="{484131E5-36D6-48C8-B32D-3CF74F9B809F}"/>
                </a:ext>
              </a:extLst>
            </p:cNvPr>
            <p:cNvGrpSpPr/>
            <p:nvPr userDrawn="1"/>
          </p:nvGrpSpPr>
          <p:grpSpPr>
            <a:xfrm>
              <a:off x="2641594" y="1770890"/>
              <a:ext cx="614629" cy="1321737"/>
              <a:chOff x="2924175" y="1957388"/>
              <a:chExt cx="677076" cy="1456025"/>
            </a:xfrm>
          </p:grpSpPr>
          <p:pic>
            <p:nvPicPr>
              <p:cNvPr id="117" name="Picture 17">
                <a:extLst>
                  <a:ext uri="{FF2B5EF4-FFF2-40B4-BE49-F238E27FC236}">
                    <a16:creationId xmlns:a16="http://schemas.microsoft.com/office/drawing/2014/main" id="{1F61A064-E499-4E01-9ED0-0BD436A99C64}"/>
                  </a:ext>
                </a:extLst>
              </p:cNvPr>
              <p:cNvPicPr>
                <a:picLocks noChangeAspect="1"/>
              </p:cNvPicPr>
              <p:nvPr/>
            </p:nvPicPr>
            <p:blipFill>
              <a:blip r:embed="rId7">
                <a:duotone>
                  <a:schemeClr val="accent1">
                    <a:shade val="45000"/>
                    <a:satMod val="135000"/>
                  </a:schemeClr>
                  <a:prstClr val="white"/>
                </a:duotone>
              </a:blip>
              <a:stretch>
                <a:fillRect/>
              </a:stretch>
            </p:blipFill>
            <p:spPr>
              <a:xfrm>
                <a:off x="2927736" y="1965514"/>
                <a:ext cx="673515" cy="1447899"/>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sp>
            <p:nvSpPr>
              <p:cNvPr id="118" name="Freeform 27">
                <a:extLst>
                  <a:ext uri="{FF2B5EF4-FFF2-40B4-BE49-F238E27FC236}">
                    <a16:creationId xmlns:a16="http://schemas.microsoft.com/office/drawing/2014/main" id="{7F48EED2-F16B-4304-820A-61F7980C4B72}"/>
                  </a:ext>
                </a:extLst>
              </p:cNvPr>
              <p:cNvSpPr/>
              <p:nvPr/>
            </p:nvSpPr>
            <p:spPr>
              <a:xfrm>
                <a:off x="2924175" y="1957388"/>
                <a:ext cx="260350" cy="412750"/>
              </a:xfrm>
              <a:custGeom>
                <a:avLst/>
                <a:gdLst>
                  <a:gd name="connsiteX0" fmla="*/ 260350 w 260350"/>
                  <a:gd name="connsiteY0" fmla="*/ 412750 h 412750"/>
                  <a:gd name="connsiteX1" fmla="*/ 0 w 260350"/>
                  <a:gd name="connsiteY1" fmla="*/ 0 h 412750"/>
                </a:gdLst>
                <a:ahLst/>
                <a:cxnLst>
                  <a:cxn ang="0">
                    <a:pos x="connsiteX0" y="connsiteY0"/>
                  </a:cxn>
                  <a:cxn ang="0">
                    <a:pos x="connsiteX1" y="connsiteY1"/>
                  </a:cxn>
                </a:cxnLst>
                <a:rect l="l" t="t" r="r" b="b"/>
                <a:pathLst>
                  <a:path w="260350" h="412750">
                    <a:moveTo>
                      <a:pt x="260350" y="412750"/>
                    </a:moveTo>
                    <a:lnTo>
                      <a:pt x="0" y="0"/>
                    </a:lnTo>
                  </a:path>
                </a:pathLst>
              </a:custGeom>
              <a:noFill/>
              <a:ln w="6350" cap="rnd" cmpd="sng" algn="ctr">
                <a:solidFill>
                  <a:srgbClr val="8B8B8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6" name="Picture 18">
              <a:extLst>
                <a:ext uri="{FF2B5EF4-FFF2-40B4-BE49-F238E27FC236}">
                  <a16:creationId xmlns:a16="http://schemas.microsoft.com/office/drawing/2014/main" id="{D2359B3B-90C2-439D-9712-E3DD7665B309}"/>
                </a:ext>
              </a:extLst>
            </p:cNvPr>
            <p:cNvPicPr>
              <a:picLocks noChangeAspect="1"/>
            </p:cNvPicPr>
            <p:nvPr userDrawn="1"/>
          </p:nvPicPr>
          <p:blipFill>
            <a:blip r:embed="rId8">
              <a:duotone>
                <a:schemeClr val="accent1">
                  <a:shade val="45000"/>
                  <a:satMod val="135000"/>
                </a:schemeClr>
                <a:prstClr val="white"/>
              </a:duotone>
            </a:blip>
            <a:stretch>
              <a:fillRect/>
            </a:stretch>
          </p:blipFill>
          <p:spPr>
            <a:xfrm>
              <a:off x="4789934" y="4555346"/>
              <a:ext cx="369683" cy="49670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spTree>
    <p:extLst>
      <p:ext uri="{BB962C8B-B14F-4D97-AF65-F5344CB8AC3E}">
        <p14:creationId xmlns:p14="http://schemas.microsoft.com/office/powerpoint/2010/main" val="16322207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Arc 107">
            <a:extLst>
              <a:ext uri="{FF2B5EF4-FFF2-40B4-BE49-F238E27FC236}">
                <a16:creationId xmlns:a16="http://schemas.microsoft.com/office/drawing/2014/main" id="{3A682275-3F68-424A-9F84-078FCEA38544}"/>
              </a:ext>
            </a:extLst>
          </p:cNvPr>
          <p:cNvSpPr/>
          <p:nvPr userDrawn="1"/>
        </p:nvSpPr>
        <p:spPr>
          <a:xfrm flipH="1">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sp>
        <p:nvSpPr>
          <p:cNvPr id="120" name="Oval 174">
            <a:extLst>
              <a:ext uri="{FF2B5EF4-FFF2-40B4-BE49-F238E27FC236}">
                <a16:creationId xmlns:a16="http://schemas.microsoft.com/office/drawing/2014/main" id="{FF716A25-AFEC-40E8-9E87-BE22A9C3F7EE}"/>
              </a:ext>
            </a:extLst>
          </p:cNvPr>
          <p:cNvSpPr/>
          <p:nvPr userDrawn="1"/>
        </p:nvSpPr>
        <p:spPr>
          <a:xfrm>
            <a:off x="4311650" y="1886233"/>
            <a:ext cx="3568700" cy="3568700"/>
          </a:xfrm>
          <a:prstGeom prst="ellipse">
            <a:avLst/>
          </a:prstGeom>
          <a:noFill/>
          <a:ln w="28575" cap="rnd" cmpd="sng" algn="ctr">
            <a:solidFill>
              <a:schemeClr val="bg1">
                <a:lumMod val="50000"/>
                <a:alpha val="10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21" name="Oval 9">
            <a:extLst>
              <a:ext uri="{FF2B5EF4-FFF2-40B4-BE49-F238E27FC236}">
                <a16:creationId xmlns:a16="http://schemas.microsoft.com/office/drawing/2014/main" id="{B1F23B13-1848-4506-9D3B-18C6FBDA2956}"/>
              </a:ext>
            </a:extLst>
          </p:cNvPr>
          <p:cNvSpPr/>
          <p:nvPr userDrawn="1"/>
        </p:nvSpPr>
        <p:spPr>
          <a:xfrm>
            <a:off x="4679950" y="2254533"/>
            <a:ext cx="2832100" cy="2832100"/>
          </a:xfrm>
          <a:prstGeom prst="ellipse">
            <a:avLst/>
          </a:prstGeom>
          <a:solidFill>
            <a:schemeClr val="accent1"/>
          </a:solidFill>
          <a:ln w="9525" cap="rnd" cmpd="sng" algn="ctr">
            <a:solidFill>
              <a:schemeClr val="bg1">
                <a:lumMod val="50000"/>
                <a:alpha val="3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22" name="Arc 1">
            <a:extLst>
              <a:ext uri="{FF2B5EF4-FFF2-40B4-BE49-F238E27FC236}">
                <a16:creationId xmlns:a16="http://schemas.microsoft.com/office/drawing/2014/main" id="{F5ACCB6F-5F0C-4274-8361-26E3223C7E8C}"/>
              </a:ext>
            </a:extLst>
          </p:cNvPr>
          <p:cNvSpPr/>
          <p:nvPr userDrawn="1"/>
        </p:nvSpPr>
        <p:spPr>
          <a:xfrm>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pic>
        <p:nvPicPr>
          <p:cNvPr id="124" name="图片 123">
            <a:extLst>
              <a:ext uri="{FF2B5EF4-FFF2-40B4-BE49-F238E27FC236}">
                <a16:creationId xmlns:a16="http://schemas.microsoft.com/office/drawing/2014/main" id="{935B0008-0ACD-4949-8791-27196AAD09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8499" y="1860740"/>
            <a:ext cx="1755002" cy="3619686"/>
          </a:xfrm>
          <a:prstGeom prst="rect">
            <a:avLst/>
          </a:prstGeom>
          <a:effectLst>
            <a:outerShdw blurRad="50800" dist="38100" dir="2700000" algn="tl" rotWithShape="0">
              <a:prstClr val="black">
                <a:alpha val="40000"/>
              </a:prstClr>
            </a:outerShdw>
          </a:effectLst>
        </p:spPr>
      </p:pic>
      <p:sp>
        <p:nvSpPr>
          <p:cNvPr id="7" name="图片占位符 6">
            <a:extLst>
              <a:ext uri="{FF2B5EF4-FFF2-40B4-BE49-F238E27FC236}">
                <a16:creationId xmlns:a16="http://schemas.microsoft.com/office/drawing/2014/main" id="{9FEB4625-D543-4A2E-9EEB-55BC19BC279C}"/>
              </a:ext>
            </a:extLst>
          </p:cNvPr>
          <p:cNvSpPr>
            <a:spLocks noGrp="1"/>
          </p:cNvSpPr>
          <p:nvPr>
            <p:ph type="pic" sz="quarter" idx="10"/>
          </p:nvPr>
        </p:nvSpPr>
        <p:spPr>
          <a:xfrm>
            <a:off x="5349419" y="2188833"/>
            <a:ext cx="1490662" cy="2960121"/>
          </a:xfrm>
          <a:solidFill>
            <a:schemeClr val="accent1">
              <a:lumMod val="20000"/>
              <a:lumOff val="80000"/>
            </a:schemeClr>
          </a:solidFill>
        </p:spPr>
        <p:txBody>
          <a:bodyPr/>
          <a:lstStyle/>
          <a:p>
            <a:endParaRPr lang="en-US" dirty="0"/>
          </a:p>
        </p:txBody>
      </p:sp>
    </p:spTree>
    <p:extLst>
      <p:ext uri="{BB962C8B-B14F-4D97-AF65-F5344CB8AC3E}">
        <p14:creationId xmlns:p14="http://schemas.microsoft.com/office/powerpoint/2010/main" val="23403896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组合 111">
            <a:extLst>
              <a:ext uri="{FF2B5EF4-FFF2-40B4-BE49-F238E27FC236}">
                <a16:creationId xmlns:a16="http://schemas.microsoft.com/office/drawing/2014/main" id="{A4285C90-BF3D-4320-B418-920AAA84C544}"/>
              </a:ext>
            </a:extLst>
          </p:cNvPr>
          <p:cNvGrpSpPr/>
          <p:nvPr userDrawn="1"/>
        </p:nvGrpSpPr>
        <p:grpSpPr>
          <a:xfrm>
            <a:off x="6965018" y="1196975"/>
            <a:ext cx="4747557" cy="4666145"/>
            <a:chOff x="6965018" y="1196975"/>
            <a:chExt cx="4747557" cy="4666145"/>
          </a:xfrm>
        </p:grpSpPr>
        <p:sp>
          <p:nvSpPr>
            <p:cNvPr id="113" name="Oval 9">
              <a:extLst>
                <a:ext uri="{FF2B5EF4-FFF2-40B4-BE49-F238E27FC236}">
                  <a16:creationId xmlns:a16="http://schemas.microsoft.com/office/drawing/2014/main" id="{FC3E0345-7740-4D1B-83ED-387771735BDA}"/>
                </a:ext>
              </a:extLst>
            </p:cNvPr>
            <p:cNvSpPr/>
            <p:nvPr/>
          </p:nvSpPr>
          <p:spPr>
            <a:xfrm>
              <a:off x="7295821" y="1196975"/>
              <a:ext cx="4416754" cy="4416754"/>
            </a:xfrm>
            <a:prstGeom prst="ellipse">
              <a:avLst/>
            </a:prstGeom>
            <a:solidFill>
              <a:schemeClr val="accent1">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14" name="Oval 9">
              <a:extLst>
                <a:ext uri="{FF2B5EF4-FFF2-40B4-BE49-F238E27FC236}">
                  <a16:creationId xmlns:a16="http://schemas.microsoft.com/office/drawing/2014/main" id="{7E2210BA-4C6F-4C87-862C-75328466F5A3}"/>
                </a:ext>
              </a:extLst>
            </p:cNvPr>
            <p:cNvSpPr/>
            <p:nvPr/>
          </p:nvSpPr>
          <p:spPr>
            <a:xfrm>
              <a:off x="6965018" y="1446366"/>
              <a:ext cx="4416754" cy="4416754"/>
            </a:xfrm>
            <a:prstGeom prst="ellipse">
              <a:avLst/>
            </a:prstGeom>
            <a:solidFill>
              <a:schemeClr val="accent1">
                <a:lumMod val="20000"/>
                <a:lumOff val="8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15" name="Oval 9">
              <a:extLst>
                <a:ext uri="{FF2B5EF4-FFF2-40B4-BE49-F238E27FC236}">
                  <a16:creationId xmlns:a16="http://schemas.microsoft.com/office/drawing/2014/main" id="{A25B7089-0098-4756-9A00-430BFC8DBDFD}"/>
                </a:ext>
              </a:extLst>
            </p:cNvPr>
            <p:cNvSpPr/>
            <p:nvPr/>
          </p:nvSpPr>
          <p:spPr>
            <a:xfrm>
              <a:off x="7127276" y="1347446"/>
              <a:ext cx="4416754" cy="4416754"/>
            </a:xfrm>
            <a:prstGeom prst="ellipse">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pic>
        <p:nvPicPr>
          <p:cNvPr id="117" name="Picture 3">
            <a:extLst>
              <a:ext uri="{FF2B5EF4-FFF2-40B4-BE49-F238E27FC236}">
                <a16:creationId xmlns:a16="http://schemas.microsoft.com/office/drawing/2014/main" id="{344FF78F-2733-4960-9544-15ECD3BA26E3}"/>
              </a:ext>
            </a:extLst>
          </p:cNvPr>
          <p:cNvPicPr>
            <a:picLocks noChangeAspect="1"/>
          </p:cNvPicPr>
          <p:nvPr/>
        </p:nvPicPr>
        <p:blipFill rotWithShape="1">
          <a:blip r:embed="rId3">
            <a:extLst>
              <a:ext uri="{28A0092B-C50C-407E-A947-70E740481C1C}">
                <a14:useLocalDpi xmlns:a14="http://schemas.microsoft.com/office/drawing/2010/main" val="0"/>
              </a:ext>
            </a:extLst>
          </a:blip>
          <a:srcRect l="20107" t="7071" b="11482"/>
          <a:stretch/>
        </p:blipFill>
        <p:spPr>
          <a:xfrm>
            <a:off x="7666730" y="1574157"/>
            <a:ext cx="4717262" cy="6063864"/>
          </a:xfrm>
          <a:prstGeom prst="rect">
            <a:avLst/>
          </a:prstGeom>
          <a:effectLst>
            <a:outerShdw blurRad="50800" dist="38100" dir="2700000" algn="tl" rotWithShape="0">
              <a:prstClr val="black">
                <a:alpha val="40000"/>
              </a:prstClr>
            </a:outerShdw>
          </a:effectLst>
        </p:spPr>
      </p:pic>
      <p:pic>
        <p:nvPicPr>
          <p:cNvPr id="119" name="图片 118">
            <a:extLst>
              <a:ext uri="{FF2B5EF4-FFF2-40B4-BE49-F238E27FC236}">
                <a16:creationId xmlns:a16="http://schemas.microsoft.com/office/drawing/2014/main" id="{E136F298-3B01-49DF-98E8-BECC159CA1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00595" y="1548224"/>
            <a:ext cx="2154575" cy="4443804"/>
          </a:xfrm>
          <a:prstGeom prst="rect">
            <a:avLst/>
          </a:prstGeom>
        </p:spPr>
      </p:pic>
      <p:sp>
        <p:nvSpPr>
          <p:cNvPr id="7" name="图片占位符 6">
            <a:extLst>
              <a:ext uri="{FF2B5EF4-FFF2-40B4-BE49-F238E27FC236}">
                <a16:creationId xmlns:a16="http://schemas.microsoft.com/office/drawing/2014/main" id="{E214E363-B5DD-4285-BFD7-71105DAD49B2}"/>
              </a:ext>
            </a:extLst>
          </p:cNvPr>
          <p:cNvSpPr>
            <a:spLocks noGrp="1"/>
          </p:cNvSpPr>
          <p:nvPr>
            <p:ph type="pic" sz="quarter" idx="10"/>
          </p:nvPr>
        </p:nvSpPr>
        <p:spPr>
          <a:xfrm>
            <a:off x="8261323" y="1951016"/>
            <a:ext cx="1830051" cy="3634071"/>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35689417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ísļïḑé">
            <a:extLst>
              <a:ext uri="{FF2B5EF4-FFF2-40B4-BE49-F238E27FC236}">
                <a16:creationId xmlns:a16="http://schemas.microsoft.com/office/drawing/2014/main" id="{8513E4AF-CB38-4094-A67D-4995B4FBDAE2}"/>
              </a:ext>
            </a:extLst>
          </p:cNvPr>
          <p:cNvSpPr/>
          <p:nvPr userDrawn="1"/>
        </p:nvSpPr>
        <p:spPr bwMode="auto">
          <a:xfrm>
            <a:off x="1" y="0"/>
            <a:ext cx="5239656" cy="6110514"/>
          </a:xfrm>
          <a:custGeom>
            <a:avLst/>
            <a:gdLst>
              <a:gd name="connsiteX0" fmla="*/ 0 w 5239656"/>
              <a:gd name="connsiteY0" fmla="*/ 0 h 6110514"/>
              <a:gd name="connsiteX1" fmla="*/ 4971607 w 5239656"/>
              <a:gd name="connsiteY1" fmla="*/ 0 h 6110514"/>
              <a:gd name="connsiteX2" fmla="*/ 5018447 w 5239656"/>
              <a:gd name="connsiteY2" fmla="*/ 120096 h 6110514"/>
              <a:gd name="connsiteX3" fmla="*/ 5239656 w 5239656"/>
              <a:gd name="connsiteY3" fmla="*/ 1493157 h 6110514"/>
              <a:gd name="connsiteX4" fmla="*/ 319313 w 5239656"/>
              <a:gd name="connsiteY4" fmla="*/ 6110514 h 6110514"/>
              <a:gd name="connsiteX5" fmla="*/ 66113 w 5239656"/>
              <a:gd name="connsiteY5" fmla="*/ 6104506 h 6110514"/>
              <a:gd name="connsiteX6" fmla="*/ 0 w 5239656"/>
              <a:gd name="connsiteY6" fmla="*/ 6099788 h 611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9656" h="6110514">
                <a:moveTo>
                  <a:pt x="0" y="0"/>
                </a:moveTo>
                <a:lnTo>
                  <a:pt x="4971607" y="0"/>
                </a:lnTo>
                <a:lnTo>
                  <a:pt x="5018447" y="120096"/>
                </a:lnTo>
                <a:cubicBezTo>
                  <a:pt x="5162210" y="553846"/>
                  <a:pt x="5239656" y="1015014"/>
                  <a:pt x="5239656" y="1493157"/>
                </a:cubicBezTo>
                <a:cubicBezTo>
                  <a:pt x="5239656" y="4043253"/>
                  <a:pt x="3036743" y="6110514"/>
                  <a:pt x="319313" y="6110514"/>
                </a:cubicBezTo>
                <a:cubicBezTo>
                  <a:pt x="234394" y="6110514"/>
                  <a:pt x="149977" y="6108495"/>
                  <a:pt x="66113" y="6104506"/>
                </a:cubicBezTo>
                <a:lnTo>
                  <a:pt x="0" y="6099788"/>
                </a:lnTo>
                <a:close/>
              </a:path>
            </a:pathLst>
          </a:cu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cs typeface="+mn-ea"/>
              <a:sym typeface="+mn-lt"/>
            </a:endParaRPr>
          </a:p>
        </p:txBody>
      </p:sp>
      <p:grpSp>
        <p:nvGrpSpPr>
          <p:cNvPr id="114" name="íSḷíďê">
            <a:extLst>
              <a:ext uri="{FF2B5EF4-FFF2-40B4-BE49-F238E27FC236}">
                <a16:creationId xmlns:a16="http://schemas.microsoft.com/office/drawing/2014/main" id="{7B6CB595-7A06-40B9-94DC-8A4597F3FB8E}"/>
              </a:ext>
            </a:extLst>
          </p:cNvPr>
          <p:cNvGrpSpPr/>
          <p:nvPr/>
        </p:nvGrpSpPr>
        <p:grpSpPr>
          <a:xfrm>
            <a:off x="685801" y="1447800"/>
            <a:ext cx="5445422" cy="4573492"/>
            <a:chOff x="1127448" y="1664803"/>
            <a:chExt cx="4844146" cy="4068453"/>
          </a:xfrm>
        </p:grpSpPr>
        <p:sp>
          <p:nvSpPr>
            <p:cNvPr id="116" name="íṩ1îďe">
              <a:extLst>
                <a:ext uri="{FF2B5EF4-FFF2-40B4-BE49-F238E27FC236}">
                  <a16:creationId xmlns:a16="http://schemas.microsoft.com/office/drawing/2014/main" id="{DDE917DA-23BA-4F92-9096-C19E60EF44DB}"/>
                </a:ext>
              </a:extLst>
            </p:cNvPr>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none" anchor="ctr"/>
            <a:lstStyle/>
            <a:p>
              <a:endParaRPr lang="en-US">
                <a:cs typeface="+mn-ea"/>
                <a:sym typeface="+mn-lt"/>
              </a:endParaRPr>
            </a:p>
          </p:txBody>
        </p:sp>
        <p:sp>
          <p:nvSpPr>
            <p:cNvPr id="117" name="ïšļíḑè">
              <a:extLst>
                <a:ext uri="{FF2B5EF4-FFF2-40B4-BE49-F238E27FC236}">
                  <a16:creationId xmlns:a16="http://schemas.microsoft.com/office/drawing/2014/main" id="{9304D569-0AEF-4C1B-8B60-D4BD53AEBA7B}"/>
                </a:ext>
              </a:extLst>
            </p:cNvPr>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p:spPr>
          <p:txBody>
            <a:bodyPr wrap="none" anchor="ctr"/>
            <a:lstStyle/>
            <a:p>
              <a:endParaRPr lang="en-US">
                <a:cs typeface="+mn-ea"/>
                <a:sym typeface="+mn-lt"/>
              </a:endParaRPr>
            </a:p>
          </p:txBody>
        </p:sp>
        <p:sp>
          <p:nvSpPr>
            <p:cNvPr id="118" name="iŝ1ïḑè">
              <a:extLst>
                <a:ext uri="{FF2B5EF4-FFF2-40B4-BE49-F238E27FC236}">
                  <a16:creationId xmlns:a16="http://schemas.microsoft.com/office/drawing/2014/main" id="{90E41354-93F4-4230-AAE8-3E41ED5C631A}"/>
                </a:ext>
              </a:extLst>
            </p:cNvPr>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none" anchor="ctr"/>
            <a:lstStyle/>
            <a:p>
              <a:endParaRPr lang="en-US">
                <a:cs typeface="+mn-ea"/>
                <a:sym typeface="+mn-lt"/>
              </a:endParaRPr>
            </a:p>
          </p:txBody>
        </p:sp>
        <p:sp>
          <p:nvSpPr>
            <p:cNvPr id="119" name="íŝ1ïḑe">
              <a:extLst>
                <a:ext uri="{FF2B5EF4-FFF2-40B4-BE49-F238E27FC236}">
                  <a16:creationId xmlns:a16="http://schemas.microsoft.com/office/drawing/2014/main" id="{8535B127-8AC1-4318-9705-A11F3F9987D6}"/>
                </a:ext>
              </a:extLst>
            </p:cNvPr>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none" anchor="ctr"/>
            <a:lstStyle/>
            <a:p>
              <a:endParaRPr lang="en-US">
                <a:cs typeface="+mn-ea"/>
                <a:sym typeface="+mn-lt"/>
              </a:endParaRPr>
            </a:p>
          </p:txBody>
        </p:sp>
        <p:sp>
          <p:nvSpPr>
            <p:cNvPr id="120" name="ï$ļíḍe">
              <a:extLst>
                <a:ext uri="{FF2B5EF4-FFF2-40B4-BE49-F238E27FC236}">
                  <a16:creationId xmlns:a16="http://schemas.microsoft.com/office/drawing/2014/main" id="{91687AC5-2878-4E90-A063-D44E1528F1D5}"/>
                </a:ext>
              </a:extLst>
            </p:cNvPr>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none" anchor="ctr"/>
            <a:lstStyle/>
            <a:p>
              <a:endParaRPr lang="en-US">
                <a:cs typeface="+mn-ea"/>
                <a:sym typeface="+mn-lt"/>
              </a:endParaRPr>
            </a:p>
          </p:txBody>
        </p:sp>
        <p:sp>
          <p:nvSpPr>
            <p:cNvPr id="121" name="îŝļïḓê">
              <a:extLst>
                <a:ext uri="{FF2B5EF4-FFF2-40B4-BE49-F238E27FC236}">
                  <a16:creationId xmlns:a16="http://schemas.microsoft.com/office/drawing/2014/main" id="{26BFE5A6-F176-4D37-ACAF-0F1D3D2B1B91}"/>
                </a:ext>
              </a:extLst>
            </p:cNvPr>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pattFill prst="pct5">
              <a:fgClr>
                <a:srgbClr val="E4E6EA"/>
              </a:fgClr>
              <a:bgClr>
                <a:srgbClr val="ADB5BF"/>
              </a:bgClr>
            </a:patt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chemeClr val="lt1"/>
                </a:solidFill>
                <a:cs typeface="+mn-ea"/>
                <a:sym typeface="+mn-lt"/>
              </a:endParaRPr>
            </a:p>
          </p:txBody>
        </p:sp>
      </p:grpSp>
      <p:sp>
        <p:nvSpPr>
          <p:cNvPr id="7" name="图片占位符 6">
            <a:extLst>
              <a:ext uri="{FF2B5EF4-FFF2-40B4-BE49-F238E27FC236}">
                <a16:creationId xmlns:a16="http://schemas.microsoft.com/office/drawing/2014/main" id="{26DCA91A-75CC-4455-BB63-9D6C822B9BB8}"/>
              </a:ext>
            </a:extLst>
          </p:cNvPr>
          <p:cNvSpPr>
            <a:spLocks noGrp="1"/>
          </p:cNvSpPr>
          <p:nvPr userDrawn="1">
            <p:ph type="pic" sz="quarter" idx="10"/>
          </p:nvPr>
        </p:nvSpPr>
        <p:spPr>
          <a:xfrm>
            <a:off x="909471" y="1700953"/>
            <a:ext cx="5062385" cy="2847770"/>
          </a:xfrm>
          <a:solidFill>
            <a:schemeClr val="accent1">
              <a:lumMod val="20000"/>
              <a:lumOff val="80000"/>
            </a:schemeClr>
          </a:solidFill>
        </p:spPr>
        <p:txBody>
          <a:bodyPr/>
          <a:lstStyle/>
          <a:p>
            <a:endParaRPr lang="en-US"/>
          </a:p>
        </p:txBody>
      </p:sp>
      <p:sp>
        <p:nvSpPr>
          <p:cNvPr id="123" name="任意多边形: 形状 122">
            <a:extLst>
              <a:ext uri="{FF2B5EF4-FFF2-40B4-BE49-F238E27FC236}">
                <a16:creationId xmlns:a16="http://schemas.microsoft.com/office/drawing/2014/main" id="{51A708EA-D2BA-462D-B224-2514D0D70D0A}"/>
              </a:ext>
            </a:extLst>
          </p:cNvPr>
          <p:cNvSpPr/>
          <p:nvPr userDrawn="1"/>
        </p:nvSpPr>
        <p:spPr>
          <a:xfrm>
            <a:off x="11607478" y="0"/>
            <a:ext cx="584522" cy="584522"/>
          </a:xfrm>
          <a:custGeom>
            <a:avLst/>
            <a:gdLst>
              <a:gd name="connsiteX0" fmla="*/ 0 w 584522"/>
              <a:gd name="connsiteY0" fmla="*/ 0 h 584522"/>
              <a:gd name="connsiteX1" fmla="*/ 584522 w 584522"/>
              <a:gd name="connsiteY1" fmla="*/ 0 h 584522"/>
              <a:gd name="connsiteX2" fmla="*/ 584522 w 584522"/>
              <a:gd name="connsiteY2" fmla="*/ 584522 h 584522"/>
              <a:gd name="connsiteX3" fmla="*/ 0 w 584522"/>
              <a:gd name="connsiteY3" fmla="*/ 0 h 584522"/>
            </a:gdLst>
            <a:ahLst/>
            <a:cxnLst>
              <a:cxn ang="0">
                <a:pos x="connsiteX0" y="connsiteY0"/>
              </a:cxn>
              <a:cxn ang="0">
                <a:pos x="connsiteX1" y="connsiteY1"/>
              </a:cxn>
              <a:cxn ang="0">
                <a:pos x="connsiteX2" y="connsiteY2"/>
              </a:cxn>
              <a:cxn ang="0">
                <a:pos x="connsiteX3" y="connsiteY3"/>
              </a:cxn>
            </a:cxnLst>
            <a:rect l="l" t="t" r="r" b="b"/>
            <a:pathLst>
              <a:path w="584522" h="584522">
                <a:moveTo>
                  <a:pt x="0" y="0"/>
                </a:moveTo>
                <a:lnTo>
                  <a:pt x="584522" y="0"/>
                </a:lnTo>
                <a:lnTo>
                  <a:pt x="584522" y="584522"/>
                </a:lnTo>
                <a:cubicBezTo>
                  <a:pt x="261699" y="584522"/>
                  <a:pt x="0" y="322823"/>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任意多边形: 形状 123">
            <a:extLst>
              <a:ext uri="{FF2B5EF4-FFF2-40B4-BE49-F238E27FC236}">
                <a16:creationId xmlns:a16="http://schemas.microsoft.com/office/drawing/2014/main" id="{687AE2F6-D251-49A6-AD34-9BE33E65C4B0}"/>
              </a:ext>
            </a:extLst>
          </p:cNvPr>
          <p:cNvSpPr/>
          <p:nvPr userDrawn="1"/>
        </p:nvSpPr>
        <p:spPr>
          <a:xfrm>
            <a:off x="10845478" y="5803909"/>
            <a:ext cx="1346522" cy="1054092"/>
          </a:xfrm>
          <a:custGeom>
            <a:avLst/>
            <a:gdLst>
              <a:gd name="connsiteX0" fmla="*/ 583355 w 731896"/>
              <a:gd name="connsiteY0" fmla="*/ 0 h 572947"/>
              <a:gd name="connsiteX1" fmla="*/ 701157 w 731896"/>
              <a:gd name="connsiteY1" fmla="*/ 11876 h 572947"/>
              <a:gd name="connsiteX2" fmla="*/ 731896 w 731896"/>
              <a:gd name="connsiteY2" fmla="*/ 21418 h 572947"/>
              <a:gd name="connsiteX3" fmla="*/ 731896 w 731896"/>
              <a:gd name="connsiteY3" fmla="*/ 572947 h 572947"/>
              <a:gd name="connsiteX4" fmla="*/ 0 w 731896"/>
              <a:gd name="connsiteY4" fmla="*/ 572947 h 572947"/>
              <a:gd name="connsiteX5" fmla="*/ 10708 w 731896"/>
              <a:gd name="connsiteY5" fmla="*/ 466721 h 572947"/>
              <a:gd name="connsiteX6" fmla="*/ 583355 w 731896"/>
              <a:gd name="connsiteY6" fmla="*/ 0 h 57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896" h="572947">
                <a:moveTo>
                  <a:pt x="583355" y="0"/>
                </a:moveTo>
                <a:cubicBezTo>
                  <a:pt x="623708" y="0"/>
                  <a:pt x="663106" y="4089"/>
                  <a:pt x="701157" y="11876"/>
                </a:cubicBezTo>
                <a:lnTo>
                  <a:pt x="731896" y="21418"/>
                </a:lnTo>
                <a:lnTo>
                  <a:pt x="731896" y="572947"/>
                </a:lnTo>
                <a:lnTo>
                  <a:pt x="0" y="572947"/>
                </a:lnTo>
                <a:lnTo>
                  <a:pt x="10708" y="466721"/>
                </a:lnTo>
                <a:cubicBezTo>
                  <a:pt x="65213" y="200364"/>
                  <a:pt x="300885" y="0"/>
                  <a:pt x="583355"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Tree>
    <p:extLst>
      <p:ext uri="{BB962C8B-B14F-4D97-AF65-F5344CB8AC3E}">
        <p14:creationId xmlns:p14="http://schemas.microsoft.com/office/powerpoint/2010/main" val="794052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0" name="î$ḻïḍe">
            <a:extLst>
              <a:ext uri="{FF2B5EF4-FFF2-40B4-BE49-F238E27FC236}">
                <a16:creationId xmlns:a16="http://schemas.microsoft.com/office/drawing/2014/main" id="{0FE3FB8A-0111-403C-8569-F765E186C178}"/>
              </a:ext>
            </a:extLst>
          </p:cNvPr>
          <p:cNvGrpSpPr/>
          <p:nvPr userDrawn="1"/>
        </p:nvGrpSpPr>
        <p:grpSpPr>
          <a:xfrm>
            <a:off x="3235320" y="1399745"/>
            <a:ext cx="5213361" cy="5211118"/>
            <a:chOff x="3486142" y="768375"/>
            <a:chExt cx="5213361" cy="5211118"/>
          </a:xfrm>
        </p:grpSpPr>
        <p:grpSp>
          <p:nvGrpSpPr>
            <p:cNvPr id="141" name="iṡlîḓê">
              <a:extLst>
                <a:ext uri="{FF2B5EF4-FFF2-40B4-BE49-F238E27FC236}">
                  <a16:creationId xmlns:a16="http://schemas.microsoft.com/office/drawing/2014/main" id="{219BF905-89D8-4CE0-8C70-3285DF93CD87}"/>
                </a:ext>
              </a:extLst>
            </p:cNvPr>
            <p:cNvGrpSpPr/>
            <p:nvPr/>
          </p:nvGrpSpPr>
          <p:grpSpPr>
            <a:xfrm rot="10800000" flipH="1">
              <a:off x="7829550" y="2345419"/>
              <a:ext cx="869838" cy="772432"/>
              <a:chOff x="0" y="0"/>
              <a:chExt cx="1739674" cy="1544861"/>
            </a:xfrm>
          </p:grpSpPr>
          <p:sp>
            <p:nvSpPr>
              <p:cNvPr id="189" name="ïŝ1iḋé">
                <a:extLst>
                  <a:ext uri="{FF2B5EF4-FFF2-40B4-BE49-F238E27FC236}">
                    <a16:creationId xmlns:a16="http://schemas.microsoft.com/office/drawing/2014/main" id="{6DADEE87-E6CC-4984-B493-888E51ABEB2E}"/>
                  </a:ext>
                </a:extLst>
              </p:cNvPr>
              <p:cNvSpPr/>
              <p:nvPr/>
            </p:nvSpPr>
            <p:spPr>
              <a:xfrm>
                <a:off x="0" y="0"/>
                <a:ext cx="1739674" cy="154486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0" name="isḷiďe">
                <a:extLst>
                  <a:ext uri="{FF2B5EF4-FFF2-40B4-BE49-F238E27FC236}">
                    <a16:creationId xmlns:a16="http://schemas.microsoft.com/office/drawing/2014/main" id="{687B8A5A-BBF6-4316-818D-EAC4FF29A5B4}"/>
                  </a:ext>
                </a:extLst>
              </p:cNvPr>
              <p:cNvSpPr/>
              <p:nvPr/>
            </p:nvSpPr>
            <p:spPr>
              <a:xfrm>
                <a:off x="1217" y="350977"/>
                <a:ext cx="803717" cy="1150233"/>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1" name="îṣlïḑé">
                <a:extLst>
                  <a:ext uri="{FF2B5EF4-FFF2-40B4-BE49-F238E27FC236}">
                    <a16:creationId xmlns:a16="http://schemas.microsoft.com/office/drawing/2014/main" id="{D1A13856-8AFB-430A-8B85-FE7358B1F3A3}"/>
                  </a:ext>
                </a:extLst>
              </p:cNvPr>
              <p:cNvSpPr/>
              <p:nvPr/>
            </p:nvSpPr>
            <p:spPr>
              <a:xfrm>
                <a:off x="781456" y="140692"/>
                <a:ext cx="96982" cy="543382"/>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5"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2" name="îsļiḓe">
                <a:extLst>
                  <a:ext uri="{FF2B5EF4-FFF2-40B4-BE49-F238E27FC236}">
                    <a16:creationId xmlns:a16="http://schemas.microsoft.com/office/drawing/2014/main" id="{D9FD512F-0215-458E-A7C2-0803B2A7BD05}"/>
                  </a:ext>
                </a:extLst>
              </p:cNvPr>
              <p:cNvSpPr/>
              <p:nvPr/>
            </p:nvSpPr>
            <p:spPr>
              <a:xfrm>
                <a:off x="765309" y="441612"/>
                <a:ext cx="52447" cy="249666"/>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3" name="ïšḷiďê">
                <a:extLst>
                  <a:ext uri="{FF2B5EF4-FFF2-40B4-BE49-F238E27FC236}">
                    <a16:creationId xmlns:a16="http://schemas.microsoft.com/office/drawing/2014/main" id="{9EA78218-60E3-4D8D-8556-A7DAEC3AB414}"/>
                  </a:ext>
                </a:extLst>
              </p:cNvPr>
              <p:cNvSpPr/>
              <p:nvPr/>
            </p:nvSpPr>
            <p:spPr>
              <a:xfrm>
                <a:off x="660523" y="79871"/>
                <a:ext cx="61513" cy="349071"/>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4" name="í$ḷiḍè">
                <a:extLst>
                  <a:ext uri="{FF2B5EF4-FFF2-40B4-BE49-F238E27FC236}">
                    <a16:creationId xmlns:a16="http://schemas.microsoft.com/office/drawing/2014/main" id="{4905039E-47CD-4504-8E5C-0C9028399F22}"/>
                  </a:ext>
                </a:extLst>
              </p:cNvPr>
              <p:cNvSpPr/>
              <p:nvPr/>
            </p:nvSpPr>
            <p:spPr>
              <a:xfrm>
                <a:off x="546906" y="157920"/>
                <a:ext cx="186260" cy="492441"/>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5" name="iSľîḑê">
                <a:extLst>
                  <a:ext uri="{FF2B5EF4-FFF2-40B4-BE49-F238E27FC236}">
                    <a16:creationId xmlns:a16="http://schemas.microsoft.com/office/drawing/2014/main" id="{92D33139-B22D-4D67-B76D-8ED66514C4D7}"/>
                  </a:ext>
                </a:extLst>
              </p:cNvPr>
              <p:cNvSpPr/>
              <p:nvPr/>
            </p:nvSpPr>
            <p:spPr>
              <a:xfrm>
                <a:off x="559787" y="402117"/>
                <a:ext cx="86119" cy="3088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6" name="ïs1ïdê">
                <a:extLst>
                  <a:ext uri="{FF2B5EF4-FFF2-40B4-BE49-F238E27FC236}">
                    <a16:creationId xmlns:a16="http://schemas.microsoft.com/office/drawing/2014/main" id="{37ADA0C7-655B-4780-9DEE-26330DFCF3BD}"/>
                  </a:ext>
                </a:extLst>
              </p:cNvPr>
              <p:cNvSpPr/>
              <p:nvPr/>
            </p:nvSpPr>
            <p:spPr>
              <a:xfrm>
                <a:off x="988981" y="300064"/>
                <a:ext cx="64155" cy="272446"/>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7" name="íṥļiḍè">
                <a:extLst>
                  <a:ext uri="{FF2B5EF4-FFF2-40B4-BE49-F238E27FC236}">
                    <a16:creationId xmlns:a16="http://schemas.microsoft.com/office/drawing/2014/main" id="{3286047D-3AA1-4695-8AAE-1F07C12BCDF4}"/>
                  </a:ext>
                </a:extLst>
              </p:cNvPr>
              <p:cNvSpPr/>
              <p:nvPr/>
            </p:nvSpPr>
            <p:spPr>
              <a:xfrm>
                <a:off x="990391" y="684501"/>
                <a:ext cx="34949" cy="101228"/>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8" name="ïŝḻïḋè">
                <a:extLst>
                  <a:ext uri="{FF2B5EF4-FFF2-40B4-BE49-F238E27FC236}">
                    <a16:creationId xmlns:a16="http://schemas.microsoft.com/office/drawing/2014/main" id="{F70CB91C-5425-4B71-BA02-2EE8CF441DDE}"/>
                  </a:ext>
                </a:extLst>
              </p:cNvPr>
              <p:cNvSpPr/>
              <p:nvPr/>
            </p:nvSpPr>
            <p:spPr>
              <a:xfrm>
                <a:off x="1131550" y="472080"/>
                <a:ext cx="75241" cy="22122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9" name="ïSlïḑé">
                <a:extLst>
                  <a:ext uri="{FF2B5EF4-FFF2-40B4-BE49-F238E27FC236}">
                    <a16:creationId xmlns:a16="http://schemas.microsoft.com/office/drawing/2014/main" id="{7D7C0A24-B82E-4531-8E45-7C8B583E2358}"/>
                  </a:ext>
                </a:extLst>
              </p:cNvPr>
              <p:cNvSpPr/>
              <p:nvPr/>
            </p:nvSpPr>
            <p:spPr>
              <a:xfrm>
                <a:off x="1448507" y="1057375"/>
                <a:ext cx="146326" cy="362340"/>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200" name="íṣlïḑè">
                <a:extLst>
                  <a:ext uri="{FF2B5EF4-FFF2-40B4-BE49-F238E27FC236}">
                    <a16:creationId xmlns:a16="http://schemas.microsoft.com/office/drawing/2014/main" id="{109F0A73-9B36-4CCD-95E2-45948BD6C480}"/>
                  </a:ext>
                </a:extLst>
              </p:cNvPr>
              <p:cNvSpPr/>
              <p:nvPr/>
            </p:nvSpPr>
            <p:spPr>
              <a:xfrm>
                <a:off x="1571934" y="1064864"/>
                <a:ext cx="79514" cy="32882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201" name="íSľîḍé">
                <a:extLst>
                  <a:ext uri="{FF2B5EF4-FFF2-40B4-BE49-F238E27FC236}">
                    <a16:creationId xmlns:a16="http://schemas.microsoft.com/office/drawing/2014/main" id="{681E1B2D-E135-4952-BD6E-AC7945B73D2F}"/>
                  </a:ext>
                </a:extLst>
              </p:cNvPr>
              <p:cNvSpPr/>
              <p:nvPr/>
            </p:nvSpPr>
            <p:spPr>
              <a:xfrm>
                <a:off x="1070024" y="353939"/>
                <a:ext cx="51348" cy="304423"/>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grpSp>
          <p:nvGrpSpPr>
            <p:cNvPr id="142" name="işļïďé">
              <a:extLst>
                <a:ext uri="{FF2B5EF4-FFF2-40B4-BE49-F238E27FC236}">
                  <a16:creationId xmlns:a16="http://schemas.microsoft.com/office/drawing/2014/main" id="{2AC419C3-79F0-4EE0-815B-E1F65339A969}"/>
                </a:ext>
              </a:extLst>
            </p:cNvPr>
            <p:cNvGrpSpPr/>
            <p:nvPr/>
          </p:nvGrpSpPr>
          <p:grpSpPr>
            <a:xfrm>
              <a:off x="4107518" y="1896440"/>
              <a:ext cx="3556001" cy="4083053"/>
              <a:chOff x="0" y="-1"/>
              <a:chExt cx="7112000" cy="8166105"/>
            </a:xfrm>
          </p:grpSpPr>
          <p:sp>
            <p:nvSpPr>
              <p:cNvPr id="176" name="ïšḷïḑè">
                <a:extLst>
                  <a:ext uri="{FF2B5EF4-FFF2-40B4-BE49-F238E27FC236}">
                    <a16:creationId xmlns:a16="http://schemas.microsoft.com/office/drawing/2014/main" id="{6E787106-1E99-4DEA-82CA-BB4127D430F9}"/>
                  </a:ext>
                </a:extLst>
              </p:cNvPr>
              <p:cNvSpPr/>
              <p:nvPr/>
            </p:nvSpPr>
            <p:spPr>
              <a:xfrm rot="10800000" flipH="1">
                <a:off x="0" y="-1"/>
                <a:ext cx="7112000" cy="8166105"/>
              </a:xfrm>
              <a:custGeom>
                <a:avLst/>
                <a:gdLst/>
                <a:ahLst/>
                <a:cxnLst>
                  <a:cxn ang="0">
                    <a:pos x="wd2" y="hd2"/>
                  </a:cxn>
                  <a:cxn ang="5400000">
                    <a:pos x="wd2" y="hd2"/>
                  </a:cxn>
                  <a:cxn ang="10800000">
                    <a:pos x="wd2" y="hd2"/>
                  </a:cxn>
                  <a:cxn ang="16200000">
                    <a:pos x="wd2" y="hd2"/>
                  </a:cxn>
                </a:cxnLst>
                <a:rect l="0" t="0" r="r" b="b"/>
                <a:pathLst>
                  <a:path w="21600" h="21505" extrusionOk="0">
                    <a:moveTo>
                      <a:pt x="0" y="19744"/>
                    </a:moveTo>
                    <a:lnTo>
                      <a:pt x="1796" y="20273"/>
                    </a:lnTo>
                    <a:cubicBezTo>
                      <a:pt x="1796" y="20273"/>
                      <a:pt x="3515" y="20562"/>
                      <a:pt x="3610" y="20664"/>
                    </a:cubicBezTo>
                    <a:cubicBezTo>
                      <a:pt x="3704" y="20767"/>
                      <a:pt x="5402" y="20873"/>
                      <a:pt x="5402" y="20873"/>
                    </a:cubicBezTo>
                    <a:cubicBezTo>
                      <a:pt x="5402" y="20873"/>
                      <a:pt x="6612" y="20980"/>
                      <a:pt x="6708" y="20980"/>
                    </a:cubicBezTo>
                    <a:cubicBezTo>
                      <a:pt x="6804" y="20980"/>
                      <a:pt x="8782" y="21122"/>
                      <a:pt x="8782" y="21122"/>
                    </a:cubicBezTo>
                    <a:lnTo>
                      <a:pt x="9857" y="21434"/>
                    </a:lnTo>
                    <a:lnTo>
                      <a:pt x="10574" y="21505"/>
                    </a:lnTo>
                    <a:lnTo>
                      <a:pt x="14169" y="21260"/>
                    </a:lnTo>
                    <a:lnTo>
                      <a:pt x="15332" y="21047"/>
                    </a:lnTo>
                    <a:cubicBezTo>
                      <a:pt x="15332" y="21047"/>
                      <a:pt x="16084" y="20834"/>
                      <a:pt x="16213" y="20834"/>
                    </a:cubicBezTo>
                    <a:cubicBezTo>
                      <a:pt x="16342" y="20834"/>
                      <a:pt x="17466" y="20834"/>
                      <a:pt x="17466" y="20834"/>
                    </a:cubicBezTo>
                    <a:cubicBezTo>
                      <a:pt x="17466" y="20834"/>
                      <a:pt x="18449" y="20936"/>
                      <a:pt x="18578" y="20834"/>
                    </a:cubicBezTo>
                    <a:cubicBezTo>
                      <a:pt x="18707" y="20731"/>
                      <a:pt x="19606" y="20727"/>
                      <a:pt x="19688" y="20624"/>
                    </a:cubicBezTo>
                    <a:cubicBezTo>
                      <a:pt x="19769" y="20522"/>
                      <a:pt x="20916" y="20451"/>
                      <a:pt x="20916" y="20451"/>
                    </a:cubicBezTo>
                    <a:lnTo>
                      <a:pt x="21600" y="20131"/>
                    </a:lnTo>
                    <a:lnTo>
                      <a:pt x="21354" y="18045"/>
                    </a:lnTo>
                    <a:cubicBezTo>
                      <a:pt x="21354" y="18045"/>
                      <a:pt x="21434" y="16726"/>
                      <a:pt x="21340" y="16036"/>
                    </a:cubicBezTo>
                    <a:cubicBezTo>
                      <a:pt x="21246" y="15347"/>
                      <a:pt x="21340" y="14858"/>
                      <a:pt x="21340" y="14858"/>
                    </a:cubicBezTo>
                    <a:lnTo>
                      <a:pt x="20909" y="13807"/>
                    </a:lnTo>
                    <a:lnTo>
                      <a:pt x="20392" y="13470"/>
                    </a:lnTo>
                    <a:lnTo>
                      <a:pt x="19789" y="12545"/>
                    </a:lnTo>
                    <a:lnTo>
                      <a:pt x="19301" y="12515"/>
                    </a:lnTo>
                    <a:lnTo>
                      <a:pt x="18812" y="11157"/>
                    </a:lnTo>
                    <a:lnTo>
                      <a:pt x="18554" y="10063"/>
                    </a:lnTo>
                    <a:lnTo>
                      <a:pt x="17865" y="8927"/>
                    </a:lnTo>
                    <a:lnTo>
                      <a:pt x="17146" y="8464"/>
                    </a:lnTo>
                    <a:lnTo>
                      <a:pt x="16629" y="7160"/>
                    </a:lnTo>
                    <a:lnTo>
                      <a:pt x="15883" y="6193"/>
                    </a:lnTo>
                    <a:lnTo>
                      <a:pt x="15538" y="4931"/>
                    </a:lnTo>
                    <a:lnTo>
                      <a:pt x="14002" y="6188"/>
                    </a:lnTo>
                    <a:lnTo>
                      <a:pt x="13662" y="4645"/>
                    </a:lnTo>
                    <a:lnTo>
                      <a:pt x="12858" y="3658"/>
                    </a:lnTo>
                    <a:lnTo>
                      <a:pt x="12275" y="4574"/>
                    </a:lnTo>
                    <a:lnTo>
                      <a:pt x="12235" y="2925"/>
                    </a:lnTo>
                    <a:lnTo>
                      <a:pt x="11740" y="2196"/>
                    </a:lnTo>
                    <a:lnTo>
                      <a:pt x="11151" y="934"/>
                    </a:lnTo>
                    <a:lnTo>
                      <a:pt x="10315" y="541"/>
                    </a:lnTo>
                    <a:lnTo>
                      <a:pt x="9851" y="556"/>
                    </a:lnTo>
                    <a:cubicBezTo>
                      <a:pt x="9851" y="556"/>
                      <a:pt x="9090" y="-95"/>
                      <a:pt x="9008" y="12"/>
                    </a:cubicBezTo>
                    <a:cubicBezTo>
                      <a:pt x="8926" y="119"/>
                      <a:pt x="8603" y="612"/>
                      <a:pt x="8603" y="612"/>
                    </a:cubicBezTo>
                    <a:lnTo>
                      <a:pt x="7955" y="51"/>
                    </a:lnTo>
                    <a:lnTo>
                      <a:pt x="6921" y="934"/>
                    </a:lnTo>
                    <a:lnTo>
                      <a:pt x="6394" y="1650"/>
                    </a:lnTo>
                    <a:lnTo>
                      <a:pt x="6187" y="2196"/>
                    </a:lnTo>
                    <a:lnTo>
                      <a:pt x="5399" y="2491"/>
                    </a:lnTo>
                    <a:lnTo>
                      <a:pt x="5168" y="4290"/>
                    </a:lnTo>
                    <a:lnTo>
                      <a:pt x="4129" y="6361"/>
                    </a:lnTo>
                    <a:lnTo>
                      <a:pt x="3589" y="7960"/>
                    </a:lnTo>
                    <a:lnTo>
                      <a:pt x="3589" y="9095"/>
                    </a:lnTo>
                    <a:lnTo>
                      <a:pt x="3362" y="10029"/>
                    </a:lnTo>
                    <a:lnTo>
                      <a:pt x="3022" y="10029"/>
                    </a:lnTo>
                    <a:lnTo>
                      <a:pt x="2454" y="10314"/>
                    </a:lnTo>
                    <a:lnTo>
                      <a:pt x="1779" y="10904"/>
                    </a:lnTo>
                    <a:lnTo>
                      <a:pt x="1111" y="11703"/>
                    </a:lnTo>
                    <a:lnTo>
                      <a:pt x="386" y="13807"/>
                    </a:lnTo>
                    <a:lnTo>
                      <a:pt x="73" y="18353"/>
                    </a:lnTo>
                    <a:lnTo>
                      <a:pt x="0" y="19744"/>
                    </a:lnTo>
                    <a:close/>
                  </a:path>
                </a:pathLst>
              </a:custGeom>
              <a:solidFill>
                <a:srgbClr val="9AB1CA"/>
              </a:solidFill>
              <a:ln w="25400" cap="flat">
                <a:solidFill>
                  <a:srgbClr val="000000">
                    <a:alpha val="0"/>
                  </a:srgbClr>
                </a:solidFill>
                <a:prstDash val="solid"/>
                <a:miter lim="400000"/>
              </a:ln>
              <a:effectLst>
                <a:outerShdw blurRad="1270000" dir="2700000" rotWithShape="0">
                  <a:srgbClr val="EEF3F4"/>
                </a:outerShdw>
              </a:effectLst>
            </p:spPr>
            <p:txBody>
              <a:bodyPr anchor="ctr"/>
              <a:lstStyle/>
              <a:p>
                <a:pPr algn="ctr" defTabSz="914400"/>
                <a:endParaRPr>
                  <a:solidFill>
                    <a:srgbClr val="575757"/>
                  </a:solidFill>
                  <a:latin typeface="Trebuchet MS"/>
                  <a:ea typeface="微软雅黑"/>
                </a:endParaRPr>
              </a:p>
            </p:txBody>
          </p:sp>
          <p:sp>
            <p:nvSpPr>
              <p:cNvPr id="177" name="íśḻîdê">
                <a:extLst>
                  <a:ext uri="{FF2B5EF4-FFF2-40B4-BE49-F238E27FC236}">
                    <a16:creationId xmlns:a16="http://schemas.microsoft.com/office/drawing/2014/main" id="{EEA07B8B-84B9-4A88-96A1-FC7C75187D5B}"/>
                  </a:ext>
                </a:extLst>
              </p:cNvPr>
              <p:cNvSpPr/>
              <p:nvPr/>
            </p:nvSpPr>
            <p:spPr>
              <a:xfrm rot="10800000" flipH="1">
                <a:off x="4975" y="232898"/>
                <a:ext cx="3285692" cy="6137044"/>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6"/>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8" name="íśḷiďé">
                <a:extLst>
                  <a:ext uri="{FF2B5EF4-FFF2-40B4-BE49-F238E27FC236}">
                    <a16:creationId xmlns:a16="http://schemas.microsoft.com/office/drawing/2014/main" id="{37CBC017-ED66-4C0F-BE46-F92D1FB83625}"/>
                  </a:ext>
                </a:extLst>
              </p:cNvPr>
              <p:cNvSpPr/>
              <p:nvPr/>
            </p:nvSpPr>
            <p:spPr>
              <a:xfrm rot="10800000" flipH="1">
                <a:off x="3194687" y="4592711"/>
                <a:ext cx="396470" cy="28992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9" name="îşļíḓè">
                <a:extLst>
                  <a:ext uri="{FF2B5EF4-FFF2-40B4-BE49-F238E27FC236}">
                    <a16:creationId xmlns:a16="http://schemas.microsoft.com/office/drawing/2014/main" id="{71227E16-3769-4E50-B247-466F7F33590D}"/>
                  </a:ext>
                </a:extLst>
              </p:cNvPr>
              <p:cNvSpPr/>
              <p:nvPr/>
            </p:nvSpPr>
            <p:spPr>
              <a:xfrm rot="10800000" flipH="1">
                <a:off x="3128678" y="4554276"/>
                <a:ext cx="214404" cy="1332085"/>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0" name="ïṥ1iďè">
                <a:extLst>
                  <a:ext uri="{FF2B5EF4-FFF2-40B4-BE49-F238E27FC236}">
                    <a16:creationId xmlns:a16="http://schemas.microsoft.com/office/drawing/2014/main" id="{6032C886-B7BB-4D6A-A598-9BCAD527FC8D}"/>
                  </a:ext>
                </a:extLst>
              </p:cNvPr>
              <p:cNvSpPr/>
              <p:nvPr/>
            </p:nvSpPr>
            <p:spPr>
              <a:xfrm rot="10800000" flipH="1">
                <a:off x="2700300" y="5953964"/>
                <a:ext cx="251473" cy="1862459"/>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1" name="ïṡlidè">
                <a:extLst>
                  <a:ext uri="{FF2B5EF4-FFF2-40B4-BE49-F238E27FC236}">
                    <a16:creationId xmlns:a16="http://schemas.microsoft.com/office/drawing/2014/main" id="{8C31CB2D-E053-4703-B8D6-84E2448CE894}"/>
                  </a:ext>
                </a:extLst>
              </p:cNvPr>
              <p:cNvSpPr/>
              <p:nvPr/>
            </p:nvSpPr>
            <p:spPr>
              <a:xfrm rot="10800000" flipH="1">
                <a:off x="2235821" y="4772592"/>
                <a:ext cx="761452" cy="2627404"/>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2" name="îşľïḍè">
                <a:extLst>
                  <a:ext uri="{FF2B5EF4-FFF2-40B4-BE49-F238E27FC236}">
                    <a16:creationId xmlns:a16="http://schemas.microsoft.com/office/drawing/2014/main" id="{1717C0CD-1D8B-48A4-B390-AE206B7CF27E}"/>
                  </a:ext>
                </a:extLst>
              </p:cNvPr>
              <p:cNvSpPr/>
              <p:nvPr/>
            </p:nvSpPr>
            <p:spPr>
              <a:xfrm rot="10800000" flipH="1">
                <a:off x="2288481" y="4448990"/>
                <a:ext cx="352062" cy="16480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4"/>
                    </a:lnTo>
                    <a:lnTo>
                      <a:pt x="15023" y="16821"/>
                    </a:lnTo>
                    <a:lnTo>
                      <a:pt x="7452" y="21600"/>
                    </a:lnTo>
                    <a:lnTo>
                      <a:pt x="7452" y="15979"/>
                    </a:lnTo>
                    <a:lnTo>
                      <a:pt x="11673" y="13231"/>
                    </a:lnTo>
                    <a:lnTo>
                      <a:pt x="10020" y="6302"/>
                    </a:lnTo>
                    <a:lnTo>
                      <a:pt x="2278" y="3865"/>
                    </a:lnTo>
                    <a:lnTo>
                      <a:pt x="0"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3" name="ïŝľíḍè">
                <a:extLst>
                  <a:ext uri="{FF2B5EF4-FFF2-40B4-BE49-F238E27FC236}">
                    <a16:creationId xmlns:a16="http://schemas.microsoft.com/office/drawing/2014/main" id="{2E923E63-4BBB-4436-A2BD-772D6AE23E56}"/>
                  </a:ext>
                </a:extLst>
              </p:cNvPr>
              <p:cNvSpPr/>
              <p:nvPr/>
            </p:nvSpPr>
            <p:spPr>
              <a:xfrm rot="10800000" flipH="1">
                <a:off x="4043077" y="5187959"/>
                <a:ext cx="262270" cy="1453627"/>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4" name="î$lïďé">
                <a:extLst>
                  <a:ext uri="{FF2B5EF4-FFF2-40B4-BE49-F238E27FC236}">
                    <a16:creationId xmlns:a16="http://schemas.microsoft.com/office/drawing/2014/main" id="{DB5DEDD2-7BA0-45A2-8458-62F75E562887}"/>
                  </a:ext>
                </a:extLst>
              </p:cNvPr>
              <p:cNvSpPr/>
              <p:nvPr/>
            </p:nvSpPr>
            <p:spPr>
              <a:xfrm rot="10800000" flipH="1">
                <a:off x="4048845" y="4050341"/>
                <a:ext cx="142872" cy="540097"/>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5" name="iṩ1íďe">
                <a:extLst>
                  <a:ext uri="{FF2B5EF4-FFF2-40B4-BE49-F238E27FC236}">
                    <a16:creationId xmlns:a16="http://schemas.microsoft.com/office/drawing/2014/main" id="{3BEABC22-CC03-4ACB-A273-C5D8C4AE81B9}"/>
                  </a:ext>
                </a:extLst>
              </p:cNvPr>
              <p:cNvSpPr/>
              <p:nvPr/>
            </p:nvSpPr>
            <p:spPr>
              <a:xfrm rot="10800000" flipH="1">
                <a:off x="4625921" y="4543488"/>
                <a:ext cx="307591" cy="1180312"/>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6" name="íṩlîḓé">
                <a:extLst>
                  <a:ext uri="{FF2B5EF4-FFF2-40B4-BE49-F238E27FC236}">
                    <a16:creationId xmlns:a16="http://schemas.microsoft.com/office/drawing/2014/main" id="{673384A6-865C-4E0B-BE7C-18FBC02F89A8}"/>
                  </a:ext>
                </a:extLst>
              </p:cNvPr>
              <p:cNvSpPr/>
              <p:nvPr/>
            </p:nvSpPr>
            <p:spPr>
              <a:xfrm rot="10800000" flipH="1">
                <a:off x="5921678" y="667711"/>
                <a:ext cx="598193" cy="1933258"/>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7" name="îślíḍê">
                <a:extLst>
                  <a:ext uri="{FF2B5EF4-FFF2-40B4-BE49-F238E27FC236}">
                    <a16:creationId xmlns:a16="http://schemas.microsoft.com/office/drawing/2014/main" id="{111E9F1E-BF9D-483A-8AC5-14F6E8542509}"/>
                  </a:ext>
                </a:extLst>
              </p:cNvPr>
              <p:cNvSpPr/>
              <p:nvPr/>
            </p:nvSpPr>
            <p:spPr>
              <a:xfrm rot="10800000" flipH="1">
                <a:off x="6426263" y="806576"/>
                <a:ext cx="325062" cy="17544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8" name="iŝļiḑê">
                <a:extLst>
                  <a:ext uri="{FF2B5EF4-FFF2-40B4-BE49-F238E27FC236}">
                    <a16:creationId xmlns:a16="http://schemas.microsoft.com/office/drawing/2014/main" id="{A2A01868-7A93-4D2A-90DC-630A505D4CA1}"/>
                  </a:ext>
                </a:extLst>
              </p:cNvPr>
              <p:cNvSpPr/>
              <p:nvPr/>
            </p:nvSpPr>
            <p:spPr>
              <a:xfrm rot="10800000" flipH="1">
                <a:off x="4374389" y="4729903"/>
                <a:ext cx="209914" cy="1624240"/>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grpSp>
          <p:nvGrpSpPr>
            <p:cNvPr id="143" name="îś1íďê">
              <a:extLst>
                <a:ext uri="{FF2B5EF4-FFF2-40B4-BE49-F238E27FC236}">
                  <a16:creationId xmlns:a16="http://schemas.microsoft.com/office/drawing/2014/main" id="{9C503D9A-3366-4085-A694-4EDDBA4FA5C7}"/>
                </a:ext>
              </a:extLst>
            </p:cNvPr>
            <p:cNvGrpSpPr/>
            <p:nvPr/>
          </p:nvGrpSpPr>
          <p:grpSpPr>
            <a:xfrm>
              <a:off x="4105097" y="768375"/>
              <a:ext cx="3558952" cy="1648836"/>
              <a:chOff x="0" y="0"/>
              <a:chExt cx="7117900" cy="3297667"/>
            </a:xfrm>
          </p:grpSpPr>
          <p:grpSp>
            <p:nvGrpSpPr>
              <p:cNvPr id="161" name="íṥliḋê">
                <a:extLst>
                  <a:ext uri="{FF2B5EF4-FFF2-40B4-BE49-F238E27FC236}">
                    <a16:creationId xmlns:a16="http://schemas.microsoft.com/office/drawing/2014/main" id="{B8927067-DB8C-4087-BBE0-F9ABDD0684E3}"/>
                  </a:ext>
                </a:extLst>
              </p:cNvPr>
              <p:cNvGrpSpPr/>
              <p:nvPr/>
            </p:nvGrpSpPr>
            <p:grpSpPr>
              <a:xfrm>
                <a:off x="0" y="0"/>
                <a:ext cx="7117900" cy="3297667"/>
                <a:chOff x="0" y="0"/>
                <a:chExt cx="7117899" cy="3297666"/>
              </a:xfrm>
            </p:grpSpPr>
            <p:sp>
              <p:nvSpPr>
                <p:cNvPr id="163" name="iṡlîḍê">
                  <a:extLst>
                    <a:ext uri="{FF2B5EF4-FFF2-40B4-BE49-F238E27FC236}">
                      <a16:creationId xmlns:a16="http://schemas.microsoft.com/office/drawing/2014/main" id="{99893AB0-8325-4B71-9DF6-55A40737C34D}"/>
                    </a:ext>
                  </a:extLst>
                </p:cNvPr>
                <p:cNvSpPr/>
                <p:nvPr/>
              </p:nvSpPr>
              <p:spPr>
                <a:xfrm>
                  <a:off x="0" y="0"/>
                  <a:ext cx="7117899" cy="3297666"/>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4"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4" name="iṧļîdé">
                  <a:extLst>
                    <a:ext uri="{FF2B5EF4-FFF2-40B4-BE49-F238E27FC236}">
                      <a16:creationId xmlns:a16="http://schemas.microsoft.com/office/drawing/2014/main" id="{D10A4B30-10E3-4B7E-93DC-6A1C84F185B6}"/>
                    </a:ext>
                  </a:extLst>
                </p:cNvPr>
                <p:cNvSpPr/>
                <p:nvPr/>
              </p:nvSpPr>
              <p:spPr>
                <a:xfrm>
                  <a:off x="4979" y="749198"/>
                  <a:ext cx="3288416" cy="2455290"/>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5" name="i$ḻíḑê">
                  <a:extLst>
                    <a:ext uri="{FF2B5EF4-FFF2-40B4-BE49-F238E27FC236}">
                      <a16:creationId xmlns:a16="http://schemas.microsoft.com/office/drawing/2014/main" id="{574AAD7B-9ECE-4866-9C9D-20AD482DA5DE}"/>
                    </a:ext>
                  </a:extLst>
                </p:cNvPr>
                <p:cNvSpPr/>
                <p:nvPr/>
              </p:nvSpPr>
              <p:spPr>
                <a:xfrm>
                  <a:off x="3197337" y="300323"/>
                  <a:ext cx="396800" cy="11599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6" name="iśḻîďe">
                  <a:extLst>
                    <a:ext uri="{FF2B5EF4-FFF2-40B4-BE49-F238E27FC236}">
                      <a16:creationId xmlns:a16="http://schemas.microsoft.com/office/drawing/2014/main" id="{C2F49DBF-0AE9-4F67-B3D2-16AB3CC7D400}"/>
                    </a:ext>
                  </a:extLst>
                </p:cNvPr>
                <p:cNvSpPr/>
                <p:nvPr/>
              </p:nvSpPr>
              <p:spPr>
                <a:xfrm>
                  <a:off x="3131275" y="942667"/>
                  <a:ext cx="214582" cy="532938"/>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7" name="i$ḷíďe">
                  <a:extLst>
                    <a:ext uri="{FF2B5EF4-FFF2-40B4-BE49-F238E27FC236}">
                      <a16:creationId xmlns:a16="http://schemas.microsoft.com/office/drawing/2014/main" id="{50BD689B-1E15-4A7E-BA3C-B03CDFD5B899}"/>
                    </a:ext>
                  </a:extLst>
                </p:cNvPr>
                <p:cNvSpPr/>
                <p:nvPr/>
              </p:nvSpPr>
              <p:spPr>
                <a:xfrm>
                  <a:off x="2702539" y="170493"/>
                  <a:ext cx="251681" cy="745127"/>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8" name="işḷiḋé">
                  <a:extLst>
                    <a:ext uri="{FF2B5EF4-FFF2-40B4-BE49-F238E27FC236}">
                      <a16:creationId xmlns:a16="http://schemas.microsoft.com/office/drawing/2014/main" id="{92047AFD-AA30-44CF-A1FB-D4472D4827D9}"/>
                    </a:ext>
                  </a:extLst>
                </p:cNvPr>
                <p:cNvSpPr/>
                <p:nvPr/>
              </p:nvSpPr>
              <p:spPr>
                <a:xfrm>
                  <a:off x="2237675" y="337096"/>
                  <a:ext cx="762084" cy="1051165"/>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9" name="ïṣ1îḍê">
                  <a:extLst>
                    <a:ext uri="{FF2B5EF4-FFF2-40B4-BE49-F238E27FC236}">
                      <a16:creationId xmlns:a16="http://schemas.microsoft.com/office/drawing/2014/main" id="{E005C5DA-88F4-4826-83BC-A37BFA3678C2}"/>
                    </a:ext>
                  </a:extLst>
                </p:cNvPr>
                <p:cNvSpPr/>
                <p:nvPr/>
              </p:nvSpPr>
              <p:spPr>
                <a:xfrm>
                  <a:off x="2290378" y="858363"/>
                  <a:ext cx="352354" cy="6593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0" name="iṧlîḋe">
                  <a:extLst>
                    <a:ext uri="{FF2B5EF4-FFF2-40B4-BE49-F238E27FC236}">
                      <a16:creationId xmlns:a16="http://schemas.microsoft.com/office/drawing/2014/main" id="{87B0239A-D880-4B24-9A6E-5155350D71B6}"/>
                    </a:ext>
                  </a:extLst>
                </p:cNvPr>
                <p:cNvSpPr/>
                <p:nvPr/>
              </p:nvSpPr>
              <p:spPr>
                <a:xfrm>
                  <a:off x="4046432" y="640520"/>
                  <a:ext cx="262488" cy="581563"/>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1" name="ïṥ1îḋè">
                  <a:extLst>
                    <a:ext uri="{FF2B5EF4-FFF2-40B4-BE49-F238E27FC236}">
                      <a16:creationId xmlns:a16="http://schemas.microsoft.com/office/drawing/2014/main" id="{25BB1AC9-5350-4306-9978-597065B1764D}"/>
                    </a:ext>
                  </a:extLst>
                </p:cNvPr>
                <p:cNvSpPr/>
                <p:nvPr/>
              </p:nvSpPr>
              <p:spPr>
                <a:xfrm>
                  <a:off x="4052202" y="1461137"/>
                  <a:ext cx="142991" cy="216081"/>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2" name="iśľiḑe">
                  <a:extLst>
                    <a:ext uri="{FF2B5EF4-FFF2-40B4-BE49-F238E27FC236}">
                      <a16:creationId xmlns:a16="http://schemas.microsoft.com/office/drawing/2014/main" id="{7719BFCA-470D-4884-A01A-0A61D0A7E834}"/>
                    </a:ext>
                  </a:extLst>
                </p:cNvPr>
                <p:cNvSpPr/>
                <p:nvPr/>
              </p:nvSpPr>
              <p:spPr>
                <a:xfrm>
                  <a:off x="4629757" y="1007704"/>
                  <a:ext cx="307847" cy="472216"/>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3" name="išḻíḓe">
                  <a:extLst>
                    <a:ext uri="{FF2B5EF4-FFF2-40B4-BE49-F238E27FC236}">
                      <a16:creationId xmlns:a16="http://schemas.microsoft.com/office/drawing/2014/main" id="{B71380B0-BC3C-487C-A486-629B0913E8B6}"/>
                    </a:ext>
                  </a:extLst>
                </p:cNvPr>
                <p:cNvSpPr/>
                <p:nvPr/>
              </p:nvSpPr>
              <p:spPr>
                <a:xfrm>
                  <a:off x="5926593" y="2257078"/>
                  <a:ext cx="598688" cy="773451"/>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4" name="îsḻíḑê">
                  <a:extLst>
                    <a:ext uri="{FF2B5EF4-FFF2-40B4-BE49-F238E27FC236}">
                      <a16:creationId xmlns:a16="http://schemas.microsoft.com/office/drawing/2014/main" id="{E332446B-93C3-4DBC-A2EC-94AF3D94DF9C}"/>
                    </a:ext>
                  </a:extLst>
                </p:cNvPr>
                <p:cNvSpPr/>
                <p:nvPr/>
              </p:nvSpPr>
              <p:spPr>
                <a:xfrm>
                  <a:off x="6431593" y="2273063"/>
                  <a:ext cx="325331" cy="7019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5" name="ïṥḻïḍe">
                  <a:extLst>
                    <a:ext uri="{FF2B5EF4-FFF2-40B4-BE49-F238E27FC236}">
                      <a16:creationId xmlns:a16="http://schemas.microsoft.com/office/drawing/2014/main" id="{75D95991-E52A-4B40-B7A1-2D41A41A1EAF}"/>
                    </a:ext>
                  </a:extLst>
                </p:cNvPr>
                <p:cNvSpPr/>
                <p:nvPr/>
              </p:nvSpPr>
              <p:spPr>
                <a:xfrm>
                  <a:off x="4378017" y="755520"/>
                  <a:ext cx="210089" cy="649821"/>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sp>
            <p:nvSpPr>
              <p:cNvPr id="162" name="ïṩ1íḋè">
                <a:extLst>
                  <a:ext uri="{FF2B5EF4-FFF2-40B4-BE49-F238E27FC236}">
                    <a16:creationId xmlns:a16="http://schemas.microsoft.com/office/drawing/2014/main" id="{54CBF18D-3984-404B-B11A-C29E4F555E3B}"/>
                  </a:ext>
                </a:extLst>
              </p:cNvPr>
              <p:cNvSpPr/>
              <p:nvPr/>
            </p:nvSpPr>
            <p:spPr>
              <a:xfrm>
                <a:off x="3364071" y="1776645"/>
                <a:ext cx="2441728" cy="1430557"/>
              </a:xfrm>
              <a:custGeom>
                <a:avLst/>
                <a:gdLst/>
                <a:ahLst/>
                <a:cxnLst>
                  <a:cxn ang="0">
                    <a:pos x="wd2" y="hd2"/>
                  </a:cxn>
                  <a:cxn ang="5400000">
                    <a:pos x="wd2" y="hd2"/>
                  </a:cxn>
                  <a:cxn ang="10800000">
                    <a:pos x="wd2" y="hd2"/>
                  </a:cxn>
                  <a:cxn ang="16200000">
                    <a:pos x="wd2" y="hd2"/>
                  </a:cxn>
                </a:cxnLst>
                <a:rect l="0" t="0" r="r" b="b"/>
                <a:pathLst>
                  <a:path w="21600" h="21600" extrusionOk="0">
                    <a:moveTo>
                      <a:pt x="316" y="11035"/>
                    </a:moveTo>
                    <a:lnTo>
                      <a:pt x="309" y="21600"/>
                    </a:lnTo>
                    <a:lnTo>
                      <a:pt x="2131" y="21355"/>
                    </a:lnTo>
                    <a:cubicBezTo>
                      <a:pt x="2131" y="21355"/>
                      <a:pt x="4206" y="20144"/>
                      <a:pt x="4505" y="20144"/>
                    </a:cubicBezTo>
                    <a:cubicBezTo>
                      <a:pt x="4805" y="20144"/>
                      <a:pt x="8166" y="20144"/>
                      <a:pt x="8166" y="20144"/>
                    </a:cubicBezTo>
                    <a:lnTo>
                      <a:pt x="11012" y="20389"/>
                    </a:lnTo>
                    <a:lnTo>
                      <a:pt x="14756" y="20155"/>
                    </a:lnTo>
                    <a:lnTo>
                      <a:pt x="17188" y="19910"/>
                    </a:lnTo>
                    <a:lnTo>
                      <a:pt x="20084" y="19665"/>
                    </a:lnTo>
                    <a:lnTo>
                      <a:pt x="20084" y="18454"/>
                    </a:lnTo>
                    <a:lnTo>
                      <a:pt x="21600" y="16673"/>
                    </a:lnTo>
                    <a:lnTo>
                      <a:pt x="20683" y="13598"/>
                    </a:lnTo>
                    <a:lnTo>
                      <a:pt x="18149" y="9536"/>
                    </a:lnTo>
                    <a:lnTo>
                      <a:pt x="18862" y="14412"/>
                    </a:lnTo>
                    <a:lnTo>
                      <a:pt x="19505" y="15360"/>
                    </a:lnTo>
                    <a:lnTo>
                      <a:pt x="18793" y="16969"/>
                    </a:lnTo>
                    <a:lnTo>
                      <a:pt x="17888" y="16633"/>
                    </a:lnTo>
                    <a:lnTo>
                      <a:pt x="16825" y="15259"/>
                    </a:lnTo>
                    <a:lnTo>
                      <a:pt x="15762" y="16236"/>
                    </a:lnTo>
                    <a:lnTo>
                      <a:pt x="15310" y="17213"/>
                    </a:lnTo>
                    <a:lnTo>
                      <a:pt x="12865" y="17295"/>
                    </a:lnTo>
                    <a:cubicBezTo>
                      <a:pt x="12865" y="17295"/>
                      <a:pt x="12521" y="15656"/>
                      <a:pt x="12967" y="15187"/>
                    </a:cubicBezTo>
                    <a:cubicBezTo>
                      <a:pt x="13413" y="14718"/>
                      <a:pt x="14285" y="14240"/>
                      <a:pt x="14686" y="14240"/>
                    </a:cubicBezTo>
                    <a:cubicBezTo>
                      <a:pt x="15088" y="14240"/>
                      <a:pt x="15699" y="13099"/>
                      <a:pt x="15699" y="13099"/>
                    </a:cubicBezTo>
                    <a:lnTo>
                      <a:pt x="15546" y="11236"/>
                    </a:lnTo>
                    <a:lnTo>
                      <a:pt x="12949" y="10748"/>
                    </a:lnTo>
                    <a:lnTo>
                      <a:pt x="12796" y="8875"/>
                    </a:lnTo>
                    <a:lnTo>
                      <a:pt x="11020" y="7908"/>
                    </a:lnTo>
                    <a:cubicBezTo>
                      <a:pt x="11020" y="7908"/>
                      <a:pt x="11166" y="8693"/>
                      <a:pt x="11313" y="9100"/>
                    </a:cubicBezTo>
                    <a:cubicBezTo>
                      <a:pt x="11460" y="9507"/>
                      <a:pt x="11912" y="12907"/>
                      <a:pt x="11912" y="12907"/>
                    </a:cubicBezTo>
                    <a:lnTo>
                      <a:pt x="11453" y="16298"/>
                    </a:lnTo>
                    <a:lnTo>
                      <a:pt x="10129" y="17418"/>
                    </a:lnTo>
                    <a:cubicBezTo>
                      <a:pt x="10129" y="17418"/>
                      <a:pt x="9524" y="17390"/>
                      <a:pt x="9524" y="16197"/>
                    </a:cubicBezTo>
                    <a:cubicBezTo>
                      <a:pt x="9524" y="15005"/>
                      <a:pt x="9524" y="14272"/>
                      <a:pt x="9524" y="14272"/>
                    </a:cubicBezTo>
                    <a:cubicBezTo>
                      <a:pt x="9524" y="14272"/>
                      <a:pt x="8754" y="13549"/>
                      <a:pt x="8149" y="13549"/>
                    </a:cubicBezTo>
                    <a:cubicBezTo>
                      <a:pt x="8149" y="13549"/>
                      <a:pt x="7245" y="11758"/>
                      <a:pt x="7092" y="11116"/>
                    </a:cubicBezTo>
                    <a:cubicBezTo>
                      <a:pt x="6940" y="10474"/>
                      <a:pt x="6679" y="9569"/>
                      <a:pt x="6227" y="8602"/>
                    </a:cubicBezTo>
                    <a:cubicBezTo>
                      <a:pt x="5775" y="7634"/>
                      <a:pt x="5316" y="6648"/>
                      <a:pt x="5316" y="6169"/>
                    </a:cubicBezTo>
                    <a:cubicBezTo>
                      <a:pt x="5316" y="5689"/>
                      <a:pt x="5322" y="3267"/>
                      <a:pt x="4870" y="3267"/>
                    </a:cubicBezTo>
                    <a:cubicBezTo>
                      <a:pt x="4418" y="3267"/>
                      <a:pt x="2992" y="4162"/>
                      <a:pt x="2992" y="4162"/>
                    </a:cubicBezTo>
                    <a:lnTo>
                      <a:pt x="2178" y="5953"/>
                    </a:lnTo>
                    <a:lnTo>
                      <a:pt x="1222" y="5436"/>
                    </a:lnTo>
                    <a:lnTo>
                      <a:pt x="0" y="0"/>
                    </a:lnTo>
                    <a:lnTo>
                      <a:pt x="316" y="11035"/>
                    </a:lnTo>
                    <a:close/>
                  </a:path>
                </a:pathLst>
              </a:custGeom>
              <a:solidFill>
                <a:srgbClr val="FFFFFF">
                  <a:lumMod val="95000"/>
                  <a:alpha val="5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sp>
          <p:nvSpPr>
            <p:cNvPr id="144" name="ïṩḷíde">
              <a:extLst>
                <a:ext uri="{FF2B5EF4-FFF2-40B4-BE49-F238E27FC236}">
                  <a16:creationId xmlns:a16="http://schemas.microsoft.com/office/drawing/2014/main" id="{7C7A6391-B796-4818-AB37-9BEB0172B592}"/>
                </a:ext>
              </a:extLst>
            </p:cNvPr>
            <p:cNvSpPr/>
            <p:nvPr/>
          </p:nvSpPr>
          <p:spPr>
            <a:xfrm>
              <a:off x="3486142" y="2290053"/>
              <a:ext cx="2394656" cy="335585"/>
            </a:xfrm>
            <a:custGeom>
              <a:avLst/>
              <a:gdLst/>
              <a:ahLst/>
              <a:cxnLst>
                <a:cxn ang="0">
                  <a:pos x="wd2" y="hd2"/>
                </a:cxn>
                <a:cxn ang="5400000">
                  <a:pos x="wd2" y="hd2"/>
                </a:cxn>
                <a:cxn ang="10800000">
                  <a:pos x="wd2" y="hd2"/>
                </a:cxn>
                <a:cxn ang="16200000">
                  <a:pos x="wd2" y="hd2"/>
                </a:cxn>
              </a:cxnLst>
              <a:rect l="0" t="0" r="r" b="b"/>
              <a:pathLst>
                <a:path w="19701" h="16978" extrusionOk="0">
                  <a:moveTo>
                    <a:pt x="3161" y="0"/>
                  </a:moveTo>
                  <a:cubicBezTo>
                    <a:pt x="3161" y="0"/>
                    <a:pt x="-1421" y="5515"/>
                    <a:pt x="6377" y="10491"/>
                  </a:cubicBezTo>
                  <a:cubicBezTo>
                    <a:pt x="14175" y="15467"/>
                    <a:pt x="19701" y="12322"/>
                    <a:pt x="19701" y="12322"/>
                  </a:cubicBezTo>
                  <a:cubicBezTo>
                    <a:pt x="19701" y="12322"/>
                    <a:pt x="6838" y="21600"/>
                    <a:pt x="2470" y="13963"/>
                  </a:cubicBezTo>
                  <a:cubicBezTo>
                    <a:pt x="-1899" y="6326"/>
                    <a:pt x="295" y="1072"/>
                    <a:pt x="3161" y="0"/>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a:ea typeface="微软雅黑"/>
              </a:endParaRPr>
            </a:p>
          </p:txBody>
        </p:sp>
        <p:sp>
          <p:nvSpPr>
            <p:cNvPr id="145" name="iṧ1ïḍé">
              <a:extLst>
                <a:ext uri="{FF2B5EF4-FFF2-40B4-BE49-F238E27FC236}">
                  <a16:creationId xmlns:a16="http://schemas.microsoft.com/office/drawing/2014/main" id="{C52AAADC-F050-4F0B-B1B2-430460B8EB8A}"/>
                </a:ext>
              </a:extLst>
            </p:cNvPr>
            <p:cNvSpPr/>
            <p:nvPr/>
          </p:nvSpPr>
          <p:spPr>
            <a:xfrm>
              <a:off x="5344826" y="2342312"/>
              <a:ext cx="2668865" cy="364745"/>
            </a:xfrm>
            <a:custGeom>
              <a:avLst/>
              <a:gdLst/>
              <a:ahLst/>
              <a:cxnLst>
                <a:cxn ang="0">
                  <a:pos x="wd2" y="hd2"/>
                </a:cxn>
                <a:cxn ang="5400000">
                  <a:pos x="wd2" y="hd2"/>
                </a:cxn>
                <a:cxn ang="10800000">
                  <a:pos x="wd2" y="hd2"/>
                </a:cxn>
                <a:cxn ang="16200000">
                  <a:pos x="wd2" y="hd2"/>
                </a:cxn>
              </a:cxnLst>
              <a:rect l="0" t="0" r="r" b="b"/>
              <a:pathLst>
                <a:path w="18903" h="20158" extrusionOk="0">
                  <a:moveTo>
                    <a:pt x="7" y="20157"/>
                  </a:moveTo>
                  <a:cubicBezTo>
                    <a:pt x="-396" y="20298"/>
                    <a:pt x="18426" y="9937"/>
                    <a:pt x="17517" y="4317"/>
                  </a:cubicBezTo>
                  <a:cubicBezTo>
                    <a:pt x="16607" y="-1302"/>
                    <a:pt x="16548" y="176"/>
                    <a:pt x="16548" y="176"/>
                  </a:cubicBezTo>
                  <a:cubicBezTo>
                    <a:pt x="16548" y="176"/>
                    <a:pt x="18797" y="575"/>
                    <a:pt x="18816" y="3608"/>
                  </a:cubicBezTo>
                  <a:cubicBezTo>
                    <a:pt x="18835" y="6642"/>
                    <a:pt x="21204" y="12710"/>
                    <a:pt x="7" y="20157"/>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a:ea typeface="微软雅黑"/>
              </a:endParaRPr>
            </a:p>
          </p:txBody>
        </p:sp>
        <p:sp>
          <p:nvSpPr>
            <p:cNvPr id="146" name="iš1iďe">
              <a:extLst>
                <a:ext uri="{FF2B5EF4-FFF2-40B4-BE49-F238E27FC236}">
                  <a16:creationId xmlns:a16="http://schemas.microsoft.com/office/drawing/2014/main" id="{46F8A3F8-67E0-425A-B2EA-5FB1C784AB14}"/>
                </a:ext>
              </a:extLst>
            </p:cNvPr>
            <p:cNvSpPr/>
            <p:nvPr/>
          </p:nvSpPr>
          <p:spPr>
            <a:xfrm>
              <a:off x="4590877" y="2730355"/>
              <a:ext cx="2630953" cy="155500"/>
            </a:xfrm>
            <a:custGeom>
              <a:avLst/>
              <a:gdLst/>
              <a:ahLst/>
              <a:cxnLst>
                <a:cxn ang="0">
                  <a:pos x="wd2" y="hd2"/>
                </a:cxn>
                <a:cxn ang="5400000">
                  <a:pos x="wd2" y="hd2"/>
                </a:cxn>
                <a:cxn ang="10800000">
                  <a:pos x="wd2" y="hd2"/>
                </a:cxn>
                <a:cxn ang="16200000">
                  <a:pos x="wd2" y="hd2"/>
                </a:cxn>
              </a:cxnLst>
              <a:rect l="0" t="0" r="r" b="b"/>
              <a:pathLst>
                <a:path w="21266" h="11685" extrusionOk="0">
                  <a:moveTo>
                    <a:pt x="12" y="6066"/>
                  </a:moveTo>
                  <a:cubicBezTo>
                    <a:pt x="-334" y="5624"/>
                    <a:pt x="7152" y="10914"/>
                    <a:pt x="13688" y="6066"/>
                  </a:cubicBezTo>
                  <a:cubicBezTo>
                    <a:pt x="20224" y="1217"/>
                    <a:pt x="21266" y="0"/>
                    <a:pt x="21266" y="0"/>
                  </a:cubicBezTo>
                  <a:cubicBezTo>
                    <a:pt x="21266" y="0"/>
                    <a:pt x="12181" y="21600"/>
                    <a:pt x="12" y="6066"/>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a:ea typeface="微软雅黑"/>
              </a:endParaRPr>
            </a:p>
          </p:txBody>
        </p:sp>
        <p:grpSp>
          <p:nvGrpSpPr>
            <p:cNvPr id="147" name="íṣḷiḑè">
              <a:extLst>
                <a:ext uri="{FF2B5EF4-FFF2-40B4-BE49-F238E27FC236}">
                  <a16:creationId xmlns:a16="http://schemas.microsoft.com/office/drawing/2014/main" id="{0F9ED766-B993-4543-A820-65584D50BF7B}"/>
                </a:ext>
              </a:extLst>
            </p:cNvPr>
            <p:cNvGrpSpPr/>
            <p:nvPr/>
          </p:nvGrpSpPr>
          <p:grpSpPr>
            <a:xfrm>
              <a:off x="7829551" y="1936751"/>
              <a:ext cx="869952" cy="521062"/>
              <a:chOff x="0" y="0"/>
              <a:chExt cx="1739901" cy="1042121"/>
            </a:xfrm>
          </p:grpSpPr>
          <p:sp>
            <p:nvSpPr>
              <p:cNvPr id="148" name="íṣḻiḑé">
                <a:extLst>
                  <a:ext uri="{FF2B5EF4-FFF2-40B4-BE49-F238E27FC236}">
                    <a16:creationId xmlns:a16="http://schemas.microsoft.com/office/drawing/2014/main" id="{6E6EAAAD-F558-44D6-93C8-BB7E13071582}"/>
                  </a:ext>
                </a:extLst>
              </p:cNvPr>
              <p:cNvSpPr/>
              <p:nvPr/>
            </p:nvSpPr>
            <p:spPr>
              <a:xfrm>
                <a:off x="0" y="0"/>
                <a:ext cx="1739901" cy="104212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49" name="îSḷíḋe">
                <a:extLst>
                  <a:ext uri="{FF2B5EF4-FFF2-40B4-BE49-F238E27FC236}">
                    <a16:creationId xmlns:a16="http://schemas.microsoft.com/office/drawing/2014/main" id="{AC22BF58-939F-4D2B-8870-81047FE4E37C}"/>
                  </a:ext>
                </a:extLst>
              </p:cNvPr>
              <p:cNvSpPr/>
              <p:nvPr/>
            </p:nvSpPr>
            <p:spPr>
              <a:xfrm>
                <a:off x="1217" y="236760"/>
                <a:ext cx="803822" cy="775915"/>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0" name="iṥļîḍe">
                <a:extLst>
                  <a:ext uri="{FF2B5EF4-FFF2-40B4-BE49-F238E27FC236}">
                    <a16:creationId xmlns:a16="http://schemas.microsoft.com/office/drawing/2014/main" id="{5DED2D49-0952-4F63-9478-F9BB83EDC515}"/>
                  </a:ext>
                </a:extLst>
              </p:cNvPr>
              <p:cNvSpPr/>
              <p:nvPr/>
            </p:nvSpPr>
            <p:spPr>
              <a:xfrm>
                <a:off x="781558" y="94907"/>
                <a:ext cx="96994" cy="366551"/>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1" name="íśḻïḋê">
                <a:extLst>
                  <a:ext uri="{FF2B5EF4-FFF2-40B4-BE49-F238E27FC236}">
                    <a16:creationId xmlns:a16="http://schemas.microsoft.com/office/drawing/2014/main" id="{0518F19B-9833-462B-A6EA-DAEDFA4776DA}"/>
                  </a:ext>
                </a:extLst>
              </p:cNvPr>
              <p:cNvSpPr/>
              <p:nvPr/>
            </p:nvSpPr>
            <p:spPr>
              <a:xfrm>
                <a:off x="765409" y="297899"/>
                <a:ext cx="52453" cy="168419"/>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2" name="ïş1íďé">
                <a:extLst>
                  <a:ext uri="{FF2B5EF4-FFF2-40B4-BE49-F238E27FC236}">
                    <a16:creationId xmlns:a16="http://schemas.microsoft.com/office/drawing/2014/main" id="{0F3EA0FA-7D9D-4DDB-BA36-6285334552EF}"/>
                  </a:ext>
                </a:extLst>
              </p:cNvPr>
              <p:cNvSpPr/>
              <p:nvPr/>
            </p:nvSpPr>
            <p:spPr>
              <a:xfrm>
                <a:off x="660608" y="53878"/>
                <a:ext cx="61522" cy="235475"/>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3" name="ïṧļïdé">
                <a:extLst>
                  <a:ext uri="{FF2B5EF4-FFF2-40B4-BE49-F238E27FC236}">
                    <a16:creationId xmlns:a16="http://schemas.microsoft.com/office/drawing/2014/main" id="{6648CD36-44E7-495B-99E4-845C26596F00}"/>
                  </a:ext>
                </a:extLst>
              </p:cNvPr>
              <p:cNvSpPr/>
              <p:nvPr/>
            </p:nvSpPr>
            <p:spPr>
              <a:xfrm>
                <a:off x="546977" y="106528"/>
                <a:ext cx="186285" cy="332188"/>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5"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4" name="íṧḷiďe">
                <a:extLst>
                  <a:ext uri="{FF2B5EF4-FFF2-40B4-BE49-F238E27FC236}">
                    <a16:creationId xmlns:a16="http://schemas.microsoft.com/office/drawing/2014/main" id="{0FAA62F6-4AEF-443F-821A-6D430E47E2C6}"/>
                  </a:ext>
                </a:extLst>
              </p:cNvPr>
              <p:cNvSpPr/>
              <p:nvPr/>
            </p:nvSpPr>
            <p:spPr>
              <a:xfrm>
                <a:off x="559860" y="271258"/>
                <a:ext cx="86130" cy="20837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5" name="iŝļïďê">
                <a:extLst>
                  <a:ext uri="{FF2B5EF4-FFF2-40B4-BE49-F238E27FC236}">
                    <a16:creationId xmlns:a16="http://schemas.microsoft.com/office/drawing/2014/main" id="{9ADFEDFE-1A84-46AB-9F4C-342D3D5B9500}"/>
                  </a:ext>
                </a:extLst>
              </p:cNvPr>
              <p:cNvSpPr/>
              <p:nvPr/>
            </p:nvSpPr>
            <p:spPr>
              <a:xfrm>
                <a:off x="989109" y="202415"/>
                <a:ext cx="64164" cy="183785"/>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6" name="ïṩļïḓé">
                <a:extLst>
                  <a:ext uri="{FF2B5EF4-FFF2-40B4-BE49-F238E27FC236}">
                    <a16:creationId xmlns:a16="http://schemas.microsoft.com/office/drawing/2014/main" id="{354E04B2-E259-4984-85A7-054FDC7E8B09}"/>
                  </a:ext>
                </a:extLst>
              </p:cNvPr>
              <p:cNvSpPr/>
              <p:nvPr/>
            </p:nvSpPr>
            <p:spPr>
              <a:xfrm>
                <a:off x="990521" y="461745"/>
                <a:ext cx="34953" cy="68286"/>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7" name="iṩľiḋé">
                <a:extLst>
                  <a:ext uri="{FF2B5EF4-FFF2-40B4-BE49-F238E27FC236}">
                    <a16:creationId xmlns:a16="http://schemas.microsoft.com/office/drawing/2014/main" id="{E21E1DC8-76AF-4A16-8AA9-7064CDC91097}"/>
                  </a:ext>
                </a:extLst>
              </p:cNvPr>
              <p:cNvSpPr/>
              <p:nvPr/>
            </p:nvSpPr>
            <p:spPr>
              <a:xfrm>
                <a:off x="1131698" y="318452"/>
                <a:ext cx="75251" cy="14923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8" name="î$1iḍè">
                <a:extLst>
                  <a:ext uri="{FF2B5EF4-FFF2-40B4-BE49-F238E27FC236}">
                    <a16:creationId xmlns:a16="http://schemas.microsoft.com/office/drawing/2014/main" id="{13D4B8F0-1CB0-4039-A025-DB1A3338A604}"/>
                  </a:ext>
                </a:extLst>
              </p:cNvPr>
              <p:cNvSpPr/>
              <p:nvPr/>
            </p:nvSpPr>
            <p:spPr>
              <a:xfrm>
                <a:off x="1448697" y="713276"/>
                <a:ext cx="146344" cy="244425"/>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9" name="îsľïdé">
                <a:extLst>
                  <a:ext uri="{FF2B5EF4-FFF2-40B4-BE49-F238E27FC236}">
                    <a16:creationId xmlns:a16="http://schemas.microsoft.com/office/drawing/2014/main" id="{6327202B-8E24-4E97-B44B-63B0DEC5E505}"/>
                  </a:ext>
                </a:extLst>
              </p:cNvPr>
              <p:cNvSpPr/>
              <p:nvPr/>
            </p:nvSpPr>
            <p:spPr>
              <a:xfrm>
                <a:off x="1572139" y="718328"/>
                <a:ext cx="79525" cy="2218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0" name="íśľïḑè">
                <a:extLst>
                  <a:ext uri="{FF2B5EF4-FFF2-40B4-BE49-F238E27FC236}">
                    <a16:creationId xmlns:a16="http://schemas.microsoft.com/office/drawing/2014/main" id="{8FA57921-61A9-49F5-A14D-DCCC501BACA1}"/>
                  </a:ext>
                </a:extLst>
              </p:cNvPr>
              <p:cNvSpPr/>
              <p:nvPr/>
            </p:nvSpPr>
            <p:spPr>
              <a:xfrm>
                <a:off x="1070163" y="238757"/>
                <a:ext cx="51355" cy="205356"/>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grpSp>
      <p:sp>
        <p:nvSpPr>
          <p:cNvPr id="202" name="íS1iḋè">
            <a:extLst>
              <a:ext uri="{FF2B5EF4-FFF2-40B4-BE49-F238E27FC236}">
                <a16:creationId xmlns:a16="http://schemas.microsoft.com/office/drawing/2014/main" id="{D5151737-FF7F-4D8E-ABDB-E9D299A2DA20}"/>
              </a:ext>
            </a:extLst>
          </p:cNvPr>
          <p:cNvSpPr/>
          <p:nvPr userDrawn="1"/>
        </p:nvSpPr>
        <p:spPr>
          <a:xfrm>
            <a:off x="-19464" y="3123746"/>
            <a:ext cx="12230928" cy="3734254"/>
          </a:xfrm>
          <a:prstGeom prst="rect">
            <a:avLst/>
          </a:prstGeom>
          <a:gradFill>
            <a:gsLst>
              <a:gs pos="0">
                <a:schemeClr val="accent1">
                  <a:lumMod val="20000"/>
                  <a:lumOff val="80000"/>
                  <a:alpha val="50000"/>
                </a:schemeClr>
              </a:gs>
              <a:gs pos="100000">
                <a:schemeClr val="accent1">
                  <a:lumMod val="60000"/>
                  <a:lumOff val="40000"/>
                  <a:alpha val="50000"/>
                </a:schemeClr>
              </a:gs>
            </a:gsLst>
            <a:lin ang="5400000"/>
          </a:gradFill>
          <a:ln w="25400">
            <a:solidFill>
              <a:srgbClr val="000000">
                <a:alpha val="0"/>
              </a:srgbClr>
            </a:solidFill>
            <a:miter lim="400000"/>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575757"/>
              </a:solidFill>
              <a:effectLst/>
              <a:uLnTx/>
              <a:uFillTx/>
              <a:latin typeface="Trebuchet MS"/>
              <a:ea typeface="微软雅黑"/>
            </a:endParaRPr>
          </a:p>
        </p:txBody>
      </p:sp>
    </p:spTree>
    <p:extLst>
      <p:ext uri="{BB962C8B-B14F-4D97-AF65-F5344CB8AC3E}">
        <p14:creationId xmlns:p14="http://schemas.microsoft.com/office/powerpoint/2010/main" val="28102877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封面2-1">
    <p:spTree>
      <p:nvGrpSpPr>
        <p:cNvPr id="1" name=""/>
        <p:cNvGrpSpPr/>
        <p:nvPr/>
      </p:nvGrpSpPr>
      <p:grpSpPr>
        <a:xfrm>
          <a:off x="0" y="0"/>
          <a:ext cx="0" cy="0"/>
          <a:chOff x="0" y="0"/>
          <a:chExt cx="0" cy="0"/>
        </a:xfrm>
      </p:grpSpPr>
      <p:pic>
        <p:nvPicPr>
          <p:cNvPr id="126" name="图片 125">
            <a:extLst>
              <a:ext uri="{FF2B5EF4-FFF2-40B4-BE49-F238E27FC236}">
                <a16:creationId xmlns:a16="http://schemas.microsoft.com/office/drawing/2014/main" id="{7986A4E2-D4D7-4DAE-A708-1036146F97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4107180"/>
          </a:xfrm>
          <a:prstGeom prst="rect">
            <a:avLst/>
          </a:prstGeom>
        </p:spPr>
      </p:pic>
      <p:sp>
        <p:nvSpPr>
          <p:cNvPr id="111" name="矩形: 单圆角 110">
            <a:extLst>
              <a:ext uri="{FF2B5EF4-FFF2-40B4-BE49-F238E27FC236}">
                <a16:creationId xmlns:a16="http://schemas.microsoft.com/office/drawing/2014/main" id="{EAF442DF-F7DD-4876-9392-D355326F67A6}"/>
              </a:ext>
            </a:extLst>
          </p:cNvPr>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a:extLst>
              <a:ext uri="{FF2B5EF4-FFF2-40B4-BE49-F238E27FC236}">
                <a16:creationId xmlns:a16="http://schemas.microsoft.com/office/drawing/2014/main" id="{40D7A070-7AD3-46A0-AD41-94F48E4EE327}"/>
              </a:ext>
            </a:extLst>
          </p:cNvPr>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a:extLst>
              <a:ext uri="{FF2B5EF4-FFF2-40B4-BE49-F238E27FC236}">
                <a16:creationId xmlns:a16="http://schemas.microsoft.com/office/drawing/2014/main" id="{ABEFFFED-3586-4082-A56E-F78581DA1ACB}"/>
              </a:ext>
            </a:extLst>
          </p:cNvPr>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a:extLst>
              <a:ext uri="{FF2B5EF4-FFF2-40B4-BE49-F238E27FC236}">
                <a16:creationId xmlns:a16="http://schemas.microsoft.com/office/drawing/2014/main" id="{E5D5D201-24DF-473B-9E84-E4E6D020883A}"/>
              </a:ext>
            </a:extLst>
          </p:cNvPr>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3" name="内容占位符 123">
            <a:extLst>
              <a:ext uri="{FF2B5EF4-FFF2-40B4-BE49-F238E27FC236}">
                <a16:creationId xmlns:a16="http://schemas.microsoft.com/office/drawing/2014/main" id="{9BA06F88-BC0E-412B-8B0F-3AA80A75F435}"/>
              </a:ext>
            </a:extLst>
          </p:cNvPr>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7" name="内容占位符 4">
            <a:extLst>
              <a:ext uri="{FF2B5EF4-FFF2-40B4-BE49-F238E27FC236}">
                <a16:creationId xmlns:a16="http://schemas.microsoft.com/office/drawing/2014/main" id="{D6E95ACC-70CC-423E-875E-05B1248892ED}"/>
              </a:ext>
            </a:extLst>
          </p:cNvPr>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18" name="直接连接符 117">
            <a:extLst>
              <a:ext uri="{FF2B5EF4-FFF2-40B4-BE49-F238E27FC236}">
                <a16:creationId xmlns:a16="http://schemas.microsoft.com/office/drawing/2014/main" id="{4F33372E-E460-4F2E-8301-DE89859AEECE}"/>
              </a:ext>
            </a:extLst>
          </p:cNvPr>
          <p:cNvCxnSpPr>
            <a:cxnSpLocks/>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60" name="组合 59">
            <a:extLst>
              <a:ext uri="{FF2B5EF4-FFF2-40B4-BE49-F238E27FC236}">
                <a16:creationId xmlns:a16="http://schemas.microsoft.com/office/drawing/2014/main" id="{7792C7E5-4A60-47F7-A049-DAB770E006B3}"/>
              </a:ext>
            </a:extLst>
          </p:cNvPr>
          <p:cNvGrpSpPr/>
          <p:nvPr userDrawn="1"/>
        </p:nvGrpSpPr>
        <p:grpSpPr>
          <a:xfrm>
            <a:off x="10477913" y="446123"/>
            <a:ext cx="1234662" cy="419641"/>
            <a:chOff x="1398368" y="5051425"/>
            <a:chExt cx="3242941" cy="1102222"/>
          </a:xfrm>
        </p:grpSpPr>
        <p:sp>
          <p:nvSpPr>
            <p:cNvPr id="61" name="Freeform 5">
              <a:extLst>
                <a:ext uri="{FF2B5EF4-FFF2-40B4-BE49-F238E27FC236}">
                  <a16:creationId xmlns:a16="http://schemas.microsoft.com/office/drawing/2014/main" id="{BAC6D441-2337-4747-96A4-F5E9A2C6DE5D}"/>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
              <a:extLst>
                <a:ext uri="{FF2B5EF4-FFF2-40B4-BE49-F238E27FC236}">
                  <a16:creationId xmlns:a16="http://schemas.microsoft.com/office/drawing/2014/main" id="{A4046264-87C2-4C6E-8A68-2E4D0EDEF322}"/>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8">
              <a:extLst>
                <a:ext uri="{FF2B5EF4-FFF2-40B4-BE49-F238E27FC236}">
                  <a16:creationId xmlns:a16="http://schemas.microsoft.com/office/drawing/2014/main" id="{65D0D3EC-1A86-4D55-85A1-A35BFE6EA40E}"/>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9" name="组合 118">
              <a:extLst>
                <a:ext uri="{FF2B5EF4-FFF2-40B4-BE49-F238E27FC236}">
                  <a16:creationId xmlns:a16="http://schemas.microsoft.com/office/drawing/2014/main" id="{2726B84D-4A27-4745-B183-0AB78C40DC19}"/>
                </a:ext>
              </a:extLst>
            </p:cNvPr>
            <p:cNvGrpSpPr/>
            <p:nvPr/>
          </p:nvGrpSpPr>
          <p:grpSpPr>
            <a:xfrm>
              <a:off x="2921957" y="5168150"/>
              <a:ext cx="542765" cy="642593"/>
              <a:chOff x="3102298" y="5183391"/>
              <a:chExt cx="501880" cy="594188"/>
            </a:xfrm>
          </p:grpSpPr>
          <p:sp>
            <p:nvSpPr>
              <p:cNvPr id="161" name="Freeform 6">
                <a:extLst>
                  <a:ext uri="{FF2B5EF4-FFF2-40B4-BE49-F238E27FC236}">
                    <a16:creationId xmlns:a16="http://schemas.microsoft.com/office/drawing/2014/main" id="{0E0DDBB8-608A-46D5-BC9B-696F75C55733}"/>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0">
                <a:extLst>
                  <a:ext uri="{FF2B5EF4-FFF2-40B4-BE49-F238E27FC236}">
                    <a16:creationId xmlns:a16="http://schemas.microsoft.com/office/drawing/2014/main" id="{6E7E211D-FBA1-493D-AB65-0AD98AE46D32}"/>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3">
                <a:extLst>
                  <a:ext uri="{FF2B5EF4-FFF2-40B4-BE49-F238E27FC236}">
                    <a16:creationId xmlns:a16="http://schemas.microsoft.com/office/drawing/2014/main" id="{DB0AF462-978A-4EE8-9616-C23BBF1C581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0" name="组合 119">
              <a:extLst>
                <a:ext uri="{FF2B5EF4-FFF2-40B4-BE49-F238E27FC236}">
                  <a16:creationId xmlns:a16="http://schemas.microsoft.com/office/drawing/2014/main" id="{02FEB11B-9FA4-4BEA-BC82-0CC306BAC36F}"/>
                </a:ext>
              </a:extLst>
            </p:cNvPr>
            <p:cNvGrpSpPr/>
            <p:nvPr/>
          </p:nvGrpSpPr>
          <p:grpSpPr>
            <a:xfrm>
              <a:off x="4196892" y="5154476"/>
              <a:ext cx="444417" cy="649987"/>
              <a:chOff x="4257853" y="5169716"/>
              <a:chExt cx="410940" cy="601025"/>
            </a:xfrm>
          </p:grpSpPr>
          <p:sp>
            <p:nvSpPr>
              <p:cNvPr id="156" name="Freeform 9">
                <a:extLst>
                  <a:ext uri="{FF2B5EF4-FFF2-40B4-BE49-F238E27FC236}">
                    <a16:creationId xmlns:a16="http://schemas.microsoft.com/office/drawing/2014/main" id="{D1A4F6A0-3777-4ACC-8EF8-E39C1B16BC3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1">
                <a:extLst>
                  <a:ext uri="{FF2B5EF4-FFF2-40B4-BE49-F238E27FC236}">
                    <a16:creationId xmlns:a16="http://schemas.microsoft.com/office/drawing/2014/main" id="{6A76657A-A6EE-4490-ABB3-92D3AA2EAB02}"/>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2">
                <a:extLst>
                  <a:ext uri="{FF2B5EF4-FFF2-40B4-BE49-F238E27FC236}">
                    <a16:creationId xmlns:a16="http://schemas.microsoft.com/office/drawing/2014/main" id="{F16C643A-2A99-434C-98F5-7405082AA096}"/>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4">
                <a:extLst>
                  <a:ext uri="{FF2B5EF4-FFF2-40B4-BE49-F238E27FC236}">
                    <a16:creationId xmlns:a16="http://schemas.microsoft.com/office/drawing/2014/main" id="{A967681F-AA86-4346-9CF8-78309A29A8E6}"/>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
                <a:extLst>
                  <a:ext uri="{FF2B5EF4-FFF2-40B4-BE49-F238E27FC236}">
                    <a16:creationId xmlns:a16="http://schemas.microsoft.com/office/drawing/2014/main" id="{49E70138-4FB3-433B-A385-7AED7F68B040}"/>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1" name="Freeform 16">
              <a:extLst>
                <a:ext uri="{FF2B5EF4-FFF2-40B4-BE49-F238E27FC236}">
                  <a16:creationId xmlns:a16="http://schemas.microsoft.com/office/drawing/2014/main" id="{42030A8A-15E5-4E53-91AF-E50EACCCA2D6}"/>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7">
              <a:extLst>
                <a:ext uri="{FF2B5EF4-FFF2-40B4-BE49-F238E27FC236}">
                  <a16:creationId xmlns:a16="http://schemas.microsoft.com/office/drawing/2014/main" id="{72E82B90-AF16-439B-B396-0DAAE2A4F89F}"/>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8">
              <a:extLst>
                <a:ext uri="{FF2B5EF4-FFF2-40B4-BE49-F238E27FC236}">
                  <a16:creationId xmlns:a16="http://schemas.microsoft.com/office/drawing/2014/main" id="{6F6DC21F-207B-42B3-92B4-261DC2A1A32B}"/>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9">
              <a:extLst>
                <a:ext uri="{FF2B5EF4-FFF2-40B4-BE49-F238E27FC236}">
                  <a16:creationId xmlns:a16="http://schemas.microsoft.com/office/drawing/2014/main" id="{2ABAC66B-EEDB-483A-A23D-729204C432E9}"/>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0">
              <a:extLst>
                <a:ext uri="{FF2B5EF4-FFF2-40B4-BE49-F238E27FC236}">
                  <a16:creationId xmlns:a16="http://schemas.microsoft.com/office/drawing/2014/main" id="{99C77A98-51C8-456E-8700-8626B382A5D0}"/>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1">
              <a:extLst>
                <a:ext uri="{FF2B5EF4-FFF2-40B4-BE49-F238E27FC236}">
                  <a16:creationId xmlns:a16="http://schemas.microsoft.com/office/drawing/2014/main" id="{AD19FE1C-7548-4348-BE13-2D75A5033E89}"/>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2">
              <a:extLst>
                <a:ext uri="{FF2B5EF4-FFF2-40B4-BE49-F238E27FC236}">
                  <a16:creationId xmlns:a16="http://schemas.microsoft.com/office/drawing/2014/main" id="{455F721B-CE4F-455D-B377-F2AAC05AB136}"/>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3">
              <a:extLst>
                <a:ext uri="{FF2B5EF4-FFF2-40B4-BE49-F238E27FC236}">
                  <a16:creationId xmlns:a16="http://schemas.microsoft.com/office/drawing/2014/main" id="{3E1EFD22-9297-401C-89C7-17E8B3FEF538}"/>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4">
              <a:extLst>
                <a:ext uri="{FF2B5EF4-FFF2-40B4-BE49-F238E27FC236}">
                  <a16:creationId xmlns:a16="http://schemas.microsoft.com/office/drawing/2014/main" id="{178D1761-57E4-4373-881D-CE1E0EAB77E6}"/>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5">
              <a:extLst>
                <a:ext uri="{FF2B5EF4-FFF2-40B4-BE49-F238E27FC236}">
                  <a16:creationId xmlns:a16="http://schemas.microsoft.com/office/drawing/2014/main" id="{1DEB9827-1EE3-4292-8A9E-153AB7359075}"/>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6">
              <a:extLst>
                <a:ext uri="{FF2B5EF4-FFF2-40B4-BE49-F238E27FC236}">
                  <a16:creationId xmlns:a16="http://schemas.microsoft.com/office/drawing/2014/main" id="{94EA82E3-F431-4D97-8722-04A76F8026C8}"/>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7">
              <a:extLst>
                <a:ext uri="{FF2B5EF4-FFF2-40B4-BE49-F238E27FC236}">
                  <a16:creationId xmlns:a16="http://schemas.microsoft.com/office/drawing/2014/main" id="{A82EAF5A-9C9C-43EA-9F7C-AABA0D25C3BF}"/>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8">
              <a:extLst>
                <a:ext uri="{FF2B5EF4-FFF2-40B4-BE49-F238E27FC236}">
                  <a16:creationId xmlns:a16="http://schemas.microsoft.com/office/drawing/2014/main" id="{9B80075C-FE5D-4268-8846-7A533DA62D5E}"/>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9">
              <a:extLst>
                <a:ext uri="{FF2B5EF4-FFF2-40B4-BE49-F238E27FC236}">
                  <a16:creationId xmlns:a16="http://schemas.microsoft.com/office/drawing/2014/main" id="{71A5ACA4-959D-4A56-B634-53986D9C9F04}"/>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0">
              <a:extLst>
                <a:ext uri="{FF2B5EF4-FFF2-40B4-BE49-F238E27FC236}">
                  <a16:creationId xmlns:a16="http://schemas.microsoft.com/office/drawing/2014/main" id="{62DCB4F0-0C63-4528-A0F4-145DBF19D9AA}"/>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1">
              <a:extLst>
                <a:ext uri="{FF2B5EF4-FFF2-40B4-BE49-F238E27FC236}">
                  <a16:creationId xmlns:a16="http://schemas.microsoft.com/office/drawing/2014/main" id="{81029D65-4FAD-416A-8E56-493B0F1C0E0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2">
              <a:extLst>
                <a:ext uri="{FF2B5EF4-FFF2-40B4-BE49-F238E27FC236}">
                  <a16:creationId xmlns:a16="http://schemas.microsoft.com/office/drawing/2014/main" id="{218D30C1-6B98-4CFC-8AFA-0A0FE4029CC9}"/>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3">
              <a:extLst>
                <a:ext uri="{FF2B5EF4-FFF2-40B4-BE49-F238E27FC236}">
                  <a16:creationId xmlns:a16="http://schemas.microsoft.com/office/drawing/2014/main" id="{D1A13025-8998-4664-9D94-145F3054D9F4}"/>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34">
              <a:extLst>
                <a:ext uri="{FF2B5EF4-FFF2-40B4-BE49-F238E27FC236}">
                  <a16:creationId xmlns:a16="http://schemas.microsoft.com/office/drawing/2014/main" id="{42745014-3AFB-488C-92E8-5E59A1373060}"/>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5">
              <a:extLst>
                <a:ext uri="{FF2B5EF4-FFF2-40B4-BE49-F238E27FC236}">
                  <a16:creationId xmlns:a16="http://schemas.microsoft.com/office/drawing/2014/main" id="{132E18A2-D7D9-416D-A989-BD942DBC5B05}"/>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6">
              <a:extLst>
                <a:ext uri="{FF2B5EF4-FFF2-40B4-BE49-F238E27FC236}">
                  <a16:creationId xmlns:a16="http://schemas.microsoft.com/office/drawing/2014/main" id="{CBE413FE-4A44-4731-8FC0-2188ECF491F0}"/>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7">
              <a:extLst>
                <a:ext uri="{FF2B5EF4-FFF2-40B4-BE49-F238E27FC236}">
                  <a16:creationId xmlns:a16="http://schemas.microsoft.com/office/drawing/2014/main" id="{42803605-F4EC-4EE2-96AE-CCA390224614}"/>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8">
              <a:extLst>
                <a:ext uri="{FF2B5EF4-FFF2-40B4-BE49-F238E27FC236}">
                  <a16:creationId xmlns:a16="http://schemas.microsoft.com/office/drawing/2014/main" id="{87FE3813-AB4D-450F-850F-D0CBD04ADF44}"/>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9">
              <a:extLst>
                <a:ext uri="{FF2B5EF4-FFF2-40B4-BE49-F238E27FC236}">
                  <a16:creationId xmlns:a16="http://schemas.microsoft.com/office/drawing/2014/main" id="{E52F92D9-AF6B-4B30-B6B5-E757E2E5180F}"/>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0">
              <a:extLst>
                <a:ext uri="{FF2B5EF4-FFF2-40B4-BE49-F238E27FC236}">
                  <a16:creationId xmlns:a16="http://schemas.microsoft.com/office/drawing/2014/main" id="{F7A64FC9-8C33-4D97-A7BA-574FCE1A5E01}"/>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1">
              <a:extLst>
                <a:ext uri="{FF2B5EF4-FFF2-40B4-BE49-F238E27FC236}">
                  <a16:creationId xmlns:a16="http://schemas.microsoft.com/office/drawing/2014/main" id="{7F8967C8-3B79-4DBF-9545-B9FAA62F6B80}"/>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2">
              <a:extLst>
                <a:ext uri="{FF2B5EF4-FFF2-40B4-BE49-F238E27FC236}">
                  <a16:creationId xmlns:a16="http://schemas.microsoft.com/office/drawing/2014/main" id="{FD5A4E77-3A4C-4592-8EA6-C0C7D12111F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3">
              <a:extLst>
                <a:ext uri="{FF2B5EF4-FFF2-40B4-BE49-F238E27FC236}">
                  <a16:creationId xmlns:a16="http://schemas.microsoft.com/office/drawing/2014/main" id="{F8FC6A1E-4933-4A86-BF34-CC1150634B50}"/>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4">
              <a:extLst>
                <a:ext uri="{FF2B5EF4-FFF2-40B4-BE49-F238E27FC236}">
                  <a16:creationId xmlns:a16="http://schemas.microsoft.com/office/drawing/2014/main" id="{7C54EB49-37FB-42CC-9988-2932D8B7E437}"/>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5">
              <a:extLst>
                <a:ext uri="{FF2B5EF4-FFF2-40B4-BE49-F238E27FC236}">
                  <a16:creationId xmlns:a16="http://schemas.microsoft.com/office/drawing/2014/main" id="{55D4D74A-7FD5-40B0-BB18-A6D62953DBAD}"/>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6">
              <a:extLst>
                <a:ext uri="{FF2B5EF4-FFF2-40B4-BE49-F238E27FC236}">
                  <a16:creationId xmlns:a16="http://schemas.microsoft.com/office/drawing/2014/main" id="{DAB046F4-5229-496F-AD1A-2BB0B3D0D6F6}"/>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7">
              <a:extLst>
                <a:ext uri="{FF2B5EF4-FFF2-40B4-BE49-F238E27FC236}">
                  <a16:creationId xmlns:a16="http://schemas.microsoft.com/office/drawing/2014/main" id="{CFE76F87-ED5A-4B49-B5EE-CD6F6579A53B}"/>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8">
              <a:extLst>
                <a:ext uri="{FF2B5EF4-FFF2-40B4-BE49-F238E27FC236}">
                  <a16:creationId xmlns:a16="http://schemas.microsoft.com/office/drawing/2014/main" id="{C7EF81C7-C470-4DDA-B051-1DCB50C9EAA6}"/>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9">
              <a:extLst>
                <a:ext uri="{FF2B5EF4-FFF2-40B4-BE49-F238E27FC236}">
                  <a16:creationId xmlns:a16="http://schemas.microsoft.com/office/drawing/2014/main" id="{9AC8D61C-7FF9-4A21-A63B-2BCC72B71D4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4448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图片占位符 6">
            <a:extLst>
              <a:ext uri="{FF2B5EF4-FFF2-40B4-BE49-F238E27FC236}">
                <a16:creationId xmlns:a16="http://schemas.microsoft.com/office/drawing/2014/main" id="{A33F5D92-293F-494B-95BD-E79B784567C4}"/>
              </a:ext>
            </a:extLst>
          </p:cNvPr>
          <p:cNvSpPr>
            <a:spLocks noGrp="1"/>
          </p:cNvSpPr>
          <p:nvPr>
            <p:ph type="pic" sz="quarter" idx="10"/>
          </p:nvPr>
        </p:nvSpPr>
        <p:spPr>
          <a:xfrm>
            <a:off x="0" y="1196976"/>
            <a:ext cx="2766546" cy="4932362"/>
          </a:xfrm>
          <a:solidFill>
            <a:schemeClr val="accent1">
              <a:lumMod val="20000"/>
              <a:lumOff val="80000"/>
            </a:schemeClr>
          </a:solidFill>
        </p:spPr>
        <p:txBody>
          <a:bodyPr/>
          <a:lstStyle/>
          <a:p>
            <a:endParaRPr lang="en-US"/>
          </a:p>
        </p:txBody>
      </p:sp>
      <p:sp>
        <p:nvSpPr>
          <p:cNvPr id="9" name="图片占位符 8">
            <a:extLst>
              <a:ext uri="{FF2B5EF4-FFF2-40B4-BE49-F238E27FC236}">
                <a16:creationId xmlns:a16="http://schemas.microsoft.com/office/drawing/2014/main" id="{472373F1-345B-46A5-9A75-BF10565880A7}"/>
              </a:ext>
            </a:extLst>
          </p:cNvPr>
          <p:cNvSpPr>
            <a:spLocks noGrp="1"/>
          </p:cNvSpPr>
          <p:nvPr>
            <p:ph type="pic" sz="quarter" idx="11"/>
          </p:nvPr>
        </p:nvSpPr>
        <p:spPr>
          <a:xfrm>
            <a:off x="9425452" y="1196976"/>
            <a:ext cx="2766548" cy="4932362"/>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19708037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2" name="îṩļíḓè">
            <a:extLst>
              <a:ext uri="{FF2B5EF4-FFF2-40B4-BE49-F238E27FC236}">
                <a16:creationId xmlns:a16="http://schemas.microsoft.com/office/drawing/2014/main" id="{AE06BAA9-0578-42ED-A66A-2B8DD1B26CC4}"/>
              </a:ext>
            </a:extLst>
          </p:cNvPr>
          <p:cNvSpPr/>
          <p:nvPr userDrawn="1"/>
        </p:nvSpPr>
        <p:spPr>
          <a:xfrm>
            <a:off x="0" y="5881254"/>
            <a:ext cx="12192000" cy="33250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92500" lnSpcReduction="10000"/>
          </a:bodyPr>
          <a:lstStyle/>
          <a:p>
            <a:pPr algn="ctr"/>
            <a:endParaRPr lang="zh-CN" altLang="en-US">
              <a:cs typeface="+mn-ea"/>
              <a:sym typeface="+mn-lt"/>
            </a:endParaRPr>
          </a:p>
        </p:txBody>
      </p:sp>
      <p:grpSp>
        <p:nvGrpSpPr>
          <p:cNvPr id="113" name="组合 112">
            <a:extLst>
              <a:ext uri="{FF2B5EF4-FFF2-40B4-BE49-F238E27FC236}">
                <a16:creationId xmlns:a16="http://schemas.microsoft.com/office/drawing/2014/main" id="{24210DA4-17BC-4DB7-A4C6-DA2FB0994491}"/>
              </a:ext>
            </a:extLst>
          </p:cNvPr>
          <p:cNvGrpSpPr/>
          <p:nvPr userDrawn="1"/>
        </p:nvGrpSpPr>
        <p:grpSpPr>
          <a:xfrm>
            <a:off x="4233047" y="1242688"/>
            <a:ext cx="3190532" cy="4245353"/>
            <a:chOff x="4233047" y="1242688"/>
            <a:chExt cx="3190532" cy="4245353"/>
          </a:xfrm>
        </p:grpSpPr>
        <p:sp>
          <p:nvSpPr>
            <p:cNvPr id="114" name="í$ḷïďê">
              <a:extLst>
                <a:ext uri="{FF2B5EF4-FFF2-40B4-BE49-F238E27FC236}">
                  <a16:creationId xmlns:a16="http://schemas.microsoft.com/office/drawing/2014/main" id="{0AA819E7-F5F4-46AD-B1F7-325B2BC62085}"/>
                </a:ext>
              </a:extLst>
            </p:cNvPr>
            <p:cNvSpPr/>
            <p:nvPr/>
          </p:nvSpPr>
          <p:spPr bwMode="auto">
            <a:xfrm>
              <a:off x="6661392" y="1978798"/>
              <a:ext cx="551226" cy="548959"/>
            </a:xfrm>
            <a:custGeom>
              <a:avLst/>
              <a:gdLst>
                <a:gd name="T0" fmla="*/ 243 w 623"/>
                <a:gd name="T1" fmla="*/ 585 h 622"/>
                <a:gd name="T2" fmla="*/ 585 w 623"/>
                <a:gd name="T3" fmla="*/ 380 h 622"/>
                <a:gd name="T4" fmla="*/ 380 w 623"/>
                <a:gd name="T5" fmla="*/ 38 h 622"/>
                <a:gd name="T6" fmla="*/ 38 w 623"/>
                <a:gd name="T7" fmla="*/ 243 h 622"/>
                <a:gd name="T8" fmla="*/ 243 w 623"/>
                <a:gd name="T9" fmla="*/ 585 h 622"/>
              </a:gdLst>
              <a:ahLst/>
              <a:cxnLst>
                <a:cxn ang="0">
                  <a:pos x="T0" y="T1"/>
                </a:cxn>
                <a:cxn ang="0">
                  <a:pos x="T2" y="T3"/>
                </a:cxn>
                <a:cxn ang="0">
                  <a:pos x="T4" y="T5"/>
                </a:cxn>
                <a:cxn ang="0">
                  <a:pos x="T6" y="T7"/>
                </a:cxn>
                <a:cxn ang="0">
                  <a:pos x="T8" y="T9"/>
                </a:cxn>
              </a:cxnLst>
              <a:rect l="0" t="0" r="r" b="b"/>
              <a:pathLst>
                <a:path w="623" h="622">
                  <a:moveTo>
                    <a:pt x="243" y="585"/>
                  </a:moveTo>
                  <a:cubicBezTo>
                    <a:pt x="394" y="622"/>
                    <a:pt x="547" y="531"/>
                    <a:pt x="585" y="380"/>
                  </a:cubicBezTo>
                  <a:cubicBezTo>
                    <a:pt x="623" y="229"/>
                    <a:pt x="531" y="76"/>
                    <a:pt x="380" y="38"/>
                  </a:cubicBezTo>
                  <a:cubicBezTo>
                    <a:pt x="229" y="0"/>
                    <a:pt x="76" y="92"/>
                    <a:pt x="38" y="243"/>
                  </a:cubicBezTo>
                  <a:cubicBezTo>
                    <a:pt x="0" y="394"/>
                    <a:pt x="92" y="547"/>
                    <a:pt x="243" y="58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92500" lnSpcReduction="10000"/>
            </a:bodyPr>
            <a:lstStyle/>
            <a:p>
              <a:endParaRPr lang="en-US" sz="3599">
                <a:cs typeface="+mn-ea"/>
                <a:sym typeface="+mn-lt"/>
              </a:endParaRPr>
            </a:p>
          </p:txBody>
        </p:sp>
        <p:sp>
          <p:nvSpPr>
            <p:cNvPr id="115" name="íṣľíḍê">
              <a:extLst>
                <a:ext uri="{FF2B5EF4-FFF2-40B4-BE49-F238E27FC236}">
                  <a16:creationId xmlns:a16="http://schemas.microsoft.com/office/drawing/2014/main" id="{4D2DD8D6-2C29-4997-BA92-4F47D608A1CD}"/>
                </a:ext>
              </a:extLst>
            </p:cNvPr>
            <p:cNvSpPr/>
            <p:nvPr/>
          </p:nvSpPr>
          <p:spPr bwMode="auto">
            <a:xfrm>
              <a:off x="6610352" y="2155736"/>
              <a:ext cx="145179" cy="162193"/>
            </a:xfrm>
            <a:custGeom>
              <a:avLst/>
              <a:gdLst>
                <a:gd name="T0" fmla="*/ 115 w 128"/>
                <a:gd name="T1" fmla="*/ 143 h 143"/>
                <a:gd name="T2" fmla="*/ 128 w 128"/>
                <a:gd name="T3" fmla="*/ 0 h 143"/>
                <a:gd name="T4" fmla="*/ 6 w 128"/>
                <a:gd name="T5" fmla="*/ 27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7"/>
                  </a:lnTo>
                  <a:lnTo>
                    <a:pt x="0" y="95"/>
                  </a:lnTo>
                  <a:lnTo>
                    <a:pt x="115" y="14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16" name="ï$ľíḓé">
              <a:extLst>
                <a:ext uri="{FF2B5EF4-FFF2-40B4-BE49-F238E27FC236}">
                  <a16:creationId xmlns:a16="http://schemas.microsoft.com/office/drawing/2014/main" id="{3DDB0158-36B0-4593-AEB1-97A8CCD91062}"/>
                </a:ext>
              </a:extLst>
            </p:cNvPr>
            <p:cNvSpPr/>
            <p:nvPr/>
          </p:nvSpPr>
          <p:spPr bwMode="auto">
            <a:xfrm>
              <a:off x="6837194" y="2435885"/>
              <a:ext cx="163326" cy="144045"/>
            </a:xfrm>
            <a:custGeom>
              <a:avLst/>
              <a:gdLst>
                <a:gd name="T0" fmla="*/ 0 w 144"/>
                <a:gd name="T1" fmla="*/ 0 h 127"/>
                <a:gd name="T2" fmla="*/ 144 w 144"/>
                <a:gd name="T3" fmla="*/ 12 h 127"/>
                <a:gd name="T4" fmla="*/ 95 w 144"/>
                <a:gd name="T5" fmla="*/ 127 h 127"/>
                <a:gd name="T6" fmla="*/ 27 w 144"/>
                <a:gd name="T7" fmla="*/ 121 h 127"/>
                <a:gd name="T8" fmla="*/ 0 w 144"/>
                <a:gd name="T9" fmla="*/ 0 h 127"/>
              </a:gdLst>
              <a:ahLst/>
              <a:cxnLst>
                <a:cxn ang="0">
                  <a:pos x="T0" y="T1"/>
                </a:cxn>
                <a:cxn ang="0">
                  <a:pos x="T2" y="T3"/>
                </a:cxn>
                <a:cxn ang="0">
                  <a:pos x="T4" y="T5"/>
                </a:cxn>
                <a:cxn ang="0">
                  <a:pos x="T6" y="T7"/>
                </a:cxn>
                <a:cxn ang="0">
                  <a:pos x="T8" y="T9"/>
                </a:cxn>
              </a:cxnLst>
              <a:rect l="0" t="0" r="r" b="b"/>
              <a:pathLst>
                <a:path w="144" h="127">
                  <a:moveTo>
                    <a:pt x="0" y="0"/>
                  </a:moveTo>
                  <a:lnTo>
                    <a:pt x="144" y="12"/>
                  </a:lnTo>
                  <a:lnTo>
                    <a:pt x="95" y="127"/>
                  </a:lnTo>
                  <a:lnTo>
                    <a:pt x="27" y="121"/>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17" name="iŝlïḑè">
              <a:extLst>
                <a:ext uri="{FF2B5EF4-FFF2-40B4-BE49-F238E27FC236}">
                  <a16:creationId xmlns:a16="http://schemas.microsoft.com/office/drawing/2014/main" id="{985A38B2-16B3-4419-B8B3-3E99E7325D07}"/>
                </a:ext>
              </a:extLst>
            </p:cNvPr>
            <p:cNvSpPr/>
            <p:nvPr/>
          </p:nvSpPr>
          <p:spPr bwMode="auto">
            <a:xfrm>
              <a:off x="7117344" y="2188628"/>
              <a:ext cx="145179" cy="163327"/>
            </a:xfrm>
            <a:custGeom>
              <a:avLst/>
              <a:gdLst>
                <a:gd name="T0" fmla="*/ 14 w 128"/>
                <a:gd name="T1" fmla="*/ 0 h 144"/>
                <a:gd name="T2" fmla="*/ 0 w 128"/>
                <a:gd name="T3" fmla="*/ 144 h 144"/>
                <a:gd name="T4" fmla="*/ 122 w 128"/>
                <a:gd name="T5" fmla="*/ 117 h 144"/>
                <a:gd name="T6" fmla="*/ 128 w 128"/>
                <a:gd name="T7" fmla="*/ 49 h 144"/>
                <a:gd name="T8" fmla="*/ 14 w 128"/>
                <a:gd name="T9" fmla="*/ 0 h 144"/>
              </a:gdLst>
              <a:ahLst/>
              <a:cxnLst>
                <a:cxn ang="0">
                  <a:pos x="T0" y="T1"/>
                </a:cxn>
                <a:cxn ang="0">
                  <a:pos x="T2" y="T3"/>
                </a:cxn>
                <a:cxn ang="0">
                  <a:pos x="T4" y="T5"/>
                </a:cxn>
                <a:cxn ang="0">
                  <a:pos x="T6" y="T7"/>
                </a:cxn>
                <a:cxn ang="0">
                  <a:pos x="T8" y="T9"/>
                </a:cxn>
              </a:cxnLst>
              <a:rect l="0" t="0" r="r" b="b"/>
              <a:pathLst>
                <a:path w="128" h="144">
                  <a:moveTo>
                    <a:pt x="14" y="0"/>
                  </a:moveTo>
                  <a:lnTo>
                    <a:pt x="0" y="144"/>
                  </a:lnTo>
                  <a:lnTo>
                    <a:pt x="122" y="117"/>
                  </a:lnTo>
                  <a:lnTo>
                    <a:pt x="128" y="49"/>
                  </a:lnTo>
                  <a:lnTo>
                    <a:pt x="14"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18" name="íśliḑè">
              <a:extLst>
                <a:ext uri="{FF2B5EF4-FFF2-40B4-BE49-F238E27FC236}">
                  <a16:creationId xmlns:a16="http://schemas.microsoft.com/office/drawing/2014/main" id="{A547D01A-852E-4974-B647-A04613C68E66}"/>
                </a:ext>
              </a:extLst>
            </p:cNvPr>
            <p:cNvSpPr/>
            <p:nvPr/>
          </p:nvSpPr>
          <p:spPr bwMode="auto">
            <a:xfrm>
              <a:off x="6873488" y="1928892"/>
              <a:ext cx="163326" cy="145180"/>
            </a:xfrm>
            <a:custGeom>
              <a:avLst/>
              <a:gdLst>
                <a:gd name="T0" fmla="*/ 144 w 144"/>
                <a:gd name="T1" fmla="*/ 128 h 128"/>
                <a:gd name="T2" fmla="*/ 0 w 144"/>
                <a:gd name="T3" fmla="*/ 115 h 128"/>
                <a:gd name="T4" fmla="*/ 49 w 144"/>
                <a:gd name="T5" fmla="*/ 0 h 128"/>
                <a:gd name="T6" fmla="*/ 117 w 144"/>
                <a:gd name="T7" fmla="*/ 7 h 128"/>
                <a:gd name="T8" fmla="*/ 144 w 144"/>
                <a:gd name="T9" fmla="*/ 128 h 128"/>
              </a:gdLst>
              <a:ahLst/>
              <a:cxnLst>
                <a:cxn ang="0">
                  <a:pos x="T0" y="T1"/>
                </a:cxn>
                <a:cxn ang="0">
                  <a:pos x="T2" y="T3"/>
                </a:cxn>
                <a:cxn ang="0">
                  <a:pos x="T4" y="T5"/>
                </a:cxn>
                <a:cxn ang="0">
                  <a:pos x="T6" y="T7"/>
                </a:cxn>
                <a:cxn ang="0">
                  <a:pos x="T8" y="T9"/>
                </a:cxn>
              </a:cxnLst>
              <a:rect l="0" t="0" r="r" b="b"/>
              <a:pathLst>
                <a:path w="144" h="128">
                  <a:moveTo>
                    <a:pt x="144" y="128"/>
                  </a:moveTo>
                  <a:lnTo>
                    <a:pt x="0" y="115"/>
                  </a:lnTo>
                  <a:lnTo>
                    <a:pt x="49" y="0"/>
                  </a:lnTo>
                  <a:lnTo>
                    <a:pt x="117" y="7"/>
                  </a:lnTo>
                  <a:lnTo>
                    <a:pt x="144" y="12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19" name="îṥḻiḋe">
              <a:extLst>
                <a:ext uri="{FF2B5EF4-FFF2-40B4-BE49-F238E27FC236}">
                  <a16:creationId xmlns:a16="http://schemas.microsoft.com/office/drawing/2014/main" id="{CB7C984E-E381-42D4-9748-939F7CBE3F45}"/>
                </a:ext>
              </a:extLst>
            </p:cNvPr>
            <p:cNvSpPr/>
            <p:nvPr/>
          </p:nvSpPr>
          <p:spPr bwMode="auto">
            <a:xfrm>
              <a:off x="6662526" y="2312256"/>
              <a:ext cx="181473" cy="179205"/>
            </a:xfrm>
            <a:custGeom>
              <a:avLst/>
              <a:gdLst>
                <a:gd name="T0" fmla="*/ 160 w 160"/>
                <a:gd name="T1" fmla="*/ 111 h 158"/>
                <a:gd name="T2" fmla="*/ 68 w 160"/>
                <a:gd name="T3" fmla="*/ 0 h 158"/>
                <a:gd name="T4" fmla="*/ 0 w 160"/>
                <a:gd name="T5" fmla="*/ 105 h 158"/>
                <a:gd name="T6" fmla="*/ 44 w 160"/>
                <a:gd name="T7" fmla="*/ 158 h 158"/>
                <a:gd name="T8" fmla="*/ 160 w 160"/>
                <a:gd name="T9" fmla="*/ 111 h 158"/>
              </a:gdLst>
              <a:ahLst/>
              <a:cxnLst>
                <a:cxn ang="0">
                  <a:pos x="T0" y="T1"/>
                </a:cxn>
                <a:cxn ang="0">
                  <a:pos x="T2" y="T3"/>
                </a:cxn>
                <a:cxn ang="0">
                  <a:pos x="T4" y="T5"/>
                </a:cxn>
                <a:cxn ang="0">
                  <a:pos x="T6" y="T7"/>
                </a:cxn>
                <a:cxn ang="0">
                  <a:pos x="T8" y="T9"/>
                </a:cxn>
              </a:cxnLst>
              <a:rect l="0" t="0" r="r" b="b"/>
              <a:pathLst>
                <a:path w="160" h="158">
                  <a:moveTo>
                    <a:pt x="160" y="111"/>
                  </a:moveTo>
                  <a:lnTo>
                    <a:pt x="68" y="0"/>
                  </a:lnTo>
                  <a:lnTo>
                    <a:pt x="0" y="105"/>
                  </a:lnTo>
                  <a:lnTo>
                    <a:pt x="44" y="158"/>
                  </a:lnTo>
                  <a:lnTo>
                    <a:pt x="160" y="11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20" name="í$ḷîďé">
              <a:extLst>
                <a:ext uri="{FF2B5EF4-FFF2-40B4-BE49-F238E27FC236}">
                  <a16:creationId xmlns:a16="http://schemas.microsoft.com/office/drawing/2014/main" id="{5F2B5215-E431-4616-ACFA-4EC4DB4F71C8}"/>
                </a:ext>
              </a:extLst>
            </p:cNvPr>
            <p:cNvSpPr/>
            <p:nvPr/>
          </p:nvSpPr>
          <p:spPr bwMode="auto">
            <a:xfrm>
              <a:off x="6993714" y="2347418"/>
              <a:ext cx="180339" cy="181474"/>
            </a:xfrm>
            <a:custGeom>
              <a:avLst/>
              <a:gdLst>
                <a:gd name="T0" fmla="*/ 0 w 159"/>
                <a:gd name="T1" fmla="*/ 92 h 160"/>
                <a:gd name="T2" fmla="*/ 111 w 159"/>
                <a:gd name="T3" fmla="*/ 0 h 160"/>
                <a:gd name="T4" fmla="*/ 159 w 159"/>
                <a:gd name="T5" fmla="*/ 116 h 160"/>
                <a:gd name="T6" fmla="*/ 106 w 159"/>
                <a:gd name="T7" fmla="*/ 160 h 160"/>
                <a:gd name="T8" fmla="*/ 0 w 159"/>
                <a:gd name="T9" fmla="*/ 92 h 160"/>
              </a:gdLst>
              <a:ahLst/>
              <a:cxnLst>
                <a:cxn ang="0">
                  <a:pos x="T0" y="T1"/>
                </a:cxn>
                <a:cxn ang="0">
                  <a:pos x="T2" y="T3"/>
                </a:cxn>
                <a:cxn ang="0">
                  <a:pos x="T4" y="T5"/>
                </a:cxn>
                <a:cxn ang="0">
                  <a:pos x="T6" y="T7"/>
                </a:cxn>
                <a:cxn ang="0">
                  <a:pos x="T8" y="T9"/>
                </a:cxn>
              </a:cxnLst>
              <a:rect l="0" t="0" r="r" b="b"/>
              <a:pathLst>
                <a:path w="159" h="160">
                  <a:moveTo>
                    <a:pt x="0" y="92"/>
                  </a:moveTo>
                  <a:lnTo>
                    <a:pt x="111" y="0"/>
                  </a:lnTo>
                  <a:lnTo>
                    <a:pt x="159" y="116"/>
                  </a:lnTo>
                  <a:lnTo>
                    <a:pt x="106" y="160"/>
                  </a:lnTo>
                  <a:lnTo>
                    <a:pt x="0" y="92"/>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21" name="íṥlíḋé">
              <a:extLst>
                <a:ext uri="{FF2B5EF4-FFF2-40B4-BE49-F238E27FC236}">
                  <a16:creationId xmlns:a16="http://schemas.microsoft.com/office/drawing/2014/main" id="{00033AEB-54B4-4236-B4D9-BD687800BEA1}"/>
                </a:ext>
              </a:extLst>
            </p:cNvPr>
            <p:cNvSpPr/>
            <p:nvPr/>
          </p:nvSpPr>
          <p:spPr bwMode="auto">
            <a:xfrm>
              <a:off x="7028875" y="2016228"/>
              <a:ext cx="181473" cy="179205"/>
            </a:xfrm>
            <a:custGeom>
              <a:avLst/>
              <a:gdLst>
                <a:gd name="T0" fmla="*/ 0 w 160"/>
                <a:gd name="T1" fmla="*/ 47 h 158"/>
                <a:gd name="T2" fmla="*/ 92 w 160"/>
                <a:gd name="T3" fmla="*/ 158 h 158"/>
                <a:gd name="T4" fmla="*/ 160 w 160"/>
                <a:gd name="T5" fmla="*/ 53 h 158"/>
                <a:gd name="T6" fmla="*/ 116 w 160"/>
                <a:gd name="T7" fmla="*/ 0 h 158"/>
                <a:gd name="T8" fmla="*/ 0 w 160"/>
                <a:gd name="T9" fmla="*/ 47 h 158"/>
              </a:gdLst>
              <a:ahLst/>
              <a:cxnLst>
                <a:cxn ang="0">
                  <a:pos x="T0" y="T1"/>
                </a:cxn>
                <a:cxn ang="0">
                  <a:pos x="T2" y="T3"/>
                </a:cxn>
                <a:cxn ang="0">
                  <a:pos x="T4" y="T5"/>
                </a:cxn>
                <a:cxn ang="0">
                  <a:pos x="T6" y="T7"/>
                </a:cxn>
                <a:cxn ang="0">
                  <a:pos x="T8" y="T9"/>
                </a:cxn>
              </a:cxnLst>
              <a:rect l="0" t="0" r="r" b="b"/>
              <a:pathLst>
                <a:path w="160" h="158">
                  <a:moveTo>
                    <a:pt x="0" y="47"/>
                  </a:moveTo>
                  <a:lnTo>
                    <a:pt x="92" y="158"/>
                  </a:lnTo>
                  <a:lnTo>
                    <a:pt x="160" y="53"/>
                  </a:lnTo>
                  <a:lnTo>
                    <a:pt x="116" y="0"/>
                  </a:lnTo>
                  <a:lnTo>
                    <a:pt x="0" y="4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22" name="iśḷïḋe">
              <a:extLst>
                <a:ext uri="{FF2B5EF4-FFF2-40B4-BE49-F238E27FC236}">
                  <a16:creationId xmlns:a16="http://schemas.microsoft.com/office/drawing/2014/main" id="{3A8EDEC4-D240-4090-BD8E-C3DF822E891E}"/>
                </a:ext>
              </a:extLst>
            </p:cNvPr>
            <p:cNvSpPr/>
            <p:nvPr/>
          </p:nvSpPr>
          <p:spPr bwMode="auto">
            <a:xfrm>
              <a:off x="6699955" y="1979932"/>
              <a:ext cx="179205" cy="180340"/>
            </a:xfrm>
            <a:custGeom>
              <a:avLst/>
              <a:gdLst>
                <a:gd name="T0" fmla="*/ 158 w 158"/>
                <a:gd name="T1" fmla="*/ 67 h 159"/>
                <a:gd name="T2" fmla="*/ 48 w 158"/>
                <a:gd name="T3" fmla="*/ 159 h 159"/>
                <a:gd name="T4" fmla="*/ 0 w 158"/>
                <a:gd name="T5" fmla="*/ 44 h 159"/>
                <a:gd name="T6" fmla="*/ 53 w 158"/>
                <a:gd name="T7" fmla="*/ 0 h 159"/>
                <a:gd name="T8" fmla="*/ 158 w 158"/>
                <a:gd name="T9" fmla="*/ 67 h 159"/>
              </a:gdLst>
              <a:ahLst/>
              <a:cxnLst>
                <a:cxn ang="0">
                  <a:pos x="T0" y="T1"/>
                </a:cxn>
                <a:cxn ang="0">
                  <a:pos x="T2" y="T3"/>
                </a:cxn>
                <a:cxn ang="0">
                  <a:pos x="T4" y="T5"/>
                </a:cxn>
                <a:cxn ang="0">
                  <a:pos x="T6" y="T7"/>
                </a:cxn>
                <a:cxn ang="0">
                  <a:pos x="T8" y="T9"/>
                </a:cxn>
              </a:cxnLst>
              <a:rect l="0" t="0" r="r" b="b"/>
              <a:pathLst>
                <a:path w="158" h="159">
                  <a:moveTo>
                    <a:pt x="158" y="67"/>
                  </a:moveTo>
                  <a:lnTo>
                    <a:pt x="48" y="159"/>
                  </a:lnTo>
                  <a:lnTo>
                    <a:pt x="0" y="44"/>
                  </a:lnTo>
                  <a:lnTo>
                    <a:pt x="53" y="0"/>
                  </a:lnTo>
                  <a:lnTo>
                    <a:pt x="158" y="6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23" name="iṡļíḑé">
              <a:extLst>
                <a:ext uri="{FF2B5EF4-FFF2-40B4-BE49-F238E27FC236}">
                  <a16:creationId xmlns:a16="http://schemas.microsoft.com/office/drawing/2014/main" id="{2B9F8C6D-0BEF-4D29-9C45-E5A99F9B9176}"/>
                </a:ext>
              </a:extLst>
            </p:cNvPr>
            <p:cNvSpPr/>
            <p:nvPr/>
          </p:nvSpPr>
          <p:spPr bwMode="auto">
            <a:xfrm>
              <a:off x="5595233" y="2511878"/>
              <a:ext cx="1785247" cy="1781847"/>
            </a:xfrm>
            <a:custGeom>
              <a:avLst/>
              <a:gdLst>
                <a:gd name="T0" fmla="*/ 215 w 2018"/>
                <a:gd name="T1" fmla="*/ 1398 h 2018"/>
                <a:gd name="T2" fmla="*/ 1398 w 2018"/>
                <a:gd name="T3" fmla="*/ 1803 h 2018"/>
                <a:gd name="T4" fmla="*/ 1803 w 2018"/>
                <a:gd name="T5" fmla="*/ 620 h 2018"/>
                <a:gd name="T6" fmla="*/ 620 w 2018"/>
                <a:gd name="T7" fmla="*/ 215 h 2018"/>
                <a:gd name="T8" fmla="*/ 215 w 2018"/>
                <a:gd name="T9" fmla="*/ 1398 h 2018"/>
              </a:gdLst>
              <a:ahLst/>
              <a:cxnLst>
                <a:cxn ang="0">
                  <a:pos x="T0" y="T1"/>
                </a:cxn>
                <a:cxn ang="0">
                  <a:pos x="T2" y="T3"/>
                </a:cxn>
                <a:cxn ang="0">
                  <a:pos x="T4" y="T5"/>
                </a:cxn>
                <a:cxn ang="0">
                  <a:pos x="T6" y="T7"/>
                </a:cxn>
                <a:cxn ang="0">
                  <a:pos x="T8" y="T9"/>
                </a:cxn>
              </a:cxnLst>
              <a:rect l="0" t="0" r="r" b="b"/>
              <a:pathLst>
                <a:path w="2018" h="2018">
                  <a:moveTo>
                    <a:pt x="215" y="1398"/>
                  </a:moveTo>
                  <a:cubicBezTo>
                    <a:pt x="430" y="1837"/>
                    <a:pt x="960" y="2018"/>
                    <a:pt x="1398" y="1803"/>
                  </a:cubicBezTo>
                  <a:cubicBezTo>
                    <a:pt x="1837" y="1588"/>
                    <a:pt x="2018" y="1058"/>
                    <a:pt x="1803" y="620"/>
                  </a:cubicBezTo>
                  <a:cubicBezTo>
                    <a:pt x="1588" y="181"/>
                    <a:pt x="1058" y="0"/>
                    <a:pt x="620" y="215"/>
                  </a:cubicBezTo>
                  <a:cubicBezTo>
                    <a:pt x="181" y="430"/>
                    <a:pt x="0" y="960"/>
                    <a:pt x="215" y="1398"/>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24" name="îṡ1iďê">
              <a:extLst>
                <a:ext uri="{FF2B5EF4-FFF2-40B4-BE49-F238E27FC236}">
                  <a16:creationId xmlns:a16="http://schemas.microsoft.com/office/drawing/2014/main" id="{A88AD4F6-DECD-4048-BDF3-0D474BA71CEF}"/>
                </a:ext>
              </a:extLst>
            </p:cNvPr>
            <p:cNvSpPr/>
            <p:nvPr/>
          </p:nvSpPr>
          <p:spPr bwMode="auto">
            <a:xfrm>
              <a:off x="6022830" y="2536830"/>
              <a:ext cx="276747" cy="308505"/>
            </a:xfrm>
            <a:custGeom>
              <a:avLst/>
              <a:gdLst>
                <a:gd name="T0" fmla="*/ 47 w 244"/>
                <a:gd name="T1" fmla="*/ 272 h 272"/>
                <a:gd name="T2" fmla="*/ 244 w 244"/>
                <a:gd name="T3" fmla="*/ 175 h 272"/>
                <a:gd name="T4" fmla="*/ 94 w 244"/>
                <a:gd name="T5" fmla="*/ 0 h 272"/>
                <a:gd name="T6" fmla="*/ 0 w 244"/>
                <a:gd name="T7" fmla="*/ 46 h 272"/>
                <a:gd name="T8" fmla="*/ 47 w 244"/>
                <a:gd name="T9" fmla="*/ 272 h 272"/>
              </a:gdLst>
              <a:ahLst/>
              <a:cxnLst>
                <a:cxn ang="0">
                  <a:pos x="T0" y="T1"/>
                </a:cxn>
                <a:cxn ang="0">
                  <a:pos x="T2" y="T3"/>
                </a:cxn>
                <a:cxn ang="0">
                  <a:pos x="T4" y="T5"/>
                </a:cxn>
                <a:cxn ang="0">
                  <a:pos x="T6" y="T7"/>
                </a:cxn>
                <a:cxn ang="0">
                  <a:pos x="T8" y="T9"/>
                </a:cxn>
              </a:cxnLst>
              <a:rect l="0" t="0" r="r" b="b"/>
              <a:pathLst>
                <a:path w="244" h="272">
                  <a:moveTo>
                    <a:pt x="47" y="272"/>
                  </a:moveTo>
                  <a:lnTo>
                    <a:pt x="244" y="175"/>
                  </a:lnTo>
                  <a:lnTo>
                    <a:pt x="94" y="0"/>
                  </a:lnTo>
                  <a:lnTo>
                    <a:pt x="0" y="46"/>
                  </a:lnTo>
                  <a:lnTo>
                    <a:pt x="47" y="272"/>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25" name="ïṧḻíďé">
              <a:extLst>
                <a:ext uri="{FF2B5EF4-FFF2-40B4-BE49-F238E27FC236}">
                  <a16:creationId xmlns:a16="http://schemas.microsoft.com/office/drawing/2014/main" id="{EFB37752-EC18-4E6A-A6BE-3B0D7FD1B556}"/>
                </a:ext>
              </a:extLst>
            </p:cNvPr>
            <p:cNvSpPr/>
            <p:nvPr/>
          </p:nvSpPr>
          <p:spPr bwMode="auto">
            <a:xfrm>
              <a:off x="5621320" y="3590514"/>
              <a:ext cx="308506" cy="276748"/>
            </a:xfrm>
            <a:custGeom>
              <a:avLst/>
              <a:gdLst>
                <a:gd name="T0" fmla="*/ 175 w 272"/>
                <a:gd name="T1" fmla="*/ 0 h 244"/>
                <a:gd name="T2" fmla="*/ 272 w 272"/>
                <a:gd name="T3" fmla="*/ 197 h 244"/>
                <a:gd name="T4" fmla="*/ 46 w 272"/>
                <a:gd name="T5" fmla="*/ 244 h 244"/>
                <a:gd name="T6" fmla="*/ 0 w 272"/>
                <a:gd name="T7" fmla="*/ 150 h 244"/>
                <a:gd name="T8" fmla="*/ 175 w 272"/>
                <a:gd name="T9" fmla="*/ 0 h 244"/>
              </a:gdLst>
              <a:ahLst/>
              <a:cxnLst>
                <a:cxn ang="0">
                  <a:pos x="T0" y="T1"/>
                </a:cxn>
                <a:cxn ang="0">
                  <a:pos x="T2" y="T3"/>
                </a:cxn>
                <a:cxn ang="0">
                  <a:pos x="T4" y="T5"/>
                </a:cxn>
                <a:cxn ang="0">
                  <a:pos x="T6" y="T7"/>
                </a:cxn>
                <a:cxn ang="0">
                  <a:pos x="T8" y="T9"/>
                </a:cxn>
              </a:cxnLst>
              <a:rect l="0" t="0" r="r" b="b"/>
              <a:pathLst>
                <a:path w="272" h="244">
                  <a:moveTo>
                    <a:pt x="175" y="0"/>
                  </a:moveTo>
                  <a:lnTo>
                    <a:pt x="272" y="197"/>
                  </a:lnTo>
                  <a:lnTo>
                    <a:pt x="46" y="244"/>
                  </a:lnTo>
                  <a:lnTo>
                    <a:pt x="0" y="150"/>
                  </a:lnTo>
                  <a:lnTo>
                    <a:pt x="17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26" name="ïṩḷîḍê">
              <a:extLst>
                <a:ext uri="{FF2B5EF4-FFF2-40B4-BE49-F238E27FC236}">
                  <a16:creationId xmlns:a16="http://schemas.microsoft.com/office/drawing/2014/main" id="{9DA72C13-96D1-47D1-9DB8-583B7A3D0ACE}"/>
                </a:ext>
              </a:extLst>
            </p:cNvPr>
            <p:cNvSpPr/>
            <p:nvPr/>
          </p:nvSpPr>
          <p:spPr bwMode="auto">
            <a:xfrm>
              <a:off x="6676136" y="3960267"/>
              <a:ext cx="276747" cy="308505"/>
            </a:xfrm>
            <a:custGeom>
              <a:avLst/>
              <a:gdLst>
                <a:gd name="T0" fmla="*/ 198 w 244"/>
                <a:gd name="T1" fmla="*/ 0 h 272"/>
                <a:gd name="T2" fmla="*/ 0 w 244"/>
                <a:gd name="T3" fmla="*/ 96 h 272"/>
                <a:gd name="T4" fmla="*/ 151 w 244"/>
                <a:gd name="T5" fmla="*/ 272 h 272"/>
                <a:gd name="T6" fmla="*/ 244 w 244"/>
                <a:gd name="T7" fmla="*/ 226 h 272"/>
                <a:gd name="T8" fmla="*/ 198 w 244"/>
                <a:gd name="T9" fmla="*/ 0 h 272"/>
              </a:gdLst>
              <a:ahLst/>
              <a:cxnLst>
                <a:cxn ang="0">
                  <a:pos x="T0" y="T1"/>
                </a:cxn>
                <a:cxn ang="0">
                  <a:pos x="T2" y="T3"/>
                </a:cxn>
                <a:cxn ang="0">
                  <a:pos x="T4" y="T5"/>
                </a:cxn>
                <a:cxn ang="0">
                  <a:pos x="T6" y="T7"/>
                </a:cxn>
                <a:cxn ang="0">
                  <a:pos x="T8" y="T9"/>
                </a:cxn>
              </a:cxnLst>
              <a:rect l="0" t="0" r="r" b="b"/>
              <a:pathLst>
                <a:path w="244" h="272">
                  <a:moveTo>
                    <a:pt x="198" y="0"/>
                  </a:moveTo>
                  <a:lnTo>
                    <a:pt x="0" y="96"/>
                  </a:lnTo>
                  <a:lnTo>
                    <a:pt x="151" y="272"/>
                  </a:lnTo>
                  <a:lnTo>
                    <a:pt x="244" y="226"/>
                  </a:lnTo>
                  <a:lnTo>
                    <a:pt x="19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27" name="išḻîďè">
              <a:extLst>
                <a:ext uri="{FF2B5EF4-FFF2-40B4-BE49-F238E27FC236}">
                  <a16:creationId xmlns:a16="http://schemas.microsoft.com/office/drawing/2014/main" id="{E823EAA9-E998-4DA8-999A-29CD9DEF9B1E}"/>
                </a:ext>
              </a:extLst>
            </p:cNvPr>
            <p:cNvSpPr/>
            <p:nvPr/>
          </p:nvSpPr>
          <p:spPr bwMode="auto">
            <a:xfrm>
              <a:off x="7045888" y="2938341"/>
              <a:ext cx="309639" cy="275614"/>
            </a:xfrm>
            <a:custGeom>
              <a:avLst/>
              <a:gdLst>
                <a:gd name="T0" fmla="*/ 97 w 273"/>
                <a:gd name="T1" fmla="*/ 243 h 243"/>
                <a:gd name="T2" fmla="*/ 0 w 273"/>
                <a:gd name="T3" fmla="*/ 46 h 243"/>
                <a:gd name="T4" fmla="*/ 226 w 273"/>
                <a:gd name="T5" fmla="*/ 0 h 243"/>
                <a:gd name="T6" fmla="*/ 273 w 273"/>
                <a:gd name="T7" fmla="*/ 93 h 243"/>
                <a:gd name="T8" fmla="*/ 97 w 273"/>
                <a:gd name="T9" fmla="*/ 243 h 243"/>
              </a:gdLst>
              <a:ahLst/>
              <a:cxnLst>
                <a:cxn ang="0">
                  <a:pos x="T0" y="T1"/>
                </a:cxn>
                <a:cxn ang="0">
                  <a:pos x="T2" y="T3"/>
                </a:cxn>
                <a:cxn ang="0">
                  <a:pos x="T4" y="T5"/>
                </a:cxn>
                <a:cxn ang="0">
                  <a:pos x="T6" y="T7"/>
                </a:cxn>
                <a:cxn ang="0">
                  <a:pos x="T8" y="T9"/>
                </a:cxn>
              </a:cxnLst>
              <a:rect l="0" t="0" r="r" b="b"/>
              <a:pathLst>
                <a:path w="273" h="243">
                  <a:moveTo>
                    <a:pt x="97" y="243"/>
                  </a:moveTo>
                  <a:lnTo>
                    <a:pt x="0" y="46"/>
                  </a:lnTo>
                  <a:lnTo>
                    <a:pt x="226" y="0"/>
                  </a:lnTo>
                  <a:lnTo>
                    <a:pt x="273" y="93"/>
                  </a:lnTo>
                  <a:lnTo>
                    <a:pt x="97" y="24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28" name="îŝlïdê">
              <a:extLst>
                <a:ext uri="{FF2B5EF4-FFF2-40B4-BE49-F238E27FC236}">
                  <a16:creationId xmlns:a16="http://schemas.microsoft.com/office/drawing/2014/main" id="{A00498BA-AB90-4B11-A978-A3E0CA32B05B}"/>
                </a:ext>
              </a:extLst>
            </p:cNvPr>
            <p:cNvSpPr/>
            <p:nvPr/>
          </p:nvSpPr>
          <p:spPr bwMode="auto">
            <a:xfrm>
              <a:off x="5585025" y="3043822"/>
              <a:ext cx="296029" cy="255198"/>
            </a:xfrm>
            <a:custGeom>
              <a:avLst/>
              <a:gdLst>
                <a:gd name="T0" fmla="*/ 190 w 261"/>
                <a:gd name="T1" fmla="*/ 225 h 225"/>
                <a:gd name="T2" fmla="*/ 261 w 261"/>
                <a:gd name="T3" fmla="*/ 17 h 225"/>
                <a:gd name="T4" fmla="*/ 34 w 261"/>
                <a:gd name="T5" fmla="*/ 0 h 225"/>
                <a:gd name="T6" fmla="*/ 0 w 261"/>
                <a:gd name="T7" fmla="*/ 100 h 225"/>
                <a:gd name="T8" fmla="*/ 190 w 261"/>
                <a:gd name="T9" fmla="*/ 225 h 225"/>
              </a:gdLst>
              <a:ahLst/>
              <a:cxnLst>
                <a:cxn ang="0">
                  <a:pos x="T0" y="T1"/>
                </a:cxn>
                <a:cxn ang="0">
                  <a:pos x="T2" y="T3"/>
                </a:cxn>
                <a:cxn ang="0">
                  <a:pos x="T4" y="T5"/>
                </a:cxn>
                <a:cxn ang="0">
                  <a:pos x="T6" y="T7"/>
                </a:cxn>
                <a:cxn ang="0">
                  <a:pos x="T8" y="T9"/>
                </a:cxn>
              </a:cxnLst>
              <a:rect l="0" t="0" r="r" b="b"/>
              <a:pathLst>
                <a:path w="261" h="225">
                  <a:moveTo>
                    <a:pt x="190" y="225"/>
                  </a:moveTo>
                  <a:lnTo>
                    <a:pt x="261" y="17"/>
                  </a:lnTo>
                  <a:lnTo>
                    <a:pt x="34" y="0"/>
                  </a:lnTo>
                  <a:lnTo>
                    <a:pt x="0" y="100"/>
                  </a:lnTo>
                  <a:lnTo>
                    <a:pt x="190" y="22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29" name="íSḷidé">
              <a:extLst>
                <a:ext uri="{FF2B5EF4-FFF2-40B4-BE49-F238E27FC236}">
                  <a16:creationId xmlns:a16="http://schemas.microsoft.com/office/drawing/2014/main" id="{E2466CB1-8E82-4F87-ABF1-35E3182ADBDB}"/>
                </a:ext>
              </a:extLst>
            </p:cNvPr>
            <p:cNvSpPr/>
            <p:nvPr/>
          </p:nvSpPr>
          <p:spPr bwMode="auto">
            <a:xfrm>
              <a:off x="6129446" y="4009037"/>
              <a:ext cx="255197" cy="296030"/>
            </a:xfrm>
            <a:custGeom>
              <a:avLst/>
              <a:gdLst>
                <a:gd name="T0" fmla="*/ 17 w 225"/>
                <a:gd name="T1" fmla="*/ 0 h 261"/>
                <a:gd name="T2" fmla="*/ 225 w 225"/>
                <a:gd name="T3" fmla="*/ 70 h 261"/>
                <a:gd name="T4" fmla="*/ 99 w 225"/>
                <a:gd name="T5" fmla="*/ 261 h 261"/>
                <a:gd name="T6" fmla="*/ 0 w 225"/>
                <a:gd name="T7" fmla="*/ 226 h 261"/>
                <a:gd name="T8" fmla="*/ 17 w 225"/>
                <a:gd name="T9" fmla="*/ 0 h 261"/>
              </a:gdLst>
              <a:ahLst/>
              <a:cxnLst>
                <a:cxn ang="0">
                  <a:pos x="T0" y="T1"/>
                </a:cxn>
                <a:cxn ang="0">
                  <a:pos x="T2" y="T3"/>
                </a:cxn>
                <a:cxn ang="0">
                  <a:pos x="T4" y="T5"/>
                </a:cxn>
                <a:cxn ang="0">
                  <a:pos x="T6" y="T7"/>
                </a:cxn>
                <a:cxn ang="0">
                  <a:pos x="T8" y="T9"/>
                </a:cxn>
              </a:cxnLst>
              <a:rect l="0" t="0" r="r" b="b"/>
              <a:pathLst>
                <a:path w="225" h="261">
                  <a:moveTo>
                    <a:pt x="17" y="0"/>
                  </a:moveTo>
                  <a:lnTo>
                    <a:pt x="225" y="70"/>
                  </a:lnTo>
                  <a:lnTo>
                    <a:pt x="99" y="261"/>
                  </a:lnTo>
                  <a:lnTo>
                    <a:pt x="0" y="226"/>
                  </a:lnTo>
                  <a:lnTo>
                    <a:pt x="1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30" name="îṩḷíḑé">
              <a:extLst>
                <a:ext uri="{FF2B5EF4-FFF2-40B4-BE49-F238E27FC236}">
                  <a16:creationId xmlns:a16="http://schemas.microsoft.com/office/drawing/2014/main" id="{A008907C-505D-47A9-B4D0-5237FA9ED94C}"/>
                </a:ext>
              </a:extLst>
            </p:cNvPr>
            <p:cNvSpPr/>
            <p:nvPr/>
          </p:nvSpPr>
          <p:spPr bwMode="auto">
            <a:xfrm>
              <a:off x="7094659" y="3505448"/>
              <a:ext cx="296029" cy="255198"/>
            </a:xfrm>
            <a:custGeom>
              <a:avLst/>
              <a:gdLst>
                <a:gd name="T0" fmla="*/ 71 w 261"/>
                <a:gd name="T1" fmla="*/ 0 h 225"/>
                <a:gd name="T2" fmla="*/ 0 w 261"/>
                <a:gd name="T3" fmla="*/ 208 h 225"/>
                <a:gd name="T4" fmla="*/ 228 w 261"/>
                <a:gd name="T5" fmla="*/ 225 h 225"/>
                <a:gd name="T6" fmla="*/ 261 w 261"/>
                <a:gd name="T7" fmla="*/ 126 h 225"/>
                <a:gd name="T8" fmla="*/ 71 w 261"/>
                <a:gd name="T9" fmla="*/ 0 h 225"/>
              </a:gdLst>
              <a:ahLst/>
              <a:cxnLst>
                <a:cxn ang="0">
                  <a:pos x="T0" y="T1"/>
                </a:cxn>
                <a:cxn ang="0">
                  <a:pos x="T2" y="T3"/>
                </a:cxn>
                <a:cxn ang="0">
                  <a:pos x="T4" y="T5"/>
                </a:cxn>
                <a:cxn ang="0">
                  <a:pos x="T6" y="T7"/>
                </a:cxn>
                <a:cxn ang="0">
                  <a:pos x="T8" y="T9"/>
                </a:cxn>
              </a:cxnLst>
              <a:rect l="0" t="0" r="r" b="b"/>
              <a:pathLst>
                <a:path w="261" h="225">
                  <a:moveTo>
                    <a:pt x="71" y="0"/>
                  </a:moveTo>
                  <a:lnTo>
                    <a:pt x="0" y="208"/>
                  </a:lnTo>
                  <a:lnTo>
                    <a:pt x="228" y="225"/>
                  </a:lnTo>
                  <a:lnTo>
                    <a:pt x="261" y="126"/>
                  </a:lnTo>
                  <a:lnTo>
                    <a:pt x="71"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31" name="ïṥlidê">
              <a:extLst>
                <a:ext uri="{FF2B5EF4-FFF2-40B4-BE49-F238E27FC236}">
                  <a16:creationId xmlns:a16="http://schemas.microsoft.com/office/drawing/2014/main" id="{D9969CD7-5E64-4872-B990-35B8DEB9550F}"/>
                </a:ext>
              </a:extLst>
            </p:cNvPr>
            <p:cNvSpPr/>
            <p:nvPr/>
          </p:nvSpPr>
          <p:spPr bwMode="auto">
            <a:xfrm>
              <a:off x="6591070" y="2500535"/>
              <a:ext cx="256331" cy="296030"/>
            </a:xfrm>
            <a:custGeom>
              <a:avLst/>
              <a:gdLst>
                <a:gd name="T0" fmla="*/ 209 w 226"/>
                <a:gd name="T1" fmla="*/ 261 h 261"/>
                <a:gd name="T2" fmla="*/ 0 w 226"/>
                <a:gd name="T3" fmla="*/ 190 h 261"/>
                <a:gd name="T4" fmla="*/ 126 w 226"/>
                <a:gd name="T5" fmla="*/ 0 h 261"/>
                <a:gd name="T6" fmla="*/ 226 w 226"/>
                <a:gd name="T7" fmla="*/ 34 h 261"/>
                <a:gd name="T8" fmla="*/ 209 w 226"/>
                <a:gd name="T9" fmla="*/ 261 h 261"/>
              </a:gdLst>
              <a:ahLst/>
              <a:cxnLst>
                <a:cxn ang="0">
                  <a:pos x="T0" y="T1"/>
                </a:cxn>
                <a:cxn ang="0">
                  <a:pos x="T2" y="T3"/>
                </a:cxn>
                <a:cxn ang="0">
                  <a:pos x="T4" y="T5"/>
                </a:cxn>
                <a:cxn ang="0">
                  <a:pos x="T6" y="T7"/>
                </a:cxn>
                <a:cxn ang="0">
                  <a:pos x="T8" y="T9"/>
                </a:cxn>
              </a:cxnLst>
              <a:rect l="0" t="0" r="r" b="b"/>
              <a:pathLst>
                <a:path w="226" h="261">
                  <a:moveTo>
                    <a:pt x="209" y="261"/>
                  </a:moveTo>
                  <a:lnTo>
                    <a:pt x="0" y="190"/>
                  </a:lnTo>
                  <a:lnTo>
                    <a:pt x="126" y="0"/>
                  </a:lnTo>
                  <a:lnTo>
                    <a:pt x="226" y="34"/>
                  </a:lnTo>
                  <a:lnTo>
                    <a:pt x="209" y="26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32" name="íṥḻîḋé">
              <a:extLst>
                <a:ext uri="{FF2B5EF4-FFF2-40B4-BE49-F238E27FC236}">
                  <a16:creationId xmlns:a16="http://schemas.microsoft.com/office/drawing/2014/main" id="{4221C6AE-B167-49C2-9F41-6EB91F0ED294}"/>
                </a:ext>
              </a:extLst>
            </p:cNvPr>
            <p:cNvSpPr/>
            <p:nvPr/>
          </p:nvSpPr>
          <p:spPr bwMode="auto">
            <a:xfrm>
              <a:off x="5743815" y="2745525"/>
              <a:ext cx="309639" cy="302836"/>
            </a:xfrm>
            <a:custGeom>
              <a:avLst/>
              <a:gdLst>
                <a:gd name="T0" fmla="*/ 129 w 273"/>
                <a:gd name="T1" fmla="*/ 267 h 267"/>
                <a:gd name="T2" fmla="*/ 273 w 273"/>
                <a:gd name="T3" fmla="*/ 101 h 267"/>
                <a:gd name="T4" fmla="*/ 69 w 273"/>
                <a:gd name="T5" fmla="*/ 0 h 267"/>
                <a:gd name="T6" fmla="*/ 0 w 273"/>
                <a:gd name="T7" fmla="*/ 79 h 267"/>
                <a:gd name="T8" fmla="*/ 129 w 273"/>
                <a:gd name="T9" fmla="*/ 267 h 267"/>
              </a:gdLst>
              <a:ahLst/>
              <a:cxnLst>
                <a:cxn ang="0">
                  <a:pos x="T0" y="T1"/>
                </a:cxn>
                <a:cxn ang="0">
                  <a:pos x="T2" y="T3"/>
                </a:cxn>
                <a:cxn ang="0">
                  <a:pos x="T4" y="T5"/>
                </a:cxn>
                <a:cxn ang="0">
                  <a:pos x="T6" y="T7"/>
                </a:cxn>
                <a:cxn ang="0">
                  <a:pos x="T8" y="T9"/>
                </a:cxn>
              </a:cxnLst>
              <a:rect l="0" t="0" r="r" b="b"/>
              <a:pathLst>
                <a:path w="273" h="267">
                  <a:moveTo>
                    <a:pt x="129" y="267"/>
                  </a:moveTo>
                  <a:lnTo>
                    <a:pt x="273" y="101"/>
                  </a:lnTo>
                  <a:lnTo>
                    <a:pt x="69" y="0"/>
                  </a:lnTo>
                  <a:lnTo>
                    <a:pt x="0" y="79"/>
                  </a:lnTo>
                  <a:lnTo>
                    <a:pt x="129" y="26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33" name="îšľïḍe">
              <a:extLst>
                <a:ext uri="{FF2B5EF4-FFF2-40B4-BE49-F238E27FC236}">
                  <a16:creationId xmlns:a16="http://schemas.microsoft.com/office/drawing/2014/main" id="{6571F416-F720-4A46-AA0D-E6645447A52B}"/>
                </a:ext>
              </a:extLst>
            </p:cNvPr>
            <p:cNvSpPr/>
            <p:nvPr/>
          </p:nvSpPr>
          <p:spPr bwMode="auto">
            <a:xfrm>
              <a:off x="5830015" y="3836637"/>
              <a:ext cx="302834" cy="308505"/>
            </a:xfrm>
            <a:custGeom>
              <a:avLst/>
              <a:gdLst>
                <a:gd name="T0" fmla="*/ 101 w 267"/>
                <a:gd name="T1" fmla="*/ 0 h 272"/>
                <a:gd name="T2" fmla="*/ 267 w 267"/>
                <a:gd name="T3" fmla="*/ 144 h 272"/>
                <a:gd name="T4" fmla="*/ 79 w 267"/>
                <a:gd name="T5" fmla="*/ 272 h 272"/>
                <a:gd name="T6" fmla="*/ 0 w 267"/>
                <a:gd name="T7" fmla="*/ 204 h 272"/>
                <a:gd name="T8" fmla="*/ 101 w 267"/>
                <a:gd name="T9" fmla="*/ 0 h 272"/>
              </a:gdLst>
              <a:ahLst/>
              <a:cxnLst>
                <a:cxn ang="0">
                  <a:pos x="T0" y="T1"/>
                </a:cxn>
                <a:cxn ang="0">
                  <a:pos x="T2" y="T3"/>
                </a:cxn>
                <a:cxn ang="0">
                  <a:pos x="T4" y="T5"/>
                </a:cxn>
                <a:cxn ang="0">
                  <a:pos x="T6" y="T7"/>
                </a:cxn>
                <a:cxn ang="0">
                  <a:pos x="T8" y="T9"/>
                </a:cxn>
              </a:cxnLst>
              <a:rect l="0" t="0" r="r" b="b"/>
              <a:pathLst>
                <a:path w="267" h="272">
                  <a:moveTo>
                    <a:pt x="101" y="0"/>
                  </a:moveTo>
                  <a:lnTo>
                    <a:pt x="267" y="144"/>
                  </a:lnTo>
                  <a:lnTo>
                    <a:pt x="79" y="272"/>
                  </a:lnTo>
                  <a:lnTo>
                    <a:pt x="0" y="204"/>
                  </a:lnTo>
                  <a:lnTo>
                    <a:pt x="101"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34" name="îsḷïdê">
              <a:extLst>
                <a:ext uri="{FF2B5EF4-FFF2-40B4-BE49-F238E27FC236}">
                  <a16:creationId xmlns:a16="http://schemas.microsoft.com/office/drawing/2014/main" id="{16AC9EE8-1306-4A1E-BB75-845CA6860A56}"/>
                </a:ext>
              </a:extLst>
            </p:cNvPr>
            <p:cNvSpPr/>
            <p:nvPr/>
          </p:nvSpPr>
          <p:spPr bwMode="auto">
            <a:xfrm>
              <a:off x="6922260" y="3757242"/>
              <a:ext cx="309639" cy="302836"/>
            </a:xfrm>
            <a:custGeom>
              <a:avLst/>
              <a:gdLst>
                <a:gd name="T0" fmla="*/ 144 w 273"/>
                <a:gd name="T1" fmla="*/ 0 h 267"/>
                <a:gd name="T2" fmla="*/ 0 w 273"/>
                <a:gd name="T3" fmla="*/ 166 h 267"/>
                <a:gd name="T4" fmla="*/ 204 w 273"/>
                <a:gd name="T5" fmla="*/ 267 h 267"/>
                <a:gd name="T6" fmla="*/ 273 w 273"/>
                <a:gd name="T7" fmla="*/ 187 h 267"/>
                <a:gd name="T8" fmla="*/ 144 w 273"/>
                <a:gd name="T9" fmla="*/ 0 h 267"/>
              </a:gdLst>
              <a:ahLst/>
              <a:cxnLst>
                <a:cxn ang="0">
                  <a:pos x="T0" y="T1"/>
                </a:cxn>
                <a:cxn ang="0">
                  <a:pos x="T2" y="T3"/>
                </a:cxn>
                <a:cxn ang="0">
                  <a:pos x="T4" y="T5"/>
                </a:cxn>
                <a:cxn ang="0">
                  <a:pos x="T6" y="T7"/>
                </a:cxn>
                <a:cxn ang="0">
                  <a:pos x="T8" y="T9"/>
                </a:cxn>
              </a:cxnLst>
              <a:rect l="0" t="0" r="r" b="b"/>
              <a:pathLst>
                <a:path w="273" h="267">
                  <a:moveTo>
                    <a:pt x="144" y="0"/>
                  </a:moveTo>
                  <a:lnTo>
                    <a:pt x="0" y="166"/>
                  </a:lnTo>
                  <a:lnTo>
                    <a:pt x="204" y="267"/>
                  </a:lnTo>
                  <a:lnTo>
                    <a:pt x="273" y="187"/>
                  </a:lnTo>
                  <a:lnTo>
                    <a:pt x="144"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35" name="ïŝlíďe">
              <a:extLst>
                <a:ext uri="{FF2B5EF4-FFF2-40B4-BE49-F238E27FC236}">
                  <a16:creationId xmlns:a16="http://schemas.microsoft.com/office/drawing/2014/main" id="{3BCAF280-F35A-414B-937C-A0E04062D9DA}"/>
                </a:ext>
              </a:extLst>
            </p:cNvPr>
            <p:cNvSpPr/>
            <p:nvPr/>
          </p:nvSpPr>
          <p:spPr bwMode="auto">
            <a:xfrm>
              <a:off x="6842865" y="2659326"/>
              <a:ext cx="302834" cy="309640"/>
            </a:xfrm>
            <a:custGeom>
              <a:avLst/>
              <a:gdLst>
                <a:gd name="T0" fmla="*/ 166 w 267"/>
                <a:gd name="T1" fmla="*/ 273 h 273"/>
                <a:gd name="T2" fmla="*/ 0 w 267"/>
                <a:gd name="T3" fmla="*/ 129 h 273"/>
                <a:gd name="T4" fmla="*/ 188 w 267"/>
                <a:gd name="T5" fmla="*/ 0 h 273"/>
                <a:gd name="T6" fmla="*/ 267 w 267"/>
                <a:gd name="T7" fmla="*/ 69 h 273"/>
                <a:gd name="T8" fmla="*/ 166 w 267"/>
                <a:gd name="T9" fmla="*/ 273 h 273"/>
              </a:gdLst>
              <a:ahLst/>
              <a:cxnLst>
                <a:cxn ang="0">
                  <a:pos x="T0" y="T1"/>
                </a:cxn>
                <a:cxn ang="0">
                  <a:pos x="T2" y="T3"/>
                </a:cxn>
                <a:cxn ang="0">
                  <a:pos x="T4" y="T5"/>
                </a:cxn>
                <a:cxn ang="0">
                  <a:pos x="T6" y="T7"/>
                </a:cxn>
                <a:cxn ang="0">
                  <a:pos x="T8" y="T9"/>
                </a:cxn>
              </a:cxnLst>
              <a:rect l="0" t="0" r="r" b="b"/>
              <a:pathLst>
                <a:path w="267" h="273">
                  <a:moveTo>
                    <a:pt x="166" y="273"/>
                  </a:moveTo>
                  <a:lnTo>
                    <a:pt x="0" y="129"/>
                  </a:lnTo>
                  <a:lnTo>
                    <a:pt x="188" y="0"/>
                  </a:lnTo>
                  <a:lnTo>
                    <a:pt x="267" y="69"/>
                  </a:lnTo>
                  <a:lnTo>
                    <a:pt x="166" y="27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36" name="íŝlíďè">
              <a:extLst>
                <a:ext uri="{FF2B5EF4-FFF2-40B4-BE49-F238E27FC236}">
                  <a16:creationId xmlns:a16="http://schemas.microsoft.com/office/drawing/2014/main" id="{5324EAE0-FC34-4D4C-AD87-096122F19389}"/>
                </a:ext>
              </a:extLst>
            </p:cNvPr>
            <p:cNvSpPr/>
            <p:nvPr/>
          </p:nvSpPr>
          <p:spPr bwMode="auto">
            <a:xfrm>
              <a:off x="5552133" y="3326241"/>
              <a:ext cx="262001" cy="247258"/>
            </a:xfrm>
            <a:custGeom>
              <a:avLst/>
              <a:gdLst>
                <a:gd name="T0" fmla="*/ 231 w 231"/>
                <a:gd name="T1" fmla="*/ 218 h 218"/>
                <a:gd name="T2" fmla="*/ 216 w 231"/>
                <a:gd name="T3" fmla="*/ 0 h 218"/>
                <a:gd name="T4" fmla="*/ 0 w 231"/>
                <a:gd name="T5" fmla="*/ 72 h 218"/>
                <a:gd name="T6" fmla="*/ 7 w 231"/>
                <a:gd name="T7" fmla="*/ 176 h 218"/>
                <a:gd name="T8" fmla="*/ 231 w 231"/>
                <a:gd name="T9" fmla="*/ 218 h 218"/>
              </a:gdLst>
              <a:ahLst/>
              <a:cxnLst>
                <a:cxn ang="0">
                  <a:pos x="T0" y="T1"/>
                </a:cxn>
                <a:cxn ang="0">
                  <a:pos x="T2" y="T3"/>
                </a:cxn>
                <a:cxn ang="0">
                  <a:pos x="T4" y="T5"/>
                </a:cxn>
                <a:cxn ang="0">
                  <a:pos x="T6" y="T7"/>
                </a:cxn>
                <a:cxn ang="0">
                  <a:pos x="T8" y="T9"/>
                </a:cxn>
              </a:cxnLst>
              <a:rect l="0" t="0" r="r" b="b"/>
              <a:pathLst>
                <a:path w="231" h="218">
                  <a:moveTo>
                    <a:pt x="231" y="218"/>
                  </a:moveTo>
                  <a:lnTo>
                    <a:pt x="216" y="0"/>
                  </a:lnTo>
                  <a:lnTo>
                    <a:pt x="0" y="72"/>
                  </a:lnTo>
                  <a:lnTo>
                    <a:pt x="7" y="176"/>
                  </a:lnTo>
                  <a:lnTo>
                    <a:pt x="231" y="21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37" name="ïśļíḍé">
              <a:extLst>
                <a:ext uri="{FF2B5EF4-FFF2-40B4-BE49-F238E27FC236}">
                  <a16:creationId xmlns:a16="http://schemas.microsoft.com/office/drawing/2014/main" id="{98025608-4AAE-4955-B695-8C6712947A12}"/>
                </a:ext>
              </a:extLst>
            </p:cNvPr>
            <p:cNvSpPr/>
            <p:nvPr/>
          </p:nvSpPr>
          <p:spPr bwMode="auto">
            <a:xfrm>
              <a:off x="6410730" y="4075956"/>
              <a:ext cx="249527" cy="260869"/>
            </a:xfrm>
            <a:custGeom>
              <a:avLst/>
              <a:gdLst>
                <a:gd name="T0" fmla="*/ 0 w 220"/>
                <a:gd name="T1" fmla="*/ 15 h 230"/>
                <a:gd name="T2" fmla="*/ 220 w 220"/>
                <a:gd name="T3" fmla="*/ 0 h 230"/>
                <a:gd name="T4" fmla="*/ 178 w 220"/>
                <a:gd name="T5" fmla="*/ 223 h 230"/>
                <a:gd name="T6" fmla="*/ 73 w 220"/>
                <a:gd name="T7" fmla="*/ 230 h 230"/>
                <a:gd name="T8" fmla="*/ 0 w 220"/>
                <a:gd name="T9" fmla="*/ 15 h 230"/>
              </a:gdLst>
              <a:ahLst/>
              <a:cxnLst>
                <a:cxn ang="0">
                  <a:pos x="T0" y="T1"/>
                </a:cxn>
                <a:cxn ang="0">
                  <a:pos x="T2" y="T3"/>
                </a:cxn>
                <a:cxn ang="0">
                  <a:pos x="T4" y="T5"/>
                </a:cxn>
                <a:cxn ang="0">
                  <a:pos x="T6" y="T7"/>
                </a:cxn>
                <a:cxn ang="0">
                  <a:pos x="T8" y="T9"/>
                </a:cxn>
              </a:cxnLst>
              <a:rect l="0" t="0" r="r" b="b"/>
              <a:pathLst>
                <a:path w="220" h="230">
                  <a:moveTo>
                    <a:pt x="0" y="15"/>
                  </a:moveTo>
                  <a:lnTo>
                    <a:pt x="220" y="0"/>
                  </a:lnTo>
                  <a:lnTo>
                    <a:pt x="178" y="223"/>
                  </a:lnTo>
                  <a:lnTo>
                    <a:pt x="73" y="230"/>
                  </a:lnTo>
                  <a:lnTo>
                    <a:pt x="0" y="1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38" name="iṣḷiḍè">
              <a:extLst>
                <a:ext uri="{FF2B5EF4-FFF2-40B4-BE49-F238E27FC236}">
                  <a16:creationId xmlns:a16="http://schemas.microsoft.com/office/drawing/2014/main" id="{399EE4FB-2791-46D0-948F-540715534C63}"/>
                </a:ext>
              </a:extLst>
            </p:cNvPr>
            <p:cNvSpPr/>
            <p:nvPr/>
          </p:nvSpPr>
          <p:spPr bwMode="auto">
            <a:xfrm>
              <a:off x="7161578" y="3230968"/>
              <a:ext cx="262001" cy="248393"/>
            </a:xfrm>
            <a:custGeom>
              <a:avLst/>
              <a:gdLst>
                <a:gd name="T0" fmla="*/ 0 w 231"/>
                <a:gd name="T1" fmla="*/ 0 h 219"/>
                <a:gd name="T2" fmla="*/ 15 w 231"/>
                <a:gd name="T3" fmla="*/ 219 h 219"/>
                <a:gd name="T4" fmla="*/ 231 w 231"/>
                <a:gd name="T5" fmla="*/ 147 h 219"/>
                <a:gd name="T6" fmla="*/ 224 w 231"/>
                <a:gd name="T7" fmla="*/ 42 h 219"/>
                <a:gd name="T8" fmla="*/ 0 w 231"/>
                <a:gd name="T9" fmla="*/ 0 h 219"/>
              </a:gdLst>
              <a:ahLst/>
              <a:cxnLst>
                <a:cxn ang="0">
                  <a:pos x="T0" y="T1"/>
                </a:cxn>
                <a:cxn ang="0">
                  <a:pos x="T2" y="T3"/>
                </a:cxn>
                <a:cxn ang="0">
                  <a:pos x="T4" y="T5"/>
                </a:cxn>
                <a:cxn ang="0">
                  <a:pos x="T6" y="T7"/>
                </a:cxn>
                <a:cxn ang="0">
                  <a:pos x="T8" y="T9"/>
                </a:cxn>
              </a:cxnLst>
              <a:rect l="0" t="0" r="r" b="b"/>
              <a:pathLst>
                <a:path w="231" h="219">
                  <a:moveTo>
                    <a:pt x="0" y="0"/>
                  </a:moveTo>
                  <a:lnTo>
                    <a:pt x="15" y="219"/>
                  </a:lnTo>
                  <a:lnTo>
                    <a:pt x="231" y="147"/>
                  </a:lnTo>
                  <a:lnTo>
                    <a:pt x="224" y="42"/>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39" name="iṧḻíḓè">
              <a:extLst>
                <a:ext uri="{FF2B5EF4-FFF2-40B4-BE49-F238E27FC236}">
                  <a16:creationId xmlns:a16="http://schemas.microsoft.com/office/drawing/2014/main" id="{45C4900C-8A04-438A-B8F9-31C5A239195E}"/>
                </a:ext>
              </a:extLst>
            </p:cNvPr>
            <p:cNvSpPr/>
            <p:nvPr/>
          </p:nvSpPr>
          <p:spPr bwMode="auto">
            <a:xfrm>
              <a:off x="6316591" y="2467644"/>
              <a:ext cx="248392" cy="262003"/>
            </a:xfrm>
            <a:custGeom>
              <a:avLst/>
              <a:gdLst>
                <a:gd name="T0" fmla="*/ 219 w 219"/>
                <a:gd name="T1" fmla="*/ 216 h 231"/>
                <a:gd name="T2" fmla="*/ 0 w 219"/>
                <a:gd name="T3" fmla="*/ 231 h 231"/>
                <a:gd name="T4" fmla="*/ 42 w 219"/>
                <a:gd name="T5" fmla="*/ 7 h 231"/>
                <a:gd name="T6" fmla="*/ 146 w 219"/>
                <a:gd name="T7" fmla="*/ 0 h 231"/>
                <a:gd name="T8" fmla="*/ 219 w 219"/>
                <a:gd name="T9" fmla="*/ 216 h 231"/>
              </a:gdLst>
              <a:ahLst/>
              <a:cxnLst>
                <a:cxn ang="0">
                  <a:pos x="T0" y="T1"/>
                </a:cxn>
                <a:cxn ang="0">
                  <a:pos x="T2" y="T3"/>
                </a:cxn>
                <a:cxn ang="0">
                  <a:pos x="T4" y="T5"/>
                </a:cxn>
                <a:cxn ang="0">
                  <a:pos x="T6" y="T7"/>
                </a:cxn>
                <a:cxn ang="0">
                  <a:pos x="T8" y="T9"/>
                </a:cxn>
              </a:cxnLst>
              <a:rect l="0" t="0" r="r" b="b"/>
              <a:pathLst>
                <a:path w="219" h="231">
                  <a:moveTo>
                    <a:pt x="219" y="216"/>
                  </a:moveTo>
                  <a:lnTo>
                    <a:pt x="0" y="231"/>
                  </a:lnTo>
                  <a:lnTo>
                    <a:pt x="42" y="7"/>
                  </a:lnTo>
                  <a:lnTo>
                    <a:pt x="146" y="0"/>
                  </a:lnTo>
                  <a:lnTo>
                    <a:pt x="219" y="21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40" name="iṣḻíďè">
              <a:extLst>
                <a:ext uri="{FF2B5EF4-FFF2-40B4-BE49-F238E27FC236}">
                  <a16:creationId xmlns:a16="http://schemas.microsoft.com/office/drawing/2014/main" id="{F5F9B90F-5D33-4799-9C16-94C6BBBFA2DD}"/>
                </a:ext>
              </a:extLst>
            </p:cNvPr>
            <p:cNvSpPr/>
            <p:nvPr/>
          </p:nvSpPr>
          <p:spPr bwMode="auto">
            <a:xfrm>
              <a:off x="5801660" y="2717170"/>
              <a:ext cx="1372395" cy="1371262"/>
            </a:xfrm>
            <a:custGeom>
              <a:avLst/>
              <a:gdLst>
                <a:gd name="T0" fmla="*/ 165 w 1552"/>
                <a:gd name="T1" fmla="*/ 1075 h 1552"/>
                <a:gd name="T2" fmla="*/ 1076 w 1552"/>
                <a:gd name="T3" fmla="*/ 1387 h 1552"/>
                <a:gd name="T4" fmla="*/ 1387 w 1552"/>
                <a:gd name="T5" fmla="*/ 477 h 1552"/>
                <a:gd name="T6" fmla="*/ 477 w 1552"/>
                <a:gd name="T7" fmla="*/ 165 h 1552"/>
                <a:gd name="T8" fmla="*/ 165 w 1552"/>
                <a:gd name="T9" fmla="*/ 1075 h 1552"/>
              </a:gdLst>
              <a:ahLst/>
              <a:cxnLst>
                <a:cxn ang="0">
                  <a:pos x="T0" y="T1"/>
                </a:cxn>
                <a:cxn ang="0">
                  <a:pos x="T2" y="T3"/>
                </a:cxn>
                <a:cxn ang="0">
                  <a:pos x="T4" y="T5"/>
                </a:cxn>
                <a:cxn ang="0">
                  <a:pos x="T6" y="T7"/>
                </a:cxn>
                <a:cxn ang="0">
                  <a:pos x="T8" y="T9"/>
                </a:cxn>
              </a:cxnLst>
              <a:rect l="0" t="0" r="r" b="b"/>
              <a:pathLst>
                <a:path w="1552" h="1552">
                  <a:moveTo>
                    <a:pt x="165" y="1075"/>
                  </a:moveTo>
                  <a:cubicBezTo>
                    <a:pt x="331" y="1413"/>
                    <a:pt x="738" y="1552"/>
                    <a:pt x="1076" y="1387"/>
                  </a:cubicBezTo>
                  <a:cubicBezTo>
                    <a:pt x="1413" y="1221"/>
                    <a:pt x="1552" y="814"/>
                    <a:pt x="1387" y="477"/>
                  </a:cubicBezTo>
                  <a:cubicBezTo>
                    <a:pt x="1222" y="139"/>
                    <a:pt x="814" y="0"/>
                    <a:pt x="477" y="165"/>
                  </a:cubicBezTo>
                  <a:cubicBezTo>
                    <a:pt x="139" y="331"/>
                    <a:pt x="0" y="738"/>
                    <a:pt x="165" y="1075"/>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41" name="ïśliḓè">
              <a:extLst>
                <a:ext uri="{FF2B5EF4-FFF2-40B4-BE49-F238E27FC236}">
                  <a16:creationId xmlns:a16="http://schemas.microsoft.com/office/drawing/2014/main" id="{BE97110E-A510-4255-9AEC-31A4FDBF5773}"/>
                </a:ext>
              </a:extLst>
            </p:cNvPr>
            <p:cNvSpPr/>
            <p:nvPr/>
          </p:nvSpPr>
          <p:spPr bwMode="auto">
            <a:xfrm>
              <a:off x="4289757" y="1833619"/>
              <a:ext cx="1514171" cy="1513040"/>
            </a:xfrm>
            <a:custGeom>
              <a:avLst/>
              <a:gdLst>
                <a:gd name="T0" fmla="*/ 115 w 1712"/>
                <a:gd name="T1" fmla="*/ 1065 h 1713"/>
                <a:gd name="T2" fmla="*/ 1065 w 1712"/>
                <a:gd name="T3" fmla="*/ 1597 h 1713"/>
                <a:gd name="T4" fmla="*/ 1597 w 1712"/>
                <a:gd name="T5" fmla="*/ 647 h 1713"/>
                <a:gd name="T6" fmla="*/ 647 w 1712"/>
                <a:gd name="T7" fmla="*/ 116 h 1713"/>
                <a:gd name="T8" fmla="*/ 115 w 1712"/>
                <a:gd name="T9" fmla="*/ 1065 h 1713"/>
              </a:gdLst>
              <a:ahLst/>
              <a:cxnLst>
                <a:cxn ang="0">
                  <a:pos x="T0" y="T1"/>
                </a:cxn>
                <a:cxn ang="0">
                  <a:pos x="T2" y="T3"/>
                </a:cxn>
                <a:cxn ang="0">
                  <a:pos x="T4" y="T5"/>
                </a:cxn>
                <a:cxn ang="0">
                  <a:pos x="T6" y="T7"/>
                </a:cxn>
                <a:cxn ang="0">
                  <a:pos x="T8" y="T9"/>
                </a:cxn>
              </a:cxnLst>
              <a:rect l="0" t="0" r="r" b="b"/>
              <a:pathLst>
                <a:path w="1712" h="1713">
                  <a:moveTo>
                    <a:pt x="115" y="1065"/>
                  </a:moveTo>
                  <a:cubicBezTo>
                    <a:pt x="231" y="1475"/>
                    <a:pt x="656" y="1713"/>
                    <a:pt x="1065" y="1597"/>
                  </a:cubicBezTo>
                  <a:cubicBezTo>
                    <a:pt x="1474" y="1482"/>
                    <a:pt x="1712" y="1056"/>
                    <a:pt x="1597" y="647"/>
                  </a:cubicBezTo>
                  <a:cubicBezTo>
                    <a:pt x="1481" y="238"/>
                    <a:pt x="1056" y="0"/>
                    <a:pt x="647" y="116"/>
                  </a:cubicBezTo>
                  <a:cubicBezTo>
                    <a:pt x="238" y="231"/>
                    <a:pt x="0" y="656"/>
                    <a:pt x="115" y="1065"/>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42" name="ísḻïďé">
              <a:extLst>
                <a:ext uri="{FF2B5EF4-FFF2-40B4-BE49-F238E27FC236}">
                  <a16:creationId xmlns:a16="http://schemas.microsoft.com/office/drawing/2014/main" id="{3DFC5F43-0EC9-4302-8BA8-F22B9AF99E15}"/>
                </a:ext>
              </a:extLst>
            </p:cNvPr>
            <p:cNvSpPr/>
            <p:nvPr/>
          </p:nvSpPr>
          <p:spPr bwMode="auto">
            <a:xfrm>
              <a:off x="4464426" y="2008288"/>
              <a:ext cx="1164833" cy="1163702"/>
            </a:xfrm>
            <a:custGeom>
              <a:avLst/>
              <a:gdLst>
                <a:gd name="T0" fmla="*/ 88 w 1317"/>
                <a:gd name="T1" fmla="*/ 819 h 1317"/>
                <a:gd name="T2" fmla="*/ 819 w 1317"/>
                <a:gd name="T3" fmla="*/ 1228 h 1317"/>
                <a:gd name="T4" fmla="*/ 1228 w 1317"/>
                <a:gd name="T5" fmla="*/ 498 h 1317"/>
                <a:gd name="T6" fmla="*/ 497 w 1317"/>
                <a:gd name="T7" fmla="*/ 89 h 1317"/>
                <a:gd name="T8" fmla="*/ 88 w 1317"/>
                <a:gd name="T9" fmla="*/ 819 h 1317"/>
              </a:gdLst>
              <a:ahLst/>
              <a:cxnLst>
                <a:cxn ang="0">
                  <a:pos x="T0" y="T1"/>
                </a:cxn>
                <a:cxn ang="0">
                  <a:pos x="T2" y="T3"/>
                </a:cxn>
                <a:cxn ang="0">
                  <a:pos x="T4" y="T5"/>
                </a:cxn>
                <a:cxn ang="0">
                  <a:pos x="T6" y="T7"/>
                </a:cxn>
                <a:cxn ang="0">
                  <a:pos x="T8" y="T9"/>
                </a:cxn>
              </a:cxnLst>
              <a:rect l="0" t="0" r="r" b="b"/>
              <a:pathLst>
                <a:path w="1317" h="1317">
                  <a:moveTo>
                    <a:pt x="88" y="819"/>
                  </a:moveTo>
                  <a:cubicBezTo>
                    <a:pt x="177" y="1134"/>
                    <a:pt x="504" y="1317"/>
                    <a:pt x="819" y="1228"/>
                  </a:cubicBezTo>
                  <a:cubicBezTo>
                    <a:pt x="1134" y="1139"/>
                    <a:pt x="1317" y="812"/>
                    <a:pt x="1228" y="498"/>
                  </a:cubicBezTo>
                  <a:cubicBezTo>
                    <a:pt x="1139" y="183"/>
                    <a:pt x="812" y="0"/>
                    <a:pt x="497" y="89"/>
                  </a:cubicBezTo>
                  <a:cubicBezTo>
                    <a:pt x="183" y="177"/>
                    <a:pt x="0" y="505"/>
                    <a:pt x="88" y="819"/>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43" name="ïṣ1ïdé">
              <a:extLst>
                <a:ext uri="{FF2B5EF4-FFF2-40B4-BE49-F238E27FC236}">
                  <a16:creationId xmlns:a16="http://schemas.microsoft.com/office/drawing/2014/main" id="{078E1FC0-BAA5-4655-BD8E-A5D995F9F398}"/>
                </a:ext>
              </a:extLst>
            </p:cNvPr>
            <p:cNvSpPr/>
            <p:nvPr/>
          </p:nvSpPr>
          <p:spPr bwMode="auto">
            <a:xfrm>
              <a:off x="4775200" y="1792787"/>
              <a:ext cx="214365" cy="256331"/>
            </a:xfrm>
            <a:custGeom>
              <a:avLst/>
              <a:gdLst>
                <a:gd name="T0" fmla="*/ 5 w 189"/>
                <a:gd name="T1" fmla="*/ 226 h 226"/>
                <a:gd name="T2" fmla="*/ 189 w 189"/>
                <a:gd name="T3" fmla="*/ 175 h 226"/>
                <a:gd name="T4" fmla="*/ 88 w 189"/>
                <a:gd name="T5" fmla="*/ 0 h 226"/>
                <a:gd name="T6" fmla="*/ 0 w 189"/>
                <a:gd name="T7" fmla="*/ 25 h 226"/>
                <a:gd name="T8" fmla="*/ 5 w 189"/>
                <a:gd name="T9" fmla="*/ 226 h 226"/>
              </a:gdLst>
              <a:ahLst/>
              <a:cxnLst>
                <a:cxn ang="0">
                  <a:pos x="T0" y="T1"/>
                </a:cxn>
                <a:cxn ang="0">
                  <a:pos x="T2" y="T3"/>
                </a:cxn>
                <a:cxn ang="0">
                  <a:pos x="T4" y="T5"/>
                </a:cxn>
                <a:cxn ang="0">
                  <a:pos x="T6" y="T7"/>
                </a:cxn>
                <a:cxn ang="0">
                  <a:pos x="T8" y="T9"/>
                </a:cxn>
              </a:cxnLst>
              <a:rect l="0" t="0" r="r" b="b"/>
              <a:pathLst>
                <a:path w="189" h="226">
                  <a:moveTo>
                    <a:pt x="5" y="226"/>
                  </a:moveTo>
                  <a:lnTo>
                    <a:pt x="189" y="175"/>
                  </a:lnTo>
                  <a:lnTo>
                    <a:pt x="88" y="0"/>
                  </a:lnTo>
                  <a:lnTo>
                    <a:pt x="0" y="25"/>
                  </a:lnTo>
                  <a:lnTo>
                    <a:pt x="5" y="2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44" name="iṥḻîḓé">
              <a:extLst>
                <a:ext uri="{FF2B5EF4-FFF2-40B4-BE49-F238E27FC236}">
                  <a16:creationId xmlns:a16="http://schemas.microsoft.com/office/drawing/2014/main" id="{E408C324-8707-4BD0-9E13-27D6BA9D2222}"/>
                </a:ext>
              </a:extLst>
            </p:cNvPr>
            <p:cNvSpPr/>
            <p:nvPr/>
          </p:nvSpPr>
          <p:spPr bwMode="auto">
            <a:xfrm>
              <a:off x="4247792" y="2646850"/>
              <a:ext cx="257466" cy="214367"/>
            </a:xfrm>
            <a:custGeom>
              <a:avLst/>
              <a:gdLst>
                <a:gd name="T0" fmla="*/ 175 w 227"/>
                <a:gd name="T1" fmla="*/ 0 h 189"/>
                <a:gd name="T2" fmla="*/ 227 w 227"/>
                <a:gd name="T3" fmla="*/ 184 h 189"/>
                <a:gd name="T4" fmla="*/ 25 w 227"/>
                <a:gd name="T5" fmla="*/ 189 h 189"/>
                <a:gd name="T6" fmla="*/ 0 w 227"/>
                <a:gd name="T7" fmla="*/ 102 h 189"/>
                <a:gd name="T8" fmla="*/ 175 w 227"/>
                <a:gd name="T9" fmla="*/ 0 h 189"/>
              </a:gdLst>
              <a:ahLst/>
              <a:cxnLst>
                <a:cxn ang="0">
                  <a:pos x="T0" y="T1"/>
                </a:cxn>
                <a:cxn ang="0">
                  <a:pos x="T2" y="T3"/>
                </a:cxn>
                <a:cxn ang="0">
                  <a:pos x="T4" y="T5"/>
                </a:cxn>
                <a:cxn ang="0">
                  <a:pos x="T6" y="T7"/>
                </a:cxn>
                <a:cxn ang="0">
                  <a:pos x="T8" y="T9"/>
                </a:cxn>
              </a:cxnLst>
              <a:rect l="0" t="0" r="r" b="b"/>
              <a:pathLst>
                <a:path w="227" h="189">
                  <a:moveTo>
                    <a:pt x="175" y="0"/>
                  </a:moveTo>
                  <a:lnTo>
                    <a:pt x="227" y="184"/>
                  </a:lnTo>
                  <a:lnTo>
                    <a:pt x="25" y="189"/>
                  </a:lnTo>
                  <a:lnTo>
                    <a:pt x="0" y="102"/>
                  </a:lnTo>
                  <a:lnTo>
                    <a:pt x="175"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45" name="îṩļïďe">
              <a:extLst>
                <a:ext uri="{FF2B5EF4-FFF2-40B4-BE49-F238E27FC236}">
                  <a16:creationId xmlns:a16="http://schemas.microsoft.com/office/drawing/2014/main" id="{721296B0-AB44-4ED3-9301-BBE6ECFD7B95}"/>
                </a:ext>
              </a:extLst>
            </p:cNvPr>
            <p:cNvSpPr/>
            <p:nvPr/>
          </p:nvSpPr>
          <p:spPr bwMode="auto">
            <a:xfrm>
              <a:off x="5102986" y="3130025"/>
              <a:ext cx="215500" cy="257466"/>
            </a:xfrm>
            <a:custGeom>
              <a:avLst/>
              <a:gdLst>
                <a:gd name="T0" fmla="*/ 184 w 190"/>
                <a:gd name="T1" fmla="*/ 0 h 227"/>
                <a:gd name="T2" fmla="*/ 0 w 190"/>
                <a:gd name="T3" fmla="*/ 52 h 227"/>
                <a:gd name="T4" fmla="*/ 102 w 190"/>
                <a:gd name="T5" fmla="*/ 227 h 227"/>
                <a:gd name="T6" fmla="*/ 190 w 190"/>
                <a:gd name="T7" fmla="*/ 202 h 227"/>
                <a:gd name="T8" fmla="*/ 184 w 190"/>
                <a:gd name="T9" fmla="*/ 0 h 227"/>
              </a:gdLst>
              <a:ahLst/>
              <a:cxnLst>
                <a:cxn ang="0">
                  <a:pos x="T0" y="T1"/>
                </a:cxn>
                <a:cxn ang="0">
                  <a:pos x="T2" y="T3"/>
                </a:cxn>
                <a:cxn ang="0">
                  <a:pos x="T4" y="T5"/>
                </a:cxn>
                <a:cxn ang="0">
                  <a:pos x="T6" y="T7"/>
                </a:cxn>
                <a:cxn ang="0">
                  <a:pos x="T8" y="T9"/>
                </a:cxn>
              </a:cxnLst>
              <a:rect l="0" t="0" r="r" b="b"/>
              <a:pathLst>
                <a:path w="190" h="227">
                  <a:moveTo>
                    <a:pt x="184" y="0"/>
                  </a:moveTo>
                  <a:lnTo>
                    <a:pt x="0" y="52"/>
                  </a:lnTo>
                  <a:lnTo>
                    <a:pt x="102" y="227"/>
                  </a:lnTo>
                  <a:lnTo>
                    <a:pt x="190" y="202"/>
                  </a:lnTo>
                  <a:lnTo>
                    <a:pt x="18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46" name="íślíḋè">
              <a:extLst>
                <a:ext uri="{FF2B5EF4-FFF2-40B4-BE49-F238E27FC236}">
                  <a16:creationId xmlns:a16="http://schemas.microsoft.com/office/drawing/2014/main" id="{B66B8BC5-B1AF-4EBE-A312-670620576C0D}"/>
                </a:ext>
              </a:extLst>
            </p:cNvPr>
            <p:cNvSpPr/>
            <p:nvPr/>
          </p:nvSpPr>
          <p:spPr bwMode="auto">
            <a:xfrm>
              <a:off x="5587294" y="2320197"/>
              <a:ext cx="258600" cy="213232"/>
            </a:xfrm>
            <a:custGeom>
              <a:avLst/>
              <a:gdLst>
                <a:gd name="T0" fmla="*/ 52 w 228"/>
                <a:gd name="T1" fmla="*/ 188 h 188"/>
                <a:gd name="T2" fmla="*/ 0 w 228"/>
                <a:gd name="T3" fmla="*/ 4 h 188"/>
                <a:gd name="T4" fmla="*/ 203 w 228"/>
                <a:gd name="T5" fmla="*/ 0 h 188"/>
                <a:gd name="T6" fmla="*/ 228 w 228"/>
                <a:gd name="T7" fmla="*/ 87 h 188"/>
                <a:gd name="T8" fmla="*/ 52 w 228"/>
                <a:gd name="T9" fmla="*/ 188 h 188"/>
              </a:gdLst>
              <a:ahLst/>
              <a:cxnLst>
                <a:cxn ang="0">
                  <a:pos x="T0" y="T1"/>
                </a:cxn>
                <a:cxn ang="0">
                  <a:pos x="T2" y="T3"/>
                </a:cxn>
                <a:cxn ang="0">
                  <a:pos x="T4" y="T5"/>
                </a:cxn>
                <a:cxn ang="0">
                  <a:pos x="T6" y="T7"/>
                </a:cxn>
                <a:cxn ang="0">
                  <a:pos x="T8" y="T9"/>
                </a:cxn>
              </a:cxnLst>
              <a:rect l="0" t="0" r="r" b="b"/>
              <a:pathLst>
                <a:path w="228" h="188">
                  <a:moveTo>
                    <a:pt x="52" y="188"/>
                  </a:moveTo>
                  <a:lnTo>
                    <a:pt x="0" y="4"/>
                  </a:lnTo>
                  <a:lnTo>
                    <a:pt x="203" y="0"/>
                  </a:lnTo>
                  <a:lnTo>
                    <a:pt x="228" y="87"/>
                  </a:lnTo>
                  <a:lnTo>
                    <a:pt x="52" y="18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47" name="iSḻïḑe">
              <a:extLst>
                <a:ext uri="{FF2B5EF4-FFF2-40B4-BE49-F238E27FC236}">
                  <a16:creationId xmlns:a16="http://schemas.microsoft.com/office/drawing/2014/main" id="{B5CB1B1E-644C-4D55-8497-5F4FB2CBE58B}"/>
                </a:ext>
              </a:extLst>
            </p:cNvPr>
            <p:cNvSpPr/>
            <p:nvPr/>
          </p:nvSpPr>
          <p:spPr bwMode="auto">
            <a:xfrm>
              <a:off x="4311307" y="2147797"/>
              <a:ext cx="268807" cy="247258"/>
            </a:xfrm>
            <a:custGeom>
              <a:avLst/>
              <a:gdLst>
                <a:gd name="T0" fmla="*/ 144 w 237"/>
                <a:gd name="T1" fmla="*/ 218 h 218"/>
                <a:gd name="T2" fmla="*/ 237 w 237"/>
                <a:gd name="T3" fmla="*/ 51 h 218"/>
                <a:gd name="T4" fmla="*/ 45 w 237"/>
                <a:gd name="T5" fmla="*/ 0 h 218"/>
                <a:gd name="T6" fmla="*/ 0 w 237"/>
                <a:gd name="T7" fmla="*/ 80 h 218"/>
                <a:gd name="T8" fmla="*/ 144 w 237"/>
                <a:gd name="T9" fmla="*/ 218 h 218"/>
              </a:gdLst>
              <a:ahLst/>
              <a:cxnLst>
                <a:cxn ang="0">
                  <a:pos x="T0" y="T1"/>
                </a:cxn>
                <a:cxn ang="0">
                  <a:pos x="T2" y="T3"/>
                </a:cxn>
                <a:cxn ang="0">
                  <a:pos x="T4" y="T5"/>
                </a:cxn>
                <a:cxn ang="0">
                  <a:pos x="T6" y="T7"/>
                </a:cxn>
                <a:cxn ang="0">
                  <a:pos x="T8" y="T9"/>
                </a:cxn>
              </a:cxnLst>
              <a:rect l="0" t="0" r="r" b="b"/>
              <a:pathLst>
                <a:path w="237" h="218">
                  <a:moveTo>
                    <a:pt x="144" y="218"/>
                  </a:moveTo>
                  <a:lnTo>
                    <a:pt x="237" y="51"/>
                  </a:lnTo>
                  <a:lnTo>
                    <a:pt x="45" y="0"/>
                  </a:lnTo>
                  <a:lnTo>
                    <a:pt x="0" y="80"/>
                  </a:lnTo>
                  <a:lnTo>
                    <a:pt x="144" y="21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48" name="iśḻíde">
              <a:extLst>
                <a:ext uri="{FF2B5EF4-FFF2-40B4-BE49-F238E27FC236}">
                  <a16:creationId xmlns:a16="http://schemas.microsoft.com/office/drawing/2014/main" id="{1FB422BC-885A-4FB1-B310-5B99162962D9}"/>
                </a:ext>
              </a:extLst>
            </p:cNvPr>
            <p:cNvSpPr/>
            <p:nvPr/>
          </p:nvSpPr>
          <p:spPr bwMode="auto">
            <a:xfrm>
              <a:off x="4603935" y="3056300"/>
              <a:ext cx="246123" cy="267674"/>
            </a:xfrm>
            <a:custGeom>
              <a:avLst/>
              <a:gdLst>
                <a:gd name="T0" fmla="*/ 50 w 217"/>
                <a:gd name="T1" fmla="*/ 0 h 236"/>
                <a:gd name="T2" fmla="*/ 217 w 217"/>
                <a:gd name="T3" fmla="*/ 94 h 236"/>
                <a:gd name="T4" fmla="*/ 80 w 217"/>
                <a:gd name="T5" fmla="*/ 236 h 236"/>
                <a:gd name="T6" fmla="*/ 0 w 217"/>
                <a:gd name="T7" fmla="*/ 192 h 236"/>
                <a:gd name="T8" fmla="*/ 50 w 217"/>
                <a:gd name="T9" fmla="*/ 0 h 236"/>
              </a:gdLst>
              <a:ahLst/>
              <a:cxnLst>
                <a:cxn ang="0">
                  <a:pos x="T0" y="T1"/>
                </a:cxn>
                <a:cxn ang="0">
                  <a:pos x="T2" y="T3"/>
                </a:cxn>
                <a:cxn ang="0">
                  <a:pos x="T4" y="T5"/>
                </a:cxn>
                <a:cxn ang="0">
                  <a:pos x="T6" y="T7"/>
                </a:cxn>
                <a:cxn ang="0">
                  <a:pos x="T8" y="T9"/>
                </a:cxn>
              </a:cxnLst>
              <a:rect l="0" t="0" r="r" b="b"/>
              <a:pathLst>
                <a:path w="217" h="236">
                  <a:moveTo>
                    <a:pt x="50" y="0"/>
                  </a:moveTo>
                  <a:lnTo>
                    <a:pt x="217" y="94"/>
                  </a:lnTo>
                  <a:lnTo>
                    <a:pt x="80" y="236"/>
                  </a:lnTo>
                  <a:lnTo>
                    <a:pt x="0" y="192"/>
                  </a:lnTo>
                  <a:lnTo>
                    <a:pt x="5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49" name="ïSľiḋè">
              <a:extLst>
                <a:ext uri="{FF2B5EF4-FFF2-40B4-BE49-F238E27FC236}">
                  <a16:creationId xmlns:a16="http://schemas.microsoft.com/office/drawing/2014/main" id="{BD2A5200-DFEA-449A-A91E-717E4452FDF0}"/>
                </a:ext>
              </a:extLst>
            </p:cNvPr>
            <p:cNvSpPr/>
            <p:nvPr/>
          </p:nvSpPr>
          <p:spPr bwMode="auto">
            <a:xfrm>
              <a:off x="5513571" y="2786358"/>
              <a:ext cx="268807" cy="244990"/>
            </a:xfrm>
            <a:custGeom>
              <a:avLst/>
              <a:gdLst>
                <a:gd name="T0" fmla="*/ 93 w 237"/>
                <a:gd name="T1" fmla="*/ 0 h 216"/>
                <a:gd name="T2" fmla="*/ 0 w 237"/>
                <a:gd name="T3" fmla="*/ 166 h 216"/>
                <a:gd name="T4" fmla="*/ 192 w 237"/>
                <a:gd name="T5" fmla="*/ 216 h 216"/>
                <a:gd name="T6" fmla="*/ 237 w 237"/>
                <a:gd name="T7" fmla="*/ 137 h 216"/>
                <a:gd name="T8" fmla="*/ 93 w 237"/>
                <a:gd name="T9" fmla="*/ 0 h 216"/>
              </a:gdLst>
              <a:ahLst/>
              <a:cxnLst>
                <a:cxn ang="0">
                  <a:pos x="T0" y="T1"/>
                </a:cxn>
                <a:cxn ang="0">
                  <a:pos x="T2" y="T3"/>
                </a:cxn>
                <a:cxn ang="0">
                  <a:pos x="T4" y="T5"/>
                </a:cxn>
                <a:cxn ang="0">
                  <a:pos x="T6" y="T7"/>
                </a:cxn>
                <a:cxn ang="0">
                  <a:pos x="T8" y="T9"/>
                </a:cxn>
              </a:cxnLst>
              <a:rect l="0" t="0" r="r" b="b"/>
              <a:pathLst>
                <a:path w="237" h="216">
                  <a:moveTo>
                    <a:pt x="93" y="0"/>
                  </a:moveTo>
                  <a:lnTo>
                    <a:pt x="0" y="166"/>
                  </a:lnTo>
                  <a:lnTo>
                    <a:pt x="192" y="216"/>
                  </a:lnTo>
                  <a:lnTo>
                    <a:pt x="237" y="137"/>
                  </a:lnTo>
                  <a:lnTo>
                    <a:pt x="9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50" name="îṡļïḑè">
              <a:extLst>
                <a:ext uri="{FF2B5EF4-FFF2-40B4-BE49-F238E27FC236}">
                  <a16:creationId xmlns:a16="http://schemas.microsoft.com/office/drawing/2014/main" id="{5748C7A3-211D-4610-85DD-B3059B412E8C}"/>
                </a:ext>
              </a:extLst>
            </p:cNvPr>
            <p:cNvSpPr/>
            <p:nvPr/>
          </p:nvSpPr>
          <p:spPr bwMode="auto">
            <a:xfrm>
              <a:off x="5242494" y="1856304"/>
              <a:ext cx="246123" cy="267674"/>
            </a:xfrm>
            <a:custGeom>
              <a:avLst/>
              <a:gdLst>
                <a:gd name="T0" fmla="*/ 167 w 217"/>
                <a:gd name="T1" fmla="*/ 236 h 236"/>
                <a:gd name="T2" fmla="*/ 0 w 217"/>
                <a:gd name="T3" fmla="*/ 143 h 236"/>
                <a:gd name="T4" fmla="*/ 138 w 217"/>
                <a:gd name="T5" fmla="*/ 0 h 236"/>
                <a:gd name="T6" fmla="*/ 217 w 217"/>
                <a:gd name="T7" fmla="*/ 45 h 236"/>
                <a:gd name="T8" fmla="*/ 167 w 217"/>
                <a:gd name="T9" fmla="*/ 236 h 236"/>
              </a:gdLst>
              <a:ahLst/>
              <a:cxnLst>
                <a:cxn ang="0">
                  <a:pos x="T0" y="T1"/>
                </a:cxn>
                <a:cxn ang="0">
                  <a:pos x="T2" y="T3"/>
                </a:cxn>
                <a:cxn ang="0">
                  <a:pos x="T4" y="T5"/>
                </a:cxn>
                <a:cxn ang="0">
                  <a:pos x="T6" y="T7"/>
                </a:cxn>
                <a:cxn ang="0">
                  <a:pos x="T8" y="T9"/>
                </a:cxn>
              </a:cxnLst>
              <a:rect l="0" t="0" r="r" b="b"/>
              <a:pathLst>
                <a:path w="217" h="236">
                  <a:moveTo>
                    <a:pt x="167" y="236"/>
                  </a:moveTo>
                  <a:lnTo>
                    <a:pt x="0" y="143"/>
                  </a:lnTo>
                  <a:lnTo>
                    <a:pt x="138" y="0"/>
                  </a:lnTo>
                  <a:lnTo>
                    <a:pt x="217" y="45"/>
                  </a:lnTo>
                  <a:lnTo>
                    <a:pt x="167" y="23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51" name="ïṥ1îḑé">
              <a:extLst>
                <a:ext uri="{FF2B5EF4-FFF2-40B4-BE49-F238E27FC236}">
                  <a16:creationId xmlns:a16="http://schemas.microsoft.com/office/drawing/2014/main" id="{BC984AC0-6A56-4F40-AEBB-AD4EDDB47AF8}"/>
                </a:ext>
              </a:extLst>
            </p:cNvPr>
            <p:cNvSpPr/>
            <p:nvPr/>
          </p:nvSpPr>
          <p:spPr bwMode="auto">
            <a:xfrm>
              <a:off x="4498452" y="1924357"/>
              <a:ext cx="262001" cy="268809"/>
            </a:xfrm>
            <a:custGeom>
              <a:avLst/>
              <a:gdLst>
                <a:gd name="T0" fmla="*/ 81 w 231"/>
                <a:gd name="T1" fmla="*/ 237 h 237"/>
                <a:gd name="T2" fmla="*/ 231 w 231"/>
                <a:gd name="T3" fmla="*/ 118 h 237"/>
                <a:gd name="T4" fmla="*/ 71 w 231"/>
                <a:gd name="T5" fmla="*/ 0 h 237"/>
                <a:gd name="T6" fmla="*/ 0 w 231"/>
                <a:gd name="T7" fmla="*/ 57 h 237"/>
                <a:gd name="T8" fmla="*/ 81 w 231"/>
                <a:gd name="T9" fmla="*/ 237 h 237"/>
              </a:gdLst>
              <a:ahLst/>
              <a:cxnLst>
                <a:cxn ang="0">
                  <a:pos x="T0" y="T1"/>
                </a:cxn>
                <a:cxn ang="0">
                  <a:pos x="T2" y="T3"/>
                </a:cxn>
                <a:cxn ang="0">
                  <a:pos x="T4" y="T5"/>
                </a:cxn>
                <a:cxn ang="0">
                  <a:pos x="T6" y="T7"/>
                </a:cxn>
                <a:cxn ang="0">
                  <a:pos x="T8" y="T9"/>
                </a:cxn>
              </a:cxnLst>
              <a:rect l="0" t="0" r="r" b="b"/>
              <a:pathLst>
                <a:path w="231" h="237">
                  <a:moveTo>
                    <a:pt x="81" y="237"/>
                  </a:moveTo>
                  <a:lnTo>
                    <a:pt x="231" y="118"/>
                  </a:lnTo>
                  <a:lnTo>
                    <a:pt x="71" y="0"/>
                  </a:lnTo>
                  <a:lnTo>
                    <a:pt x="0" y="57"/>
                  </a:lnTo>
                  <a:lnTo>
                    <a:pt x="81" y="23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52" name="íṩlîḓe">
              <a:extLst>
                <a:ext uri="{FF2B5EF4-FFF2-40B4-BE49-F238E27FC236}">
                  <a16:creationId xmlns:a16="http://schemas.microsoft.com/office/drawing/2014/main" id="{B3286418-0BAF-4647-B45B-EC6D31310D77}"/>
                </a:ext>
              </a:extLst>
            </p:cNvPr>
            <p:cNvSpPr/>
            <p:nvPr/>
          </p:nvSpPr>
          <p:spPr bwMode="auto">
            <a:xfrm>
              <a:off x="4379360" y="2877095"/>
              <a:ext cx="269941" cy="260869"/>
            </a:xfrm>
            <a:custGeom>
              <a:avLst/>
              <a:gdLst>
                <a:gd name="T0" fmla="*/ 119 w 238"/>
                <a:gd name="T1" fmla="*/ 0 h 230"/>
                <a:gd name="T2" fmla="*/ 238 w 238"/>
                <a:gd name="T3" fmla="*/ 149 h 230"/>
                <a:gd name="T4" fmla="*/ 57 w 238"/>
                <a:gd name="T5" fmla="*/ 230 h 230"/>
                <a:gd name="T6" fmla="*/ 0 w 238"/>
                <a:gd name="T7" fmla="*/ 159 h 230"/>
                <a:gd name="T8" fmla="*/ 119 w 238"/>
                <a:gd name="T9" fmla="*/ 0 h 230"/>
              </a:gdLst>
              <a:ahLst/>
              <a:cxnLst>
                <a:cxn ang="0">
                  <a:pos x="T0" y="T1"/>
                </a:cxn>
                <a:cxn ang="0">
                  <a:pos x="T2" y="T3"/>
                </a:cxn>
                <a:cxn ang="0">
                  <a:pos x="T4" y="T5"/>
                </a:cxn>
                <a:cxn ang="0">
                  <a:pos x="T6" y="T7"/>
                </a:cxn>
                <a:cxn ang="0">
                  <a:pos x="T8" y="T9"/>
                </a:cxn>
              </a:cxnLst>
              <a:rect l="0" t="0" r="r" b="b"/>
              <a:pathLst>
                <a:path w="238" h="230">
                  <a:moveTo>
                    <a:pt x="119" y="0"/>
                  </a:moveTo>
                  <a:lnTo>
                    <a:pt x="238" y="149"/>
                  </a:lnTo>
                  <a:lnTo>
                    <a:pt x="57" y="230"/>
                  </a:lnTo>
                  <a:lnTo>
                    <a:pt x="0" y="159"/>
                  </a:lnTo>
                  <a:lnTo>
                    <a:pt x="11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53" name="îsḻïḍè">
              <a:extLst>
                <a:ext uri="{FF2B5EF4-FFF2-40B4-BE49-F238E27FC236}">
                  <a16:creationId xmlns:a16="http://schemas.microsoft.com/office/drawing/2014/main" id="{334BB82C-C798-48BF-94E1-26C79252ED1D}"/>
                </a:ext>
              </a:extLst>
            </p:cNvPr>
            <p:cNvSpPr/>
            <p:nvPr/>
          </p:nvSpPr>
          <p:spPr bwMode="auto">
            <a:xfrm>
              <a:off x="5334365" y="2987114"/>
              <a:ext cx="260869" cy="269943"/>
            </a:xfrm>
            <a:custGeom>
              <a:avLst/>
              <a:gdLst>
                <a:gd name="T0" fmla="*/ 149 w 230"/>
                <a:gd name="T1" fmla="*/ 0 h 238"/>
                <a:gd name="T2" fmla="*/ 0 w 230"/>
                <a:gd name="T3" fmla="*/ 119 h 238"/>
                <a:gd name="T4" fmla="*/ 158 w 230"/>
                <a:gd name="T5" fmla="*/ 238 h 238"/>
                <a:gd name="T6" fmla="*/ 230 w 230"/>
                <a:gd name="T7" fmla="*/ 181 h 238"/>
                <a:gd name="T8" fmla="*/ 149 w 230"/>
                <a:gd name="T9" fmla="*/ 0 h 238"/>
              </a:gdLst>
              <a:ahLst/>
              <a:cxnLst>
                <a:cxn ang="0">
                  <a:pos x="T0" y="T1"/>
                </a:cxn>
                <a:cxn ang="0">
                  <a:pos x="T2" y="T3"/>
                </a:cxn>
                <a:cxn ang="0">
                  <a:pos x="T4" y="T5"/>
                </a:cxn>
                <a:cxn ang="0">
                  <a:pos x="T6" y="T7"/>
                </a:cxn>
                <a:cxn ang="0">
                  <a:pos x="T8" y="T9"/>
                </a:cxn>
              </a:cxnLst>
              <a:rect l="0" t="0" r="r" b="b"/>
              <a:pathLst>
                <a:path w="230" h="238">
                  <a:moveTo>
                    <a:pt x="149" y="0"/>
                  </a:moveTo>
                  <a:lnTo>
                    <a:pt x="0" y="119"/>
                  </a:lnTo>
                  <a:lnTo>
                    <a:pt x="158" y="238"/>
                  </a:lnTo>
                  <a:lnTo>
                    <a:pt x="230" y="181"/>
                  </a:lnTo>
                  <a:lnTo>
                    <a:pt x="14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54" name="îśľíďê">
              <a:extLst>
                <a:ext uri="{FF2B5EF4-FFF2-40B4-BE49-F238E27FC236}">
                  <a16:creationId xmlns:a16="http://schemas.microsoft.com/office/drawing/2014/main" id="{21E01964-D483-4AAE-ADE6-08B3168C0990}"/>
                </a:ext>
              </a:extLst>
            </p:cNvPr>
            <p:cNvSpPr/>
            <p:nvPr/>
          </p:nvSpPr>
          <p:spPr bwMode="auto">
            <a:xfrm>
              <a:off x="5444384" y="2043449"/>
              <a:ext cx="269941" cy="260869"/>
            </a:xfrm>
            <a:custGeom>
              <a:avLst/>
              <a:gdLst>
                <a:gd name="T0" fmla="*/ 119 w 238"/>
                <a:gd name="T1" fmla="*/ 230 h 230"/>
                <a:gd name="T2" fmla="*/ 0 w 238"/>
                <a:gd name="T3" fmla="*/ 80 h 230"/>
                <a:gd name="T4" fmla="*/ 181 w 238"/>
                <a:gd name="T5" fmla="*/ 0 h 230"/>
                <a:gd name="T6" fmla="*/ 238 w 238"/>
                <a:gd name="T7" fmla="*/ 71 h 230"/>
                <a:gd name="T8" fmla="*/ 119 w 238"/>
                <a:gd name="T9" fmla="*/ 230 h 230"/>
              </a:gdLst>
              <a:ahLst/>
              <a:cxnLst>
                <a:cxn ang="0">
                  <a:pos x="T0" y="T1"/>
                </a:cxn>
                <a:cxn ang="0">
                  <a:pos x="T2" y="T3"/>
                </a:cxn>
                <a:cxn ang="0">
                  <a:pos x="T4" y="T5"/>
                </a:cxn>
                <a:cxn ang="0">
                  <a:pos x="T6" y="T7"/>
                </a:cxn>
                <a:cxn ang="0">
                  <a:pos x="T8" y="T9"/>
                </a:cxn>
              </a:cxnLst>
              <a:rect l="0" t="0" r="r" b="b"/>
              <a:pathLst>
                <a:path w="238" h="230">
                  <a:moveTo>
                    <a:pt x="119" y="230"/>
                  </a:moveTo>
                  <a:lnTo>
                    <a:pt x="0" y="80"/>
                  </a:lnTo>
                  <a:lnTo>
                    <a:pt x="181" y="0"/>
                  </a:lnTo>
                  <a:lnTo>
                    <a:pt x="238" y="71"/>
                  </a:lnTo>
                  <a:lnTo>
                    <a:pt x="119" y="23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55" name="îS1ïḓê">
              <a:extLst>
                <a:ext uri="{FF2B5EF4-FFF2-40B4-BE49-F238E27FC236}">
                  <a16:creationId xmlns:a16="http://schemas.microsoft.com/office/drawing/2014/main" id="{2B359D50-29B3-4B44-86B4-4142121F5F7C}"/>
                </a:ext>
              </a:extLst>
            </p:cNvPr>
            <p:cNvSpPr/>
            <p:nvPr/>
          </p:nvSpPr>
          <p:spPr bwMode="auto">
            <a:xfrm>
              <a:off x="4233047" y="2416605"/>
              <a:ext cx="233647" cy="215500"/>
            </a:xfrm>
            <a:custGeom>
              <a:avLst/>
              <a:gdLst>
                <a:gd name="T0" fmla="*/ 185 w 206"/>
                <a:gd name="T1" fmla="*/ 190 h 190"/>
                <a:gd name="T2" fmla="*/ 206 w 206"/>
                <a:gd name="T3" fmla="*/ 0 h 190"/>
                <a:gd name="T4" fmla="*/ 10 w 206"/>
                <a:gd name="T5" fmla="*/ 28 h 190"/>
                <a:gd name="T6" fmla="*/ 0 w 206"/>
                <a:gd name="T7" fmla="*/ 119 h 190"/>
                <a:gd name="T8" fmla="*/ 185 w 206"/>
                <a:gd name="T9" fmla="*/ 190 h 190"/>
              </a:gdLst>
              <a:ahLst/>
              <a:cxnLst>
                <a:cxn ang="0">
                  <a:pos x="T0" y="T1"/>
                </a:cxn>
                <a:cxn ang="0">
                  <a:pos x="T2" y="T3"/>
                </a:cxn>
                <a:cxn ang="0">
                  <a:pos x="T4" y="T5"/>
                </a:cxn>
                <a:cxn ang="0">
                  <a:pos x="T6" y="T7"/>
                </a:cxn>
                <a:cxn ang="0">
                  <a:pos x="T8" y="T9"/>
                </a:cxn>
              </a:cxnLst>
              <a:rect l="0" t="0" r="r" b="b"/>
              <a:pathLst>
                <a:path w="206" h="190">
                  <a:moveTo>
                    <a:pt x="185" y="190"/>
                  </a:moveTo>
                  <a:lnTo>
                    <a:pt x="206" y="0"/>
                  </a:lnTo>
                  <a:lnTo>
                    <a:pt x="10" y="28"/>
                  </a:lnTo>
                  <a:lnTo>
                    <a:pt x="0" y="119"/>
                  </a:lnTo>
                  <a:lnTo>
                    <a:pt x="185" y="19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56" name="ïṡľîḋe">
              <a:extLst>
                <a:ext uri="{FF2B5EF4-FFF2-40B4-BE49-F238E27FC236}">
                  <a16:creationId xmlns:a16="http://schemas.microsoft.com/office/drawing/2014/main" id="{13898C0A-A56C-4A31-A306-27653D6D9287}"/>
                </a:ext>
              </a:extLst>
            </p:cNvPr>
            <p:cNvSpPr/>
            <p:nvPr/>
          </p:nvSpPr>
          <p:spPr bwMode="auto">
            <a:xfrm>
              <a:off x="4872741" y="3169721"/>
              <a:ext cx="215500" cy="232514"/>
            </a:xfrm>
            <a:custGeom>
              <a:avLst/>
              <a:gdLst>
                <a:gd name="T0" fmla="*/ 0 w 190"/>
                <a:gd name="T1" fmla="*/ 0 h 205"/>
                <a:gd name="T2" fmla="*/ 190 w 190"/>
                <a:gd name="T3" fmla="*/ 21 h 205"/>
                <a:gd name="T4" fmla="*/ 119 w 190"/>
                <a:gd name="T5" fmla="*/ 205 h 205"/>
                <a:gd name="T6" fmla="*/ 28 w 190"/>
                <a:gd name="T7" fmla="*/ 195 h 205"/>
                <a:gd name="T8" fmla="*/ 0 w 190"/>
                <a:gd name="T9" fmla="*/ 0 h 205"/>
              </a:gdLst>
              <a:ahLst/>
              <a:cxnLst>
                <a:cxn ang="0">
                  <a:pos x="T0" y="T1"/>
                </a:cxn>
                <a:cxn ang="0">
                  <a:pos x="T2" y="T3"/>
                </a:cxn>
                <a:cxn ang="0">
                  <a:pos x="T4" y="T5"/>
                </a:cxn>
                <a:cxn ang="0">
                  <a:pos x="T6" y="T7"/>
                </a:cxn>
                <a:cxn ang="0">
                  <a:pos x="T8" y="T9"/>
                </a:cxn>
              </a:cxnLst>
              <a:rect l="0" t="0" r="r" b="b"/>
              <a:pathLst>
                <a:path w="190" h="205">
                  <a:moveTo>
                    <a:pt x="0" y="0"/>
                  </a:moveTo>
                  <a:lnTo>
                    <a:pt x="190" y="21"/>
                  </a:lnTo>
                  <a:lnTo>
                    <a:pt x="119" y="205"/>
                  </a:lnTo>
                  <a:lnTo>
                    <a:pt x="28" y="195"/>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57" name="ïṡḷídé">
              <a:extLst>
                <a:ext uri="{FF2B5EF4-FFF2-40B4-BE49-F238E27FC236}">
                  <a16:creationId xmlns:a16="http://schemas.microsoft.com/office/drawing/2014/main" id="{7ED134F8-FE9C-46FC-A8AD-D64F0FB38074}"/>
                </a:ext>
              </a:extLst>
            </p:cNvPr>
            <p:cNvSpPr/>
            <p:nvPr/>
          </p:nvSpPr>
          <p:spPr bwMode="auto">
            <a:xfrm>
              <a:off x="5625856" y="2548173"/>
              <a:ext cx="234782" cy="215500"/>
            </a:xfrm>
            <a:custGeom>
              <a:avLst/>
              <a:gdLst>
                <a:gd name="T0" fmla="*/ 22 w 207"/>
                <a:gd name="T1" fmla="*/ 0 h 190"/>
                <a:gd name="T2" fmla="*/ 0 w 207"/>
                <a:gd name="T3" fmla="*/ 190 h 190"/>
                <a:gd name="T4" fmla="*/ 197 w 207"/>
                <a:gd name="T5" fmla="*/ 161 h 190"/>
                <a:gd name="T6" fmla="*/ 207 w 207"/>
                <a:gd name="T7" fmla="*/ 71 h 190"/>
                <a:gd name="T8" fmla="*/ 22 w 207"/>
                <a:gd name="T9" fmla="*/ 0 h 190"/>
              </a:gdLst>
              <a:ahLst/>
              <a:cxnLst>
                <a:cxn ang="0">
                  <a:pos x="T0" y="T1"/>
                </a:cxn>
                <a:cxn ang="0">
                  <a:pos x="T2" y="T3"/>
                </a:cxn>
                <a:cxn ang="0">
                  <a:pos x="T4" y="T5"/>
                </a:cxn>
                <a:cxn ang="0">
                  <a:pos x="T6" y="T7"/>
                </a:cxn>
                <a:cxn ang="0">
                  <a:pos x="T8" y="T9"/>
                </a:cxn>
              </a:cxnLst>
              <a:rect l="0" t="0" r="r" b="b"/>
              <a:pathLst>
                <a:path w="207" h="190">
                  <a:moveTo>
                    <a:pt x="22" y="0"/>
                  </a:moveTo>
                  <a:lnTo>
                    <a:pt x="0" y="190"/>
                  </a:lnTo>
                  <a:lnTo>
                    <a:pt x="197" y="161"/>
                  </a:lnTo>
                  <a:lnTo>
                    <a:pt x="207" y="71"/>
                  </a:lnTo>
                  <a:lnTo>
                    <a:pt x="22"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58" name="îṡlíḍe">
              <a:extLst>
                <a:ext uri="{FF2B5EF4-FFF2-40B4-BE49-F238E27FC236}">
                  <a16:creationId xmlns:a16="http://schemas.microsoft.com/office/drawing/2014/main" id="{032287D8-B3F8-4F02-9A29-E32D92A4CCC8}"/>
                </a:ext>
              </a:extLst>
            </p:cNvPr>
            <p:cNvSpPr/>
            <p:nvPr/>
          </p:nvSpPr>
          <p:spPr bwMode="auto">
            <a:xfrm>
              <a:off x="5005445" y="1776909"/>
              <a:ext cx="215500" cy="234782"/>
            </a:xfrm>
            <a:custGeom>
              <a:avLst/>
              <a:gdLst>
                <a:gd name="T0" fmla="*/ 190 w 190"/>
                <a:gd name="T1" fmla="*/ 207 h 207"/>
                <a:gd name="T2" fmla="*/ 0 w 190"/>
                <a:gd name="T3" fmla="*/ 186 h 207"/>
                <a:gd name="T4" fmla="*/ 71 w 190"/>
                <a:gd name="T5" fmla="*/ 0 h 207"/>
                <a:gd name="T6" fmla="*/ 161 w 190"/>
                <a:gd name="T7" fmla="*/ 10 h 207"/>
                <a:gd name="T8" fmla="*/ 190 w 190"/>
                <a:gd name="T9" fmla="*/ 207 h 207"/>
              </a:gdLst>
              <a:ahLst/>
              <a:cxnLst>
                <a:cxn ang="0">
                  <a:pos x="T0" y="T1"/>
                </a:cxn>
                <a:cxn ang="0">
                  <a:pos x="T2" y="T3"/>
                </a:cxn>
                <a:cxn ang="0">
                  <a:pos x="T4" y="T5"/>
                </a:cxn>
                <a:cxn ang="0">
                  <a:pos x="T6" y="T7"/>
                </a:cxn>
                <a:cxn ang="0">
                  <a:pos x="T8" y="T9"/>
                </a:cxn>
              </a:cxnLst>
              <a:rect l="0" t="0" r="r" b="b"/>
              <a:pathLst>
                <a:path w="190" h="207">
                  <a:moveTo>
                    <a:pt x="190" y="207"/>
                  </a:moveTo>
                  <a:lnTo>
                    <a:pt x="0" y="186"/>
                  </a:lnTo>
                  <a:lnTo>
                    <a:pt x="71" y="0"/>
                  </a:lnTo>
                  <a:lnTo>
                    <a:pt x="161" y="10"/>
                  </a:lnTo>
                  <a:lnTo>
                    <a:pt x="190" y="20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59" name="íŝḻidè">
              <a:extLst>
                <a:ext uri="{FF2B5EF4-FFF2-40B4-BE49-F238E27FC236}">
                  <a16:creationId xmlns:a16="http://schemas.microsoft.com/office/drawing/2014/main" id="{82D4E14E-4BF6-4B4D-B12D-BBE27DC7AFAE}"/>
                </a:ext>
              </a:extLst>
            </p:cNvPr>
            <p:cNvSpPr/>
            <p:nvPr/>
          </p:nvSpPr>
          <p:spPr bwMode="auto">
            <a:xfrm>
              <a:off x="5402418" y="4165558"/>
              <a:ext cx="821169" cy="818902"/>
            </a:xfrm>
            <a:custGeom>
              <a:avLst/>
              <a:gdLst>
                <a:gd name="T0" fmla="*/ 20 w 928"/>
                <a:gd name="T1" fmla="*/ 499 h 927"/>
                <a:gd name="T2" fmla="*/ 500 w 928"/>
                <a:gd name="T3" fmla="*/ 907 h 927"/>
                <a:gd name="T4" fmla="*/ 908 w 928"/>
                <a:gd name="T5" fmla="*/ 427 h 927"/>
                <a:gd name="T6" fmla="*/ 428 w 928"/>
                <a:gd name="T7" fmla="*/ 19 h 927"/>
                <a:gd name="T8" fmla="*/ 20 w 928"/>
                <a:gd name="T9" fmla="*/ 499 h 927"/>
              </a:gdLst>
              <a:ahLst/>
              <a:cxnLst>
                <a:cxn ang="0">
                  <a:pos x="T0" y="T1"/>
                </a:cxn>
                <a:cxn ang="0">
                  <a:pos x="T2" y="T3"/>
                </a:cxn>
                <a:cxn ang="0">
                  <a:pos x="T4" y="T5"/>
                </a:cxn>
                <a:cxn ang="0">
                  <a:pos x="T6" y="T7"/>
                </a:cxn>
                <a:cxn ang="0">
                  <a:pos x="T8" y="T9"/>
                </a:cxn>
              </a:cxnLst>
              <a:rect l="0" t="0" r="r" b="b"/>
              <a:pathLst>
                <a:path w="928" h="927">
                  <a:moveTo>
                    <a:pt x="20" y="499"/>
                  </a:moveTo>
                  <a:cubicBezTo>
                    <a:pt x="40" y="745"/>
                    <a:pt x="254" y="927"/>
                    <a:pt x="500" y="907"/>
                  </a:cubicBezTo>
                  <a:cubicBezTo>
                    <a:pt x="745" y="888"/>
                    <a:pt x="928" y="673"/>
                    <a:pt x="908" y="427"/>
                  </a:cubicBezTo>
                  <a:cubicBezTo>
                    <a:pt x="888" y="182"/>
                    <a:pt x="673" y="0"/>
                    <a:pt x="428" y="19"/>
                  </a:cubicBezTo>
                  <a:cubicBezTo>
                    <a:pt x="183" y="39"/>
                    <a:pt x="0" y="254"/>
                    <a:pt x="20" y="499"/>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60" name="ïśḷidè">
              <a:extLst>
                <a:ext uri="{FF2B5EF4-FFF2-40B4-BE49-F238E27FC236}">
                  <a16:creationId xmlns:a16="http://schemas.microsoft.com/office/drawing/2014/main" id="{E4CB1114-09A9-4964-8E15-DF22537AE90E}"/>
                </a:ext>
              </a:extLst>
            </p:cNvPr>
            <p:cNvSpPr/>
            <p:nvPr/>
          </p:nvSpPr>
          <p:spPr bwMode="auto">
            <a:xfrm>
              <a:off x="5524914" y="4288054"/>
              <a:ext cx="575045" cy="575046"/>
            </a:xfrm>
            <a:custGeom>
              <a:avLst/>
              <a:gdLst>
                <a:gd name="T0" fmla="*/ 13 w 650"/>
                <a:gd name="T1" fmla="*/ 351 h 651"/>
                <a:gd name="T2" fmla="*/ 350 w 650"/>
                <a:gd name="T3" fmla="*/ 637 h 651"/>
                <a:gd name="T4" fmla="*/ 636 w 650"/>
                <a:gd name="T5" fmla="*/ 300 h 651"/>
                <a:gd name="T6" fmla="*/ 300 w 650"/>
                <a:gd name="T7" fmla="*/ 14 h 651"/>
                <a:gd name="T8" fmla="*/ 13 w 650"/>
                <a:gd name="T9" fmla="*/ 351 h 651"/>
              </a:gdLst>
              <a:ahLst/>
              <a:cxnLst>
                <a:cxn ang="0">
                  <a:pos x="T0" y="T1"/>
                </a:cxn>
                <a:cxn ang="0">
                  <a:pos x="T2" y="T3"/>
                </a:cxn>
                <a:cxn ang="0">
                  <a:pos x="T4" y="T5"/>
                </a:cxn>
                <a:cxn ang="0">
                  <a:pos x="T6" y="T7"/>
                </a:cxn>
                <a:cxn ang="0">
                  <a:pos x="T8" y="T9"/>
                </a:cxn>
              </a:cxnLst>
              <a:rect l="0" t="0" r="r" b="b"/>
              <a:pathLst>
                <a:path w="650" h="651">
                  <a:moveTo>
                    <a:pt x="13" y="351"/>
                  </a:moveTo>
                  <a:cubicBezTo>
                    <a:pt x="27" y="522"/>
                    <a:pt x="178" y="651"/>
                    <a:pt x="350" y="637"/>
                  </a:cubicBezTo>
                  <a:cubicBezTo>
                    <a:pt x="522" y="623"/>
                    <a:pt x="650" y="472"/>
                    <a:pt x="636" y="300"/>
                  </a:cubicBezTo>
                  <a:cubicBezTo>
                    <a:pt x="622" y="128"/>
                    <a:pt x="471" y="0"/>
                    <a:pt x="300" y="14"/>
                  </a:cubicBezTo>
                  <a:cubicBezTo>
                    <a:pt x="128" y="28"/>
                    <a:pt x="0" y="179"/>
                    <a:pt x="13" y="351"/>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fontScale="92500" lnSpcReduction="10000"/>
            </a:bodyPr>
            <a:lstStyle/>
            <a:p>
              <a:endParaRPr lang="en-US" sz="3599">
                <a:cs typeface="+mn-ea"/>
                <a:sym typeface="+mn-lt"/>
              </a:endParaRPr>
            </a:p>
          </p:txBody>
        </p:sp>
        <p:sp>
          <p:nvSpPr>
            <p:cNvPr id="161" name="íṡļíḓè">
              <a:extLst>
                <a:ext uri="{FF2B5EF4-FFF2-40B4-BE49-F238E27FC236}">
                  <a16:creationId xmlns:a16="http://schemas.microsoft.com/office/drawing/2014/main" id="{A32ACA43-D055-4146-BA58-D047BFE693A4}"/>
                </a:ext>
              </a:extLst>
            </p:cNvPr>
            <p:cNvSpPr/>
            <p:nvPr/>
          </p:nvSpPr>
          <p:spPr bwMode="auto">
            <a:xfrm>
              <a:off x="5632662" y="4073688"/>
              <a:ext cx="193949" cy="217769"/>
            </a:xfrm>
            <a:custGeom>
              <a:avLst/>
              <a:gdLst>
                <a:gd name="T0" fmla="*/ 0 w 171"/>
                <a:gd name="T1" fmla="*/ 192 h 192"/>
                <a:gd name="T2" fmla="*/ 171 w 171"/>
                <a:gd name="T3" fmla="*/ 147 h 192"/>
                <a:gd name="T4" fmla="*/ 84 w 171"/>
                <a:gd name="T5" fmla="*/ 0 h 192"/>
                <a:gd name="T6" fmla="*/ 2 w 171"/>
                <a:gd name="T7" fmla="*/ 22 h 192"/>
                <a:gd name="T8" fmla="*/ 0 w 171"/>
                <a:gd name="T9" fmla="*/ 192 h 192"/>
              </a:gdLst>
              <a:ahLst/>
              <a:cxnLst>
                <a:cxn ang="0">
                  <a:pos x="T0" y="T1"/>
                </a:cxn>
                <a:cxn ang="0">
                  <a:pos x="T2" y="T3"/>
                </a:cxn>
                <a:cxn ang="0">
                  <a:pos x="T4" y="T5"/>
                </a:cxn>
                <a:cxn ang="0">
                  <a:pos x="T6" y="T7"/>
                </a:cxn>
                <a:cxn ang="0">
                  <a:pos x="T8" y="T9"/>
                </a:cxn>
              </a:cxnLst>
              <a:rect l="0" t="0" r="r" b="b"/>
              <a:pathLst>
                <a:path w="171" h="192">
                  <a:moveTo>
                    <a:pt x="0" y="192"/>
                  </a:moveTo>
                  <a:lnTo>
                    <a:pt x="171" y="147"/>
                  </a:lnTo>
                  <a:lnTo>
                    <a:pt x="84" y="0"/>
                  </a:lnTo>
                  <a:lnTo>
                    <a:pt x="2" y="22"/>
                  </a:lnTo>
                  <a:lnTo>
                    <a:pt x="0" y="19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2" name="îsḻïďê">
              <a:extLst>
                <a:ext uri="{FF2B5EF4-FFF2-40B4-BE49-F238E27FC236}">
                  <a16:creationId xmlns:a16="http://schemas.microsoft.com/office/drawing/2014/main" id="{7448BBAC-91BD-4105-BA51-3B64B7E91D79}"/>
                </a:ext>
              </a:extLst>
            </p:cNvPr>
            <p:cNvSpPr/>
            <p:nvPr/>
          </p:nvSpPr>
          <p:spPr bwMode="auto">
            <a:xfrm>
              <a:off x="5310547" y="4561399"/>
              <a:ext cx="217768" cy="192816"/>
            </a:xfrm>
            <a:custGeom>
              <a:avLst/>
              <a:gdLst>
                <a:gd name="T0" fmla="*/ 146 w 192"/>
                <a:gd name="T1" fmla="*/ 0 h 170"/>
                <a:gd name="T2" fmla="*/ 192 w 192"/>
                <a:gd name="T3" fmla="*/ 170 h 170"/>
                <a:gd name="T4" fmla="*/ 22 w 192"/>
                <a:gd name="T5" fmla="*/ 168 h 170"/>
                <a:gd name="T6" fmla="*/ 0 w 192"/>
                <a:gd name="T7" fmla="*/ 87 h 170"/>
                <a:gd name="T8" fmla="*/ 146 w 192"/>
                <a:gd name="T9" fmla="*/ 0 h 170"/>
              </a:gdLst>
              <a:ahLst/>
              <a:cxnLst>
                <a:cxn ang="0">
                  <a:pos x="T0" y="T1"/>
                </a:cxn>
                <a:cxn ang="0">
                  <a:pos x="T2" y="T3"/>
                </a:cxn>
                <a:cxn ang="0">
                  <a:pos x="T4" y="T5"/>
                </a:cxn>
                <a:cxn ang="0">
                  <a:pos x="T6" y="T7"/>
                </a:cxn>
                <a:cxn ang="0">
                  <a:pos x="T8" y="T9"/>
                </a:cxn>
              </a:cxnLst>
              <a:rect l="0" t="0" r="r" b="b"/>
              <a:pathLst>
                <a:path w="192" h="170">
                  <a:moveTo>
                    <a:pt x="146" y="0"/>
                  </a:moveTo>
                  <a:lnTo>
                    <a:pt x="192" y="170"/>
                  </a:lnTo>
                  <a:lnTo>
                    <a:pt x="22" y="168"/>
                  </a:lnTo>
                  <a:lnTo>
                    <a:pt x="0" y="87"/>
                  </a:lnTo>
                  <a:lnTo>
                    <a:pt x="146"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3" name="î$lîḓé">
              <a:extLst>
                <a:ext uri="{FF2B5EF4-FFF2-40B4-BE49-F238E27FC236}">
                  <a16:creationId xmlns:a16="http://schemas.microsoft.com/office/drawing/2014/main" id="{204BA0E2-4219-489E-A01F-BA754F971702}"/>
                </a:ext>
              </a:extLst>
            </p:cNvPr>
            <p:cNvSpPr/>
            <p:nvPr/>
          </p:nvSpPr>
          <p:spPr bwMode="auto">
            <a:xfrm>
              <a:off x="5798258" y="4858562"/>
              <a:ext cx="193949" cy="216635"/>
            </a:xfrm>
            <a:custGeom>
              <a:avLst/>
              <a:gdLst>
                <a:gd name="T0" fmla="*/ 171 w 171"/>
                <a:gd name="T1" fmla="*/ 0 h 191"/>
                <a:gd name="T2" fmla="*/ 0 w 171"/>
                <a:gd name="T3" fmla="*/ 45 h 191"/>
                <a:gd name="T4" fmla="*/ 88 w 171"/>
                <a:gd name="T5" fmla="*/ 191 h 191"/>
                <a:gd name="T6" fmla="*/ 169 w 171"/>
                <a:gd name="T7" fmla="*/ 170 h 191"/>
                <a:gd name="T8" fmla="*/ 171 w 171"/>
                <a:gd name="T9" fmla="*/ 0 h 191"/>
              </a:gdLst>
              <a:ahLst/>
              <a:cxnLst>
                <a:cxn ang="0">
                  <a:pos x="T0" y="T1"/>
                </a:cxn>
                <a:cxn ang="0">
                  <a:pos x="T2" y="T3"/>
                </a:cxn>
                <a:cxn ang="0">
                  <a:pos x="T4" y="T5"/>
                </a:cxn>
                <a:cxn ang="0">
                  <a:pos x="T6" y="T7"/>
                </a:cxn>
                <a:cxn ang="0">
                  <a:pos x="T8" y="T9"/>
                </a:cxn>
              </a:cxnLst>
              <a:rect l="0" t="0" r="r" b="b"/>
              <a:pathLst>
                <a:path w="171" h="191">
                  <a:moveTo>
                    <a:pt x="171" y="0"/>
                  </a:moveTo>
                  <a:lnTo>
                    <a:pt x="0" y="45"/>
                  </a:lnTo>
                  <a:lnTo>
                    <a:pt x="88" y="191"/>
                  </a:lnTo>
                  <a:lnTo>
                    <a:pt x="169" y="170"/>
                  </a:lnTo>
                  <a:lnTo>
                    <a:pt x="17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4" name="îṡļiḑe">
              <a:extLst>
                <a:ext uri="{FF2B5EF4-FFF2-40B4-BE49-F238E27FC236}">
                  <a16:creationId xmlns:a16="http://schemas.microsoft.com/office/drawing/2014/main" id="{2F87C31A-D046-460C-AB61-E69EFDC4428D}"/>
                </a:ext>
              </a:extLst>
            </p:cNvPr>
            <p:cNvSpPr/>
            <p:nvPr/>
          </p:nvSpPr>
          <p:spPr bwMode="auto">
            <a:xfrm>
              <a:off x="6096554" y="4396937"/>
              <a:ext cx="217768" cy="191683"/>
            </a:xfrm>
            <a:custGeom>
              <a:avLst/>
              <a:gdLst>
                <a:gd name="T0" fmla="*/ 45 w 192"/>
                <a:gd name="T1" fmla="*/ 169 h 169"/>
                <a:gd name="T2" fmla="*/ 0 w 192"/>
                <a:gd name="T3" fmla="*/ 0 h 169"/>
                <a:gd name="T4" fmla="*/ 170 w 192"/>
                <a:gd name="T5" fmla="*/ 1 h 169"/>
                <a:gd name="T6" fmla="*/ 192 w 192"/>
                <a:gd name="T7" fmla="*/ 83 h 169"/>
                <a:gd name="T8" fmla="*/ 45 w 192"/>
                <a:gd name="T9" fmla="*/ 169 h 169"/>
              </a:gdLst>
              <a:ahLst/>
              <a:cxnLst>
                <a:cxn ang="0">
                  <a:pos x="T0" y="T1"/>
                </a:cxn>
                <a:cxn ang="0">
                  <a:pos x="T2" y="T3"/>
                </a:cxn>
                <a:cxn ang="0">
                  <a:pos x="T4" y="T5"/>
                </a:cxn>
                <a:cxn ang="0">
                  <a:pos x="T6" y="T7"/>
                </a:cxn>
                <a:cxn ang="0">
                  <a:pos x="T8" y="T9"/>
                </a:cxn>
              </a:cxnLst>
              <a:rect l="0" t="0" r="r" b="b"/>
              <a:pathLst>
                <a:path w="192" h="169">
                  <a:moveTo>
                    <a:pt x="45" y="169"/>
                  </a:moveTo>
                  <a:lnTo>
                    <a:pt x="0" y="0"/>
                  </a:lnTo>
                  <a:lnTo>
                    <a:pt x="170" y="1"/>
                  </a:lnTo>
                  <a:lnTo>
                    <a:pt x="192" y="83"/>
                  </a:lnTo>
                  <a:lnTo>
                    <a:pt x="45" y="169"/>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5" name="iṣliḓê">
              <a:extLst>
                <a:ext uri="{FF2B5EF4-FFF2-40B4-BE49-F238E27FC236}">
                  <a16:creationId xmlns:a16="http://schemas.microsoft.com/office/drawing/2014/main" id="{27D5805C-5B0F-4642-8E1A-BF0AFE32CB92}"/>
                </a:ext>
              </a:extLst>
            </p:cNvPr>
            <p:cNvSpPr/>
            <p:nvPr/>
          </p:nvSpPr>
          <p:spPr bwMode="auto">
            <a:xfrm>
              <a:off x="5350244" y="4280115"/>
              <a:ext cx="234782" cy="221172"/>
            </a:xfrm>
            <a:custGeom>
              <a:avLst/>
              <a:gdLst>
                <a:gd name="T0" fmla="*/ 118 w 207"/>
                <a:gd name="T1" fmla="*/ 195 h 195"/>
                <a:gd name="T2" fmla="*/ 207 w 207"/>
                <a:gd name="T3" fmla="*/ 43 h 195"/>
                <a:gd name="T4" fmla="*/ 42 w 207"/>
                <a:gd name="T5" fmla="*/ 0 h 195"/>
                <a:gd name="T6" fmla="*/ 0 w 207"/>
                <a:gd name="T7" fmla="*/ 73 h 195"/>
                <a:gd name="T8" fmla="*/ 118 w 207"/>
                <a:gd name="T9" fmla="*/ 195 h 195"/>
              </a:gdLst>
              <a:ahLst/>
              <a:cxnLst>
                <a:cxn ang="0">
                  <a:pos x="T0" y="T1"/>
                </a:cxn>
                <a:cxn ang="0">
                  <a:pos x="T2" y="T3"/>
                </a:cxn>
                <a:cxn ang="0">
                  <a:pos x="T4" y="T5"/>
                </a:cxn>
                <a:cxn ang="0">
                  <a:pos x="T6" y="T7"/>
                </a:cxn>
                <a:cxn ang="0">
                  <a:pos x="T8" y="T9"/>
                </a:cxn>
              </a:cxnLst>
              <a:rect l="0" t="0" r="r" b="b"/>
              <a:pathLst>
                <a:path w="207" h="195">
                  <a:moveTo>
                    <a:pt x="118" y="195"/>
                  </a:moveTo>
                  <a:lnTo>
                    <a:pt x="207" y="43"/>
                  </a:lnTo>
                  <a:lnTo>
                    <a:pt x="42" y="0"/>
                  </a:lnTo>
                  <a:lnTo>
                    <a:pt x="0" y="73"/>
                  </a:lnTo>
                  <a:lnTo>
                    <a:pt x="118" y="195"/>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6" name="íŝľíďé">
              <a:extLst>
                <a:ext uri="{FF2B5EF4-FFF2-40B4-BE49-F238E27FC236}">
                  <a16:creationId xmlns:a16="http://schemas.microsoft.com/office/drawing/2014/main" id="{11CB7E7B-7C2A-4973-A3BA-AB4E5F75E91D}"/>
                </a:ext>
              </a:extLst>
            </p:cNvPr>
            <p:cNvSpPr/>
            <p:nvPr/>
          </p:nvSpPr>
          <p:spPr bwMode="auto">
            <a:xfrm>
              <a:off x="5516974" y="4801853"/>
              <a:ext cx="221170" cy="234782"/>
            </a:xfrm>
            <a:custGeom>
              <a:avLst/>
              <a:gdLst>
                <a:gd name="T0" fmla="*/ 42 w 195"/>
                <a:gd name="T1" fmla="*/ 0 h 207"/>
                <a:gd name="T2" fmla="*/ 195 w 195"/>
                <a:gd name="T3" fmla="*/ 89 h 207"/>
                <a:gd name="T4" fmla="*/ 74 w 195"/>
                <a:gd name="T5" fmla="*/ 207 h 207"/>
                <a:gd name="T6" fmla="*/ 0 w 195"/>
                <a:gd name="T7" fmla="*/ 165 h 207"/>
                <a:gd name="T8" fmla="*/ 42 w 195"/>
                <a:gd name="T9" fmla="*/ 0 h 207"/>
              </a:gdLst>
              <a:ahLst/>
              <a:cxnLst>
                <a:cxn ang="0">
                  <a:pos x="T0" y="T1"/>
                </a:cxn>
                <a:cxn ang="0">
                  <a:pos x="T2" y="T3"/>
                </a:cxn>
                <a:cxn ang="0">
                  <a:pos x="T4" y="T5"/>
                </a:cxn>
                <a:cxn ang="0">
                  <a:pos x="T6" y="T7"/>
                </a:cxn>
                <a:cxn ang="0">
                  <a:pos x="T8" y="T9"/>
                </a:cxn>
              </a:cxnLst>
              <a:rect l="0" t="0" r="r" b="b"/>
              <a:pathLst>
                <a:path w="195" h="207">
                  <a:moveTo>
                    <a:pt x="42" y="0"/>
                  </a:moveTo>
                  <a:lnTo>
                    <a:pt x="195" y="89"/>
                  </a:lnTo>
                  <a:lnTo>
                    <a:pt x="74" y="207"/>
                  </a:lnTo>
                  <a:lnTo>
                    <a:pt x="0" y="165"/>
                  </a:lnTo>
                  <a:lnTo>
                    <a:pt x="42"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7" name="iṡļïḑè">
              <a:extLst>
                <a:ext uri="{FF2B5EF4-FFF2-40B4-BE49-F238E27FC236}">
                  <a16:creationId xmlns:a16="http://schemas.microsoft.com/office/drawing/2014/main" id="{BC8DC280-A9AC-4AF0-B951-C136EF207EE2}"/>
                </a:ext>
              </a:extLst>
            </p:cNvPr>
            <p:cNvSpPr/>
            <p:nvPr/>
          </p:nvSpPr>
          <p:spPr bwMode="auto">
            <a:xfrm>
              <a:off x="6039845" y="4647599"/>
              <a:ext cx="234782" cy="221172"/>
            </a:xfrm>
            <a:custGeom>
              <a:avLst/>
              <a:gdLst>
                <a:gd name="T0" fmla="*/ 88 w 207"/>
                <a:gd name="T1" fmla="*/ 0 h 195"/>
                <a:gd name="T2" fmla="*/ 0 w 207"/>
                <a:gd name="T3" fmla="*/ 153 h 195"/>
                <a:gd name="T4" fmla="*/ 165 w 207"/>
                <a:gd name="T5" fmla="*/ 195 h 195"/>
                <a:gd name="T6" fmla="*/ 207 w 207"/>
                <a:gd name="T7" fmla="*/ 123 h 195"/>
                <a:gd name="T8" fmla="*/ 88 w 207"/>
                <a:gd name="T9" fmla="*/ 0 h 195"/>
              </a:gdLst>
              <a:ahLst/>
              <a:cxnLst>
                <a:cxn ang="0">
                  <a:pos x="T0" y="T1"/>
                </a:cxn>
                <a:cxn ang="0">
                  <a:pos x="T2" y="T3"/>
                </a:cxn>
                <a:cxn ang="0">
                  <a:pos x="T4" y="T5"/>
                </a:cxn>
                <a:cxn ang="0">
                  <a:pos x="T6" y="T7"/>
                </a:cxn>
                <a:cxn ang="0">
                  <a:pos x="T8" y="T9"/>
                </a:cxn>
              </a:cxnLst>
              <a:rect l="0" t="0" r="r" b="b"/>
              <a:pathLst>
                <a:path w="207" h="195">
                  <a:moveTo>
                    <a:pt x="88" y="0"/>
                  </a:moveTo>
                  <a:lnTo>
                    <a:pt x="0" y="153"/>
                  </a:lnTo>
                  <a:lnTo>
                    <a:pt x="165" y="195"/>
                  </a:lnTo>
                  <a:lnTo>
                    <a:pt x="207" y="123"/>
                  </a:lnTo>
                  <a:lnTo>
                    <a:pt x="8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8" name="iṩḻïḑê">
              <a:extLst>
                <a:ext uri="{FF2B5EF4-FFF2-40B4-BE49-F238E27FC236}">
                  <a16:creationId xmlns:a16="http://schemas.microsoft.com/office/drawing/2014/main" id="{7367FFDF-3F79-4259-9AFC-C69A830225E4}"/>
                </a:ext>
              </a:extLst>
            </p:cNvPr>
            <p:cNvSpPr/>
            <p:nvPr/>
          </p:nvSpPr>
          <p:spPr bwMode="auto">
            <a:xfrm>
              <a:off x="5886726" y="4113385"/>
              <a:ext cx="221170" cy="234782"/>
            </a:xfrm>
            <a:custGeom>
              <a:avLst/>
              <a:gdLst>
                <a:gd name="T0" fmla="*/ 152 w 195"/>
                <a:gd name="T1" fmla="*/ 207 h 207"/>
                <a:gd name="T2" fmla="*/ 0 w 195"/>
                <a:gd name="T3" fmla="*/ 119 h 207"/>
                <a:gd name="T4" fmla="*/ 122 w 195"/>
                <a:gd name="T5" fmla="*/ 0 h 207"/>
                <a:gd name="T6" fmla="*/ 195 w 195"/>
                <a:gd name="T7" fmla="*/ 42 h 207"/>
                <a:gd name="T8" fmla="*/ 152 w 195"/>
                <a:gd name="T9" fmla="*/ 207 h 207"/>
              </a:gdLst>
              <a:ahLst/>
              <a:cxnLst>
                <a:cxn ang="0">
                  <a:pos x="T0" y="T1"/>
                </a:cxn>
                <a:cxn ang="0">
                  <a:pos x="T2" y="T3"/>
                </a:cxn>
                <a:cxn ang="0">
                  <a:pos x="T4" y="T5"/>
                </a:cxn>
                <a:cxn ang="0">
                  <a:pos x="T6" y="T7"/>
                </a:cxn>
                <a:cxn ang="0">
                  <a:pos x="T8" y="T9"/>
                </a:cxn>
              </a:cxnLst>
              <a:rect l="0" t="0" r="r" b="b"/>
              <a:pathLst>
                <a:path w="195" h="207">
                  <a:moveTo>
                    <a:pt x="152" y="207"/>
                  </a:moveTo>
                  <a:lnTo>
                    <a:pt x="0" y="119"/>
                  </a:lnTo>
                  <a:lnTo>
                    <a:pt x="122" y="0"/>
                  </a:lnTo>
                  <a:lnTo>
                    <a:pt x="195" y="42"/>
                  </a:lnTo>
                  <a:lnTo>
                    <a:pt x="152" y="207"/>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9" name="iśļiḍé">
              <a:extLst>
                <a:ext uri="{FF2B5EF4-FFF2-40B4-BE49-F238E27FC236}">
                  <a16:creationId xmlns:a16="http://schemas.microsoft.com/office/drawing/2014/main" id="{0E902D60-D6A0-40C6-B708-650FFC58310D}"/>
                </a:ext>
              </a:extLst>
            </p:cNvPr>
            <p:cNvSpPr/>
            <p:nvPr/>
          </p:nvSpPr>
          <p:spPr bwMode="auto">
            <a:xfrm>
              <a:off x="6003550" y="4886917"/>
              <a:ext cx="551226" cy="548959"/>
            </a:xfrm>
            <a:custGeom>
              <a:avLst/>
              <a:gdLst>
                <a:gd name="T0" fmla="*/ 242 w 622"/>
                <a:gd name="T1" fmla="*/ 584 h 622"/>
                <a:gd name="T2" fmla="*/ 584 w 622"/>
                <a:gd name="T3" fmla="*/ 379 h 622"/>
                <a:gd name="T4" fmla="*/ 380 w 622"/>
                <a:gd name="T5" fmla="*/ 38 h 622"/>
                <a:gd name="T6" fmla="*/ 38 w 622"/>
                <a:gd name="T7" fmla="*/ 242 h 622"/>
                <a:gd name="T8" fmla="*/ 242 w 622"/>
                <a:gd name="T9" fmla="*/ 584 h 622"/>
              </a:gdLst>
              <a:ahLst/>
              <a:cxnLst>
                <a:cxn ang="0">
                  <a:pos x="T0" y="T1"/>
                </a:cxn>
                <a:cxn ang="0">
                  <a:pos x="T2" y="T3"/>
                </a:cxn>
                <a:cxn ang="0">
                  <a:pos x="T4" y="T5"/>
                </a:cxn>
                <a:cxn ang="0">
                  <a:pos x="T6" y="T7"/>
                </a:cxn>
                <a:cxn ang="0">
                  <a:pos x="T8" y="T9"/>
                </a:cxn>
              </a:cxnLst>
              <a:rect l="0" t="0" r="r" b="b"/>
              <a:pathLst>
                <a:path w="622" h="622">
                  <a:moveTo>
                    <a:pt x="242" y="584"/>
                  </a:moveTo>
                  <a:cubicBezTo>
                    <a:pt x="393" y="622"/>
                    <a:pt x="546" y="530"/>
                    <a:pt x="584" y="379"/>
                  </a:cubicBezTo>
                  <a:cubicBezTo>
                    <a:pt x="622" y="229"/>
                    <a:pt x="530" y="76"/>
                    <a:pt x="380" y="38"/>
                  </a:cubicBezTo>
                  <a:cubicBezTo>
                    <a:pt x="229" y="0"/>
                    <a:pt x="76" y="91"/>
                    <a:pt x="38" y="242"/>
                  </a:cubicBezTo>
                  <a:cubicBezTo>
                    <a:pt x="0" y="393"/>
                    <a:pt x="91" y="546"/>
                    <a:pt x="242" y="584"/>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fontScale="92500" lnSpcReduction="10000"/>
            </a:bodyPr>
            <a:lstStyle/>
            <a:p>
              <a:endParaRPr lang="en-US" sz="3599">
                <a:cs typeface="+mn-ea"/>
                <a:sym typeface="+mn-lt"/>
              </a:endParaRPr>
            </a:p>
          </p:txBody>
        </p:sp>
        <p:sp>
          <p:nvSpPr>
            <p:cNvPr id="170" name="ïśḷîḋe">
              <a:extLst>
                <a:ext uri="{FF2B5EF4-FFF2-40B4-BE49-F238E27FC236}">
                  <a16:creationId xmlns:a16="http://schemas.microsoft.com/office/drawing/2014/main" id="{C49B5CC5-68B9-4382-A397-291E105BF0A1}"/>
                </a:ext>
              </a:extLst>
            </p:cNvPr>
            <p:cNvSpPr/>
            <p:nvPr/>
          </p:nvSpPr>
          <p:spPr bwMode="auto">
            <a:xfrm>
              <a:off x="6144191" y="5038903"/>
              <a:ext cx="260869" cy="243857"/>
            </a:xfrm>
            <a:custGeom>
              <a:avLst/>
              <a:gdLst>
                <a:gd name="T0" fmla="*/ 153 w 296"/>
                <a:gd name="T1" fmla="*/ 276 h 276"/>
                <a:gd name="T2" fmla="*/ 153 w 296"/>
                <a:gd name="T3" fmla="*/ 276 h 276"/>
                <a:gd name="T4" fmla="*/ 119 w 296"/>
                <a:gd name="T5" fmla="*/ 273 h 276"/>
                <a:gd name="T6" fmla="*/ 18 w 296"/>
                <a:gd name="T7" fmla="*/ 105 h 276"/>
                <a:gd name="T8" fmla="*/ 153 w 296"/>
                <a:gd name="T9" fmla="*/ 0 h 276"/>
                <a:gd name="T10" fmla="*/ 187 w 296"/>
                <a:gd name="T11" fmla="*/ 4 h 276"/>
                <a:gd name="T12" fmla="*/ 272 w 296"/>
                <a:gd name="T13" fmla="*/ 68 h 276"/>
                <a:gd name="T14" fmla="*/ 287 w 296"/>
                <a:gd name="T15" fmla="*/ 172 h 276"/>
                <a:gd name="T16" fmla="*/ 153 w 296"/>
                <a:gd name="T17" fmla="*/ 276 h 276"/>
                <a:gd name="T18" fmla="*/ 153 w 296"/>
                <a:gd name="T19" fmla="*/ 44 h 276"/>
                <a:gd name="T20" fmla="*/ 61 w 296"/>
                <a:gd name="T21" fmla="*/ 116 h 276"/>
                <a:gd name="T22" fmla="*/ 130 w 296"/>
                <a:gd name="T23" fmla="*/ 230 h 276"/>
                <a:gd name="T24" fmla="*/ 153 w 296"/>
                <a:gd name="T25" fmla="*/ 232 h 276"/>
                <a:gd name="T26" fmla="*/ 153 w 296"/>
                <a:gd name="T27" fmla="*/ 232 h 276"/>
                <a:gd name="T28" fmla="*/ 245 w 296"/>
                <a:gd name="T29" fmla="*/ 161 h 276"/>
                <a:gd name="T30" fmla="*/ 234 w 296"/>
                <a:gd name="T31" fmla="*/ 90 h 276"/>
                <a:gd name="T32" fmla="*/ 176 w 296"/>
                <a:gd name="T33" fmla="*/ 47 h 276"/>
                <a:gd name="T34" fmla="*/ 153 w 296"/>
                <a:gd name="T35" fmla="*/ 4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76">
                  <a:moveTo>
                    <a:pt x="153" y="276"/>
                  </a:moveTo>
                  <a:cubicBezTo>
                    <a:pt x="153" y="276"/>
                    <a:pt x="153" y="276"/>
                    <a:pt x="153" y="276"/>
                  </a:cubicBezTo>
                  <a:cubicBezTo>
                    <a:pt x="142" y="276"/>
                    <a:pt x="130" y="275"/>
                    <a:pt x="119" y="273"/>
                  </a:cubicBezTo>
                  <a:cubicBezTo>
                    <a:pt x="45" y="254"/>
                    <a:pt x="0" y="179"/>
                    <a:pt x="18" y="105"/>
                  </a:cubicBezTo>
                  <a:cubicBezTo>
                    <a:pt x="34" y="43"/>
                    <a:pt x="89" y="0"/>
                    <a:pt x="153" y="0"/>
                  </a:cubicBezTo>
                  <a:cubicBezTo>
                    <a:pt x="164" y="0"/>
                    <a:pt x="176" y="2"/>
                    <a:pt x="187" y="4"/>
                  </a:cubicBezTo>
                  <a:cubicBezTo>
                    <a:pt x="223" y="13"/>
                    <a:pt x="253" y="36"/>
                    <a:pt x="272" y="68"/>
                  </a:cubicBezTo>
                  <a:cubicBezTo>
                    <a:pt x="291" y="99"/>
                    <a:pt x="296" y="136"/>
                    <a:pt x="287" y="172"/>
                  </a:cubicBezTo>
                  <a:cubicBezTo>
                    <a:pt x="272" y="234"/>
                    <a:pt x="217" y="276"/>
                    <a:pt x="153" y="276"/>
                  </a:cubicBezTo>
                  <a:close/>
                  <a:moveTo>
                    <a:pt x="153" y="44"/>
                  </a:moveTo>
                  <a:cubicBezTo>
                    <a:pt x="109" y="44"/>
                    <a:pt x="72" y="74"/>
                    <a:pt x="61" y="116"/>
                  </a:cubicBezTo>
                  <a:cubicBezTo>
                    <a:pt x="49" y="166"/>
                    <a:pt x="79" y="217"/>
                    <a:pt x="130" y="230"/>
                  </a:cubicBezTo>
                  <a:cubicBezTo>
                    <a:pt x="138" y="232"/>
                    <a:pt x="145" y="232"/>
                    <a:pt x="153" y="232"/>
                  </a:cubicBezTo>
                  <a:cubicBezTo>
                    <a:pt x="153" y="232"/>
                    <a:pt x="153" y="232"/>
                    <a:pt x="153" y="232"/>
                  </a:cubicBezTo>
                  <a:cubicBezTo>
                    <a:pt x="196" y="232"/>
                    <a:pt x="234" y="203"/>
                    <a:pt x="245" y="161"/>
                  </a:cubicBezTo>
                  <a:cubicBezTo>
                    <a:pt x="251" y="137"/>
                    <a:pt x="247" y="112"/>
                    <a:pt x="234" y="90"/>
                  </a:cubicBezTo>
                  <a:cubicBezTo>
                    <a:pt x="221" y="68"/>
                    <a:pt x="200" y="53"/>
                    <a:pt x="176" y="47"/>
                  </a:cubicBezTo>
                  <a:cubicBezTo>
                    <a:pt x="168" y="45"/>
                    <a:pt x="161" y="44"/>
                    <a:pt x="153" y="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71" name="iṣľïḑe">
              <a:extLst>
                <a:ext uri="{FF2B5EF4-FFF2-40B4-BE49-F238E27FC236}">
                  <a16:creationId xmlns:a16="http://schemas.microsoft.com/office/drawing/2014/main" id="{A863EA8F-0EDC-402D-B16F-BA1747AE6F7A}"/>
                </a:ext>
              </a:extLst>
            </p:cNvPr>
            <p:cNvSpPr/>
            <p:nvPr/>
          </p:nvSpPr>
          <p:spPr bwMode="auto">
            <a:xfrm>
              <a:off x="6459502" y="5096747"/>
              <a:ext cx="146313" cy="162193"/>
            </a:xfrm>
            <a:custGeom>
              <a:avLst/>
              <a:gdLst>
                <a:gd name="T0" fmla="*/ 13 w 129"/>
                <a:gd name="T1" fmla="*/ 0 h 143"/>
                <a:gd name="T2" fmla="*/ 0 w 129"/>
                <a:gd name="T3" fmla="*/ 143 h 143"/>
                <a:gd name="T4" fmla="*/ 123 w 129"/>
                <a:gd name="T5" fmla="*/ 116 h 143"/>
                <a:gd name="T6" fmla="*/ 129 w 129"/>
                <a:gd name="T7" fmla="*/ 48 h 143"/>
                <a:gd name="T8" fmla="*/ 13 w 129"/>
                <a:gd name="T9" fmla="*/ 0 h 143"/>
              </a:gdLst>
              <a:ahLst/>
              <a:cxnLst>
                <a:cxn ang="0">
                  <a:pos x="T0" y="T1"/>
                </a:cxn>
                <a:cxn ang="0">
                  <a:pos x="T2" y="T3"/>
                </a:cxn>
                <a:cxn ang="0">
                  <a:pos x="T4" y="T5"/>
                </a:cxn>
                <a:cxn ang="0">
                  <a:pos x="T6" y="T7"/>
                </a:cxn>
                <a:cxn ang="0">
                  <a:pos x="T8" y="T9"/>
                </a:cxn>
              </a:cxnLst>
              <a:rect l="0" t="0" r="r" b="b"/>
              <a:pathLst>
                <a:path w="129" h="143">
                  <a:moveTo>
                    <a:pt x="13" y="0"/>
                  </a:moveTo>
                  <a:lnTo>
                    <a:pt x="0" y="143"/>
                  </a:lnTo>
                  <a:lnTo>
                    <a:pt x="123" y="116"/>
                  </a:lnTo>
                  <a:lnTo>
                    <a:pt x="129" y="48"/>
                  </a:lnTo>
                  <a:lnTo>
                    <a:pt x="13"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nvGrpSpPr>
            <p:cNvPr id="172" name="íšḷíḍè">
              <a:extLst>
                <a:ext uri="{FF2B5EF4-FFF2-40B4-BE49-F238E27FC236}">
                  <a16:creationId xmlns:a16="http://schemas.microsoft.com/office/drawing/2014/main" id="{D2490BE0-080A-4DBE-BA48-32EA452B8E94}"/>
                </a:ext>
              </a:extLst>
            </p:cNvPr>
            <p:cNvGrpSpPr/>
            <p:nvPr/>
          </p:nvGrpSpPr>
          <p:grpSpPr>
            <a:xfrm>
              <a:off x="5952509" y="4835869"/>
              <a:ext cx="598862" cy="652172"/>
              <a:chOff x="3007020" y="5300001"/>
              <a:chExt cx="535736" cy="583426"/>
            </a:xfrm>
            <a:solidFill>
              <a:schemeClr val="bg1">
                <a:lumMod val="95000"/>
              </a:schemeClr>
            </a:solidFill>
          </p:grpSpPr>
          <p:sp>
            <p:nvSpPr>
              <p:cNvPr id="209" name="îślîḓè">
                <a:extLst>
                  <a:ext uri="{FF2B5EF4-FFF2-40B4-BE49-F238E27FC236}">
                    <a16:creationId xmlns:a16="http://schemas.microsoft.com/office/drawing/2014/main" id="{602A5E8C-BD02-4CF4-B918-FEB0FBF4DBFD}"/>
                  </a:ext>
                </a:extLst>
              </p:cNvPr>
              <p:cNvSpPr/>
              <p:nvPr/>
            </p:nvSpPr>
            <p:spPr bwMode="auto">
              <a:xfrm>
                <a:off x="3007020" y="5503946"/>
                <a:ext cx="129876" cy="145096"/>
              </a:xfrm>
              <a:custGeom>
                <a:avLst/>
                <a:gdLst>
                  <a:gd name="T0" fmla="*/ 115 w 128"/>
                  <a:gd name="T1" fmla="*/ 143 h 143"/>
                  <a:gd name="T2" fmla="*/ 128 w 128"/>
                  <a:gd name="T3" fmla="*/ 0 h 143"/>
                  <a:gd name="T4" fmla="*/ 6 w 128"/>
                  <a:gd name="T5" fmla="*/ 26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6"/>
                    </a:lnTo>
                    <a:lnTo>
                      <a:pt x="0" y="95"/>
                    </a:lnTo>
                    <a:lnTo>
                      <a:pt x="115"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0" name="ïşḷiďe">
                <a:extLst>
                  <a:ext uri="{FF2B5EF4-FFF2-40B4-BE49-F238E27FC236}">
                    <a16:creationId xmlns:a16="http://schemas.microsoft.com/office/drawing/2014/main" id="{84633AAB-604F-4E2E-B5D0-5E1A9CF4DAE9}"/>
                  </a:ext>
                </a:extLst>
              </p:cNvPr>
              <p:cNvSpPr/>
              <p:nvPr/>
            </p:nvSpPr>
            <p:spPr bwMode="auto">
              <a:xfrm>
                <a:off x="3210966" y="5753551"/>
                <a:ext cx="144081" cy="129876"/>
              </a:xfrm>
              <a:custGeom>
                <a:avLst/>
                <a:gdLst>
                  <a:gd name="T0" fmla="*/ 0 w 142"/>
                  <a:gd name="T1" fmla="*/ 0 h 128"/>
                  <a:gd name="T2" fmla="*/ 142 w 142"/>
                  <a:gd name="T3" fmla="*/ 13 h 128"/>
                  <a:gd name="T4" fmla="*/ 94 w 142"/>
                  <a:gd name="T5" fmla="*/ 128 h 128"/>
                  <a:gd name="T6" fmla="*/ 25 w 142"/>
                  <a:gd name="T7" fmla="*/ 121 h 128"/>
                  <a:gd name="T8" fmla="*/ 0 w 142"/>
                  <a:gd name="T9" fmla="*/ 0 h 128"/>
                </a:gdLst>
                <a:ahLst/>
                <a:cxnLst>
                  <a:cxn ang="0">
                    <a:pos x="T0" y="T1"/>
                  </a:cxn>
                  <a:cxn ang="0">
                    <a:pos x="T2" y="T3"/>
                  </a:cxn>
                  <a:cxn ang="0">
                    <a:pos x="T4" y="T5"/>
                  </a:cxn>
                  <a:cxn ang="0">
                    <a:pos x="T6" y="T7"/>
                  </a:cxn>
                  <a:cxn ang="0">
                    <a:pos x="T8" y="T9"/>
                  </a:cxn>
                </a:cxnLst>
                <a:rect l="0" t="0" r="r" b="b"/>
                <a:pathLst>
                  <a:path w="142" h="128">
                    <a:moveTo>
                      <a:pt x="0" y="0"/>
                    </a:moveTo>
                    <a:lnTo>
                      <a:pt x="142" y="13"/>
                    </a:lnTo>
                    <a:lnTo>
                      <a:pt x="94" y="128"/>
                    </a:lnTo>
                    <a:lnTo>
                      <a:pt x="25" y="12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1" name="iSḻídè">
                <a:extLst>
                  <a:ext uri="{FF2B5EF4-FFF2-40B4-BE49-F238E27FC236}">
                    <a16:creationId xmlns:a16="http://schemas.microsoft.com/office/drawing/2014/main" id="{F45FE796-DAD7-46E5-8D74-638BDABAE768}"/>
                  </a:ext>
                </a:extLst>
              </p:cNvPr>
              <p:cNvSpPr/>
              <p:nvPr/>
            </p:nvSpPr>
            <p:spPr bwMode="auto">
              <a:xfrm>
                <a:off x="3243435" y="5300001"/>
                <a:ext cx="144081" cy="130890"/>
              </a:xfrm>
              <a:custGeom>
                <a:avLst/>
                <a:gdLst>
                  <a:gd name="T0" fmla="*/ 142 w 142"/>
                  <a:gd name="T1" fmla="*/ 129 h 129"/>
                  <a:gd name="T2" fmla="*/ 0 w 142"/>
                  <a:gd name="T3" fmla="*/ 116 h 129"/>
                  <a:gd name="T4" fmla="*/ 48 w 142"/>
                  <a:gd name="T5" fmla="*/ 0 h 129"/>
                  <a:gd name="T6" fmla="*/ 116 w 142"/>
                  <a:gd name="T7" fmla="*/ 7 h 129"/>
                  <a:gd name="T8" fmla="*/ 142 w 142"/>
                  <a:gd name="T9" fmla="*/ 129 h 129"/>
                </a:gdLst>
                <a:ahLst/>
                <a:cxnLst>
                  <a:cxn ang="0">
                    <a:pos x="T0" y="T1"/>
                  </a:cxn>
                  <a:cxn ang="0">
                    <a:pos x="T2" y="T3"/>
                  </a:cxn>
                  <a:cxn ang="0">
                    <a:pos x="T4" y="T5"/>
                  </a:cxn>
                  <a:cxn ang="0">
                    <a:pos x="T6" y="T7"/>
                  </a:cxn>
                  <a:cxn ang="0">
                    <a:pos x="T8" y="T9"/>
                  </a:cxn>
                </a:cxnLst>
                <a:rect l="0" t="0" r="r" b="b"/>
                <a:pathLst>
                  <a:path w="142" h="129">
                    <a:moveTo>
                      <a:pt x="142" y="129"/>
                    </a:moveTo>
                    <a:lnTo>
                      <a:pt x="0" y="116"/>
                    </a:lnTo>
                    <a:lnTo>
                      <a:pt x="48" y="0"/>
                    </a:lnTo>
                    <a:lnTo>
                      <a:pt x="116" y="7"/>
                    </a:lnTo>
                    <a:lnTo>
                      <a:pt x="14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2" name="í$lîḍé">
                <a:extLst>
                  <a:ext uri="{FF2B5EF4-FFF2-40B4-BE49-F238E27FC236}">
                    <a16:creationId xmlns:a16="http://schemas.microsoft.com/office/drawing/2014/main" id="{4E7D0F45-C956-4643-807F-7DA8951E3D96}"/>
                  </a:ext>
                </a:extLst>
              </p:cNvPr>
              <p:cNvSpPr/>
              <p:nvPr/>
            </p:nvSpPr>
            <p:spPr bwMode="auto">
              <a:xfrm>
                <a:off x="3053694" y="5642954"/>
                <a:ext cx="161329" cy="160315"/>
              </a:xfrm>
              <a:custGeom>
                <a:avLst/>
                <a:gdLst>
                  <a:gd name="T0" fmla="*/ 159 w 159"/>
                  <a:gd name="T1" fmla="*/ 111 h 158"/>
                  <a:gd name="T2" fmla="*/ 67 w 159"/>
                  <a:gd name="T3" fmla="*/ 0 h 158"/>
                  <a:gd name="T4" fmla="*/ 0 w 159"/>
                  <a:gd name="T5" fmla="*/ 106 h 158"/>
                  <a:gd name="T6" fmla="*/ 44 w 159"/>
                  <a:gd name="T7" fmla="*/ 158 h 158"/>
                  <a:gd name="T8" fmla="*/ 159 w 159"/>
                  <a:gd name="T9" fmla="*/ 111 h 158"/>
                </a:gdLst>
                <a:ahLst/>
                <a:cxnLst>
                  <a:cxn ang="0">
                    <a:pos x="T0" y="T1"/>
                  </a:cxn>
                  <a:cxn ang="0">
                    <a:pos x="T2" y="T3"/>
                  </a:cxn>
                  <a:cxn ang="0">
                    <a:pos x="T4" y="T5"/>
                  </a:cxn>
                  <a:cxn ang="0">
                    <a:pos x="T6" y="T7"/>
                  </a:cxn>
                  <a:cxn ang="0">
                    <a:pos x="T8" y="T9"/>
                  </a:cxn>
                </a:cxnLst>
                <a:rect l="0" t="0" r="r" b="b"/>
                <a:pathLst>
                  <a:path w="159" h="158">
                    <a:moveTo>
                      <a:pt x="159" y="111"/>
                    </a:moveTo>
                    <a:lnTo>
                      <a:pt x="67" y="0"/>
                    </a:lnTo>
                    <a:lnTo>
                      <a:pt x="0" y="106"/>
                    </a:lnTo>
                    <a:lnTo>
                      <a:pt x="44" y="158"/>
                    </a:lnTo>
                    <a:lnTo>
                      <a:pt x="15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3" name="ïṩ1íḑê">
                <a:extLst>
                  <a:ext uri="{FF2B5EF4-FFF2-40B4-BE49-F238E27FC236}">
                    <a16:creationId xmlns:a16="http://schemas.microsoft.com/office/drawing/2014/main" id="{728A29E2-C3B6-484B-918D-CACDF9C050C2}"/>
                  </a:ext>
                </a:extLst>
              </p:cNvPr>
              <p:cNvSpPr/>
              <p:nvPr/>
            </p:nvSpPr>
            <p:spPr bwMode="auto">
              <a:xfrm>
                <a:off x="3350988" y="5675423"/>
                <a:ext cx="159300" cy="161330"/>
              </a:xfrm>
              <a:custGeom>
                <a:avLst/>
                <a:gdLst>
                  <a:gd name="T0" fmla="*/ 0 w 157"/>
                  <a:gd name="T1" fmla="*/ 91 h 159"/>
                  <a:gd name="T2" fmla="*/ 110 w 157"/>
                  <a:gd name="T3" fmla="*/ 0 h 159"/>
                  <a:gd name="T4" fmla="*/ 157 w 157"/>
                  <a:gd name="T5" fmla="*/ 116 h 159"/>
                  <a:gd name="T6" fmla="*/ 104 w 157"/>
                  <a:gd name="T7" fmla="*/ 159 h 159"/>
                  <a:gd name="T8" fmla="*/ 0 w 157"/>
                  <a:gd name="T9" fmla="*/ 91 h 159"/>
                </a:gdLst>
                <a:ahLst/>
                <a:cxnLst>
                  <a:cxn ang="0">
                    <a:pos x="T0" y="T1"/>
                  </a:cxn>
                  <a:cxn ang="0">
                    <a:pos x="T2" y="T3"/>
                  </a:cxn>
                  <a:cxn ang="0">
                    <a:pos x="T4" y="T5"/>
                  </a:cxn>
                  <a:cxn ang="0">
                    <a:pos x="T6" y="T7"/>
                  </a:cxn>
                  <a:cxn ang="0">
                    <a:pos x="T8" y="T9"/>
                  </a:cxn>
                </a:cxnLst>
                <a:rect l="0" t="0" r="r" b="b"/>
                <a:pathLst>
                  <a:path w="157" h="159">
                    <a:moveTo>
                      <a:pt x="0" y="91"/>
                    </a:moveTo>
                    <a:lnTo>
                      <a:pt x="110" y="0"/>
                    </a:lnTo>
                    <a:lnTo>
                      <a:pt x="157" y="116"/>
                    </a:lnTo>
                    <a:lnTo>
                      <a:pt x="104" y="159"/>
                    </a:lnTo>
                    <a:lnTo>
                      <a:pt x="0"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4" name="ï$ḻîḍè">
                <a:extLst>
                  <a:ext uri="{FF2B5EF4-FFF2-40B4-BE49-F238E27FC236}">
                    <a16:creationId xmlns:a16="http://schemas.microsoft.com/office/drawing/2014/main" id="{2A75A478-B0D1-4388-B924-8D3E2C74F230}"/>
                  </a:ext>
                </a:extLst>
              </p:cNvPr>
              <p:cNvSpPr/>
              <p:nvPr/>
            </p:nvSpPr>
            <p:spPr bwMode="auto">
              <a:xfrm>
                <a:off x="3381427" y="5378129"/>
                <a:ext cx="161329" cy="161330"/>
              </a:xfrm>
              <a:custGeom>
                <a:avLst/>
                <a:gdLst>
                  <a:gd name="T0" fmla="*/ 0 w 159"/>
                  <a:gd name="T1" fmla="*/ 48 h 159"/>
                  <a:gd name="T2" fmla="*/ 92 w 159"/>
                  <a:gd name="T3" fmla="*/ 159 h 159"/>
                  <a:gd name="T4" fmla="*/ 159 w 159"/>
                  <a:gd name="T5" fmla="*/ 53 h 159"/>
                  <a:gd name="T6" fmla="*/ 116 w 159"/>
                  <a:gd name="T7" fmla="*/ 0 h 159"/>
                  <a:gd name="T8" fmla="*/ 0 w 159"/>
                  <a:gd name="T9" fmla="*/ 48 h 159"/>
                </a:gdLst>
                <a:ahLst/>
                <a:cxnLst>
                  <a:cxn ang="0">
                    <a:pos x="T0" y="T1"/>
                  </a:cxn>
                  <a:cxn ang="0">
                    <a:pos x="T2" y="T3"/>
                  </a:cxn>
                  <a:cxn ang="0">
                    <a:pos x="T4" y="T5"/>
                  </a:cxn>
                  <a:cxn ang="0">
                    <a:pos x="T6" y="T7"/>
                  </a:cxn>
                  <a:cxn ang="0">
                    <a:pos x="T8" y="T9"/>
                  </a:cxn>
                </a:cxnLst>
                <a:rect l="0" t="0" r="r" b="b"/>
                <a:pathLst>
                  <a:path w="159" h="159">
                    <a:moveTo>
                      <a:pt x="0" y="48"/>
                    </a:moveTo>
                    <a:lnTo>
                      <a:pt x="92" y="159"/>
                    </a:lnTo>
                    <a:lnTo>
                      <a:pt x="159" y="53"/>
                    </a:lnTo>
                    <a:lnTo>
                      <a:pt x="116" y="0"/>
                    </a:lnTo>
                    <a:lnTo>
                      <a:pt x="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5" name="îṩļiḋè">
                <a:extLst>
                  <a:ext uri="{FF2B5EF4-FFF2-40B4-BE49-F238E27FC236}">
                    <a16:creationId xmlns:a16="http://schemas.microsoft.com/office/drawing/2014/main" id="{099F3DEC-BCCE-4A3B-B3DC-33CF898389EA}"/>
                  </a:ext>
                </a:extLst>
              </p:cNvPr>
              <p:cNvSpPr/>
              <p:nvPr/>
            </p:nvSpPr>
            <p:spPr bwMode="auto">
              <a:xfrm>
                <a:off x="3088192" y="5346675"/>
                <a:ext cx="159300" cy="161330"/>
              </a:xfrm>
              <a:custGeom>
                <a:avLst/>
                <a:gdLst>
                  <a:gd name="T0" fmla="*/ 157 w 157"/>
                  <a:gd name="T1" fmla="*/ 67 h 159"/>
                  <a:gd name="T2" fmla="*/ 46 w 157"/>
                  <a:gd name="T3" fmla="*/ 159 h 159"/>
                  <a:gd name="T4" fmla="*/ 0 w 157"/>
                  <a:gd name="T5" fmla="*/ 43 h 159"/>
                  <a:gd name="T6" fmla="*/ 52 w 157"/>
                  <a:gd name="T7" fmla="*/ 0 h 159"/>
                  <a:gd name="T8" fmla="*/ 157 w 157"/>
                  <a:gd name="T9" fmla="*/ 67 h 159"/>
                </a:gdLst>
                <a:ahLst/>
                <a:cxnLst>
                  <a:cxn ang="0">
                    <a:pos x="T0" y="T1"/>
                  </a:cxn>
                  <a:cxn ang="0">
                    <a:pos x="T2" y="T3"/>
                  </a:cxn>
                  <a:cxn ang="0">
                    <a:pos x="T4" y="T5"/>
                  </a:cxn>
                  <a:cxn ang="0">
                    <a:pos x="T6" y="T7"/>
                  </a:cxn>
                  <a:cxn ang="0">
                    <a:pos x="T8" y="T9"/>
                  </a:cxn>
                </a:cxnLst>
                <a:rect l="0" t="0" r="r" b="b"/>
                <a:pathLst>
                  <a:path w="157" h="159">
                    <a:moveTo>
                      <a:pt x="157" y="67"/>
                    </a:moveTo>
                    <a:lnTo>
                      <a:pt x="46" y="159"/>
                    </a:lnTo>
                    <a:lnTo>
                      <a:pt x="0" y="43"/>
                    </a:lnTo>
                    <a:lnTo>
                      <a:pt x="52" y="0"/>
                    </a:lnTo>
                    <a:lnTo>
                      <a:pt x="157"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sp>
          <p:nvSpPr>
            <p:cNvPr id="173" name="ïṧľîḍè">
              <a:extLst>
                <a:ext uri="{FF2B5EF4-FFF2-40B4-BE49-F238E27FC236}">
                  <a16:creationId xmlns:a16="http://schemas.microsoft.com/office/drawing/2014/main" id="{A6D0514E-3D22-4AC8-AE3D-4D254C0B1F6B}"/>
                </a:ext>
              </a:extLst>
            </p:cNvPr>
            <p:cNvSpPr/>
            <p:nvPr/>
          </p:nvSpPr>
          <p:spPr bwMode="auto">
            <a:xfrm>
              <a:off x="6802033" y="2131917"/>
              <a:ext cx="262001" cy="243857"/>
            </a:xfrm>
            <a:custGeom>
              <a:avLst/>
              <a:gdLst>
                <a:gd name="T0" fmla="*/ 153 w 296"/>
                <a:gd name="T1" fmla="*/ 277 h 277"/>
                <a:gd name="T2" fmla="*/ 153 w 296"/>
                <a:gd name="T3" fmla="*/ 277 h 277"/>
                <a:gd name="T4" fmla="*/ 119 w 296"/>
                <a:gd name="T5" fmla="*/ 273 h 277"/>
                <a:gd name="T6" fmla="*/ 18 w 296"/>
                <a:gd name="T7" fmla="*/ 105 h 277"/>
                <a:gd name="T8" fmla="*/ 152 w 296"/>
                <a:gd name="T9" fmla="*/ 0 h 277"/>
                <a:gd name="T10" fmla="*/ 186 w 296"/>
                <a:gd name="T11" fmla="*/ 4 h 277"/>
                <a:gd name="T12" fmla="*/ 271 w 296"/>
                <a:gd name="T13" fmla="*/ 67 h 277"/>
                <a:gd name="T14" fmla="*/ 287 w 296"/>
                <a:gd name="T15" fmla="*/ 172 h 277"/>
                <a:gd name="T16" fmla="*/ 153 w 296"/>
                <a:gd name="T17" fmla="*/ 277 h 277"/>
                <a:gd name="T18" fmla="*/ 152 w 296"/>
                <a:gd name="T19" fmla="*/ 44 h 277"/>
                <a:gd name="T20" fmla="*/ 61 w 296"/>
                <a:gd name="T21" fmla="*/ 115 h 277"/>
                <a:gd name="T22" fmla="*/ 130 w 296"/>
                <a:gd name="T23" fmla="*/ 230 h 277"/>
                <a:gd name="T24" fmla="*/ 153 w 296"/>
                <a:gd name="T25" fmla="*/ 233 h 277"/>
                <a:gd name="T26" fmla="*/ 244 w 296"/>
                <a:gd name="T27" fmla="*/ 161 h 277"/>
                <a:gd name="T28" fmla="*/ 234 w 296"/>
                <a:gd name="T29" fmla="*/ 90 h 277"/>
                <a:gd name="T30" fmla="*/ 176 w 296"/>
                <a:gd name="T31" fmla="*/ 47 h 277"/>
                <a:gd name="T32" fmla="*/ 152 w 296"/>
                <a:gd name="T33" fmla="*/ 4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77">
                  <a:moveTo>
                    <a:pt x="153" y="277"/>
                  </a:moveTo>
                  <a:cubicBezTo>
                    <a:pt x="153" y="277"/>
                    <a:pt x="153" y="277"/>
                    <a:pt x="153" y="277"/>
                  </a:cubicBezTo>
                  <a:cubicBezTo>
                    <a:pt x="141" y="277"/>
                    <a:pt x="130" y="276"/>
                    <a:pt x="119" y="273"/>
                  </a:cubicBezTo>
                  <a:cubicBezTo>
                    <a:pt x="45" y="254"/>
                    <a:pt x="0" y="179"/>
                    <a:pt x="18" y="105"/>
                  </a:cubicBezTo>
                  <a:cubicBezTo>
                    <a:pt x="34" y="43"/>
                    <a:pt x="89" y="0"/>
                    <a:pt x="152" y="0"/>
                  </a:cubicBezTo>
                  <a:cubicBezTo>
                    <a:pt x="164" y="0"/>
                    <a:pt x="175" y="1"/>
                    <a:pt x="186" y="4"/>
                  </a:cubicBezTo>
                  <a:cubicBezTo>
                    <a:pt x="222" y="13"/>
                    <a:pt x="252" y="35"/>
                    <a:pt x="271" y="67"/>
                  </a:cubicBezTo>
                  <a:cubicBezTo>
                    <a:pt x="291" y="99"/>
                    <a:pt x="296" y="136"/>
                    <a:pt x="287" y="172"/>
                  </a:cubicBezTo>
                  <a:cubicBezTo>
                    <a:pt x="272" y="234"/>
                    <a:pt x="216" y="277"/>
                    <a:pt x="153" y="277"/>
                  </a:cubicBezTo>
                  <a:close/>
                  <a:moveTo>
                    <a:pt x="152" y="44"/>
                  </a:moveTo>
                  <a:cubicBezTo>
                    <a:pt x="109" y="44"/>
                    <a:pt x="71" y="73"/>
                    <a:pt x="61" y="115"/>
                  </a:cubicBezTo>
                  <a:cubicBezTo>
                    <a:pt x="48" y="166"/>
                    <a:pt x="79" y="217"/>
                    <a:pt x="130" y="230"/>
                  </a:cubicBezTo>
                  <a:cubicBezTo>
                    <a:pt x="137" y="232"/>
                    <a:pt x="145" y="233"/>
                    <a:pt x="153" y="233"/>
                  </a:cubicBezTo>
                  <a:cubicBezTo>
                    <a:pt x="196" y="233"/>
                    <a:pt x="234" y="204"/>
                    <a:pt x="244" y="161"/>
                  </a:cubicBezTo>
                  <a:cubicBezTo>
                    <a:pt x="250" y="137"/>
                    <a:pt x="247" y="111"/>
                    <a:pt x="234" y="90"/>
                  </a:cubicBezTo>
                  <a:cubicBezTo>
                    <a:pt x="221" y="68"/>
                    <a:pt x="200" y="53"/>
                    <a:pt x="176" y="47"/>
                  </a:cubicBezTo>
                  <a:cubicBezTo>
                    <a:pt x="168" y="45"/>
                    <a:pt x="160" y="44"/>
                    <a:pt x="152" y="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74" name="iṣlïḋé">
              <a:extLst>
                <a:ext uri="{FF2B5EF4-FFF2-40B4-BE49-F238E27FC236}">
                  <a16:creationId xmlns:a16="http://schemas.microsoft.com/office/drawing/2014/main" id="{36D64EE9-AE61-4DEC-A059-B8D32F371C9C}"/>
                </a:ext>
              </a:extLst>
            </p:cNvPr>
            <p:cNvSpPr/>
            <p:nvPr/>
          </p:nvSpPr>
          <p:spPr bwMode="auto">
            <a:xfrm>
              <a:off x="5533987" y="4309605"/>
              <a:ext cx="170131" cy="288090"/>
            </a:xfrm>
            <a:custGeom>
              <a:avLst/>
              <a:gdLst>
                <a:gd name="T0" fmla="*/ 177 w 192"/>
                <a:gd name="T1" fmla="*/ 45 h 326"/>
                <a:gd name="T2" fmla="*/ 163 w 192"/>
                <a:gd name="T3" fmla="*/ 52 h 326"/>
                <a:gd name="T4" fmla="*/ 156 w 192"/>
                <a:gd name="T5" fmla="*/ 56 h 326"/>
                <a:gd name="T6" fmla="*/ 149 w 192"/>
                <a:gd name="T7" fmla="*/ 60 h 326"/>
                <a:gd name="T8" fmla="*/ 140 w 192"/>
                <a:gd name="T9" fmla="*/ 65 h 326"/>
                <a:gd name="T10" fmla="*/ 131 w 192"/>
                <a:gd name="T11" fmla="*/ 72 h 326"/>
                <a:gd name="T12" fmla="*/ 121 w 192"/>
                <a:gd name="T13" fmla="*/ 79 h 326"/>
                <a:gd name="T14" fmla="*/ 110 w 192"/>
                <a:gd name="T15" fmla="*/ 87 h 326"/>
                <a:gd name="T16" fmla="*/ 100 w 192"/>
                <a:gd name="T17" fmla="*/ 97 h 326"/>
                <a:gd name="T18" fmla="*/ 89 w 192"/>
                <a:gd name="T19" fmla="*/ 107 h 326"/>
                <a:gd name="T20" fmla="*/ 79 w 192"/>
                <a:gd name="T21" fmla="*/ 118 h 326"/>
                <a:gd name="T22" fmla="*/ 69 w 192"/>
                <a:gd name="T23" fmla="*/ 131 h 326"/>
                <a:gd name="T24" fmla="*/ 64 w 192"/>
                <a:gd name="T25" fmla="*/ 137 h 326"/>
                <a:gd name="T26" fmla="*/ 59 w 192"/>
                <a:gd name="T27" fmla="*/ 143 h 326"/>
                <a:gd name="T28" fmla="*/ 50 w 192"/>
                <a:gd name="T29" fmla="*/ 157 h 326"/>
                <a:gd name="T30" fmla="*/ 42 w 192"/>
                <a:gd name="T31" fmla="*/ 171 h 326"/>
                <a:gd name="T32" fmla="*/ 34 w 192"/>
                <a:gd name="T33" fmla="*/ 186 h 326"/>
                <a:gd name="T34" fmla="*/ 31 w 192"/>
                <a:gd name="T35" fmla="*/ 193 h 326"/>
                <a:gd name="T36" fmla="*/ 28 w 192"/>
                <a:gd name="T37" fmla="*/ 200 h 326"/>
                <a:gd name="T38" fmla="*/ 22 w 192"/>
                <a:gd name="T39" fmla="*/ 215 h 326"/>
                <a:gd name="T40" fmla="*/ 13 w 192"/>
                <a:gd name="T41" fmla="*/ 243 h 326"/>
                <a:gd name="T42" fmla="*/ 10 w 192"/>
                <a:gd name="T43" fmla="*/ 257 h 326"/>
                <a:gd name="T44" fmla="*/ 8 w 192"/>
                <a:gd name="T45" fmla="*/ 270 h 326"/>
                <a:gd name="T46" fmla="*/ 5 w 192"/>
                <a:gd name="T47" fmla="*/ 292 h 326"/>
                <a:gd name="T48" fmla="*/ 4 w 192"/>
                <a:gd name="T49" fmla="*/ 302 h 326"/>
                <a:gd name="T50" fmla="*/ 4 w 192"/>
                <a:gd name="T51" fmla="*/ 310 h 326"/>
                <a:gd name="T52" fmla="*/ 3 w 192"/>
                <a:gd name="T53" fmla="*/ 326 h 326"/>
                <a:gd name="T54" fmla="*/ 2 w 192"/>
                <a:gd name="T55" fmla="*/ 310 h 326"/>
                <a:gd name="T56" fmla="*/ 1 w 192"/>
                <a:gd name="T57" fmla="*/ 302 h 326"/>
                <a:gd name="T58" fmla="*/ 1 w 192"/>
                <a:gd name="T59" fmla="*/ 292 h 326"/>
                <a:gd name="T60" fmla="*/ 1 w 192"/>
                <a:gd name="T61" fmla="*/ 269 h 326"/>
                <a:gd name="T62" fmla="*/ 1 w 192"/>
                <a:gd name="T63" fmla="*/ 256 h 326"/>
                <a:gd name="T64" fmla="*/ 3 w 192"/>
                <a:gd name="T65" fmla="*/ 241 h 326"/>
                <a:gd name="T66" fmla="*/ 8 w 192"/>
                <a:gd name="T67" fmla="*/ 211 h 326"/>
                <a:gd name="T68" fmla="*/ 13 w 192"/>
                <a:gd name="T69" fmla="*/ 195 h 326"/>
                <a:gd name="T70" fmla="*/ 15 w 192"/>
                <a:gd name="T71" fmla="*/ 187 h 326"/>
                <a:gd name="T72" fmla="*/ 18 w 192"/>
                <a:gd name="T73" fmla="*/ 179 h 326"/>
                <a:gd name="T74" fmla="*/ 24 w 192"/>
                <a:gd name="T75" fmla="*/ 162 h 326"/>
                <a:gd name="T76" fmla="*/ 30 w 192"/>
                <a:gd name="T77" fmla="*/ 146 h 326"/>
                <a:gd name="T78" fmla="*/ 38 w 192"/>
                <a:gd name="T79" fmla="*/ 131 h 326"/>
                <a:gd name="T80" fmla="*/ 43 w 192"/>
                <a:gd name="T81" fmla="*/ 123 h 326"/>
                <a:gd name="T82" fmla="*/ 47 w 192"/>
                <a:gd name="T83" fmla="*/ 116 h 326"/>
                <a:gd name="T84" fmla="*/ 56 w 192"/>
                <a:gd name="T85" fmla="*/ 101 h 326"/>
                <a:gd name="T86" fmla="*/ 66 w 192"/>
                <a:gd name="T87" fmla="*/ 88 h 326"/>
                <a:gd name="T88" fmla="*/ 76 w 192"/>
                <a:gd name="T89" fmla="*/ 75 h 326"/>
                <a:gd name="T90" fmla="*/ 87 w 192"/>
                <a:gd name="T91" fmla="*/ 63 h 326"/>
                <a:gd name="T92" fmla="*/ 97 w 192"/>
                <a:gd name="T93" fmla="*/ 52 h 326"/>
                <a:gd name="T94" fmla="*/ 107 w 192"/>
                <a:gd name="T95" fmla="*/ 43 h 326"/>
                <a:gd name="T96" fmla="*/ 117 w 192"/>
                <a:gd name="T97" fmla="*/ 34 h 326"/>
                <a:gd name="T98" fmla="*/ 126 w 192"/>
                <a:gd name="T99" fmla="*/ 27 h 326"/>
                <a:gd name="T100" fmla="*/ 135 w 192"/>
                <a:gd name="T101" fmla="*/ 20 h 326"/>
                <a:gd name="T102" fmla="*/ 142 w 192"/>
                <a:gd name="T103" fmla="*/ 16 h 326"/>
                <a:gd name="T104" fmla="*/ 154 w 192"/>
                <a:gd name="T105" fmla="*/ 7 h 326"/>
                <a:gd name="T106" fmla="*/ 185 w 192"/>
                <a:gd name="T107" fmla="*/ 13 h 326"/>
                <a:gd name="T108" fmla="*/ 179 w 192"/>
                <a:gd name="T109" fmla="*/ 44 h 326"/>
                <a:gd name="T110" fmla="*/ 177 w 192"/>
                <a:gd name="T111"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326">
                  <a:moveTo>
                    <a:pt x="177" y="45"/>
                  </a:moveTo>
                  <a:cubicBezTo>
                    <a:pt x="177" y="45"/>
                    <a:pt x="172" y="47"/>
                    <a:pt x="163" y="52"/>
                  </a:cubicBezTo>
                  <a:cubicBezTo>
                    <a:pt x="161" y="53"/>
                    <a:pt x="158" y="54"/>
                    <a:pt x="156" y="56"/>
                  </a:cubicBezTo>
                  <a:cubicBezTo>
                    <a:pt x="154" y="57"/>
                    <a:pt x="151" y="59"/>
                    <a:pt x="149" y="60"/>
                  </a:cubicBezTo>
                  <a:cubicBezTo>
                    <a:pt x="146" y="62"/>
                    <a:pt x="143" y="63"/>
                    <a:pt x="140" y="65"/>
                  </a:cubicBezTo>
                  <a:cubicBezTo>
                    <a:pt x="137" y="67"/>
                    <a:pt x="134" y="69"/>
                    <a:pt x="131" y="72"/>
                  </a:cubicBezTo>
                  <a:cubicBezTo>
                    <a:pt x="128" y="74"/>
                    <a:pt x="124" y="76"/>
                    <a:pt x="121" y="79"/>
                  </a:cubicBezTo>
                  <a:cubicBezTo>
                    <a:pt x="117" y="82"/>
                    <a:pt x="114" y="85"/>
                    <a:pt x="110" y="87"/>
                  </a:cubicBezTo>
                  <a:cubicBezTo>
                    <a:pt x="107" y="90"/>
                    <a:pt x="103" y="94"/>
                    <a:pt x="100" y="97"/>
                  </a:cubicBezTo>
                  <a:cubicBezTo>
                    <a:pt x="96" y="100"/>
                    <a:pt x="92" y="103"/>
                    <a:pt x="89" y="107"/>
                  </a:cubicBezTo>
                  <a:cubicBezTo>
                    <a:pt x="86" y="111"/>
                    <a:pt x="82" y="115"/>
                    <a:pt x="79" y="118"/>
                  </a:cubicBezTo>
                  <a:cubicBezTo>
                    <a:pt x="75" y="122"/>
                    <a:pt x="72" y="127"/>
                    <a:pt x="69" y="131"/>
                  </a:cubicBezTo>
                  <a:cubicBezTo>
                    <a:pt x="67" y="133"/>
                    <a:pt x="65" y="135"/>
                    <a:pt x="64" y="137"/>
                  </a:cubicBezTo>
                  <a:cubicBezTo>
                    <a:pt x="62" y="139"/>
                    <a:pt x="61" y="141"/>
                    <a:pt x="59" y="143"/>
                  </a:cubicBezTo>
                  <a:cubicBezTo>
                    <a:pt x="56" y="148"/>
                    <a:pt x="53" y="152"/>
                    <a:pt x="50" y="157"/>
                  </a:cubicBezTo>
                  <a:cubicBezTo>
                    <a:pt x="47" y="162"/>
                    <a:pt x="44" y="166"/>
                    <a:pt x="42" y="171"/>
                  </a:cubicBezTo>
                  <a:cubicBezTo>
                    <a:pt x="39" y="176"/>
                    <a:pt x="37" y="181"/>
                    <a:pt x="34" y="186"/>
                  </a:cubicBezTo>
                  <a:cubicBezTo>
                    <a:pt x="33" y="188"/>
                    <a:pt x="32" y="190"/>
                    <a:pt x="31" y="193"/>
                  </a:cubicBezTo>
                  <a:cubicBezTo>
                    <a:pt x="30" y="195"/>
                    <a:pt x="29" y="198"/>
                    <a:pt x="28" y="200"/>
                  </a:cubicBezTo>
                  <a:cubicBezTo>
                    <a:pt x="26" y="205"/>
                    <a:pt x="23" y="210"/>
                    <a:pt x="22" y="215"/>
                  </a:cubicBezTo>
                  <a:cubicBezTo>
                    <a:pt x="19" y="225"/>
                    <a:pt x="15" y="234"/>
                    <a:pt x="13" y="243"/>
                  </a:cubicBezTo>
                  <a:cubicBezTo>
                    <a:pt x="12" y="248"/>
                    <a:pt x="11" y="252"/>
                    <a:pt x="10" y="257"/>
                  </a:cubicBezTo>
                  <a:cubicBezTo>
                    <a:pt x="9" y="261"/>
                    <a:pt x="8" y="266"/>
                    <a:pt x="8" y="270"/>
                  </a:cubicBezTo>
                  <a:cubicBezTo>
                    <a:pt x="6" y="278"/>
                    <a:pt x="5" y="286"/>
                    <a:pt x="5" y="292"/>
                  </a:cubicBezTo>
                  <a:cubicBezTo>
                    <a:pt x="4" y="296"/>
                    <a:pt x="4" y="299"/>
                    <a:pt x="4" y="302"/>
                  </a:cubicBezTo>
                  <a:cubicBezTo>
                    <a:pt x="4" y="305"/>
                    <a:pt x="4" y="308"/>
                    <a:pt x="4" y="310"/>
                  </a:cubicBezTo>
                  <a:cubicBezTo>
                    <a:pt x="4" y="320"/>
                    <a:pt x="3" y="326"/>
                    <a:pt x="3" y="326"/>
                  </a:cubicBezTo>
                  <a:cubicBezTo>
                    <a:pt x="3" y="326"/>
                    <a:pt x="3" y="320"/>
                    <a:pt x="2" y="310"/>
                  </a:cubicBezTo>
                  <a:cubicBezTo>
                    <a:pt x="2" y="308"/>
                    <a:pt x="1" y="305"/>
                    <a:pt x="1" y="302"/>
                  </a:cubicBezTo>
                  <a:cubicBezTo>
                    <a:pt x="1" y="299"/>
                    <a:pt x="1" y="296"/>
                    <a:pt x="1" y="292"/>
                  </a:cubicBezTo>
                  <a:cubicBezTo>
                    <a:pt x="1" y="285"/>
                    <a:pt x="0" y="278"/>
                    <a:pt x="1" y="269"/>
                  </a:cubicBezTo>
                  <a:cubicBezTo>
                    <a:pt x="1" y="265"/>
                    <a:pt x="1" y="260"/>
                    <a:pt x="1" y="256"/>
                  </a:cubicBezTo>
                  <a:cubicBezTo>
                    <a:pt x="2" y="251"/>
                    <a:pt x="2" y="246"/>
                    <a:pt x="3" y="241"/>
                  </a:cubicBezTo>
                  <a:cubicBezTo>
                    <a:pt x="4" y="232"/>
                    <a:pt x="6" y="221"/>
                    <a:pt x="8" y="211"/>
                  </a:cubicBezTo>
                  <a:cubicBezTo>
                    <a:pt x="9" y="206"/>
                    <a:pt x="11" y="200"/>
                    <a:pt x="13" y="195"/>
                  </a:cubicBezTo>
                  <a:cubicBezTo>
                    <a:pt x="13" y="192"/>
                    <a:pt x="14" y="189"/>
                    <a:pt x="15" y="187"/>
                  </a:cubicBezTo>
                  <a:cubicBezTo>
                    <a:pt x="16" y="184"/>
                    <a:pt x="17" y="181"/>
                    <a:pt x="18" y="179"/>
                  </a:cubicBezTo>
                  <a:cubicBezTo>
                    <a:pt x="20" y="173"/>
                    <a:pt x="21" y="168"/>
                    <a:pt x="24" y="162"/>
                  </a:cubicBezTo>
                  <a:cubicBezTo>
                    <a:pt x="26" y="157"/>
                    <a:pt x="28" y="152"/>
                    <a:pt x="30" y="146"/>
                  </a:cubicBezTo>
                  <a:cubicBezTo>
                    <a:pt x="33" y="141"/>
                    <a:pt x="36" y="136"/>
                    <a:pt x="38" y="131"/>
                  </a:cubicBezTo>
                  <a:cubicBezTo>
                    <a:pt x="40" y="128"/>
                    <a:pt x="41" y="126"/>
                    <a:pt x="43" y="123"/>
                  </a:cubicBezTo>
                  <a:cubicBezTo>
                    <a:pt x="44" y="121"/>
                    <a:pt x="46" y="118"/>
                    <a:pt x="47" y="116"/>
                  </a:cubicBezTo>
                  <a:cubicBezTo>
                    <a:pt x="50" y="111"/>
                    <a:pt x="53" y="106"/>
                    <a:pt x="56" y="101"/>
                  </a:cubicBezTo>
                  <a:cubicBezTo>
                    <a:pt x="60" y="97"/>
                    <a:pt x="63" y="92"/>
                    <a:pt x="66" y="88"/>
                  </a:cubicBezTo>
                  <a:cubicBezTo>
                    <a:pt x="69" y="83"/>
                    <a:pt x="73" y="79"/>
                    <a:pt x="76" y="75"/>
                  </a:cubicBezTo>
                  <a:cubicBezTo>
                    <a:pt x="80" y="71"/>
                    <a:pt x="83" y="67"/>
                    <a:pt x="87" y="63"/>
                  </a:cubicBezTo>
                  <a:cubicBezTo>
                    <a:pt x="90" y="59"/>
                    <a:pt x="94" y="56"/>
                    <a:pt x="97" y="52"/>
                  </a:cubicBezTo>
                  <a:cubicBezTo>
                    <a:pt x="100" y="49"/>
                    <a:pt x="104" y="46"/>
                    <a:pt x="107" y="43"/>
                  </a:cubicBezTo>
                  <a:cubicBezTo>
                    <a:pt x="111" y="40"/>
                    <a:pt x="114" y="37"/>
                    <a:pt x="117" y="34"/>
                  </a:cubicBezTo>
                  <a:cubicBezTo>
                    <a:pt x="120" y="32"/>
                    <a:pt x="123" y="29"/>
                    <a:pt x="126" y="27"/>
                  </a:cubicBezTo>
                  <a:cubicBezTo>
                    <a:pt x="129" y="25"/>
                    <a:pt x="132" y="22"/>
                    <a:pt x="135" y="20"/>
                  </a:cubicBezTo>
                  <a:cubicBezTo>
                    <a:pt x="137" y="18"/>
                    <a:pt x="140" y="17"/>
                    <a:pt x="142" y="16"/>
                  </a:cubicBezTo>
                  <a:cubicBezTo>
                    <a:pt x="150" y="10"/>
                    <a:pt x="154" y="7"/>
                    <a:pt x="154" y="7"/>
                  </a:cubicBezTo>
                  <a:cubicBezTo>
                    <a:pt x="165" y="0"/>
                    <a:pt x="178" y="3"/>
                    <a:pt x="185" y="13"/>
                  </a:cubicBezTo>
                  <a:cubicBezTo>
                    <a:pt x="192" y="23"/>
                    <a:pt x="189" y="37"/>
                    <a:pt x="179" y="44"/>
                  </a:cubicBezTo>
                  <a:cubicBezTo>
                    <a:pt x="179" y="44"/>
                    <a:pt x="178" y="44"/>
                    <a:pt x="177" y="45"/>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75" name="íṩļîḓé">
              <a:extLst>
                <a:ext uri="{FF2B5EF4-FFF2-40B4-BE49-F238E27FC236}">
                  <a16:creationId xmlns:a16="http://schemas.microsoft.com/office/drawing/2014/main" id="{EC1B7B39-A42C-4A42-B203-D7392F62E6E1}"/>
                </a:ext>
              </a:extLst>
            </p:cNvPr>
            <p:cNvSpPr/>
            <p:nvPr/>
          </p:nvSpPr>
          <p:spPr bwMode="auto">
            <a:xfrm>
              <a:off x="5634932" y="4268772"/>
              <a:ext cx="155386" cy="149716"/>
            </a:xfrm>
            <a:custGeom>
              <a:avLst/>
              <a:gdLst>
                <a:gd name="T0" fmla="*/ 0 w 137"/>
                <a:gd name="T1" fmla="*/ 0 h 132"/>
                <a:gd name="T2" fmla="*/ 137 w 137"/>
                <a:gd name="T3" fmla="*/ 28 h 132"/>
                <a:gd name="T4" fmla="*/ 44 w 137"/>
                <a:gd name="T5" fmla="*/ 132 h 132"/>
                <a:gd name="T6" fmla="*/ 0 w 137"/>
                <a:gd name="T7" fmla="*/ 0 h 132"/>
              </a:gdLst>
              <a:ahLst/>
              <a:cxnLst>
                <a:cxn ang="0">
                  <a:pos x="T0" y="T1"/>
                </a:cxn>
                <a:cxn ang="0">
                  <a:pos x="T2" y="T3"/>
                </a:cxn>
                <a:cxn ang="0">
                  <a:pos x="T4" y="T5"/>
                </a:cxn>
                <a:cxn ang="0">
                  <a:pos x="T6" y="T7"/>
                </a:cxn>
              </a:cxnLst>
              <a:rect l="0" t="0" r="r" b="b"/>
              <a:pathLst>
                <a:path w="137" h="132">
                  <a:moveTo>
                    <a:pt x="0" y="0"/>
                  </a:moveTo>
                  <a:lnTo>
                    <a:pt x="137" y="28"/>
                  </a:lnTo>
                  <a:lnTo>
                    <a:pt x="44" y="132"/>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76" name="ïsḻïďé">
              <a:extLst>
                <a:ext uri="{FF2B5EF4-FFF2-40B4-BE49-F238E27FC236}">
                  <a16:creationId xmlns:a16="http://schemas.microsoft.com/office/drawing/2014/main" id="{437826D5-CA77-4203-86AF-FECE9A697419}"/>
                </a:ext>
              </a:extLst>
            </p:cNvPr>
            <p:cNvSpPr/>
            <p:nvPr/>
          </p:nvSpPr>
          <p:spPr bwMode="auto">
            <a:xfrm>
              <a:off x="6864414" y="2932670"/>
              <a:ext cx="235917" cy="733837"/>
            </a:xfrm>
            <a:custGeom>
              <a:avLst/>
              <a:gdLst>
                <a:gd name="T0" fmla="*/ 74 w 266"/>
                <a:gd name="T1" fmla="*/ 17 h 831"/>
                <a:gd name="T2" fmla="*/ 81 w 266"/>
                <a:gd name="T3" fmla="*/ 24 h 831"/>
                <a:gd name="T4" fmla="*/ 88 w 266"/>
                <a:gd name="T5" fmla="*/ 33 h 831"/>
                <a:gd name="T6" fmla="*/ 93 w 266"/>
                <a:gd name="T7" fmla="*/ 39 h 831"/>
                <a:gd name="T8" fmla="*/ 99 w 266"/>
                <a:gd name="T9" fmla="*/ 45 h 831"/>
                <a:gd name="T10" fmla="*/ 112 w 266"/>
                <a:gd name="T11" fmla="*/ 62 h 831"/>
                <a:gd name="T12" fmla="*/ 127 w 266"/>
                <a:gd name="T13" fmla="*/ 81 h 831"/>
                <a:gd name="T14" fmla="*/ 143 w 266"/>
                <a:gd name="T15" fmla="*/ 103 h 831"/>
                <a:gd name="T16" fmla="*/ 159 w 266"/>
                <a:gd name="T17" fmla="*/ 128 h 831"/>
                <a:gd name="T18" fmla="*/ 192 w 266"/>
                <a:gd name="T19" fmla="*/ 187 h 831"/>
                <a:gd name="T20" fmla="*/ 222 w 266"/>
                <a:gd name="T21" fmla="*/ 256 h 831"/>
                <a:gd name="T22" fmla="*/ 245 w 266"/>
                <a:gd name="T23" fmla="*/ 332 h 831"/>
                <a:gd name="T24" fmla="*/ 260 w 266"/>
                <a:gd name="T25" fmla="*/ 413 h 831"/>
                <a:gd name="T26" fmla="*/ 266 w 266"/>
                <a:gd name="T27" fmla="*/ 494 h 831"/>
                <a:gd name="T28" fmla="*/ 262 w 266"/>
                <a:gd name="T29" fmla="*/ 573 h 831"/>
                <a:gd name="T30" fmla="*/ 257 w 266"/>
                <a:gd name="T31" fmla="*/ 610 h 831"/>
                <a:gd name="T32" fmla="*/ 251 w 266"/>
                <a:gd name="T33" fmla="*/ 645 h 831"/>
                <a:gd name="T34" fmla="*/ 247 w 266"/>
                <a:gd name="T35" fmla="*/ 662 h 831"/>
                <a:gd name="T36" fmla="*/ 243 w 266"/>
                <a:gd name="T37" fmla="*/ 678 h 831"/>
                <a:gd name="T38" fmla="*/ 234 w 266"/>
                <a:gd name="T39" fmla="*/ 708 h 831"/>
                <a:gd name="T40" fmla="*/ 215 w 266"/>
                <a:gd name="T41" fmla="*/ 760 h 831"/>
                <a:gd name="T42" fmla="*/ 206 w 266"/>
                <a:gd name="T43" fmla="*/ 781 h 831"/>
                <a:gd name="T44" fmla="*/ 198 w 266"/>
                <a:gd name="T45" fmla="*/ 799 h 831"/>
                <a:gd name="T46" fmla="*/ 194 w 266"/>
                <a:gd name="T47" fmla="*/ 806 h 831"/>
                <a:gd name="T48" fmla="*/ 191 w 266"/>
                <a:gd name="T49" fmla="*/ 813 h 831"/>
                <a:gd name="T50" fmla="*/ 186 w 266"/>
                <a:gd name="T51" fmla="*/ 823 h 831"/>
                <a:gd name="T52" fmla="*/ 181 w 266"/>
                <a:gd name="T53" fmla="*/ 831 h 831"/>
                <a:gd name="T54" fmla="*/ 185 w 266"/>
                <a:gd name="T55" fmla="*/ 822 h 831"/>
                <a:gd name="T56" fmla="*/ 189 w 266"/>
                <a:gd name="T57" fmla="*/ 812 h 831"/>
                <a:gd name="T58" fmla="*/ 192 w 266"/>
                <a:gd name="T59" fmla="*/ 805 h 831"/>
                <a:gd name="T60" fmla="*/ 195 w 266"/>
                <a:gd name="T61" fmla="*/ 797 h 831"/>
                <a:gd name="T62" fmla="*/ 201 w 266"/>
                <a:gd name="T63" fmla="*/ 779 h 831"/>
                <a:gd name="T64" fmla="*/ 208 w 266"/>
                <a:gd name="T65" fmla="*/ 758 h 831"/>
                <a:gd name="T66" fmla="*/ 222 w 266"/>
                <a:gd name="T67" fmla="*/ 705 h 831"/>
                <a:gd name="T68" fmla="*/ 228 w 266"/>
                <a:gd name="T69" fmla="*/ 675 h 831"/>
                <a:gd name="T70" fmla="*/ 230 w 266"/>
                <a:gd name="T71" fmla="*/ 659 h 831"/>
                <a:gd name="T72" fmla="*/ 232 w 266"/>
                <a:gd name="T73" fmla="*/ 642 h 831"/>
                <a:gd name="T74" fmla="*/ 235 w 266"/>
                <a:gd name="T75" fmla="*/ 608 h 831"/>
                <a:gd name="T76" fmla="*/ 237 w 266"/>
                <a:gd name="T77" fmla="*/ 572 h 831"/>
                <a:gd name="T78" fmla="*/ 233 w 266"/>
                <a:gd name="T79" fmla="*/ 496 h 831"/>
                <a:gd name="T80" fmla="*/ 221 w 266"/>
                <a:gd name="T81" fmla="*/ 420 h 831"/>
                <a:gd name="T82" fmla="*/ 200 w 266"/>
                <a:gd name="T83" fmla="*/ 346 h 831"/>
                <a:gd name="T84" fmla="*/ 172 w 266"/>
                <a:gd name="T85" fmla="*/ 277 h 831"/>
                <a:gd name="T86" fmla="*/ 138 w 266"/>
                <a:gd name="T87" fmla="*/ 217 h 831"/>
                <a:gd name="T88" fmla="*/ 104 w 266"/>
                <a:gd name="T89" fmla="*/ 166 h 831"/>
                <a:gd name="T90" fmla="*/ 87 w 266"/>
                <a:gd name="T91" fmla="*/ 145 h 831"/>
                <a:gd name="T92" fmla="*/ 71 w 266"/>
                <a:gd name="T93" fmla="*/ 126 h 831"/>
                <a:gd name="T94" fmla="*/ 56 w 266"/>
                <a:gd name="T95" fmla="*/ 110 h 831"/>
                <a:gd name="T96" fmla="*/ 43 w 266"/>
                <a:gd name="T97" fmla="*/ 98 h 831"/>
                <a:gd name="T98" fmla="*/ 38 w 266"/>
                <a:gd name="T99" fmla="*/ 92 h 831"/>
                <a:gd name="T100" fmla="*/ 33 w 266"/>
                <a:gd name="T101" fmla="*/ 88 h 831"/>
                <a:gd name="T102" fmla="*/ 24 w 266"/>
                <a:gd name="T103" fmla="*/ 80 h 831"/>
                <a:gd name="T104" fmla="*/ 17 w 266"/>
                <a:gd name="T105" fmla="*/ 73 h 831"/>
                <a:gd name="T106" fmla="*/ 15 w 266"/>
                <a:gd name="T107" fmla="*/ 17 h 831"/>
                <a:gd name="T108" fmla="*/ 72 w 266"/>
                <a:gd name="T109" fmla="*/ 15 h 831"/>
                <a:gd name="T110" fmla="*/ 74 w 266"/>
                <a:gd name="T111" fmla="*/ 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6" h="831">
                  <a:moveTo>
                    <a:pt x="74" y="17"/>
                  </a:moveTo>
                  <a:cubicBezTo>
                    <a:pt x="74" y="17"/>
                    <a:pt x="76" y="20"/>
                    <a:pt x="81" y="24"/>
                  </a:cubicBezTo>
                  <a:cubicBezTo>
                    <a:pt x="83" y="27"/>
                    <a:pt x="85" y="30"/>
                    <a:pt x="88" y="33"/>
                  </a:cubicBezTo>
                  <a:cubicBezTo>
                    <a:pt x="90" y="35"/>
                    <a:pt x="91" y="36"/>
                    <a:pt x="93" y="39"/>
                  </a:cubicBezTo>
                  <a:cubicBezTo>
                    <a:pt x="95" y="41"/>
                    <a:pt x="97" y="43"/>
                    <a:pt x="99" y="45"/>
                  </a:cubicBezTo>
                  <a:cubicBezTo>
                    <a:pt x="103" y="50"/>
                    <a:pt x="108" y="56"/>
                    <a:pt x="112" y="62"/>
                  </a:cubicBezTo>
                  <a:cubicBezTo>
                    <a:pt x="117" y="67"/>
                    <a:pt x="122" y="74"/>
                    <a:pt x="127" y="81"/>
                  </a:cubicBezTo>
                  <a:cubicBezTo>
                    <a:pt x="132" y="88"/>
                    <a:pt x="137" y="95"/>
                    <a:pt x="143" y="103"/>
                  </a:cubicBezTo>
                  <a:cubicBezTo>
                    <a:pt x="148" y="111"/>
                    <a:pt x="153" y="119"/>
                    <a:pt x="159" y="128"/>
                  </a:cubicBezTo>
                  <a:cubicBezTo>
                    <a:pt x="170" y="146"/>
                    <a:pt x="181" y="166"/>
                    <a:pt x="192" y="187"/>
                  </a:cubicBezTo>
                  <a:cubicBezTo>
                    <a:pt x="203" y="208"/>
                    <a:pt x="213" y="232"/>
                    <a:pt x="222" y="256"/>
                  </a:cubicBezTo>
                  <a:cubicBezTo>
                    <a:pt x="231" y="280"/>
                    <a:pt x="239" y="306"/>
                    <a:pt x="245" y="332"/>
                  </a:cubicBezTo>
                  <a:cubicBezTo>
                    <a:pt x="252" y="359"/>
                    <a:pt x="257" y="386"/>
                    <a:pt x="260" y="413"/>
                  </a:cubicBezTo>
                  <a:cubicBezTo>
                    <a:pt x="264" y="440"/>
                    <a:pt x="265" y="468"/>
                    <a:pt x="266" y="494"/>
                  </a:cubicBezTo>
                  <a:cubicBezTo>
                    <a:pt x="266" y="521"/>
                    <a:pt x="265" y="548"/>
                    <a:pt x="262" y="573"/>
                  </a:cubicBezTo>
                  <a:cubicBezTo>
                    <a:pt x="261" y="586"/>
                    <a:pt x="259" y="598"/>
                    <a:pt x="257" y="610"/>
                  </a:cubicBezTo>
                  <a:cubicBezTo>
                    <a:pt x="255" y="622"/>
                    <a:pt x="253" y="634"/>
                    <a:pt x="251" y="645"/>
                  </a:cubicBezTo>
                  <a:cubicBezTo>
                    <a:pt x="249" y="651"/>
                    <a:pt x="248" y="657"/>
                    <a:pt x="247" y="662"/>
                  </a:cubicBezTo>
                  <a:cubicBezTo>
                    <a:pt x="245" y="668"/>
                    <a:pt x="244" y="673"/>
                    <a:pt x="243" y="678"/>
                  </a:cubicBezTo>
                  <a:cubicBezTo>
                    <a:pt x="240" y="689"/>
                    <a:pt x="237" y="699"/>
                    <a:pt x="234" y="708"/>
                  </a:cubicBezTo>
                  <a:cubicBezTo>
                    <a:pt x="228" y="728"/>
                    <a:pt x="221" y="745"/>
                    <a:pt x="215" y="760"/>
                  </a:cubicBezTo>
                  <a:cubicBezTo>
                    <a:pt x="212" y="768"/>
                    <a:pt x="209" y="775"/>
                    <a:pt x="206" y="781"/>
                  </a:cubicBezTo>
                  <a:cubicBezTo>
                    <a:pt x="203" y="788"/>
                    <a:pt x="200" y="793"/>
                    <a:pt x="198" y="799"/>
                  </a:cubicBezTo>
                  <a:cubicBezTo>
                    <a:pt x="197" y="801"/>
                    <a:pt x="195" y="804"/>
                    <a:pt x="194" y="806"/>
                  </a:cubicBezTo>
                  <a:cubicBezTo>
                    <a:pt x="193" y="808"/>
                    <a:pt x="192" y="811"/>
                    <a:pt x="191" y="813"/>
                  </a:cubicBezTo>
                  <a:cubicBezTo>
                    <a:pt x="189" y="817"/>
                    <a:pt x="187" y="820"/>
                    <a:pt x="186" y="823"/>
                  </a:cubicBezTo>
                  <a:cubicBezTo>
                    <a:pt x="183" y="828"/>
                    <a:pt x="181" y="831"/>
                    <a:pt x="181" y="831"/>
                  </a:cubicBezTo>
                  <a:cubicBezTo>
                    <a:pt x="181" y="831"/>
                    <a:pt x="182" y="828"/>
                    <a:pt x="185" y="822"/>
                  </a:cubicBezTo>
                  <a:cubicBezTo>
                    <a:pt x="186" y="820"/>
                    <a:pt x="187" y="816"/>
                    <a:pt x="189" y="812"/>
                  </a:cubicBezTo>
                  <a:cubicBezTo>
                    <a:pt x="190" y="810"/>
                    <a:pt x="191" y="808"/>
                    <a:pt x="192" y="805"/>
                  </a:cubicBezTo>
                  <a:cubicBezTo>
                    <a:pt x="193" y="803"/>
                    <a:pt x="194" y="800"/>
                    <a:pt x="195" y="797"/>
                  </a:cubicBezTo>
                  <a:cubicBezTo>
                    <a:pt x="197" y="792"/>
                    <a:pt x="199" y="786"/>
                    <a:pt x="201" y="779"/>
                  </a:cubicBezTo>
                  <a:cubicBezTo>
                    <a:pt x="203" y="773"/>
                    <a:pt x="206" y="765"/>
                    <a:pt x="208" y="758"/>
                  </a:cubicBezTo>
                  <a:cubicBezTo>
                    <a:pt x="213" y="742"/>
                    <a:pt x="218" y="725"/>
                    <a:pt x="222" y="705"/>
                  </a:cubicBezTo>
                  <a:cubicBezTo>
                    <a:pt x="224" y="696"/>
                    <a:pt x="226" y="685"/>
                    <a:pt x="228" y="675"/>
                  </a:cubicBezTo>
                  <a:cubicBezTo>
                    <a:pt x="229" y="670"/>
                    <a:pt x="229" y="664"/>
                    <a:pt x="230" y="659"/>
                  </a:cubicBezTo>
                  <a:cubicBezTo>
                    <a:pt x="231" y="653"/>
                    <a:pt x="232" y="648"/>
                    <a:pt x="232" y="642"/>
                  </a:cubicBezTo>
                  <a:cubicBezTo>
                    <a:pt x="233" y="631"/>
                    <a:pt x="235" y="620"/>
                    <a:pt x="235" y="608"/>
                  </a:cubicBezTo>
                  <a:cubicBezTo>
                    <a:pt x="236" y="596"/>
                    <a:pt x="237" y="584"/>
                    <a:pt x="237" y="572"/>
                  </a:cubicBezTo>
                  <a:cubicBezTo>
                    <a:pt x="237" y="547"/>
                    <a:pt x="236" y="522"/>
                    <a:pt x="233" y="496"/>
                  </a:cubicBezTo>
                  <a:cubicBezTo>
                    <a:pt x="231" y="471"/>
                    <a:pt x="227" y="445"/>
                    <a:pt x="221" y="420"/>
                  </a:cubicBezTo>
                  <a:cubicBezTo>
                    <a:pt x="215" y="395"/>
                    <a:pt x="208" y="370"/>
                    <a:pt x="200" y="346"/>
                  </a:cubicBezTo>
                  <a:cubicBezTo>
                    <a:pt x="191" y="322"/>
                    <a:pt x="182" y="299"/>
                    <a:pt x="172" y="277"/>
                  </a:cubicBezTo>
                  <a:cubicBezTo>
                    <a:pt x="161" y="256"/>
                    <a:pt x="150" y="235"/>
                    <a:pt x="138" y="217"/>
                  </a:cubicBezTo>
                  <a:cubicBezTo>
                    <a:pt x="127" y="198"/>
                    <a:pt x="115" y="181"/>
                    <a:pt x="104" y="166"/>
                  </a:cubicBezTo>
                  <a:cubicBezTo>
                    <a:pt x="98" y="159"/>
                    <a:pt x="92" y="151"/>
                    <a:pt x="87" y="145"/>
                  </a:cubicBezTo>
                  <a:cubicBezTo>
                    <a:pt x="81" y="138"/>
                    <a:pt x="76" y="132"/>
                    <a:pt x="71" y="126"/>
                  </a:cubicBezTo>
                  <a:cubicBezTo>
                    <a:pt x="65" y="120"/>
                    <a:pt x="60" y="115"/>
                    <a:pt x="56" y="110"/>
                  </a:cubicBezTo>
                  <a:cubicBezTo>
                    <a:pt x="51" y="106"/>
                    <a:pt x="47" y="102"/>
                    <a:pt x="43" y="98"/>
                  </a:cubicBezTo>
                  <a:cubicBezTo>
                    <a:pt x="42" y="96"/>
                    <a:pt x="40" y="94"/>
                    <a:pt x="38" y="92"/>
                  </a:cubicBezTo>
                  <a:cubicBezTo>
                    <a:pt x="36" y="91"/>
                    <a:pt x="34" y="89"/>
                    <a:pt x="33" y="88"/>
                  </a:cubicBezTo>
                  <a:cubicBezTo>
                    <a:pt x="30" y="84"/>
                    <a:pt x="27" y="82"/>
                    <a:pt x="24" y="80"/>
                  </a:cubicBezTo>
                  <a:cubicBezTo>
                    <a:pt x="20" y="75"/>
                    <a:pt x="17" y="73"/>
                    <a:pt x="17" y="73"/>
                  </a:cubicBezTo>
                  <a:cubicBezTo>
                    <a:pt x="1" y="58"/>
                    <a:pt x="0" y="33"/>
                    <a:pt x="15" y="17"/>
                  </a:cubicBezTo>
                  <a:cubicBezTo>
                    <a:pt x="30" y="1"/>
                    <a:pt x="55" y="0"/>
                    <a:pt x="72" y="15"/>
                  </a:cubicBezTo>
                  <a:cubicBezTo>
                    <a:pt x="72" y="15"/>
                    <a:pt x="73" y="16"/>
                    <a:pt x="74" y="1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77" name="is1ïdê">
              <a:extLst>
                <a:ext uri="{FF2B5EF4-FFF2-40B4-BE49-F238E27FC236}">
                  <a16:creationId xmlns:a16="http://schemas.microsoft.com/office/drawing/2014/main" id="{C40F2181-D6F1-4BE9-9AE8-EEAA08C39720}"/>
                </a:ext>
              </a:extLst>
            </p:cNvPr>
            <p:cNvSpPr/>
            <p:nvPr/>
          </p:nvSpPr>
          <p:spPr bwMode="auto">
            <a:xfrm>
              <a:off x="6749860" y="2863483"/>
              <a:ext cx="263136" cy="242722"/>
            </a:xfrm>
            <a:custGeom>
              <a:avLst/>
              <a:gdLst>
                <a:gd name="T0" fmla="*/ 93 w 232"/>
                <a:gd name="T1" fmla="*/ 214 h 214"/>
                <a:gd name="T2" fmla="*/ 0 w 232"/>
                <a:gd name="T3" fmla="*/ 0 h 214"/>
                <a:gd name="T4" fmla="*/ 232 w 232"/>
                <a:gd name="T5" fmla="*/ 27 h 214"/>
                <a:gd name="T6" fmla="*/ 93 w 232"/>
                <a:gd name="T7" fmla="*/ 214 h 214"/>
              </a:gdLst>
              <a:ahLst/>
              <a:cxnLst>
                <a:cxn ang="0">
                  <a:pos x="T0" y="T1"/>
                </a:cxn>
                <a:cxn ang="0">
                  <a:pos x="T2" y="T3"/>
                </a:cxn>
                <a:cxn ang="0">
                  <a:pos x="T4" y="T5"/>
                </a:cxn>
                <a:cxn ang="0">
                  <a:pos x="T6" y="T7"/>
                </a:cxn>
              </a:cxnLst>
              <a:rect l="0" t="0" r="r" b="b"/>
              <a:pathLst>
                <a:path w="232" h="214">
                  <a:moveTo>
                    <a:pt x="93" y="214"/>
                  </a:moveTo>
                  <a:lnTo>
                    <a:pt x="0" y="0"/>
                  </a:lnTo>
                  <a:lnTo>
                    <a:pt x="232" y="27"/>
                  </a:lnTo>
                  <a:lnTo>
                    <a:pt x="93" y="214"/>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78" name="íšļíďé">
              <a:extLst>
                <a:ext uri="{FF2B5EF4-FFF2-40B4-BE49-F238E27FC236}">
                  <a16:creationId xmlns:a16="http://schemas.microsoft.com/office/drawing/2014/main" id="{E1A00CBB-6AFD-4064-9191-574C838AE0F2}"/>
                </a:ext>
              </a:extLst>
            </p:cNvPr>
            <p:cNvSpPr/>
            <p:nvPr/>
          </p:nvSpPr>
          <p:spPr bwMode="auto">
            <a:xfrm>
              <a:off x="4515466" y="2116037"/>
              <a:ext cx="283552" cy="615878"/>
            </a:xfrm>
            <a:custGeom>
              <a:avLst/>
              <a:gdLst>
                <a:gd name="T0" fmla="*/ 300 w 320"/>
                <a:gd name="T1" fmla="*/ 65 h 698"/>
                <a:gd name="T2" fmla="*/ 293 w 320"/>
                <a:gd name="T3" fmla="*/ 69 h 698"/>
                <a:gd name="T4" fmla="*/ 284 w 320"/>
                <a:gd name="T5" fmla="*/ 75 h 698"/>
                <a:gd name="T6" fmla="*/ 279 w 320"/>
                <a:gd name="T7" fmla="*/ 78 h 698"/>
                <a:gd name="T8" fmla="*/ 273 w 320"/>
                <a:gd name="T9" fmla="*/ 82 h 698"/>
                <a:gd name="T10" fmla="*/ 260 w 320"/>
                <a:gd name="T11" fmla="*/ 91 h 698"/>
                <a:gd name="T12" fmla="*/ 244 w 320"/>
                <a:gd name="T13" fmla="*/ 102 h 698"/>
                <a:gd name="T14" fmla="*/ 227 w 320"/>
                <a:gd name="T15" fmla="*/ 115 h 698"/>
                <a:gd name="T16" fmla="*/ 208 w 320"/>
                <a:gd name="T17" fmla="*/ 131 h 698"/>
                <a:gd name="T18" fmla="*/ 169 w 320"/>
                <a:gd name="T19" fmla="*/ 169 h 698"/>
                <a:gd name="T20" fmla="*/ 130 w 320"/>
                <a:gd name="T21" fmla="*/ 216 h 698"/>
                <a:gd name="T22" fmla="*/ 93 w 320"/>
                <a:gd name="T23" fmla="*/ 271 h 698"/>
                <a:gd name="T24" fmla="*/ 62 w 320"/>
                <a:gd name="T25" fmla="*/ 332 h 698"/>
                <a:gd name="T26" fmla="*/ 39 w 320"/>
                <a:gd name="T27" fmla="*/ 397 h 698"/>
                <a:gd name="T28" fmla="*/ 23 w 320"/>
                <a:gd name="T29" fmla="*/ 462 h 698"/>
                <a:gd name="T30" fmla="*/ 19 w 320"/>
                <a:gd name="T31" fmla="*/ 494 h 698"/>
                <a:gd name="T32" fmla="*/ 16 w 320"/>
                <a:gd name="T33" fmla="*/ 525 h 698"/>
                <a:gd name="T34" fmla="*/ 15 w 320"/>
                <a:gd name="T35" fmla="*/ 554 h 698"/>
                <a:gd name="T36" fmla="*/ 15 w 320"/>
                <a:gd name="T37" fmla="*/ 582 h 698"/>
                <a:gd name="T38" fmla="*/ 18 w 320"/>
                <a:gd name="T39" fmla="*/ 630 h 698"/>
                <a:gd name="T40" fmla="*/ 21 w 320"/>
                <a:gd name="T41" fmla="*/ 649 h 698"/>
                <a:gd name="T42" fmla="*/ 24 w 320"/>
                <a:gd name="T43" fmla="*/ 666 h 698"/>
                <a:gd name="T44" fmla="*/ 25 w 320"/>
                <a:gd name="T45" fmla="*/ 674 h 698"/>
                <a:gd name="T46" fmla="*/ 26 w 320"/>
                <a:gd name="T47" fmla="*/ 680 h 698"/>
                <a:gd name="T48" fmla="*/ 29 w 320"/>
                <a:gd name="T49" fmla="*/ 690 h 698"/>
                <a:gd name="T50" fmla="*/ 30 w 320"/>
                <a:gd name="T51" fmla="*/ 698 h 698"/>
                <a:gd name="T52" fmla="*/ 28 w 320"/>
                <a:gd name="T53" fmla="*/ 690 h 698"/>
                <a:gd name="T54" fmla="*/ 25 w 320"/>
                <a:gd name="T55" fmla="*/ 680 h 698"/>
                <a:gd name="T56" fmla="*/ 23 w 320"/>
                <a:gd name="T57" fmla="*/ 674 h 698"/>
                <a:gd name="T58" fmla="*/ 21 w 320"/>
                <a:gd name="T59" fmla="*/ 667 h 698"/>
                <a:gd name="T60" fmla="*/ 17 w 320"/>
                <a:gd name="T61" fmla="*/ 650 h 698"/>
                <a:gd name="T62" fmla="*/ 12 w 320"/>
                <a:gd name="T63" fmla="*/ 630 h 698"/>
                <a:gd name="T64" fmla="*/ 5 w 320"/>
                <a:gd name="T65" fmla="*/ 582 h 698"/>
                <a:gd name="T66" fmla="*/ 2 w 320"/>
                <a:gd name="T67" fmla="*/ 554 h 698"/>
                <a:gd name="T68" fmla="*/ 1 w 320"/>
                <a:gd name="T69" fmla="*/ 524 h 698"/>
                <a:gd name="T70" fmla="*/ 1 w 320"/>
                <a:gd name="T71" fmla="*/ 493 h 698"/>
                <a:gd name="T72" fmla="*/ 3 w 320"/>
                <a:gd name="T73" fmla="*/ 460 h 698"/>
                <a:gd name="T74" fmla="*/ 13 w 320"/>
                <a:gd name="T75" fmla="*/ 391 h 698"/>
                <a:gd name="T76" fmla="*/ 32 w 320"/>
                <a:gd name="T77" fmla="*/ 321 h 698"/>
                <a:gd name="T78" fmla="*/ 59 w 320"/>
                <a:gd name="T79" fmla="*/ 253 h 698"/>
                <a:gd name="T80" fmla="*/ 93 w 320"/>
                <a:gd name="T81" fmla="*/ 191 h 698"/>
                <a:gd name="T82" fmla="*/ 131 w 320"/>
                <a:gd name="T83" fmla="*/ 137 h 698"/>
                <a:gd name="T84" fmla="*/ 170 w 320"/>
                <a:gd name="T85" fmla="*/ 91 h 698"/>
                <a:gd name="T86" fmla="*/ 189 w 320"/>
                <a:gd name="T87" fmla="*/ 72 h 698"/>
                <a:gd name="T88" fmla="*/ 207 w 320"/>
                <a:gd name="T89" fmla="*/ 56 h 698"/>
                <a:gd name="T90" fmla="*/ 223 w 320"/>
                <a:gd name="T91" fmla="*/ 42 h 698"/>
                <a:gd name="T92" fmla="*/ 237 w 320"/>
                <a:gd name="T93" fmla="*/ 31 h 698"/>
                <a:gd name="T94" fmla="*/ 244 w 320"/>
                <a:gd name="T95" fmla="*/ 26 h 698"/>
                <a:gd name="T96" fmla="*/ 249 w 320"/>
                <a:gd name="T97" fmla="*/ 22 h 698"/>
                <a:gd name="T98" fmla="*/ 257 w 320"/>
                <a:gd name="T99" fmla="*/ 16 h 698"/>
                <a:gd name="T100" fmla="*/ 264 w 320"/>
                <a:gd name="T101" fmla="*/ 11 h 698"/>
                <a:gd name="T102" fmla="*/ 310 w 320"/>
                <a:gd name="T103" fmla="*/ 18 h 698"/>
                <a:gd name="T104" fmla="*/ 302 w 320"/>
                <a:gd name="T105" fmla="*/ 63 h 698"/>
                <a:gd name="T106" fmla="*/ 300 w 320"/>
                <a:gd name="T107" fmla="*/ 65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698">
                  <a:moveTo>
                    <a:pt x="300" y="65"/>
                  </a:moveTo>
                  <a:cubicBezTo>
                    <a:pt x="300" y="65"/>
                    <a:pt x="298" y="67"/>
                    <a:pt x="293" y="69"/>
                  </a:cubicBezTo>
                  <a:cubicBezTo>
                    <a:pt x="290" y="71"/>
                    <a:pt x="288" y="73"/>
                    <a:pt x="284" y="75"/>
                  </a:cubicBezTo>
                  <a:cubicBezTo>
                    <a:pt x="282" y="76"/>
                    <a:pt x="280" y="77"/>
                    <a:pt x="279" y="78"/>
                  </a:cubicBezTo>
                  <a:cubicBezTo>
                    <a:pt x="277" y="79"/>
                    <a:pt x="275" y="80"/>
                    <a:pt x="273" y="82"/>
                  </a:cubicBezTo>
                  <a:cubicBezTo>
                    <a:pt x="269" y="84"/>
                    <a:pt x="265" y="87"/>
                    <a:pt x="260" y="91"/>
                  </a:cubicBezTo>
                  <a:cubicBezTo>
                    <a:pt x="255" y="94"/>
                    <a:pt x="250" y="98"/>
                    <a:pt x="244" y="102"/>
                  </a:cubicBezTo>
                  <a:cubicBezTo>
                    <a:pt x="239" y="106"/>
                    <a:pt x="233" y="110"/>
                    <a:pt x="227" y="115"/>
                  </a:cubicBezTo>
                  <a:cubicBezTo>
                    <a:pt x="221" y="120"/>
                    <a:pt x="215" y="125"/>
                    <a:pt x="208" y="131"/>
                  </a:cubicBezTo>
                  <a:cubicBezTo>
                    <a:pt x="196" y="142"/>
                    <a:pt x="182" y="155"/>
                    <a:pt x="169" y="169"/>
                  </a:cubicBezTo>
                  <a:cubicBezTo>
                    <a:pt x="156" y="183"/>
                    <a:pt x="143" y="199"/>
                    <a:pt x="130" y="216"/>
                  </a:cubicBezTo>
                  <a:cubicBezTo>
                    <a:pt x="117" y="233"/>
                    <a:pt x="105" y="252"/>
                    <a:pt x="93" y="271"/>
                  </a:cubicBezTo>
                  <a:cubicBezTo>
                    <a:pt x="82" y="291"/>
                    <a:pt x="72" y="311"/>
                    <a:pt x="62" y="332"/>
                  </a:cubicBezTo>
                  <a:cubicBezTo>
                    <a:pt x="53" y="353"/>
                    <a:pt x="45" y="375"/>
                    <a:pt x="39" y="397"/>
                  </a:cubicBezTo>
                  <a:cubicBezTo>
                    <a:pt x="32" y="419"/>
                    <a:pt x="27" y="441"/>
                    <a:pt x="23" y="462"/>
                  </a:cubicBezTo>
                  <a:cubicBezTo>
                    <a:pt x="22" y="473"/>
                    <a:pt x="20" y="484"/>
                    <a:pt x="19" y="494"/>
                  </a:cubicBezTo>
                  <a:cubicBezTo>
                    <a:pt x="17" y="505"/>
                    <a:pt x="17" y="515"/>
                    <a:pt x="16" y="525"/>
                  </a:cubicBezTo>
                  <a:cubicBezTo>
                    <a:pt x="15" y="535"/>
                    <a:pt x="15" y="545"/>
                    <a:pt x="15" y="554"/>
                  </a:cubicBezTo>
                  <a:cubicBezTo>
                    <a:pt x="15" y="564"/>
                    <a:pt x="14" y="573"/>
                    <a:pt x="15" y="582"/>
                  </a:cubicBezTo>
                  <a:cubicBezTo>
                    <a:pt x="15" y="599"/>
                    <a:pt x="17" y="615"/>
                    <a:pt x="18" y="630"/>
                  </a:cubicBezTo>
                  <a:cubicBezTo>
                    <a:pt x="19" y="637"/>
                    <a:pt x="20" y="643"/>
                    <a:pt x="21" y="649"/>
                  </a:cubicBezTo>
                  <a:cubicBezTo>
                    <a:pt x="22" y="656"/>
                    <a:pt x="23" y="661"/>
                    <a:pt x="24" y="666"/>
                  </a:cubicBezTo>
                  <a:cubicBezTo>
                    <a:pt x="24" y="669"/>
                    <a:pt x="25" y="671"/>
                    <a:pt x="25" y="674"/>
                  </a:cubicBezTo>
                  <a:cubicBezTo>
                    <a:pt x="26" y="676"/>
                    <a:pt x="26" y="678"/>
                    <a:pt x="26" y="680"/>
                  </a:cubicBezTo>
                  <a:cubicBezTo>
                    <a:pt x="27" y="684"/>
                    <a:pt x="28" y="687"/>
                    <a:pt x="29" y="690"/>
                  </a:cubicBezTo>
                  <a:cubicBezTo>
                    <a:pt x="30" y="695"/>
                    <a:pt x="30" y="698"/>
                    <a:pt x="30" y="698"/>
                  </a:cubicBezTo>
                  <a:cubicBezTo>
                    <a:pt x="30" y="698"/>
                    <a:pt x="30" y="695"/>
                    <a:pt x="28" y="690"/>
                  </a:cubicBezTo>
                  <a:cubicBezTo>
                    <a:pt x="27" y="687"/>
                    <a:pt x="26" y="684"/>
                    <a:pt x="25" y="680"/>
                  </a:cubicBezTo>
                  <a:cubicBezTo>
                    <a:pt x="24" y="678"/>
                    <a:pt x="24" y="676"/>
                    <a:pt x="23" y="674"/>
                  </a:cubicBezTo>
                  <a:cubicBezTo>
                    <a:pt x="22" y="672"/>
                    <a:pt x="22" y="669"/>
                    <a:pt x="21" y="667"/>
                  </a:cubicBezTo>
                  <a:cubicBezTo>
                    <a:pt x="20" y="662"/>
                    <a:pt x="18" y="656"/>
                    <a:pt x="17" y="650"/>
                  </a:cubicBezTo>
                  <a:cubicBezTo>
                    <a:pt x="15" y="644"/>
                    <a:pt x="14" y="638"/>
                    <a:pt x="12" y="630"/>
                  </a:cubicBezTo>
                  <a:cubicBezTo>
                    <a:pt x="10" y="616"/>
                    <a:pt x="7" y="600"/>
                    <a:pt x="5" y="582"/>
                  </a:cubicBezTo>
                  <a:cubicBezTo>
                    <a:pt x="4" y="573"/>
                    <a:pt x="3" y="564"/>
                    <a:pt x="2" y="554"/>
                  </a:cubicBezTo>
                  <a:cubicBezTo>
                    <a:pt x="2" y="545"/>
                    <a:pt x="1" y="535"/>
                    <a:pt x="1" y="524"/>
                  </a:cubicBezTo>
                  <a:cubicBezTo>
                    <a:pt x="1" y="514"/>
                    <a:pt x="0" y="504"/>
                    <a:pt x="1" y="493"/>
                  </a:cubicBezTo>
                  <a:cubicBezTo>
                    <a:pt x="1" y="482"/>
                    <a:pt x="2" y="471"/>
                    <a:pt x="3" y="460"/>
                  </a:cubicBezTo>
                  <a:cubicBezTo>
                    <a:pt x="5" y="437"/>
                    <a:pt x="8" y="414"/>
                    <a:pt x="13" y="391"/>
                  </a:cubicBezTo>
                  <a:cubicBezTo>
                    <a:pt x="18" y="367"/>
                    <a:pt x="24" y="344"/>
                    <a:pt x="32" y="321"/>
                  </a:cubicBezTo>
                  <a:cubicBezTo>
                    <a:pt x="40" y="298"/>
                    <a:pt x="49" y="275"/>
                    <a:pt x="59" y="253"/>
                  </a:cubicBezTo>
                  <a:cubicBezTo>
                    <a:pt x="69" y="231"/>
                    <a:pt x="81" y="211"/>
                    <a:pt x="93" y="191"/>
                  </a:cubicBezTo>
                  <a:cubicBezTo>
                    <a:pt x="105" y="172"/>
                    <a:pt x="118" y="153"/>
                    <a:pt x="131" y="137"/>
                  </a:cubicBezTo>
                  <a:cubicBezTo>
                    <a:pt x="144" y="120"/>
                    <a:pt x="158" y="105"/>
                    <a:pt x="170" y="91"/>
                  </a:cubicBezTo>
                  <a:cubicBezTo>
                    <a:pt x="177" y="85"/>
                    <a:pt x="183" y="78"/>
                    <a:pt x="189" y="72"/>
                  </a:cubicBezTo>
                  <a:cubicBezTo>
                    <a:pt x="195" y="67"/>
                    <a:pt x="201" y="61"/>
                    <a:pt x="207" y="56"/>
                  </a:cubicBezTo>
                  <a:cubicBezTo>
                    <a:pt x="213" y="51"/>
                    <a:pt x="218" y="46"/>
                    <a:pt x="223" y="42"/>
                  </a:cubicBezTo>
                  <a:cubicBezTo>
                    <a:pt x="228" y="38"/>
                    <a:pt x="233" y="34"/>
                    <a:pt x="237" y="31"/>
                  </a:cubicBezTo>
                  <a:cubicBezTo>
                    <a:pt x="240" y="29"/>
                    <a:pt x="242" y="27"/>
                    <a:pt x="244" y="26"/>
                  </a:cubicBezTo>
                  <a:cubicBezTo>
                    <a:pt x="246" y="24"/>
                    <a:pt x="247" y="23"/>
                    <a:pt x="249" y="22"/>
                  </a:cubicBezTo>
                  <a:cubicBezTo>
                    <a:pt x="252" y="19"/>
                    <a:pt x="255" y="17"/>
                    <a:pt x="257" y="16"/>
                  </a:cubicBezTo>
                  <a:cubicBezTo>
                    <a:pt x="262" y="13"/>
                    <a:pt x="264" y="11"/>
                    <a:pt x="264" y="11"/>
                  </a:cubicBezTo>
                  <a:cubicBezTo>
                    <a:pt x="279" y="0"/>
                    <a:pt x="299" y="3"/>
                    <a:pt x="310" y="18"/>
                  </a:cubicBezTo>
                  <a:cubicBezTo>
                    <a:pt x="320" y="32"/>
                    <a:pt x="317" y="53"/>
                    <a:pt x="302" y="63"/>
                  </a:cubicBezTo>
                  <a:cubicBezTo>
                    <a:pt x="302" y="64"/>
                    <a:pt x="301" y="65"/>
                    <a:pt x="300" y="65"/>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lnSpcReduction="10000"/>
            </a:bodyPr>
            <a:lstStyle/>
            <a:p>
              <a:endParaRPr lang="en-US" sz="3599">
                <a:cs typeface="+mn-ea"/>
                <a:sym typeface="+mn-lt"/>
              </a:endParaRPr>
            </a:p>
          </p:txBody>
        </p:sp>
        <p:sp>
          <p:nvSpPr>
            <p:cNvPr id="179" name="íşḷídé">
              <a:extLst>
                <a:ext uri="{FF2B5EF4-FFF2-40B4-BE49-F238E27FC236}">
                  <a16:creationId xmlns:a16="http://schemas.microsoft.com/office/drawing/2014/main" id="{988076FE-5890-440D-B519-27FD8D85C462}"/>
                </a:ext>
              </a:extLst>
            </p:cNvPr>
            <p:cNvSpPr/>
            <p:nvPr/>
          </p:nvSpPr>
          <p:spPr bwMode="auto">
            <a:xfrm>
              <a:off x="4693536" y="2069535"/>
              <a:ext cx="210962" cy="191683"/>
            </a:xfrm>
            <a:custGeom>
              <a:avLst/>
              <a:gdLst>
                <a:gd name="T0" fmla="*/ 0 w 186"/>
                <a:gd name="T1" fmla="*/ 0 h 169"/>
                <a:gd name="T2" fmla="*/ 186 w 186"/>
                <a:gd name="T3" fmla="*/ 16 h 169"/>
                <a:gd name="T4" fmla="*/ 80 w 186"/>
                <a:gd name="T5" fmla="*/ 169 h 169"/>
                <a:gd name="T6" fmla="*/ 0 w 186"/>
                <a:gd name="T7" fmla="*/ 0 h 169"/>
              </a:gdLst>
              <a:ahLst/>
              <a:cxnLst>
                <a:cxn ang="0">
                  <a:pos x="T0" y="T1"/>
                </a:cxn>
                <a:cxn ang="0">
                  <a:pos x="T2" y="T3"/>
                </a:cxn>
                <a:cxn ang="0">
                  <a:pos x="T4" y="T5"/>
                </a:cxn>
                <a:cxn ang="0">
                  <a:pos x="T6" y="T7"/>
                </a:cxn>
              </a:cxnLst>
              <a:rect l="0" t="0" r="r" b="b"/>
              <a:pathLst>
                <a:path w="186" h="169">
                  <a:moveTo>
                    <a:pt x="0" y="0"/>
                  </a:moveTo>
                  <a:lnTo>
                    <a:pt x="186" y="16"/>
                  </a:lnTo>
                  <a:lnTo>
                    <a:pt x="80" y="169"/>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0" name="isļîḍê">
              <a:extLst>
                <a:ext uri="{FF2B5EF4-FFF2-40B4-BE49-F238E27FC236}">
                  <a16:creationId xmlns:a16="http://schemas.microsoft.com/office/drawing/2014/main" id="{BE0E5F3B-C8F0-402D-A8FD-F8E0F72E590F}"/>
                </a:ext>
              </a:extLst>
            </p:cNvPr>
            <p:cNvSpPr/>
            <p:nvPr/>
          </p:nvSpPr>
          <p:spPr bwMode="auto">
            <a:xfrm>
              <a:off x="6081810" y="5127371"/>
              <a:ext cx="69186" cy="175803"/>
            </a:xfrm>
            <a:custGeom>
              <a:avLst/>
              <a:gdLst>
                <a:gd name="T0" fmla="*/ 50 w 78"/>
                <a:gd name="T1" fmla="*/ 193 h 200"/>
                <a:gd name="T2" fmla="*/ 44 w 78"/>
                <a:gd name="T3" fmla="*/ 187 h 200"/>
                <a:gd name="T4" fmla="*/ 41 w 78"/>
                <a:gd name="T5" fmla="*/ 183 h 200"/>
                <a:gd name="T6" fmla="*/ 38 w 78"/>
                <a:gd name="T7" fmla="*/ 178 h 200"/>
                <a:gd name="T8" fmla="*/ 34 w 78"/>
                <a:gd name="T9" fmla="*/ 173 h 200"/>
                <a:gd name="T10" fmla="*/ 30 w 78"/>
                <a:gd name="T11" fmla="*/ 167 h 200"/>
                <a:gd name="T12" fmla="*/ 22 w 78"/>
                <a:gd name="T13" fmla="*/ 153 h 200"/>
                <a:gd name="T14" fmla="*/ 18 w 78"/>
                <a:gd name="T15" fmla="*/ 145 h 200"/>
                <a:gd name="T16" fmla="*/ 15 w 78"/>
                <a:gd name="T17" fmla="*/ 137 h 200"/>
                <a:gd name="T18" fmla="*/ 11 w 78"/>
                <a:gd name="T19" fmla="*/ 128 h 200"/>
                <a:gd name="T20" fmla="*/ 9 w 78"/>
                <a:gd name="T21" fmla="*/ 119 h 200"/>
                <a:gd name="T22" fmla="*/ 7 w 78"/>
                <a:gd name="T23" fmla="*/ 114 h 200"/>
                <a:gd name="T24" fmla="*/ 6 w 78"/>
                <a:gd name="T25" fmla="*/ 110 h 200"/>
                <a:gd name="T26" fmla="*/ 4 w 78"/>
                <a:gd name="T27" fmla="*/ 100 h 200"/>
                <a:gd name="T28" fmla="*/ 2 w 78"/>
                <a:gd name="T29" fmla="*/ 91 h 200"/>
                <a:gd name="T30" fmla="*/ 1 w 78"/>
                <a:gd name="T31" fmla="*/ 81 h 200"/>
                <a:gd name="T32" fmla="*/ 1 w 78"/>
                <a:gd name="T33" fmla="*/ 76 h 200"/>
                <a:gd name="T34" fmla="*/ 1 w 78"/>
                <a:gd name="T35" fmla="*/ 72 h 200"/>
                <a:gd name="T36" fmla="*/ 0 w 78"/>
                <a:gd name="T37" fmla="*/ 63 h 200"/>
                <a:gd name="T38" fmla="*/ 1 w 78"/>
                <a:gd name="T39" fmla="*/ 46 h 200"/>
                <a:gd name="T40" fmla="*/ 2 w 78"/>
                <a:gd name="T41" fmla="*/ 38 h 200"/>
                <a:gd name="T42" fmla="*/ 3 w 78"/>
                <a:gd name="T43" fmla="*/ 30 h 200"/>
                <a:gd name="T44" fmla="*/ 6 w 78"/>
                <a:gd name="T45" fmla="*/ 18 h 200"/>
                <a:gd name="T46" fmla="*/ 7 w 78"/>
                <a:gd name="T47" fmla="*/ 13 h 200"/>
                <a:gd name="T48" fmla="*/ 9 w 78"/>
                <a:gd name="T49" fmla="*/ 8 h 200"/>
                <a:gd name="T50" fmla="*/ 11 w 78"/>
                <a:gd name="T51" fmla="*/ 0 h 200"/>
                <a:gd name="T52" fmla="*/ 10 w 78"/>
                <a:gd name="T53" fmla="*/ 9 h 200"/>
                <a:gd name="T54" fmla="*/ 9 w 78"/>
                <a:gd name="T55" fmla="*/ 13 h 200"/>
                <a:gd name="T56" fmla="*/ 9 w 78"/>
                <a:gd name="T57" fmla="*/ 18 h 200"/>
                <a:gd name="T58" fmla="*/ 8 w 78"/>
                <a:gd name="T59" fmla="*/ 31 h 200"/>
                <a:gd name="T60" fmla="*/ 8 w 78"/>
                <a:gd name="T61" fmla="*/ 38 h 200"/>
                <a:gd name="T62" fmla="*/ 8 w 78"/>
                <a:gd name="T63" fmla="*/ 46 h 200"/>
                <a:gd name="T64" fmla="*/ 10 w 78"/>
                <a:gd name="T65" fmla="*/ 62 h 200"/>
                <a:gd name="T66" fmla="*/ 11 w 78"/>
                <a:gd name="T67" fmla="*/ 71 h 200"/>
                <a:gd name="T68" fmla="*/ 12 w 78"/>
                <a:gd name="T69" fmla="*/ 75 h 200"/>
                <a:gd name="T70" fmla="*/ 13 w 78"/>
                <a:gd name="T71" fmla="*/ 79 h 200"/>
                <a:gd name="T72" fmla="*/ 15 w 78"/>
                <a:gd name="T73" fmla="*/ 88 h 200"/>
                <a:gd name="T74" fmla="*/ 18 w 78"/>
                <a:gd name="T75" fmla="*/ 96 h 200"/>
                <a:gd name="T76" fmla="*/ 21 w 78"/>
                <a:gd name="T77" fmla="*/ 105 h 200"/>
                <a:gd name="T78" fmla="*/ 23 w 78"/>
                <a:gd name="T79" fmla="*/ 109 h 200"/>
                <a:gd name="T80" fmla="*/ 25 w 78"/>
                <a:gd name="T81" fmla="*/ 113 h 200"/>
                <a:gd name="T82" fmla="*/ 29 w 78"/>
                <a:gd name="T83" fmla="*/ 120 h 200"/>
                <a:gd name="T84" fmla="*/ 33 w 78"/>
                <a:gd name="T85" fmla="*/ 128 h 200"/>
                <a:gd name="T86" fmla="*/ 37 w 78"/>
                <a:gd name="T87" fmla="*/ 135 h 200"/>
                <a:gd name="T88" fmla="*/ 42 w 78"/>
                <a:gd name="T89" fmla="*/ 141 h 200"/>
                <a:gd name="T90" fmla="*/ 50 w 78"/>
                <a:gd name="T91" fmla="*/ 152 h 200"/>
                <a:gd name="T92" fmla="*/ 54 w 78"/>
                <a:gd name="T93" fmla="*/ 157 h 200"/>
                <a:gd name="T94" fmla="*/ 58 w 78"/>
                <a:gd name="T95" fmla="*/ 161 h 200"/>
                <a:gd name="T96" fmla="*/ 62 w 78"/>
                <a:gd name="T97" fmla="*/ 164 h 200"/>
                <a:gd name="T98" fmla="*/ 65 w 78"/>
                <a:gd name="T99" fmla="*/ 167 h 200"/>
                <a:gd name="T100" fmla="*/ 71 w 78"/>
                <a:gd name="T101" fmla="*/ 173 h 200"/>
                <a:gd name="T102" fmla="*/ 72 w 78"/>
                <a:gd name="T103" fmla="*/ 194 h 200"/>
                <a:gd name="T104" fmla="*/ 51 w 78"/>
                <a:gd name="T105" fmla="*/ 195 h 200"/>
                <a:gd name="T106" fmla="*/ 50 w 78"/>
                <a:gd name="T107"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200">
                  <a:moveTo>
                    <a:pt x="50" y="193"/>
                  </a:moveTo>
                  <a:cubicBezTo>
                    <a:pt x="50" y="193"/>
                    <a:pt x="48" y="191"/>
                    <a:pt x="44" y="187"/>
                  </a:cubicBezTo>
                  <a:cubicBezTo>
                    <a:pt x="43" y="185"/>
                    <a:pt x="42" y="184"/>
                    <a:pt x="41" y="183"/>
                  </a:cubicBezTo>
                  <a:cubicBezTo>
                    <a:pt x="40" y="181"/>
                    <a:pt x="39" y="180"/>
                    <a:pt x="38" y="178"/>
                  </a:cubicBezTo>
                  <a:cubicBezTo>
                    <a:pt x="37" y="177"/>
                    <a:pt x="35" y="175"/>
                    <a:pt x="34" y="173"/>
                  </a:cubicBezTo>
                  <a:cubicBezTo>
                    <a:pt x="33" y="171"/>
                    <a:pt x="31" y="169"/>
                    <a:pt x="30" y="167"/>
                  </a:cubicBezTo>
                  <a:cubicBezTo>
                    <a:pt x="27" y="163"/>
                    <a:pt x="25" y="158"/>
                    <a:pt x="22" y="153"/>
                  </a:cubicBezTo>
                  <a:cubicBezTo>
                    <a:pt x="21" y="150"/>
                    <a:pt x="20" y="148"/>
                    <a:pt x="18" y="145"/>
                  </a:cubicBezTo>
                  <a:cubicBezTo>
                    <a:pt x="17" y="142"/>
                    <a:pt x="16" y="140"/>
                    <a:pt x="15" y="137"/>
                  </a:cubicBezTo>
                  <a:cubicBezTo>
                    <a:pt x="14" y="134"/>
                    <a:pt x="13" y="131"/>
                    <a:pt x="11" y="128"/>
                  </a:cubicBezTo>
                  <a:cubicBezTo>
                    <a:pt x="10" y="125"/>
                    <a:pt x="10" y="122"/>
                    <a:pt x="9" y="119"/>
                  </a:cubicBezTo>
                  <a:cubicBezTo>
                    <a:pt x="7" y="114"/>
                    <a:pt x="7" y="114"/>
                    <a:pt x="7" y="114"/>
                  </a:cubicBezTo>
                  <a:cubicBezTo>
                    <a:pt x="6" y="110"/>
                    <a:pt x="6" y="110"/>
                    <a:pt x="6" y="110"/>
                  </a:cubicBezTo>
                  <a:cubicBezTo>
                    <a:pt x="5" y="106"/>
                    <a:pt x="4" y="103"/>
                    <a:pt x="4" y="100"/>
                  </a:cubicBezTo>
                  <a:cubicBezTo>
                    <a:pt x="3" y="97"/>
                    <a:pt x="3" y="94"/>
                    <a:pt x="2" y="91"/>
                  </a:cubicBezTo>
                  <a:cubicBezTo>
                    <a:pt x="2" y="87"/>
                    <a:pt x="2" y="84"/>
                    <a:pt x="1" y="81"/>
                  </a:cubicBezTo>
                  <a:cubicBezTo>
                    <a:pt x="1" y="80"/>
                    <a:pt x="1" y="78"/>
                    <a:pt x="1" y="76"/>
                  </a:cubicBezTo>
                  <a:cubicBezTo>
                    <a:pt x="1" y="75"/>
                    <a:pt x="1" y="73"/>
                    <a:pt x="1" y="72"/>
                  </a:cubicBezTo>
                  <a:cubicBezTo>
                    <a:pt x="1" y="69"/>
                    <a:pt x="0" y="66"/>
                    <a:pt x="0" y="63"/>
                  </a:cubicBezTo>
                  <a:cubicBezTo>
                    <a:pt x="1" y="57"/>
                    <a:pt x="1" y="51"/>
                    <a:pt x="1" y="46"/>
                  </a:cubicBezTo>
                  <a:cubicBezTo>
                    <a:pt x="2" y="43"/>
                    <a:pt x="2" y="40"/>
                    <a:pt x="2" y="38"/>
                  </a:cubicBezTo>
                  <a:cubicBezTo>
                    <a:pt x="3" y="35"/>
                    <a:pt x="3" y="33"/>
                    <a:pt x="3" y="30"/>
                  </a:cubicBezTo>
                  <a:cubicBezTo>
                    <a:pt x="4" y="26"/>
                    <a:pt x="5" y="22"/>
                    <a:pt x="6" y="18"/>
                  </a:cubicBezTo>
                  <a:cubicBezTo>
                    <a:pt x="6" y="16"/>
                    <a:pt x="7" y="14"/>
                    <a:pt x="7" y="13"/>
                  </a:cubicBezTo>
                  <a:cubicBezTo>
                    <a:pt x="8" y="11"/>
                    <a:pt x="8" y="10"/>
                    <a:pt x="9" y="8"/>
                  </a:cubicBezTo>
                  <a:cubicBezTo>
                    <a:pt x="10" y="3"/>
                    <a:pt x="11" y="0"/>
                    <a:pt x="11" y="0"/>
                  </a:cubicBezTo>
                  <a:cubicBezTo>
                    <a:pt x="11" y="0"/>
                    <a:pt x="11" y="3"/>
                    <a:pt x="10" y="9"/>
                  </a:cubicBezTo>
                  <a:cubicBezTo>
                    <a:pt x="10" y="10"/>
                    <a:pt x="9" y="11"/>
                    <a:pt x="9" y="13"/>
                  </a:cubicBezTo>
                  <a:cubicBezTo>
                    <a:pt x="9" y="15"/>
                    <a:pt x="9" y="16"/>
                    <a:pt x="9" y="18"/>
                  </a:cubicBezTo>
                  <a:cubicBezTo>
                    <a:pt x="8" y="22"/>
                    <a:pt x="8" y="26"/>
                    <a:pt x="8" y="31"/>
                  </a:cubicBezTo>
                  <a:cubicBezTo>
                    <a:pt x="8" y="33"/>
                    <a:pt x="8" y="36"/>
                    <a:pt x="8" y="38"/>
                  </a:cubicBezTo>
                  <a:cubicBezTo>
                    <a:pt x="8" y="41"/>
                    <a:pt x="8" y="43"/>
                    <a:pt x="8" y="46"/>
                  </a:cubicBezTo>
                  <a:cubicBezTo>
                    <a:pt x="8" y="51"/>
                    <a:pt x="9" y="56"/>
                    <a:pt x="10" y="62"/>
                  </a:cubicBezTo>
                  <a:cubicBezTo>
                    <a:pt x="10" y="65"/>
                    <a:pt x="11" y="68"/>
                    <a:pt x="11" y="71"/>
                  </a:cubicBezTo>
                  <a:cubicBezTo>
                    <a:pt x="11" y="72"/>
                    <a:pt x="12" y="73"/>
                    <a:pt x="12" y="75"/>
                  </a:cubicBezTo>
                  <a:cubicBezTo>
                    <a:pt x="13" y="79"/>
                    <a:pt x="13" y="79"/>
                    <a:pt x="13" y="79"/>
                  </a:cubicBezTo>
                  <a:cubicBezTo>
                    <a:pt x="14" y="82"/>
                    <a:pt x="14" y="85"/>
                    <a:pt x="15" y="88"/>
                  </a:cubicBezTo>
                  <a:cubicBezTo>
                    <a:pt x="16" y="91"/>
                    <a:pt x="17" y="93"/>
                    <a:pt x="18" y="96"/>
                  </a:cubicBezTo>
                  <a:cubicBezTo>
                    <a:pt x="19" y="99"/>
                    <a:pt x="20" y="102"/>
                    <a:pt x="21" y="105"/>
                  </a:cubicBezTo>
                  <a:cubicBezTo>
                    <a:pt x="23" y="109"/>
                    <a:pt x="23" y="109"/>
                    <a:pt x="23" y="109"/>
                  </a:cubicBezTo>
                  <a:cubicBezTo>
                    <a:pt x="25" y="113"/>
                    <a:pt x="25" y="113"/>
                    <a:pt x="25" y="113"/>
                  </a:cubicBezTo>
                  <a:cubicBezTo>
                    <a:pt x="26" y="115"/>
                    <a:pt x="27" y="118"/>
                    <a:pt x="29" y="120"/>
                  </a:cubicBezTo>
                  <a:cubicBezTo>
                    <a:pt x="30" y="123"/>
                    <a:pt x="32" y="125"/>
                    <a:pt x="33" y="128"/>
                  </a:cubicBezTo>
                  <a:cubicBezTo>
                    <a:pt x="34" y="130"/>
                    <a:pt x="36" y="132"/>
                    <a:pt x="37" y="135"/>
                  </a:cubicBezTo>
                  <a:cubicBezTo>
                    <a:pt x="39" y="137"/>
                    <a:pt x="40" y="139"/>
                    <a:pt x="42" y="141"/>
                  </a:cubicBezTo>
                  <a:cubicBezTo>
                    <a:pt x="45" y="145"/>
                    <a:pt x="47" y="149"/>
                    <a:pt x="50" y="152"/>
                  </a:cubicBezTo>
                  <a:cubicBezTo>
                    <a:pt x="52" y="154"/>
                    <a:pt x="53" y="155"/>
                    <a:pt x="54" y="157"/>
                  </a:cubicBezTo>
                  <a:cubicBezTo>
                    <a:pt x="56" y="158"/>
                    <a:pt x="57" y="159"/>
                    <a:pt x="58" y="161"/>
                  </a:cubicBezTo>
                  <a:cubicBezTo>
                    <a:pt x="59" y="162"/>
                    <a:pt x="61" y="163"/>
                    <a:pt x="62" y="164"/>
                  </a:cubicBezTo>
                  <a:cubicBezTo>
                    <a:pt x="63" y="165"/>
                    <a:pt x="64" y="166"/>
                    <a:pt x="65" y="167"/>
                  </a:cubicBezTo>
                  <a:cubicBezTo>
                    <a:pt x="69" y="171"/>
                    <a:pt x="71" y="173"/>
                    <a:pt x="71" y="173"/>
                  </a:cubicBezTo>
                  <a:cubicBezTo>
                    <a:pt x="77" y="178"/>
                    <a:pt x="78" y="188"/>
                    <a:pt x="72" y="194"/>
                  </a:cubicBezTo>
                  <a:cubicBezTo>
                    <a:pt x="67" y="200"/>
                    <a:pt x="57" y="200"/>
                    <a:pt x="51" y="195"/>
                  </a:cubicBezTo>
                  <a:cubicBezTo>
                    <a:pt x="51" y="194"/>
                    <a:pt x="50" y="194"/>
                    <a:pt x="50" y="19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1" name="îṣ1iḋè">
              <a:extLst>
                <a:ext uri="{FF2B5EF4-FFF2-40B4-BE49-F238E27FC236}">
                  <a16:creationId xmlns:a16="http://schemas.microsoft.com/office/drawing/2014/main" id="{E2EE2B9D-3D9C-461A-80EB-69AAA467FC4D}"/>
                </a:ext>
              </a:extLst>
            </p:cNvPr>
            <p:cNvSpPr/>
            <p:nvPr/>
          </p:nvSpPr>
          <p:spPr bwMode="auto">
            <a:xfrm>
              <a:off x="6092018" y="5227182"/>
              <a:ext cx="115690" cy="103214"/>
            </a:xfrm>
            <a:custGeom>
              <a:avLst/>
              <a:gdLst>
                <a:gd name="T0" fmla="*/ 54 w 102"/>
                <a:gd name="T1" fmla="*/ 0 h 91"/>
                <a:gd name="T2" fmla="*/ 102 w 102"/>
                <a:gd name="T3" fmla="*/ 91 h 91"/>
                <a:gd name="T4" fmla="*/ 0 w 102"/>
                <a:gd name="T5" fmla="*/ 87 h 91"/>
                <a:gd name="T6" fmla="*/ 54 w 102"/>
                <a:gd name="T7" fmla="*/ 0 h 91"/>
              </a:gdLst>
              <a:ahLst/>
              <a:cxnLst>
                <a:cxn ang="0">
                  <a:pos x="T0" y="T1"/>
                </a:cxn>
                <a:cxn ang="0">
                  <a:pos x="T2" y="T3"/>
                </a:cxn>
                <a:cxn ang="0">
                  <a:pos x="T4" y="T5"/>
                </a:cxn>
                <a:cxn ang="0">
                  <a:pos x="T6" y="T7"/>
                </a:cxn>
              </a:cxnLst>
              <a:rect l="0" t="0" r="r" b="b"/>
              <a:pathLst>
                <a:path w="102" h="91">
                  <a:moveTo>
                    <a:pt x="54" y="0"/>
                  </a:moveTo>
                  <a:lnTo>
                    <a:pt x="102" y="91"/>
                  </a:lnTo>
                  <a:lnTo>
                    <a:pt x="0" y="87"/>
                  </a:lnTo>
                  <a:lnTo>
                    <a:pt x="5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2" name="ís1íḍé">
              <a:extLst>
                <a:ext uri="{FF2B5EF4-FFF2-40B4-BE49-F238E27FC236}">
                  <a16:creationId xmlns:a16="http://schemas.microsoft.com/office/drawing/2014/main" id="{C0E96397-8982-4186-A87F-8E6121FFCA92}"/>
                </a:ext>
              </a:extLst>
            </p:cNvPr>
            <p:cNvSpPr/>
            <p:nvPr/>
          </p:nvSpPr>
          <p:spPr bwMode="auto">
            <a:xfrm>
              <a:off x="7059499" y="2110367"/>
              <a:ext cx="85066" cy="193950"/>
            </a:xfrm>
            <a:custGeom>
              <a:avLst/>
              <a:gdLst>
                <a:gd name="T0" fmla="*/ 4 w 96"/>
                <a:gd name="T1" fmla="*/ 0 h 220"/>
                <a:gd name="T2" fmla="*/ 12 w 96"/>
                <a:gd name="T3" fmla="*/ 5 h 220"/>
                <a:gd name="T4" fmla="*/ 16 w 96"/>
                <a:gd name="T5" fmla="*/ 8 h 220"/>
                <a:gd name="T6" fmla="*/ 21 w 96"/>
                <a:gd name="T7" fmla="*/ 11 h 220"/>
                <a:gd name="T8" fmla="*/ 32 w 96"/>
                <a:gd name="T9" fmla="*/ 21 h 220"/>
                <a:gd name="T10" fmla="*/ 38 w 96"/>
                <a:gd name="T11" fmla="*/ 26 h 220"/>
                <a:gd name="T12" fmla="*/ 44 w 96"/>
                <a:gd name="T13" fmla="*/ 33 h 220"/>
                <a:gd name="T14" fmla="*/ 57 w 96"/>
                <a:gd name="T15" fmla="*/ 48 h 220"/>
                <a:gd name="T16" fmla="*/ 63 w 96"/>
                <a:gd name="T17" fmla="*/ 56 h 220"/>
                <a:gd name="T18" fmla="*/ 66 w 96"/>
                <a:gd name="T19" fmla="*/ 61 h 220"/>
                <a:gd name="T20" fmla="*/ 68 w 96"/>
                <a:gd name="T21" fmla="*/ 65 h 220"/>
                <a:gd name="T22" fmla="*/ 74 w 96"/>
                <a:gd name="T23" fmla="*/ 75 h 220"/>
                <a:gd name="T24" fmla="*/ 78 w 96"/>
                <a:gd name="T25" fmla="*/ 85 h 220"/>
                <a:gd name="T26" fmla="*/ 82 w 96"/>
                <a:gd name="T27" fmla="*/ 95 h 220"/>
                <a:gd name="T28" fmla="*/ 84 w 96"/>
                <a:gd name="T29" fmla="*/ 100 h 220"/>
                <a:gd name="T30" fmla="*/ 86 w 96"/>
                <a:gd name="T31" fmla="*/ 105 h 220"/>
                <a:gd name="T32" fmla="*/ 89 w 96"/>
                <a:gd name="T33" fmla="*/ 116 h 220"/>
                <a:gd name="T34" fmla="*/ 91 w 96"/>
                <a:gd name="T35" fmla="*/ 126 h 220"/>
                <a:gd name="T36" fmla="*/ 93 w 96"/>
                <a:gd name="T37" fmla="*/ 136 h 220"/>
                <a:gd name="T38" fmla="*/ 94 w 96"/>
                <a:gd name="T39" fmla="*/ 146 h 220"/>
                <a:gd name="T40" fmla="*/ 95 w 96"/>
                <a:gd name="T41" fmla="*/ 156 h 220"/>
                <a:gd name="T42" fmla="*/ 96 w 96"/>
                <a:gd name="T43" fmla="*/ 164 h 220"/>
                <a:gd name="T44" fmla="*/ 96 w 96"/>
                <a:gd name="T45" fmla="*/ 173 h 220"/>
                <a:gd name="T46" fmla="*/ 95 w 96"/>
                <a:gd name="T47" fmla="*/ 180 h 220"/>
                <a:gd name="T48" fmla="*/ 93 w 96"/>
                <a:gd name="T49" fmla="*/ 192 h 220"/>
                <a:gd name="T50" fmla="*/ 90 w 96"/>
                <a:gd name="T51" fmla="*/ 202 h 220"/>
                <a:gd name="T52" fmla="*/ 62 w 96"/>
                <a:gd name="T53" fmla="*/ 216 h 220"/>
                <a:gd name="T54" fmla="*/ 47 w 96"/>
                <a:gd name="T55" fmla="*/ 193 h 220"/>
                <a:gd name="T56" fmla="*/ 47 w 96"/>
                <a:gd name="T57" fmla="*/ 191 h 220"/>
                <a:gd name="T58" fmla="*/ 48 w 96"/>
                <a:gd name="T59" fmla="*/ 183 h 220"/>
                <a:gd name="T60" fmla="*/ 49 w 96"/>
                <a:gd name="T61" fmla="*/ 179 h 220"/>
                <a:gd name="T62" fmla="*/ 50 w 96"/>
                <a:gd name="T63" fmla="*/ 174 h 220"/>
                <a:gd name="T64" fmla="*/ 51 w 96"/>
                <a:gd name="T65" fmla="*/ 168 h 220"/>
                <a:gd name="T66" fmla="*/ 52 w 96"/>
                <a:gd name="T67" fmla="*/ 161 h 220"/>
                <a:gd name="T68" fmla="*/ 55 w 96"/>
                <a:gd name="T69" fmla="*/ 147 h 220"/>
                <a:gd name="T70" fmla="*/ 56 w 96"/>
                <a:gd name="T71" fmla="*/ 130 h 220"/>
                <a:gd name="T72" fmla="*/ 55 w 96"/>
                <a:gd name="T73" fmla="*/ 121 h 220"/>
                <a:gd name="T74" fmla="*/ 54 w 96"/>
                <a:gd name="T75" fmla="*/ 112 h 220"/>
                <a:gd name="T76" fmla="*/ 54 w 96"/>
                <a:gd name="T77" fmla="*/ 108 h 220"/>
                <a:gd name="T78" fmla="*/ 53 w 96"/>
                <a:gd name="T79" fmla="*/ 103 h 220"/>
                <a:gd name="T80" fmla="*/ 51 w 96"/>
                <a:gd name="T81" fmla="*/ 94 h 220"/>
                <a:gd name="T82" fmla="*/ 49 w 96"/>
                <a:gd name="T83" fmla="*/ 85 h 220"/>
                <a:gd name="T84" fmla="*/ 46 w 96"/>
                <a:gd name="T85" fmla="*/ 76 h 220"/>
                <a:gd name="T86" fmla="*/ 44 w 96"/>
                <a:gd name="T87" fmla="*/ 71 h 220"/>
                <a:gd name="T88" fmla="*/ 42 w 96"/>
                <a:gd name="T89" fmla="*/ 67 h 220"/>
                <a:gd name="T90" fmla="*/ 39 w 96"/>
                <a:gd name="T91" fmla="*/ 58 h 220"/>
                <a:gd name="T92" fmla="*/ 31 w 96"/>
                <a:gd name="T93" fmla="*/ 43 h 220"/>
                <a:gd name="T94" fmla="*/ 27 w 96"/>
                <a:gd name="T95" fmla="*/ 36 h 220"/>
                <a:gd name="T96" fmla="*/ 22 w 96"/>
                <a:gd name="T97" fmla="*/ 29 h 220"/>
                <a:gd name="T98" fmla="*/ 14 w 96"/>
                <a:gd name="T99" fmla="*/ 19 h 220"/>
                <a:gd name="T100" fmla="*/ 11 w 96"/>
                <a:gd name="T101" fmla="*/ 14 h 220"/>
                <a:gd name="T102" fmla="*/ 7 w 96"/>
                <a:gd name="T103" fmla="*/ 11 h 220"/>
                <a:gd name="T104" fmla="*/ 1 w 96"/>
                <a:gd name="T105" fmla="*/ 4 h 220"/>
                <a:gd name="T106" fmla="*/ 1 w 96"/>
                <a:gd name="T107" fmla="*/ 0 h 220"/>
                <a:gd name="T108" fmla="*/ 4 w 96"/>
                <a:gd name="T10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220">
                  <a:moveTo>
                    <a:pt x="4" y="0"/>
                  </a:moveTo>
                  <a:cubicBezTo>
                    <a:pt x="4" y="0"/>
                    <a:pt x="7" y="2"/>
                    <a:pt x="12" y="5"/>
                  </a:cubicBezTo>
                  <a:cubicBezTo>
                    <a:pt x="13" y="6"/>
                    <a:pt x="14" y="7"/>
                    <a:pt x="16" y="8"/>
                  </a:cubicBezTo>
                  <a:cubicBezTo>
                    <a:pt x="17" y="9"/>
                    <a:pt x="19" y="10"/>
                    <a:pt x="21" y="11"/>
                  </a:cubicBezTo>
                  <a:cubicBezTo>
                    <a:pt x="24" y="14"/>
                    <a:pt x="28" y="17"/>
                    <a:pt x="32" y="21"/>
                  </a:cubicBezTo>
                  <a:cubicBezTo>
                    <a:pt x="34" y="23"/>
                    <a:pt x="36" y="24"/>
                    <a:pt x="38" y="26"/>
                  </a:cubicBezTo>
                  <a:cubicBezTo>
                    <a:pt x="40" y="28"/>
                    <a:pt x="42" y="31"/>
                    <a:pt x="44" y="33"/>
                  </a:cubicBezTo>
                  <a:cubicBezTo>
                    <a:pt x="49" y="37"/>
                    <a:pt x="52" y="42"/>
                    <a:pt x="57" y="48"/>
                  </a:cubicBezTo>
                  <a:cubicBezTo>
                    <a:pt x="59" y="50"/>
                    <a:pt x="61" y="53"/>
                    <a:pt x="63" y="56"/>
                  </a:cubicBezTo>
                  <a:cubicBezTo>
                    <a:pt x="64" y="58"/>
                    <a:pt x="65" y="59"/>
                    <a:pt x="66" y="61"/>
                  </a:cubicBezTo>
                  <a:cubicBezTo>
                    <a:pt x="67" y="62"/>
                    <a:pt x="67" y="64"/>
                    <a:pt x="68" y="65"/>
                  </a:cubicBezTo>
                  <a:cubicBezTo>
                    <a:pt x="70" y="68"/>
                    <a:pt x="72" y="71"/>
                    <a:pt x="74" y="75"/>
                  </a:cubicBezTo>
                  <a:cubicBezTo>
                    <a:pt x="75" y="78"/>
                    <a:pt x="77" y="81"/>
                    <a:pt x="78" y="85"/>
                  </a:cubicBezTo>
                  <a:cubicBezTo>
                    <a:pt x="80" y="88"/>
                    <a:pt x="81" y="91"/>
                    <a:pt x="82" y="95"/>
                  </a:cubicBezTo>
                  <a:cubicBezTo>
                    <a:pt x="83" y="97"/>
                    <a:pt x="84" y="98"/>
                    <a:pt x="84" y="100"/>
                  </a:cubicBezTo>
                  <a:cubicBezTo>
                    <a:pt x="86" y="105"/>
                    <a:pt x="86" y="105"/>
                    <a:pt x="86" y="105"/>
                  </a:cubicBezTo>
                  <a:cubicBezTo>
                    <a:pt x="87" y="109"/>
                    <a:pt x="88" y="112"/>
                    <a:pt x="89" y="116"/>
                  </a:cubicBezTo>
                  <a:cubicBezTo>
                    <a:pt x="89" y="119"/>
                    <a:pt x="90" y="123"/>
                    <a:pt x="91" y="126"/>
                  </a:cubicBezTo>
                  <a:cubicBezTo>
                    <a:pt x="92" y="130"/>
                    <a:pt x="92" y="133"/>
                    <a:pt x="93" y="136"/>
                  </a:cubicBezTo>
                  <a:cubicBezTo>
                    <a:pt x="93" y="140"/>
                    <a:pt x="94" y="143"/>
                    <a:pt x="94" y="146"/>
                  </a:cubicBezTo>
                  <a:cubicBezTo>
                    <a:pt x="95" y="149"/>
                    <a:pt x="95" y="153"/>
                    <a:pt x="95" y="156"/>
                  </a:cubicBezTo>
                  <a:cubicBezTo>
                    <a:pt x="96" y="159"/>
                    <a:pt x="96" y="162"/>
                    <a:pt x="96" y="164"/>
                  </a:cubicBezTo>
                  <a:cubicBezTo>
                    <a:pt x="96" y="167"/>
                    <a:pt x="96" y="170"/>
                    <a:pt x="96" y="173"/>
                  </a:cubicBezTo>
                  <a:cubicBezTo>
                    <a:pt x="96" y="175"/>
                    <a:pt x="95" y="178"/>
                    <a:pt x="95" y="180"/>
                  </a:cubicBezTo>
                  <a:cubicBezTo>
                    <a:pt x="95" y="185"/>
                    <a:pt x="94" y="189"/>
                    <a:pt x="93" y="192"/>
                  </a:cubicBezTo>
                  <a:cubicBezTo>
                    <a:pt x="92" y="198"/>
                    <a:pt x="90" y="202"/>
                    <a:pt x="90" y="202"/>
                  </a:cubicBezTo>
                  <a:cubicBezTo>
                    <a:pt x="87" y="214"/>
                    <a:pt x="74" y="220"/>
                    <a:pt x="62" y="216"/>
                  </a:cubicBezTo>
                  <a:cubicBezTo>
                    <a:pt x="52" y="213"/>
                    <a:pt x="46" y="203"/>
                    <a:pt x="47" y="193"/>
                  </a:cubicBezTo>
                  <a:cubicBezTo>
                    <a:pt x="47" y="191"/>
                    <a:pt x="47" y="191"/>
                    <a:pt x="47" y="191"/>
                  </a:cubicBezTo>
                  <a:cubicBezTo>
                    <a:pt x="47" y="191"/>
                    <a:pt x="48" y="188"/>
                    <a:pt x="48" y="183"/>
                  </a:cubicBezTo>
                  <a:cubicBezTo>
                    <a:pt x="49" y="182"/>
                    <a:pt x="49" y="180"/>
                    <a:pt x="49" y="179"/>
                  </a:cubicBezTo>
                  <a:cubicBezTo>
                    <a:pt x="49" y="177"/>
                    <a:pt x="50" y="175"/>
                    <a:pt x="50" y="174"/>
                  </a:cubicBezTo>
                  <a:cubicBezTo>
                    <a:pt x="50" y="172"/>
                    <a:pt x="51" y="170"/>
                    <a:pt x="51" y="168"/>
                  </a:cubicBezTo>
                  <a:cubicBezTo>
                    <a:pt x="52" y="166"/>
                    <a:pt x="52" y="164"/>
                    <a:pt x="52" y="161"/>
                  </a:cubicBezTo>
                  <a:cubicBezTo>
                    <a:pt x="53" y="157"/>
                    <a:pt x="54" y="152"/>
                    <a:pt x="55" y="147"/>
                  </a:cubicBezTo>
                  <a:cubicBezTo>
                    <a:pt x="56" y="142"/>
                    <a:pt x="56" y="136"/>
                    <a:pt x="56" y="130"/>
                  </a:cubicBezTo>
                  <a:cubicBezTo>
                    <a:pt x="56" y="127"/>
                    <a:pt x="55" y="124"/>
                    <a:pt x="55" y="121"/>
                  </a:cubicBezTo>
                  <a:cubicBezTo>
                    <a:pt x="55" y="118"/>
                    <a:pt x="55" y="115"/>
                    <a:pt x="54" y="112"/>
                  </a:cubicBezTo>
                  <a:cubicBezTo>
                    <a:pt x="54" y="108"/>
                    <a:pt x="54" y="108"/>
                    <a:pt x="54" y="108"/>
                  </a:cubicBezTo>
                  <a:cubicBezTo>
                    <a:pt x="53" y="106"/>
                    <a:pt x="53" y="105"/>
                    <a:pt x="53" y="103"/>
                  </a:cubicBezTo>
                  <a:cubicBezTo>
                    <a:pt x="52" y="100"/>
                    <a:pt x="52" y="97"/>
                    <a:pt x="51" y="94"/>
                  </a:cubicBezTo>
                  <a:cubicBezTo>
                    <a:pt x="50" y="91"/>
                    <a:pt x="49" y="88"/>
                    <a:pt x="49" y="85"/>
                  </a:cubicBezTo>
                  <a:cubicBezTo>
                    <a:pt x="48" y="82"/>
                    <a:pt x="47" y="79"/>
                    <a:pt x="46" y="76"/>
                  </a:cubicBezTo>
                  <a:cubicBezTo>
                    <a:pt x="45" y="74"/>
                    <a:pt x="45" y="73"/>
                    <a:pt x="44" y="71"/>
                  </a:cubicBezTo>
                  <a:cubicBezTo>
                    <a:pt x="44" y="70"/>
                    <a:pt x="43" y="68"/>
                    <a:pt x="42" y="67"/>
                  </a:cubicBezTo>
                  <a:cubicBezTo>
                    <a:pt x="41" y="64"/>
                    <a:pt x="40" y="61"/>
                    <a:pt x="39" y="58"/>
                  </a:cubicBezTo>
                  <a:cubicBezTo>
                    <a:pt x="36" y="53"/>
                    <a:pt x="34" y="48"/>
                    <a:pt x="31" y="43"/>
                  </a:cubicBezTo>
                  <a:cubicBezTo>
                    <a:pt x="29" y="40"/>
                    <a:pt x="28" y="38"/>
                    <a:pt x="27" y="36"/>
                  </a:cubicBezTo>
                  <a:cubicBezTo>
                    <a:pt x="25" y="34"/>
                    <a:pt x="24" y="32"/>
                    <a:pt x="22" y="29"/>
                  </a:cubicBezTo>
                  <a:cubicBezTo>
                    <a:pt x="19" y="25"/>
                    <a:pt x="17" y="22"/>
                    <a:pt x="14" y="19"/>
                  </a:cubicBezTo>
                  <a:cubicBezTo>
                    <a:pt x="13" y="17"/>
                    <a:pt x="12" y="16"/>
                    <a:pt x="11" y="14"/>
                  </a:cubicBezTo>
                  <a:cubicBezTo>
                    <a:pt x="9" y="13"/>
                    <a:pt x="8" y="12"/>
                    <a:pt x="7" y="11"/>
                  </a:cubicBezTo>
                  <a:cubicBezTo>
                    <a:pt x="3" y="6"/>
                    <a:pt x="1" y="4"/>
                    <a:pt x="1" y="4"/>
                  </a:cubicBezTo>
                  <a:cubicBezTo>
                    <a:pt x="0" y="3"/>
                    <a:pt x="0" y="1"/>
                    <a:pt x="1" y="0"/>
                  </a:cubicBezTo>
                  <a:cubicBezTo>
                    <a:pt x="2" y="0"/>
                    <a:pt x="3" y="0"/>
                    <a:pt x="4" y="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3" name="iṩļíḍè">
              <a:extLst>
                <a:ext uri="{FF2B5EF4-FFF2-40B4-BE49-F238E27FC236}">
                  <a16:creationId xmlns:a16="http://schemas.microsoft.com/office/drawing/2014/main" id="{030D12AA-CF75-486F-AD85-86829D948595}"/>
                </a:ext>
              </a:extLst>
            </p:cNvPr>
            <p:cNvSpPr/>
            <p:nvPr/>
          </p:nvSpPr>
          <p:spPr bwMode="auto">
            <a:xfrm>
              <a:off x="7081049" y="2252143"/>
              <a:ext cx="85066" cy="91871"/>
            </a:xfrm>
            <a:custGeom>
              <a:avLst/>
              <a:gdLst>
                <a:gd name="T0" fmla="*/ 0 w 75"/>
                <a:gd name="T1" fmla="*/ 0 h 81"/>
                <a:gd name="T2" fmla="*/ 8 w 75"/>
                <a:gd name="T3" fmla="*/ 81 h 81"/>
                <a:gd name="T4" fmla="*/ 75 w 75"/>
                <a:gd name="T5" fmla="*/ 33 h 81"/>
                <a:gd name="T6" fmla="*/ 0 w 75"/>
                <a:gd name="T7" fmla="*/ 0 h 81"/>
              </a:gdLst>
              <a:ahLst/>
              <a:cxnLst>
                <a:cxn ang="0">
                  <a:pos x="T0" y="T1"/>
                </a:cxn>
                <a:cxn ang="0">
                  <a:pos x="T2" y="T3"/>
                </a:cxn>
                <a:cxn ang="0">
                  <a:pos x="T4" y="T5"/>
                </a:cxn>
                <a:cxn ang="0">
                  <a:pos x="T6" y="T7"/>
                </a:cxn>
              </a:cxnLst>
              <a:rect l="0" t="0" r="r" b="b"/>
              <a:pathLst>
                <a:path w="75" h="81">
                  <a:moveTo>
                    <a:pt x="0" y="0"/>
                  </a:moveTo>
                  <a:lnTo>
                    <a:pt x="8" y="81"/>
                  </a:lnTo>
                  <a:lnTo>
                    <a:pt x="75" y="33"/>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4" name="iṧļiḋé">
              <a:extLst>
                <a:ext uri="{FF2B5EF4-FFF2-40B4-BE49-F238E27FC236}">
                  <a16:creationId xmlns:a16="http://schemas.microsoft.com/office/drawing/2014/main" id="{2D2915C0-B0A5-421F-83C6-6BBFD96A6089}"/>
                </a:ext>
              </a:extLst>
            </p:cNvPr>
            <p:cNvSpPr/>
            <p:nvPr/>
          </p:nvSpPr>
          <p:spPr bwMode="auto">
            <a:xfrm>
              <a:off x="4887487" y="2431350"/>
              <a:ext cx="318713" cy="317580"/>
            </a:xfrm>
            <a:prstGeom prst="ellipse">
              <a:avLst/>
            </a:prstGeom>
            <a:noFill/>
            <a:ln w="17303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5" name="ïṥ1íḑé">
              <a:extLst>
                <a:ext uri="{FF2B5EF4-FFF2-40B4-BE49-F238E27FC236}">
                  <a16:creationId xmlns:a16="http://schemas.microsoft.com/office/drawing/2014/main" id="{74D89966-19BC-4014-969C-ED3F500DAE76}"/>
                </a:ext>
              </a:extLst>
            </p:cNvPr>
            <p:cNvSpPr/>
            <p:nvPr/>
          </p:nvSpPr>
          <p:spPr bwMode="auto">
            <a:xfrm>
              <a:off x="6314324" y="3219627"/>
              <a:ext cx="366349" cy="366350"/>
            </a:xfrm>
            <a:prstGeom prst="ellipse">
              <a:avLst/>
            </a:prstGeom>
            <a:noFill/>
            <a:ln w="1206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86" name="iṩḷidè">
              <a:extLst>
                <a:ext uri="{FF2B5EF4-FFF2-40B4-BE49-F238E27FC236}">
                  <a16:creationId xmlns:a16="http://schemas.microsoft.com/office/drawing/2014/main" id="{B73CF2B4-2B98-4C23-B340-E82104938651}"/>
                </a:ext>
              </a:extLst>
            </p:cNvPr>
            <p:cNvSpPr/>
            <p:nvPr/>
          </p:nvSpPr>
          <p:spPr bwMode="auto">
            <a:xfrm>
              <a:off x="5628125" y="1283526"/>
              <a:ext cx="1099049" cy="1097918"/>
            </a:xfrm>
            <a:custGeom>
              <a:avLst/>
              <a:gdLst>
                <a:gd name="T0" fmla="*/ 84 w 1243"/>
                <a:gd name="T1" fmla="*/ 773 h 1243"/>
                <a:gd name="T2" fmla="*/ 773 w 1243"/>
                <a:gd name="T3" fmla="*/ 1159 h 1243"/>
                <a:gd name="T4" fmla="*/ 1159 w 1243"/>
                <a:gd name="T5" fmla="*/ 470 h 1243"/>
                <a:gd name="T6" fmla="*/ 470 w 1243"/>
                <a:gd name="T7" fmla="*/ 84 h 1243"/>
                <a:gd name="T8" fmla="*/ 84 w 1243"/>
                <a:gd name="T9" fmla="*/ 773 h 1243"/>
              </a:gdLst>
              <a:ahLst/>
              <a:cxnLst>
                <a:cxn ang="0">
                  <a:pos x="T0" y="T1"/>
                </a:cxn>
                <a:cxn ang="0">
                  <a:pos x="T2" y="T3"/>
                </a:cxn>
                <a:cxn ang="0">
                  <a:pos x="T4" y="T5"/>
                </a:cxn>
                <a:cxn ang="0">
                  <a:pos x="T6" y="T7"/>
                </a:cxn>
                <a:cxn ang="0">
                  <a:pos x="T8" y="T9"/>
                </a:cxn>
              </a:cxnLst>
              <a:rect l="0" t="0" r="r" b="b"/>
              <a:pathLst>
                <a:path w="1243" h="1243">
                  <a:moveTo>
                    <a:pt x="84" y="773"/>
                  </a:moveTo>
                  <a:cubicBezTo>
                    <a:pt x="168" y="1070"/>
                    <a:pt x="477" y="1243"/>
                    <a:pt x="773" y="1159"/>
                  </a:cubicBezTo>
                  <a:cubicBezTo>
                    <a:pt x="1070" y="1075"/>
                    <a:pt x="1243" y="767"/>
                    <a:pt x="1159" y="470"/>
                  </a:cubicBezTo>
                  <a:cubicBezTo>
                    <a:pt x="1075" y="173"/>
                    <a:pt x="767" y="0"/>
                    <a:pt x="470" y="84"/>
                  </a:cubicBezTo>
                  <a:cubicBezTo>
                    <a:pt x="173" y="168"/>
                    <a:pt x="0" y="476"/>
                    <a:pt x="84" y="77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87" name="ïśḷidê">
              <a:extLst>
                <a:ext uri="{FF2B5EF4-FFF2-40B4-BE49-F238E27FC236}">
                  <a16:creationId xmlns:a16="http://schemas.microsoft.com/office/drawing/2014/main" id="{171AD6C9-2719-444C-8C40-96E8D13DFDDA}"/>
                </a:ext>
              </a:extLst>
            </p:cNvPr>
            <p:cNvSpPr/>
            <p:nvPr/>
          </p:nvSpPr>
          <p:spPr bwMode="auto">
            <a:xfrm>
              <a:off x="5786915" y="1442317"/>
              <a:ext cx="781470" cy="780338"/>
            </a:xfrm>
            <a:custGeom>
              <a:avLst/>
              <a:gdLst>
                <a:gd name="T0" fmla="*/ 60 w 883"/>
                <a:gd name="T1" fmla="*/ 549 h 883"/>
                <a:gd name="T2" fmla="*/ 550 w 883"/>
                <a:gd name="T3" fmla="*/ 824 h 883"/>
                <a:gd name="T4" fmla="*/ 824 w 883"/>
                <a:gd name="T5" fmla="*/ 334 h 883"/>
                <a:gd name="T6" fmla="*/ 334 w 883"/>
                <a:gd name="T7" fmla="*/ 60 h 883"/>
                <a:gd name="T8" fmla="*/ 60 w 883"/>
                <a:gd name="T9" fmla="*/ 549 h 883"/>
              </a:gdLst>
              <a:ahLst/>
              <a:cxnLst>
                <a:cxn ang="0">
                  <a:pos x="T0" y="T1"/>
                </a:cxn>
                <a:cxn ang="0">
                  <a:pos x="T2" y="T3"/>
                </a:cxn>
                <a:cxn ang="0">
                  <a:pos x="T4" y="T5"/>
                </a:cxn>
                <a:cxn ang="0">
                  <a:pos x="T6" y="T7"/>
                </a:cxn>
                <a:cxn ang="0">
                  <a:pos x="T8" y="T9"/>
                </a:cxn>
              </a:cxnLst>
              <a:rect l="0" t="0" r="r" b="b"/>
              <a:pathLst>
                <a:path w="883" h="883">
                  <a:moveTo>
                    <a:pt x="60" y="549"/>
                  </a:moveTo>
                  <a:cubicBezTo>
                    <a:pt x="119" y="760"/>
                    <a:pt x="339" y="883"/>
                    <a:pt x="550" y="824"/>
                  </a:cubicBezTo>
                  <a:cubicBezTo>
                    <a:pt x="761" y="764"/>
                    <a:pt x="883" y="545"/>
                    <a:pt x="824" y="334"/>
                  </a:cubicBezTo>
                  <a:cubicBezTo>
                    <a:pt x="764" y="123"/>
                    <a:pt x="545" y="0"/>
                    <a:pt x="334" y="60"/>
                  </a:cubicBezTo>
                  <a:cubicBezTo>
                    <a:pt x="123" y="119"/>
                    <a:pt x="0" y="338"/>
                    <a:pt x="60" y="549"/>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88" name="îSļidé">
              <a:extLst>
                <a:ext uri="{FF2B5EF4-FFF2-40B4-BE49-F238E27FC236}">
                  <a16:creationId xmlns:a16="http://schemas.microsoft.com/office/drawing/2014/main" id="{6BFA4AFC-F570-41F0-851D-95CDD90C8B09}"/>
                </a:ext>
              </a:extLst>
            </p:cNvPr>
            <p:cNvSpPr/>
            <p:nvPr/>
          </p:nvSpPr>
          <p:spPr bwMode="auto">
            <a:xfrm>
              <a:off x="5587294" y="1706588"/>
              <a:ext cx="170131" cy="156521"/>
            </a:xfrm>
            <a:custGeom>
              <a:avLst/>
              <a:gdLst>
                <a:gd name="T0" fmla="*/ 134 w 150"/>
                <a:gd name="T1" fmla="*/ 138 h 138"/>
                <a:gd name="T2" fmla="*/ 150 w 150"/>
                <a:gd name="T3" fmla="*/ 0 h 138"/>
                <a:gd name="T4" fmla="*/ 7 w 150"/>
                <a:gd name="T5" fmla="*/ 20 h 138"/>
                <a:gd name="T6" fmla="*/ 0 w 150"/>
                <a:gd name="T7" fmla="*/ 87 h 138"/>
                <a:gd name="T8" fmla="*/ 134 w 150"/>
                <a:gd name="T9" fmla="*/ 138 h 138"/>
              </a:gdLst>
              <a:ahLst/>
              <a:cxnLst>
                <a:cxn ang="0">
                  <a:pos x="T0" y="T1"/>
                </a:cxn>
                <a:cxn ang="0">
                  <a:pos x="T2" y="T3"/>
                </a:cxn>
                <a:cxn ang="0">
                  <a:pos x="T4" y="T5"/>
                </a:cxn>
                <a:cxn ang="0">
                  <a:pos x="T6" y="T7"/>
                </a:cxn>
                <a:cxn ang="0">
                  <a:pos x="T8" y="T9"/>
                </a:cxn>
              </a:cxnLst>
              <a:rect l="0" t="0" r="r" b="b"/>
              <a:pathLst>
                <a:path w="150" h="138">
                  <a:moveTo>
                    <a:pt x="134" y="138"/>
                  </a:moveTo>
                  <a:lnTo>
                    <a:pt x="150" y="0"/>
                  </a:lnTo>
                  <a:lnTo>
                    <a:pt x="7" y="20"/>
                  </a:lnTo>
                  <a:lnTo>
                    <a:pt x="0" y="87"/>
                  </a:lnTo>
                  <a:lnTo>
                    <a:pt x="134" y="1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nvGrpSpPr>
            <p:cNvPr id="189" name="isľiḍe">
              <a:extLst>
                <a:ext uri="{FF2B5EF4-FFF2-40B4-BE49-F238E27FC236}">
                  <a16:creationId xmlns:a16="http://schemas.microsoft.com/office/drawing/2014/main" id="{6B10975A-11CB-4A5A-BD81-041E32CCEA64}"/>
                </a:ext>
              </a:extLst>
            </p:cNvPr>
            <p:cNvGrpSpPr/>
            <p:nvPr/>
          </p:nvGrpSpPr>
          <p:grpSpPr>
            <a:xfrm>
              <a:off x="5597511" y="1242688"/>
              <a:ext cx="1170507" cy="1179578"/>
              <a:chOff x="2689434" y="2085582"/>
              <a:chExt cx="1047121" cy="1055239"/>
            </a:xfrm>
            <a:solidFill>
              <a:schemeClr val="accent4"/>
            </a:solidFill>
          </p:grpSpPr>
          <p:sp>
            <p:nvSpPr>
              <p:cNvPr id="194" name="iṧḷiḓé">
                <a:extLst>
                  <a:ext uri="{FF2B5EF4-FFF2-40B4-BE49-F238E27FC236}">
                    <a16:creationId xmlns:a16="http://schemas.microsoft.com/office/drawing/2014/main" id="{CF554430-297E-4760-B04C-95579918EC9A}"/>
                  </a:ext>
                </a:extLst>
              </p:cNvPr>
              <p:cNvSpPr/>
              <p:nvPr/>
            </p:nvSpPr>
            <p:spPr bwMode="auto">
              <a:xfrm>
                <a:off x="3032387" y="2095729"/>
                <a:ext cx="139007" cy="166403"/>
              </a:xfrm>
              <a:custGeom>
                <a:avLst/>
                <a:gdLst>
                  <a:gd name="T0" fmla="*/ 4 w 137"/>
                  <a:gd name="T1" fmla="*/ 164 h 164"/>
                  <a:gd name="T2" fmla="*/ 137 w 137"/>
                  <a:gd name="T3" fmla="*/ 126 h 164"/>
                  <a:gd name="T4" fmla="*/ 64 w 137"/>
                  <a:gd name="T5" fmla="*/ 0 h 164"/>
                  <a:gd name="T6" fmla="*/ 0 w 137"/>
                  <a:gd name="T7" fmla="*/ 17 h 164"/>
                  <a:gd name="T8" fmla="*/ 4 w 137"/>
                  <a:gd name="T9" fmla="*/ 164 h 164"/>
                </a:gdLst>
                <a:ahLst/>
                <a:cxnLst>
                  <a:cxn ang="0">
                    <a:pos x="T0" y="T1"/>
                  </a:cxn>
                  <a:cxn ang="0">
                    <a:pos x="T2" y="T3"/>
                  </a:cxn>
                  <a:cxn ang="0">
                    <a:pos x="T4" y="T5"/>
                  </a:cxn>
                  <a:cxn ang="0">
                    <a:pos x="T6" y="T7"/>
                  </a:cxn>
                  <a:cxn ang="0">
                    <a:pos x="T8" y="T9"/>
                  </a:cxn>
                </a:cxnLst>
                <a:rect l="0" t="0" r="r" b="b"/>
                <a:pathLst>
                  <a:path w="137" h="164">
                    <a:moveTo>
                      <a:pt x="4" y="164"/>
                    </a:moveTo>
                    <a:lnTo>
                      <a:pt x="137" y="126"/>
                    </a:lnTo>
                    <a:lnTo>
                      <a:pt x="64" y="0"/>
                    </a:lnTo>
                    <a:lnTo>
                      <a:pt x="0" y="17"/>
                    </a:lnTo>
                    <a:lnTo>
                      <a:pt x="4" y="1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5" name="iṣľíḋé">
                <a:extLst>
                  <a:ext uri="{FF2B5EF4-FFF2-40B4-BE49-F238E27FC236}">
                    <a16:creationId xmlns:a16="http://schemas.microsoft.com/office/drawing/2014/main" id="{E54E5536-8ECE-425B-92B3-2994117691FE}"/>
                  </a:ext>
                </a:extLst>
              </p:cNvPr>
              <p:cNvSpPr/>
              <p:nvPr/>
            </p:nvSpPr>
            <p:spPr bwMode="auto">
              <a:xfrm>
                <a:off x="2689434" y="2649729"/>
                <a:ext cx="167417" cy="139008"/>
              </a:xfrm>
              <a:custGeom>
                <a:avLst/>
                <a:gdLst>
                  <a:gd name="T0" fmla="*/ 127 w 165"/>
                  <a:gd name="T1" fmla="*/ 0 h 137"/>
                  <a:gd name="T2" fmla="*/ 165 w 165"/>
                  <a:gd name="T3" fmla="*/ 134 h 137"/>
                  <a:gd name="T4" fmla="*/ 18 w 165"/>
                  <a:gd name="T5" fmla="*/ 137 h 137"/>
                  <a:gd name="T6" fmla="*/ 0 w 165"/>
                  <a:gd name="T7" fmla="*/ 74 h 137"/>
                  <a:gd name="T8" fmla="*/ 127 w 165"/>
                  <a:gd name="T9" fmla="*/ 0 h 137"/>
                </a:gdLst>
                <a:ahLst/>
                <a:cxnLst>
                  <a:cxn ang="0">
                    <a:pos x="T0" y="T1"/>
                  </a:cxn>
                  <a:cxn ang="0">
                    <a:pos x="T2" y="T3"/>
                  </a:cxn>
                  <a:cxn ang="0">
                    <a:pos x="T4" y="T5"/>
                  </a:cxn>
                  <a:cxn ang="0">
                    <a:pos x="T6" y="T7"/>
                  </a:cxn>
                  <a:cxn ang="0">
                    <a:pos x="T8" y="T9"/>
                  </a:cxn>
                </a:cxnLst>
                <a:rect l="0" t="0" r="r" b="b"/>
                <a:pathLst>
                  <a:path w="165" h="137">
                    <a:moveTo>
                      <a:pt x="127" y="0"/>
                    </a:moveTo>
                    <a:lnTo>
                      <a:pt x="165" y="134"/>
                    </a:lnTo>
                    <a:lnTo>
                      <a:pt x="18" y="137"/>
                    </a:lnTo>
                    <a:lnTo>
                      <a:pt x="0" y="74"/>
                    </a:lnTo>
                    <a:lnTo>
                      <a:pt x="12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6" name="íSľíḍê">
                <a:extLst>
                  <a:ext uri="{FF2B5EF4-FFF2-40B4-BE49-F238E27FC236}">
                    <a16:creationId xmlns:a16="http://schemas.microsoft.com/office/drawing/2014/main" id="{ADC721EB-92A6-48CB-847F-F760B6B8714C}"/>
                  </a:ext>
                </a:extLst>
              </p:cNvPr>
              <p:cNvSpPr/>
              <p:nvPr/>
            </p:nvSpPr>
            <p:spPr bwMode="auto">
              <a:xfrm>
                <a:off x="3245464" y="2963256"/>
                <a:ext cx="139007" cy="168432"/>
              </a:xfrm>
              <a:custGeom>
                <a:avLst/>
                <a:gdLst>
                  <a:gd name="T0" fmla="*/ 133 w 137"/>
                  <a:gd name="T1" fmla="*/ 0 h 166"/>
                  <a:gd name="T2" fmla="*/ 0 w 137"/>
                  <a:gd name="T3" fmla="*/ 39 h 166"/>
                  <a:gd name="T4" fmla="*/ 73 w 137"/>
                  <a:gd name="T5" fmla="*/ 166 h 166"/>
                  <a:gd name="T6" fmla="*/ 137 w 137"/>
                  <a:gd name="T7" fmla="*/ 147 h 166"/>
                  <a:gd name="T8" fmla="*/ 133 w 137"/>
                  <a:gd name="T9" fmla="*/ 0 h 166"/>
                </a:gdLst>
                <a:ahLst/>
                <a:cxnLst>
                  <a:cxn ang="0">
                    <a:pos x="T0" y="T1"/>
                  </a:cxn>
                  <a:cxn ang="0">
                    <a:pos x="T2" y="T3"/>
                  </a:cxn>
                  <a:cxn ang="0">
                    <a:pos x="T4" y="T5"/>
                  </a:cxn>
                  <a:cxn ang="0">
                    <a:pos x="T6" y="T7"/>
                  </a:cxn>
                  <a:cxn ang="0">
                    <a:pos x="T8" y="T9"/>
                  </a:cxn>
                </a:cxnLst>
                <a:rect l="0" t="0" r="r" b="b"/>
                <a:pathLst>
                  <a:path w="137" h="166">
                    <a:moveTo>
                      <a:pt x="133" y="0"/>
                    </a:moveTo>
                    <a:lnTo>
                      <a:pt x="0" y="39"/>
                    </a:lnTo>
                    <a:lnTo>
                      <a:pt x="73" y="166"/>
                    </a:lnTo>
                    <a:lnTo>
                      <a:pt x="137" y="147"/>
                    </a:lnTo>
                    <a:lnTo>
                      <a:pt x="13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7" name="ïşliḑe">
                <a:extLst>
                  <a:ext uri="{FF2B5EF4-FFF2-40B4-BE49-F238E27FC236}">
                    <a16:creationId xmlns:a16="http://schemas.microsoft.com/office/drawing/2014/main" id="{0A228769-0464-4A30-8AF2-3C734505937F}"/>
                  </a:ext>
                </a:extLst>
              </p:cNvPr>
              <p:cNvSpPr/>
              <p:nvPr/>
            </p:nvSpPr>
            <p:spPr bwMode="auto">
              <a:xfrm>
                <a:off x="3560006" y="2437666"/>
                <a:ext cx="167417" cy="139008"/>
              </a:xfrm>
              <a:custGeom>
                <a:avLst/>
                <a:gdLst>
                  <a:gd name="T0" fmla="*/ 38 w 165"/>
                  <a:gd name="T1" fmla="*/ 137 h 137"/>
                  <a:gd name="T2" fmla="*/ 0 w 165"/>
                  <a:gd name="T3" fmla="*/ 4 h 137"/>
                  <a:gd name="T4" fmla="*/ 147 w 165"/>
                  <a:gd name="T5" fmla="*/ 0 h 137"/>
                  <a:gd name="T6" fmla="*/ 165 w 165"/>
                  <a:gd name="T7" fmla="*/ 64 h 137"/>
                  <a:gd name="T8" fmla="*/ 38 w 165"/>
                  <a:gd name="T9" fmla="*/ 137 h 137"/>
                </a:gdLst>
                <a:ahLst/>
                <a:cxnLst>
                  <a:cxn ang="0">
                    <a:pos x="T0" y="T1"/>
                  </a:cxn>
                  <a:cxn ang="0">
                    <a:pos x="T2" y="T3"/>
                  </a:cxn>
                  <a:cxn ang="0">
                    <a:pos x="T4" y="T5"/>
                  </a:cxn>
                  <a:cxn ang="0">
                    <a:pos x="T6" y="T7"/>
                  </a:cxn>
                  <a:cxn ang="0">
                    <a:pos x="T8" y="T9"/>
                  </a:cxn>
                </a:cxnLst>
                <a:rect l="0" t="0" r="r" b="b"/>
                <a:pathLst>
                  <a:path w="165" h="137">
                    <a:moveTo>
                      <a:pt x="38" y="137"/>
                    </a:moveTo>
                    <a:lnTo>
                      <a:pt x="0" y="4"/>
                    </a:lnTo>
                    <a:lnTo>
                      <a:pt x="147" y="0"/>
                    </a:lnTo>
                    <a:lnTo>
                      <a:pt x="165" y="64"/>
                    </a:lnTo>
                    <a:lnTo>
                      <a:pt x="38" y="13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8" name="îšḷïḍe">
                <a:extLst>
                  <a:ext uri="{FF2B5EF4-FFF2-40B4-BE49-F238E27FC236}">
                    <a16:creationId xmlns:a16="http://schemas.microsoft.com/office/drawing/2014/main" id="{03B011DA-A39A-430F-861D-301172981E45}"/>
                  </a:ext>
                </a:extLst>
              </p:cNvPr>
              <p:cNvSpPr/>
              <p:nvPr/>
            </p:nvSpPr>
            <p:spPr bwMode="auto">
              <a:xfrm>
                <a:off x="2732050" y="2327069"/>
                <a:ext cx="173505" cy="159301"/>
              </a:xfrm>
              <a:custGeom>
                <a:avLst/>
                <a:gdLst>
                  <a:gd name="T0" fmla="*/ 103 w 171"/>
                  <a:gd name="T1" fmla="*/ 157 h 157"/>
                  <a:gd name="T2" fmla="*/ 171 w 171"/>
                  <a:gd name="T3" fmla="*/ 36 h 157"/>
                  <a:gd name="T4" fmla="*/ 32 w 171"/>
                  <a:gd name="T5" fmla="*/ 0 h 157"/>
                  <a:gd name="T6" fmla="*/ 0 w 171"/>
                  <a:gd name="T7" fmla="*/ 57 h 157"/>
                  <a:gd name="T8" fmla="*/ 103 w 171"/>
                  <a:gd name="T9" fmla="*/ 157 h 157"/>
                </a:gdLst>
                <a:ahLst/>
                <a:cxnLst>
                  <a:cxn ang="0">
                    <a:pos x="T0" y="T1"/>
                  </a:cxn>
                  <a:cxn ang="0">
                    <a:pos x="T2" y="T3"/>
                  </a:cxn>
                  <a:cxn ang="0">
                    <a:pos x="T4" y="T5"/>
                  </a:cxn>
                  <a:cxn ang="0">
                    <a:pos x="T6" y="T7"/>
                  </a:cxn>
                  <a:cxn ang="0">
                    <a:pos x="T8" y="T9"/>
                  </a:cxn>
                </a:cxnLst>
                <a:rect l="0" t="0" r="r" b="b"/>
                <a:pathLst>
                  <a:path w="171" h="157">
                    <a:moveTo>
                      <a:pt x="103" y="157"/>
                    </a:moveTo>
                    <a:lnTo>
                      <a:pt x="171" y="36"/>
                    </a:lnTo>
                    <a:lnTo>
                      <a:pt x="32" y="0"/>
                    </a:lnTo>
                    <a:lnTo>
                      <a:pt x="0" y="57"/>
                    </a:lnTo>
                    <a:lnTo>
                      <a:pt x="103" y="15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9" name="iṣľîḋê">
                <a:extLst>
                  <a:ext uri="{FF2B5EF4-FFF2-40B4-BE49-F238E27FC236}">
                    <a16:creationId xmlns:a16="http://schemas.microsoft.com/office/drawing/2014/main" id="{DDD4058C-09CB-4FD4-B5A9-DCAD85B03752}"/>
                  </a:ext>
                </a:extLst>
              </p:cNvPr>
              <p:cNvSpPr/>
              <p:nvPr/>
            </p:nvSpPr>
            <p:spPr bwMode="auto">
              <a:xfrm>
                <a:off x="2921789" y="2915568"/>
                <a:ext cx="159300" cy="173506"/>
              </a:xfrm>
              <a:custGeom>
                <a:avLst/>
                <a:gdLst>
                  <a:gd name="T0" fmla="*/ 36 w 157"/>
                  <a:gd name="T1" fmla="*/ 0 h 171"/>
                  <a:gd name="T2" fmla="*/ 157 w 157"/>
                  <a:gd name="T3" fmla="*/ 68 h 171"/>
                  <a:gd name="T4" fmla="*/ 58 w 157"/>
                  <a:gd name="T5" fmla="*/ 171 h 171"/>
                  <a:gd name="T6" fmla="*/ 0 w 157"/>
                  <a:gd name="T7" fmla="*/ 139 h 171"/>
                  <a:gd name="T8" fmla="*/ 36 w 157"/>
                  <a:gd name="T9" fmla="*/ 0 h 171"/>
                </a:gdLst>
                <a:ahLst/>
                <a:cxnLst>
                  <a:cxn ang="0">
                    <a:pos x="T0" y="T1"/>
                  </a:cxn>
                  <a:cxn ang="0">
                    <a:pos x="T2" y="T3"/>
                  </a:cxn>
                  <a:cxn ang="0">
                    <a:pos x="T4" y="T5"/>
                  </a:cxn>
                  <a:cxn ang="0">
                    <a:pos x="T6" y="T7"/>
                  </a:cxn>
                  <a:cxn ang="0">
                    <a:pos x="T8" y="T9"/>
                  </a:cxn>
                </a:cxnLst>
                <a:rect l="0" t="0" r="r" b="b"/>
                <a:pathLst>
                  <a:path w="157" h="171">
                    <a:moveTo>
                      <a:pt x="36" y="0"/>
                    </a:moveTo>
                    <a:lnTo>
                      <a:pt x="157" y="68"/>
                    </a:lnTo>
                    <a:lnTo>
                      <a:pt x="58" y="171"/>
                    </a:lnTo>
                    <a:lnTo>
                      <a:pt x="0" y="139"/>
                    </a:lnTo>
                    <a:lnTo>
                      <a:pt x="3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0" name="ïṧḷiďè">
                <a:extLst>
                  <a:ext uri="{FF2B5EF4-FFF2-40B4-BE49-F238E27FC236}">
                    <a16:creationId xmlns:a16="http://schemas.microsoft.com/office/drawing/2014/main" id="{4CEC9F2D-954B-4CBF-8E57-3940560B97A6}"/>
                  </a:ext>
                </a:extLst>
              </p:cNvPr>
              <p:cNvSpPr/>
              <p:nvPr/>
            </p:nvSpPr>
            <p:spPr bwMode="auto">
              <a:xfrm>
                <a:off x="3511303" y="2741048"/>
                <a:ext cx="174520" cy="159301"/>
              </a:xfrm>
              <a:custGeom>
                <a:avLst/>
                <a:gdLst>
                  <a:gd name="T0" fmla="*/ 68 w 172"/>
                  <a:gd name="T1" fmla="*/ 0 h 157"/>
                  <a:gd name="T2" fmla="*/ 0 w 172"/>
                  <a:gd name="T3" fmla="*/ 121 h 157"/>
                  <a:gd name="T4" fmla="*/ 140 w 172"/>
                  <a:gd name="T5" fmla="*/ 157 h 157"/>
                  <a:gd name="T6" fmla="*/ 172 w 172"/>
                  <a:gd name="T7" fmla="*/ 99 h 157"/>
                  <a:gd name="T8" fmla="*/ 68 w 172"/>
                  <a:gd name="T9" fmla="*/ 0 h 157"/>
                </a:gdLst>
                <a:ahLst/>
                <a:cxnLst>
                  <a:cxn ang="0">
                    <a:pos x="T0" y="T1"/>
                  </a:cxn>
                  <a:cxn ang="0">
                    <a:pos x="T2" y="T3"/>
                  </a:cxn>
                  <a:cxn ang="0">
                    <a:pos x="T4" y="T5"/>
                  </a:cxn>
                  <a:cxn ang="0">
                    <a:pos x="T6" y="T7"/>
                  </a:cxn>
                  <a:cxn ang="0">
                    <a:pos x="T8" y="T9"/>
                  </a:cxn>
                </a:cxnLst>
                <a:rect l="0" t="0" r="r" b="b"/>
                <a:pathLst>
                  <a:path w="172" h="157">
                    <a:moveTo>
                      <a:pt x="68" y="0"/>
                    </a:moveTo>
                    <a:lnTo>
                      <a:pt x="0" y="121"/>
                    </a:lnTo>
                    <a:lnTo>
                      <a:pt x="140" y="157"/>
                    </a:lnTo>
                    <a:lnTo>
                      <a:pt x="172" y="99"/>
                    </a:lnTo>
                    <a:lnTo>
                      <a:pt x="68"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1" name="ïṥ1iďê">
                <a:extLst>
                  <a:ext uri="{FF2B5EF4-FFF2-40B4-BE49-F238E27FC236}">
                    <a16:creationId xmlns:a16="http://schemas.microsoft.com/office/drawing/2014/main" id="{84EE8E95-7792-4CE6-B015-F72F8CCF0F57}"/>
                  </a:ext>
                </a:extLst>
              </p:cNvPr>
              <p:cNvSpPr/>
              <p:nvPr/>
            </p:nvSpPr>
            <p:spPr bwMode="auto">
              <a:xfrm>
                <a:off x="3336783" y="2137329"/>
                <a:ext cx="159300" cy="173506"/>
              </a:xfrm>
              <a:custGeom>
                <a:avLst/>
                <a:gdLst>
                  <a:gd name="T0" fmla="*/ 121 w 157"/>
                  <a:gd name="T1" fmla="*/ 171 h 171"/>
                  <a:gd name="T2" fmla="*/ 0 w 157"/>
                  <a:gd name="T3" fmla="*/ 103 h 171"/>
                  <a:gd name="T4" fmla="*/ 99 w 157"/>
                  <a:gd name="T5" fmla="*/ 0 h 171"/>
                  <a:gd name="T6" fmla="*/ 157 w 157"/>
                  <a:gd name="T7" fmla="*/ 32 h 171"/>
                  <a:gd name="T8" fmla="*/ 121 w 157"/>
                  <a:gd name="T9" fmla="*/ 171 h 171"/>
                </a:gdLst>
                <a:ahLst/>
                <a:cxnLst>
                  <a:cxn ang="0">
                    <a:pos x="T0" y="T1"/>
                  </a:cxn>
                  <a:cxn ang="0">
                    <a:pos x="T2" y="T3"/>
                  </a:cxn>
                  <a:cxn ang="0">
                    <a:pos x="T4" y="T5"/>
                  </a:cxn>
                  <a:cxn ang="0">
                    <a:pos x="T6" y="T7"/>
                  </a:cxn>
                  <a:cxn ang="0">
                    <a:pos x="T8" y="T9"/>
                  </a:cxn>
                </a:cxnLst>
                <a:rect l="0" t="0" r="r" b="b"/>
                <a:pathLst>
                  <a:path w="157" h="171">
                    <a:moveTo>
                      <a:pt x="121" y="171"/>
                    </a:moveTo>
                    <a:lnTo>
                      <a:pt x="0" y="103"/>
                    </a:lnTo>
                    <a:lnTo>
                      <a:pt x="99" y="0"/>
                    </a:lnTo>
                    <a:lnTo>
                      <a:pt x="157" y="32"/>
                    </a:lnTo>
                    <a:lnTo>
                      <a:pt x="121" y="17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2" name="í$ḷîḋe">
                <a:extLst>
                  <a:ext uri="{FF2B5EF4-FFF2-40B4-BE49-F238E27FC236}">
                    <a16:creationId xmlns:a16="http://schemas.microsoft.com/office/drawing/2014/main" id="{CF9A23AC-1DA9-44FD-B9D1-C00199F10082}"/>
                  </a:ext>
                </a:extLst>
              </p:cNvPr>
              <p:cNvSpPr/>
              <p:nvPr/>
            </p:nvSpPr>
            <p:spPr bwMode="auto">
              <a:xfrm>
                <a:off x="2852793" y="2180959"/>
                <a:ext cx="169447" cy="175535"/>
              </a:xfrm>
              <a:custGeom>
                <a:avLst/>
                <a:gdLst>
                  <a:gd name="T0" fmla="*/ 58 w 167"/>
                  <a:gd name="T1" fmla="*/ 173 h 173"/>
                  <a:gd name="T2" fmla="*/ 167 w 167"/>
                  <a:gd name="T3" fmla="*/ 85 h 173"/>
                  <a:gd name="T4" fmla="*/ 51 w 167"/>
                  <a:gd name="T5" fmla="*/ 0 h 173"/>
                  <a:gd name="T6" fmla="*/ 0 w 167"/>
                  <a:gd name="T7" fmla="*/ 41 h 173"/>
                  <a:gd name="T8" fmla="*/ 58 w 167"/>
                  <a:gd name="T9" fmla="*/ 173 h 173"/>
                </a:gdLst>
                <a:ahLst/>
                <a:cxnLst>
                  <a:cxn ang="0">
                    <a:pos x="T0" y="T1"/>
                  </a:cxn>
                  <a:cxn ang="0">
                    <a:pos x="T2" y="T3"/>
                  </a:cxn>
                  <a:cxn ang="0">
                    <a:pos x="T4" y="T5"/>
                  </a:cxn>
                  <a:cxn ang="0">
                    <a:pos x="T6" y="T7"/>
                  </a:cxn>
                  <a:cxn ang="0">
                    <a:pos x="T8" y="T9"/>
                  </a:cxn>
                </a:cxnLst>
                <a:rect l="0" t="0" r="r" b="b"/>
                <a:pathLst>
                  <a:path w="167" h="173">
                    <a:moveTo>
                      <a:pt x="58" y="173"/>
                    </a:moveTo>
                    <a:lnTo>
                      <a:pt x="167" y="85"/>
                    </a:lnTo>
                    <a:lnTo>
                      <a:pt x="51" y="0"/>
                    </a:lnTo>
                    <a:lnTo>
                      <a:pt x="0" y="41"/>
                    </a:lnTo>
                    <a:lnTo>
                      <a:pt x="58" y="17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3" name="íş1ïḑê">
                <a:extLst>
                  <a:ext uri="{FF2B5EF4-FFF2-40B4-BE49-F238E27FC236}">
                    <a16:creationId xmlns:a16="http://schemas.microsoft.com/office/drawing/2014/main" id="{1004A25E-C334-4EDD-A38A-B6847C6E6E10}"/>
                  </a:ext>
                </a:extLst>
              </p:cNvPr>
              <p:cNvSpPr/>
              <p:nvPr/>
            </p:nvSpPr>
            <p:spPr bwMode="auto">
              <a:xfrm>
                <a:off x="2775679" y="2798882"/>
                <a:ext cx="175535" cy="169447"/>
              </a:xfrm>
              <a:custGeom>
                <a:avLst/>
                <a:gdLst>
                  <a:gd name="T0" fmla="*/ 86 w 173"/>
                  <a:gd name="T1" fmla="*/ 0 h 167"/>
                  <a:gd name="T2" fmla="*/ 173 w 173"/>
                  <a:gd name="T3" fmla="*/ 109 h 167"/>
                  <a:gd name="T4" fmla="*/ 41 w 173"/>
                  <a:gd name="T5" fmla="*/ 167 h 167"/>
                  <a:gd name="T6" fmla="*/ 0 w 173"/>
                  <a:gd name="T7" fmla="*/ 116 h 167"/>
                  <a:gd name="T8" fmla="*/ 86 w 173"/>
                  <a:gd name="T9" fmla="*/ 0 h 167"/>
                </a:gdLst>
                <a:ahLst/>
                <a:cxnLst>
                  <a:cxn ang="0">
                    <a:pos x="T0" y="T1"/>
                  </a:cxn>
                  <a:cxn ang="0">
                    <a:pos x="T2" y="T3"/>
                  </a:cxn>
                  <a:cxn ang="0">
                    <a:pos x="T4" y="T5"/>
                  </a:cxn>
                  <a:cxn ang="0">
                    <a:pos x="T6" y="T7"/>
                  </a:cxn>
                  <a:cxn ang="0">
                    <a:pos x="T8" y="T9"/>
                  </a:cxn>
                </a:cxnLst>
                <a:rect l="0" t="0" r="r" b="b"/>
                <a:pathLst>
                  <a:path w="173" h="167">
                    <a:moveTo>
                      <a:pt x="86" y="0"/>
                    </a:moveTo>
                    <a:lnTo>
                      <a:pt x="173" y="109"/>
                    </a:lnTo>
                    <a:lnTo>
                      <a:pt x="41" y="167"/>
                    </a:lnTo>
                    <a:lnTo>
                      <a:pt x="0" y="116"/>
                    </a:lnTo>
                    <a:lnTo>
                      <a:pt x="8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4" name="ïṡlídé">
                <a:extLst>
                  <a:ext uri="{FF2B5EF4-FFF2-40B4-BE49-F238E27FC236}">
                    <a16:creationId xmlns:a16="http://schemas.microsoft.com/office/drawing/2014/main" id="{075A0EE7-1952-4752-B285-12F0CCE7AD65}"/>
                  </a:ext>
                </a:extLst>
              </p:cNvPr>
              <p:cNvSpPr/>
              <p:nvPr/>
            </p:nvSpPr>
            <p:spPr bwMode="auto">
              <a:xfrm>
                <a:off x="3394618" y="2870923"/>
                <a:ext cx="169447" cy="174520"/>
              </a:xfrm>
              <a:custGeom>
                <a:avLst/>
                <a:gdLst>
                  <a:gd name="T0" fmla="*/ 109 w 167"/>
                  <a:gd name="T1" fmla="*/ 0 h 172"/>
                  <a:gd name="T2" fmla="*/ 0 w 167"/>
                  <a:gd name="T3" fmla="*/ 87 h 172"/>
                  <a:gd name="T4" fmla="*/ 116 w 167"/>
                  <a:gd name="T5" fmla="*/ 172 h 172"/>
                  <a:gd name="T6" fmla="*/ 167 w 167"/>
                  <a:gd name="T7" fmla="*/ 131 h 172"/>
                  <a:gd name="T8" fmla="*/ 109 w 167"/>
                  <a:gd name="T9" fmla="*/ 0 h 172"/>
                </a:gdLst>
                <a:ahLst/>
                <a:cxnLst>
                  <a:cxn ang="0">
                    <a:pos x="T0" y="T1"/>
                  </a:cxn>
                  <a:cxn ang="0">
                    <a:pos x="T2" y="T3"/>
                  </a:cxn>
                  <a:cxn ang="0">
                    <a:pos x="T4" y="T5"/>
                  </a:cxn>
                  <a:cxn ang="0">
                    <a:pos x="T6" y="T7"/>
                  </a:cxn>
                  <a:cxn ang="0">
                    <a:pos x="T8" y="T9"/>
                  </a:cxn>
                </a:cxnLst>
                <a:rect l="0" t="0" r="r" b="b"/>
                <a:pathLst>
                  <a:path w="167" h="172">
                    <a:moveTo>
                      <a:pt x="109" y="0"/>
                    </a:moveTo>
                    <a:lnTo>
                      <a:pt x="0" y="87"/>
                    </a:lnTo>
                    <a:lnTo>
                      <a:pt x="116" y="172"/>
                    </a:lnTo>
                    <a:lnTo>
                      <a:pt x="167" y="131"/>
                    </a:lnTo>
                    <a:lnTo>
                      <a:pt x="10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5" name="íṧḷîḍé">
                <a:extLst>
                  <a:ext uri="{FF2B5EF4-FFF2-40B4-BE49-F238E27FC236}">
                    <a16:creationId xmlns:a16="http://schemas.microsoft.com/office/drawing/2014/main" id="{2C523453-0023-4117-A590-1955CFA9C8E6}"/>
                  </a:ext>
                </a:extLst>
              </p:cNvPr>
              <p:cNvSpPr/>
              <p:nvPr/>
            </p:nvSpPr>
            <p:spPr bwMode="auto">
              <a:xfrm>
                <a:off x="3466658" y="2258073"/>
                <a:ext cx="175535" cy="169447"/>
              </a:xfrm>
              <a:custGeom>
                <a:avLst/>
                <a:gdLst>
                  <a:gd name="T0" fmla="*/ 87 w 173"/>
                  <a:gd name="T1" fmla="*/ 167 h 167"/>
                  <a:gd name="T2" fmla="*/ 0 w 173"/>
                  <a:gd name="T3" fmla="*/ 58 h 167"/>
                  <a:gd name="T4" fmla="*/ 131 w 173"/>
                  <a:gd name="T5" fmla="*/ 0 h 167"/>
                  <a:gd name="T6" fmla="*/ 173 w 173"/>
                  <a:gd name="T7" fmla="*/ 51 h 167"/>
                  <a:gd name="T8" fmla="*/ 87 w 173"/>
                  <a:gd name="T9" fmla="*/ 167 h 167"/>
                </a:gdLst>
                <a:ahLst/>
                <a:cxnLst>
                  <a:cxn ang="0">
                    <a:pos x="T0" y="T1"/>
                  </a:cxn>
                  <a:cxn ang="0">
                    <a:pos x="T2" y="T3"/>
                  </a:cxn>
                  <a:cxn ang="0">
                    <a:pos x="T4" y="T5"/>
                  </a:cxn>
                  <a:cxn ang="0">
                    <a:pos x="T6" y="T7"/>
                  </a:cxn>
                  <a:cxn ang="0">
                    <a:pos x="T8" y="T9"/>
                  </a:cxn>
                </a:cxnLst>
                <a:rect l="0" t="0" r="r" b="b"/>
                <a:pathLst>
                  <a:path w="173" h="167">
                    <a:moveTo>
                      <a:pt x="87" y="167"/>
                    </a:moveTo>
                    <a:lnTo>
                      <a:pt x="0" y="58"/>
                    </a:lnTo>
                    <a:lnTo>
                      <a:pt x="131" y="0"/>
                    </a:lnTo>
                    <a:lnTo>
                      <a:pt x="173" y="51"/>
                    </a:lnTo>
                    <a:lnTo>
                      <a:pt x="87" y="1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6" name="iŝ1ïde">
                <a:extLst>
                  <a:ext uri="{FF2B5EF4-FFF2-40B4-BE49-F238E27FC236}">
                    <a16:creationId xmlns:a16="http://schemas.microsoft.com/office/drawing/2014/main" id="{3BBE0A16-EFA9-472D-997D-14749F988647}"/>
                  </a:ext>
                </a:extLst>
              </p:cNvPr>
              <p:cNvSpPr/>
              <p:nvPr/>
            </p:nvSpPr>
            <p:spPr bwMode="auto">
              <a:xfrm>
                <a:off x="3095295" y="2988623"/>
                <a:ext cx="141036" cy="152198"/>
              </a:xfrm>
              <a:custGeom>
                <a:avLst/>
                <a:gdLst>
                  <a:gd name="T0" fmla="*/ 0 w 139"/>
                  <a:gd name="T1" fmla="*/ 0 h 150"/>
                  <a:gd name="T2" fmla="*/ 139 w 139"/>
                  <a:gd name="T3" fmla="*/ 16 h 150"/>
                  <a:gd name="T4" fmla="*/ 87 w 139"/>
                  <a:gd name="T5" fmla="*/ 150 h 150"/>
                  <a:gd name="T6" fmla="*/ 21 w 139"/>
                  <a:gd name="T7" fmla="*/ 143 h 150"/>
                  <a:gd name="T8" fmla="*/ 0 w 139"/>
                  <a:gd name="T9" fmla="*/ 0 h 150"/>
                </a:gdLst>
                <a:ahLst/>
                <a:cxnLst>
                  <a:cxn ang="0">
                    <a:pos x="T0" y="T1"/>
                  </a:cxn>
                  <a:cxn ang="0">
                    <a:pos x="T2" y="T3"/>
                  </a:cxn>
                  <a:cxn ang="0">
                    <a:pos x="T4" y="T5"/>
                  </a:cxn>
                  <a:cxn ang="0">
                    <a:pos x="T6" y="T7"/>
                  </a:cxn>
                  <a:cxn ang="0">
                    <a:pos x="T8" y="T9"/>
                  </a:cxn>
                </a:cxnLst>
                <a:rect l="0" t="0" r="r" b="b"/>
                <a:pathLst>
                  <a:path w="139" h="150">
                    <a:moveTo>
                      <a:pt x="0" y="0"/>
                    </a:moveTo>
                    <a:lnTo>
                      <a:pt x="139" y="16"/>
                    </a:lnTo>
                    <a:lnTo>
                      <a:pt x="87" y="150"/>
                    </a:lnTo>
                    <a:lnTo>
                      <a:pt x="21" y="14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7" name="ïṩḻïḑe">
                <a:extLst>
                  <a:ext uri="{FF2B5EF4-FFF2-40B4-BE49-F238E27FC236}">
                    <a16:creationId xmlns:a16="http://schemas.microsoft.com/office/drawing/2014/main" id="{9945C5D2-C01D-48E4-A962-240A75269B0A}"/>
                  </a:ext>
                </a:extLst>
              </p:cNvPr>
              <p:cNvSpPr/>
              <p:nvPr/>
            </p:nvSpPr>
            <p:spPr bwMode="auto">
              <a:xfrm>
                <a:off x="3585372" y="2585805"/>
                <a:ext cx="151183" cy="140022"/>
              </a:xfrm>
              <a:custGeom>
                <a:avLst/>
                <a:gdLst>
                  <a:gd name="T0" fmla="*/ 15 w 149"/>
                  <a:gd name="T1" fmla="*/ 0 h 138"/>
                  <a:gd name="T2" fmla="*/ 0 w 149"/>
                  <a:gd name="T3" fmla="*/ 138 h 138"/>
                  <a:gd name="T4" fmla="*/ 142 w 149"/>
                  <a:gd name="T5" fmla="*/ 118 h 138"/>
                  <a:gd name="T6" fmla="*/ 149 w 149"/>
                  <a:gd name="T7" fmla="*/ 52 h 138"/>
                  <a:gd name="T8" fmla="*/ 15 w 149"/>
                  <a:gd name="T9" fmla="*/ 0 h 138"/>
                </a:gdLst>
                <a:ahLst/>
                <a:cxnLst>
                  <a:cxn ang="0">
                    <a:pos x="T0" y="T1"/>
                  </a:cxn>
                  <a:cxn ang="0">
                    <a:pos x="T2" y="T3"/>
                  </a:cxn>
                  <a:cxn ang="0">
                    <a:pos x="T4" y="T5"/>
                  </a:cxn>
                  <a:cxn ang="0">
                    <a:pos x="T6" y="T7"/>
                  </a:cxn>
                  <a:cxn ang="0">
                    <a:pos x="T8" y="T9"/>
                  </a:cxn>
                </a:cxnLst>
                <a:rect l="0" t="0" r="r" b="b"/>
                <a:pathLst>
                  <a:path w="149" h="138">
                    <a:moveTo>
                      <a:pt x="15" y="0"/>
                    </a:moveTo>
                    <a:lnTo>
                      <a:pt x="0" y="138"/>
                    </a:lnTo>
                    <a:lnTo>
                      <a:pt x="142" y="118"/>
                    </a:lnTo>
                    <a:lnTo>
                      <a:pt x="149" y="52"/>
                    </a:lnTo>
                    <a:lnTo>
                      <a:pt x="1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8" name="íṣliḋè">
                <a:extLst>
                  <a:ext uri="{FF2B5EF4-FFF2-40B4-BE49-F238E27FC236}">
                    <a16:creationId xmlns:a16="http://schemas.microsoft.com/office/drawing/2014/main" id="{3A173CB8-1DAD-4709-BE5F-61CF49F667DB}"/>
                  </a:ext>
                </a:extLst>
              </p:cNvPr>
              <p:cNvSpPr/>
              <p:nvPr/>
            </p:nvSpPr>
            <p:spPr bwMode="auto">
              <a:xfrm>
                <a:off x="3181541" y="2085582"/>
                <a:ext cx="140022" cy="152198"/>
              </a:xfrm>
              <a:custGeom>
                <a:avLst/>
                <a:gdLst>
                  <a:gd name="T0" fmla="*/ 138 w 138"/>
                  <a:gd name="T1" fmla="*/ 150 h 150"/>
                  <a:gd name="T2" fmla="*/ 0 w 138"/>
                  <a:gd name="T3" fmla="*/ 134 h 150"/>
                  <a:gd name="T4" fmla="*/ 51 w 138"/>
                  <a:gd name="T5" fmla="*/ 0 h 150"/>
                  <a:gd name="T6" fmla="*/ 118 w 138"/>
                  <a:gd name="T7" fmla="*/ 7 h 150"/>
                  <a:gd name="T8" fmla="*/ 138 w 138"/>
                  <a:gd name="T9" fmla="*/ 150 h 150"/>
                </a:gdLst>
                <a:ahLst/>
                <a:cxnLst>
                  <a:cxn ang="0">
                    <a:pos x="T0" y="T1"/>
                  </a:cxn>
                  <a:cxn ang="0">
                    <a:pos x="T2" y="T3"/>
                  </a:cxn>
                  <a:cxn ang="0">
                    <a:pos x="T4" y="T5"/>
                  </a:cxn>
                  <a:cxn ang="0">
                    <a:pos x="T6" y="T7"/>
                  </a:cxn>
                  <a:cxn ang="0">
                    <a:pos x="T8" y="T9"/>
                  </a:cxn>
                </a:cxnLst>
                <a:rect l="0" t="0" r="r" b="b"/>
                <a:pathLst>
                  <a:path w="138" h="150">
                    <a:moveTo>
                      <a:pt x="138" y="150"/>
                    </a:moveTo>
                    <a:lnTo>
                      <a:pt x="0" y="134"/>
                    </a:lnTo>
                    <a:lnTo>
                      <a:pt x="51" y="0"/>
                    </a:lnTo>
                    <a:lnTo>
                      <a:pt x="118" y="7"/>
                    </a:lnTo>
                    <a:lnTo>
                      <a:pt x="138" y="15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sp>
          <p:nvSpPr>
            <p:cNvPr id="190" name="îs1ïḍé">
              <a:extLst>
                <a:ext uri="{FF2B5EF4-FFF2-40B4-BE49-F238E27FC236}">
                  <a16:creationId xmlns:a16="http://schemas.microsoft.com/office/drawing/2014/main" id="{14C407A9-7D39-4654-8B28-9F68C5349C86}"/>
                </a:ext>
              </a:extLst>
            </p:cNvPr>
            <p:cNvSpPr/>
            <p:nvPr/>
          </p:nvSpPr>
          <p:spPr bwMode="auto">
            <a:xfrm>
              <a:off x="6285966" y="1831351"/>
              <a:ext cx="268807" cy="335727"/>
            </a:xfrm>
            <a:custGeom>
              <a:avLst/>
              <a:gdLst>
                <a:gd name="T0" fmla="*/ 300 w 304"/>
                <a:gd name="T1" fmla="*/ 51 h 380"/>
                <a:gd name="T2" fmla="*/ 295 w 304"/>
                <a:gd name="T3" fmla="*/ 75 h 380"/>
                <a:gd name="T4" fmla="*/ 287 w 304"/>
                <a:gd name="T5" fmla="*/ 107 h 380"/>
                <a:gd name="T6" fmla="*/ 274 w 304"/>
                <a:gd name="T7" fmla="*/ 142 h 380"/>
                <a:gd name="T8" fmla="*/ 260 w 304"/>
                <a:gd name="T9" fmla="*/ 171 h 380"/>
                <a:gd name="T10" fmla="*/ 244 w 304"/>
                <a:gd name="T11" fmla="*/ 199 h 380"/>
                <a:gd name="T12" fmla="*/ 232 w 304"/>
                <a:gd name="T13" fmla="*/ 218 h 380"/>
                <a:gd name="T14" fmla="*/ 218 w 304"/>
                <a:gd name="T15" fmla="*/ 237 h 380"/>
                <a:gd name="T16" fmla="*/ 188 w 304"/>
                <a:gd name="T17" fmla="*/ 272 h 380"/>
                <a:gd name="T18" fmla="*/ 171 w 304"/>
                <a:gd name="T19" fmla="*/ 287 h 380"/>
                <a:gd name="T20" fmla="*/ 155 w 304"/>
                <a:gd name="T21" fmla="*/ 302 h 380"/>
                <a:gd name="T22" fmla="*/ 103 w 304"/>
                <a:gd name="T23" fmla="*/ 338 h 380"/>
                <a:gd name="T24" fmla="*/ 71 w 304"/>
                <a:gd name="T25" fmla="*/ 355 h 380"/>
                <a:gd name="T26" fmla="*/ 60 w 304"/>
                <a:gd name="T27" fmla="*/ 360 h 380"/>
                <a:gd name="T28" fmla="*/ 42 w 304"/>
                <a:gd name="T29" fmla="*/ 367 h 380"/>
                <a:gd name="T30" fmla="*/ 20 w 304"/>
                <a:gd name="T31" fmla="*/ 374 h 380"/>
                <a:gd name="T32" fmla="*/ 19 w 304"/>
                <a:gd name="T33" fmla="*/ 372 h 380"/>
                <a:gd name="T34" fmla="*/ 40 w 304"/>
                <a:gd name="T35" fmla="*/ 362 h 380"/>
                <a:gd name="T36" fmla="*/ 57 w 304"/>
                <a:gd name="T37" fmla="*/ 354 h 380"/>
                <a:gd name="T38" fmla="*/ 67 w 304"/>
                <a:gd name="T39" fmla="*/ 348 h 380"/>
                <a:gd name="T40" fmla="*/ 96 w 304"/>
                <a:gd name="T41" fmla="*/ 328 h 380"/>
                <a:gd name="T42" fmla="*/ 142 w 304"/>
                <a:gd name="T43" fmla="*/ 288 h 380"/>
                <a:gd name="T44" fmla="*/ 156 w 304"/>
                <a:gd name="T45" fmla="*/ 273 h 380"/>
                <a:gd name="T46" fmla="*/ 170 w 304"/>
                <a:gd name="T47" fmla="*/ 256 h 380"/>
                <a:gd name="T48" fmla="*/ 195 w 304"/>
                <a:gd name="T49" fmla="*/ 221 h 380"/>
                <a:gd name="T50" fmla="*/ 206 w 304"/>
                <a:gd name="T51" fmla="*/ 202 h 380"/>
                <a:gd name="T52" fmla="*/ 215 w 304"/>
                <a:gd name="T53" fmla="*/ 184 h 380"/>
                <a:gd name="T54" fmla="*/ 227 w 304"/>
                <a:gd name="T55" fmla="*/ 156 h 380"/>
                <a:gd name="T56" fmla="*/ 236 w 304"/>
                <a:gd name="T57" fmla="*/ 129 h 380"/>
                <a:gd name="T58" fmla="*/ 244 w 304"/>
                <a:gd name="T59" fmla="*/ 95 h 380"/>
                <a:gd name="T60" fmla="*/ 249 w 304"/>
                <a:gd name="T61" fmla="*/ 68 h 380"/>
                <a:gd name="T62" fmla="*/ 251 w 304"/>
                <a:gd name="T63" fmla="*/ 45 h 380"/>
                <a:gd name="T64" fmla="*/ 279 w 304"/>
                <a:gd name="T65" fmla="*/ 0 h 380"/>
                <a:gd name="T66" fmla="*/ 303 w 304"/>
                <a:gd name="T67" fmla="*/ 3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4" h="380">
                  <a:moveTo>
                    <a:pt x="303" y="30"/>
                  </a:moveTo>
                  <a:cubicBezTo>
                    <a:pt x="303" y="30"/>
                    <a:pt x="302" y="38"/>
                    <a:pt x="300" y="51"/>
                  </a:cubicBezTo>
                  <a:cubicBezTo>
                    <a:pt x="300" y="54"/>
                    <a:pt x="299" y="57"/>
                    <a:pt x="298" y="61"/>
                  </a:cubicBezTo>
                  <a:cubicBezTo>
                    <a:pt x="297" y="66"/>
                    <a:pt x="296" y="70"/>
                    <a:pt x="295" y="75"/>
                  </a:cubicBezTo>
                  <a:cubicBezTo>
                    <a:pt x="294" y="80"/>
                    <a:pt x="293" y="85"/>
                    <a:pt x="292" y="90"/>
                  </a:cubicBezTo>
                  <a:cubicBezTo>
                    <a:pt x="290" y="96"/>
                    <a:pt x="288" y="101"/>
                    <a:pt x="287" y="107"/>
                  </a:cubicBezTo>
                  <a:cubicBezTo>
                    <a:pt x="285" y="112"/>
                    <a:pt x="283" y="118"/>
                    <a:pt x="281" y="124"/>
                  </a:cubicBezTo>
                  <a:cubicBezTo>
                    <a:pt x="278" y="130"/>
                    <a:pt x="276" y="136"/>
                    <a:pt x="274" y="142"/>
                  </a:cubicBezTo>
                  <a:cubicBezTo>
                    <a:pt x="271" y="148"/>
                    <a:pt x="268" y="155"/>
                    <a:pt x="265" y="161"/>
                  </a:cubicBezTo>
                  <a:cubicBezTo>
                    <a:pt x="263" y="164"/>
                    <a:pt x="262" y="167"/>
                    <a:pt x="260" y="171"/>
                  </a:cubicBezTo>
                  <a:cubicBezTo>
                    <a:pt x="259" y="174"/>
                    <a:pt x="257" y="177"/>
                    <a:pt x="255" y="180"/>
                  </a:cubicBezTo>
                  <a:cubicBezTo>
                    <a:pt x="252" y="187"/>
                    <a:pt x="248" y="193"/>
                    <a:pt x="244" y="199"/>
                  </a:cubicBezTo>
                  <a:cubicBezTo>
                    <a:pt x="242" y="203"/>
                    <a:pt x="240" y="206"/>
                    <a:pt x="238" y="209"/>
                  </a:cubicBezTo>
                  <a:cubicBezTo>
                    <a:pt x="236" y="212"/>
                    <a:pt x="234" y="215"/>
                    <a:pt x="232" y="218"/>
                  </a:cubicBezTo>
                  <a:cubicBezTo>
                    <a:pt x="230" y="221"/>
                    <a:pt x="227" y="225"/>
                    <a:pt x="225" y="228"/>
                  </a:cubicBezTo>
                  <a:cubicBezTo>
                    <a:pt x="223" y="231"/>
                    <a:pt x="220" y="234"/>
                    <a:pt x="218" y="237"/>
                  </a:cubicBezTo>
                  <a:cubicBezTo>
                    <a:pt x="213" y="243"/>
                    <a:pt x="209" y="249"/>
                    <a:pt x="204" y="255"/>
                  </a:cubicBezTo>
                  <a:cubicBezTo>
                    <a:pt x="198" y="260"/>
                    <a:pt x="193" y="266"/>
                    <a:pt x="188" y="272"/>
                  </a:cubicBezTo>
                  <a:cubicBezTo>
                    <a:pt x="185" y="274"/>
                    <a:pt x="183" y="277"/>
                    <a:pt x="180" y="280"/>
                  </a:cubicBezTo>
                  <a:cubicBezTo>
                    <a:pt x="177" y="282"/>
                    <a:pt x="174" y="285"/>
                    <a:pt x="171" y="287"/>
                  </a:cubicBezTo>
                  <a:cubicBezTo>
                    <a:pt x="169" y="290"/>
                    <a:pt x="166" y="292"/>
                    <a:pt x="163" y="295"/>
                  </a:cubicBezTo>
                  <a:cubicBezTo>
                    <a:pt x="160" y="297"/>
                    <a:pt x="157" y="300"/>
                    <a:pt x="155" y="302"/>
                  </a:cubicBezTo>
                  <a:cubicBezTo>
                    <a:pt x="149" y="307"/>
                    <a:pt x="143" y="311"/>
                    <a:pt x="137" y="315"/>
                  </a:cubicBezTo>
                  <a:cubicBezTo>
                    <a:pt x="126" y="323"/>
                    <a:pt x="115" y="332"/>
                    <a:pt x="103" y="338"/>
                  </a:cubicBezTo>
                  <a:cubicBezTo>
                    <a:pt x="97" y="341"/>
                    <a:pt x="92" y="344"/>
                    <a:pt x="87" y="347"/>
                  </a:cubicBezTo>
                  <a:cubicBezTo>
                    <a:pt x="81" y="350"/>
                    <a:pt x="76" y="352"/>
                    <a:pt x="71" y="355"/>
                  </a:cubicBezTo>
                  <a:cubicBezTo>
                    <a:pt x="68" y="356"/>
                    <a:pt x="66" y="357"/>
                    <a:pt x="63" y="358"/>
                  </a:cubicBezTo>
                  <a:cubicBezTo>
                    <a:pt x="62" y="359"/>
                    <a:pt x="61" y="359"/>
                    <a:pt x="60" y="360"/>
                  </a:cubicBezTo>
                  <a:cubicBezTo>
                    <a:pt x="58" y="360"/>
                    <a:pt x="57" y="361"/>
                    <a:pt x="56" y="361"/>
                  </a:cubicBezTo>
                  <a:cubicBezTo>
                    <a:pt x="51" y="363"/>
                    <a:pt x="47" y="365"/>
                    <a:pt x="42" y="367"/>
                  </a:cubicBezTo>
                  <a:cubicBezTo>
                    <a:pt x="38" y="368"/>
                    <a:pt x="34" y="370"/>
                    <a:pt x="30" y="371"/>
                  </a:cubicBezTo>
                  <a:cubicBezTo>
                    <a:pt x="27" y="372"/>
                    <a:pt x="23" y="373"/>
                    <a:pt x="20" y="374"/>
                  </a:cubicBezTo>
                  <a:cubicBezTo>
                    <a:pt x="7" y="378"/>
                    <a:pt x="0" y="380"/>
                    <a:pt x="0" y="380"/>
                  </a:cubicBezTo>
                  <a:cubicBezTo>
                    <a:pt x="0" y="380"/>
                    <a:pt x="7" y="377"/>
                    <a:pt x="19" y="372"/>
                  </a:cubicBezTo>
                  <a:cubicBezTo>
                    <a:pt x="22" y="371"/>
                    <a:pt x="26" y="370"/>
                    <a:pt x="29" y="368"/>
                  </a:cubicBezTo>
                  <a:cubicBezTo>
                    <a:pt x="33" y="366"/>
                    <a:pt x="36" y="364"/>
                    <a:pt x="40" y="362"/>
                  </a:cubicBezTo>
                  <a:cubicBezTo>
                    <a:pt x="44" y="360"/>
                    <a:pt x="49" y="358"/>
                    <a:pt x="53" y="356"/>
                  </a:cubicBezTo>
                  <a:cubicBezTo>
                    <a:pt x="54" y="355"/>
                    <a:pt x="55" y="354"/>
                    <a:pt x="57" y="354"/>
                  </a:cubicBezTo>
                  <a:cubicBezTo>
                    <a:pt x="58" y="353"/>
                    <a:pt x="59" y="352"/>
                    <a:pt x="60" y="352"/>
                  </a:cubicBezTo>
                  <a:cubicBezTo>
                    <a:pt x="62" y="350"/>
                    <a:pt x="64" y="349"/>
                    <a:pt x="67" y="348"/>
                  </a:cubicBezTo>
                  <a:cubicBezTo>
                    <a:pt x="72" y="345"/>
                    <a:pt x="76" y="342"/>
                    <a:pt x="81" y="338"/>
                  </a:cubicBezTo>
                  <a:cubicBezTo>
                    <a:pt x="86" y="335"/>
                    <a:pt x="91" y="331"/>
                    <a:pt x="96" y="328"/>
                  </a:cubicBezTo>
                  <a:cubicBezTo>
                    <a:pt x="107" y="321"/>
                    <a:pt x="117" y="311"/>
                    <a:pt x="127" y="303"/>
                  </a:cubicBezTo>
                  <a:cubicBezTo>
                    <a:pt x="132" y="298"/>
                    <a:pt x="137" y="293"/>
                    <a:pt x="142" y="288"/>
                  </a:cubicBezTo>
                  <a:cubicBezTo>
                    <a:pt x="144" y="286"/>
                    <a:pt x="147" y="283"/>
                    <a:pt x="149" y="281"/>
                  </a:cubicBezTo>
                  <a:cubicBezTo>
                    <a:pt x="152" y="278"/>
                    <a:pt x="154" y="275"/>
                    <a:pt x="156" y="273"/>
                  </a:cubicBezTo>
                  <a:cubicBezTo>
                    <a:pt x="159" y="270"/>
                    <a:pt x="161" y="267"/>
                    <a:pt x="163" y="264"/>
                  </a:cubicBezTo>
                  <a:cubicBezTo>
                    <a:pt x="166" y="262"/>
                    <a:pt x="168" y="259"/>
                    <a:pt x="170" y="256"/>
                  </a:cubicBezTo>
                  <a:cubicBezTo>
                    <a:pt x="175" y="250"/>
                    <a:pt x="179" y="244"/>
                    <a:pt x="183" y="239"/>
                  </a:cubicBezTo>
                  <a:cubicBezTo>
                    <a:pt x="187" y="233"/>
                    <a:pt x="191" y="227"/>
                    <a:pt x="195" y="221"/>
                  </a:cubicBezTo>
                  <a:cubicBezTo>
                    <a:pt x="197" y="218"/>
                    <a:pt x="199" y="215"/>
                    <a:pt x="200" y="212"/>
                  </a:cubicBezTo>
                  <a:cubicBezTo>
                    <a:pt x="202" y="208"/>
                    <a:pt x="204" y="205"/>
                    <a:pt x="206" y="202"/>
                  </a:cubicBezTo>
                  <a:cubicBezTo>
                    <a:pt x="207" y="199"/>
                    <a:pt x="209" y="196"/>
                    <a:pt x="210" y="193"/>
                  </a:cubicBezTo>
                  <a:cubicBezTo>
                    <a:pt x="212" y="190"/>
                    <a:pt x="214" y="187"/>
                    <a:pt x="215" y="184"/>
                  </a:cubicBezTo>
                  <a:cubicBezTo>
                    <a:pt x="218" y="177"/>
                    <a:pt x="221" y="171"/>
                    <a:pt x="223" y="165"/>
                  </a:cubicBezTo>
                  <a:cubicBezTo>
                    <a:pt x="225" y="162"/>
                    <a:pt x="226" y="159"/>
                    <a:pt x="227" y="156"/>
                  </a:cubicBezTo>
                  <a:cubicBezTo>
                    <a:pt x="228" y="153"/>
                    <a:pt x="229" y="150"/>
                    <a:pt x="230" y="146"/>
                  </a:cubicBezTo>
                  <a:cubicBezTo>
                    <a:pt x="232" y="140"/>
                    <a:pt x="235" y="135"/>
                    <a:pt x="236" y="129"/>
                  </a:cubicBezTo>
                  <a:cubicBezTo>
                    <a:pt x="238" y="123"/>
                    <a:pt x="239" y="117"/>
                    <a:pt x="241" y="112"/>
                  </a:cubicBezTo>
                  <a:cubicBezTo>
                    <a:pt x="242" y="106"/>
                    <a:pt x="243" y="101"/>
                    <a:pt x="244" y="95"/>
                  </a:cubicBezTo>
                  <a:cubicBezTo>
                    <a:pt x="245" y="90"/>
                    <a:pt x="246" y="85"/>
                    <a:pt x="247" y="81"/>
                  </a:cubicBezTo>
                  <a:cubicBezTo>
                    <a:pt x="248" y="76"/>
                    <a:pt x="248" y="72"/>
                    <a:pt x="249" y="68"/>
                  </a:cubicBezTo>
                  <a:cubicBezTo>
                    <a:pt x="249" y="63"/>
                    <a:pt x="250" y="60"/>
                    <a:pt x="250" y="56"/>
                  </a:cubicBezTo>
                  <a:cubicBezTo>
                    <a:pt x="250" y="52"/>
                    <a:pt x="250" y="49"/>
                    <a:pt x="251" y="45"/>
                  </a:cubicBezTo>
                  <a:cubicBezTo>
                    <a:pt x="251" y="32"/>
                    <a:pt x="252" y="25"/>
                    <a:pt x="252" y="25"/>
                  </a:cubicBezTo>
                  <a:cubicBezTo>
                    <a:pt x="252" y="11"/>
                    <a:pt x="265" y="0"/>
                    <a:pt x="279" y="0"/>
                  </a:cubicBezTo>
                  <a:cubicBezTo>
                    <a:pt x="293" y="1"/>
                    <a:pt x="304" y="13"/>
                    <a:pt x="304" y="28"/>
                  </a:cubicBezTo>
                  <a:cubicBezTo>
                    <a:pt x="304" y="29"/>
                    <a:pt x="303" y="29"/>
                    <a:pt x="303" y="3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55000" lnSpcReduction="20000"/>
            </a:bodyPr>
            <a:lstStyle/>
            <a:p>
              <a:endParaRPr lang="en-US" sz="3599">
                <a:cs typeface="+mn-ea"/>
                <a:sym typeface="+mn-lt"/>
              </a:endParaRPr>
            </a:p>
          </p:txBody>
        </p:sp>
        <p:sp>
          <p:nvSpPr>
            <p:cNvPr id="191" name="iŝľíďe">
              <a:extLst>
                <a:ext uri="{FF2B5EF4-FFF2-40B4-BE49-F238E27FC236}">
                  <a16:creationId xmlns:a16="http://schemas.microsoft.com/office/drawing/2014/main" id="{22217161-1468-4A6D-85B1-5597D97B60A2}"/>
                </a:ext>
              </a:extLst>
            </p:cNvPr>
            <p:cNvSpPr/>
            <p:nvPr/>
          </p:nvSpPr>
          <p:spPr bwMode="auto">
            <a:xfrm>
              <a:off x="6441354" y="1727003"/>
              <a:ext cx="178070" cy="163327"/>
            </a:xfrm>
            <a:custGeom>
              <a:avLst/>
              <a:gdLst>
                <a:gd name="T0" fmla="*/ 0 w 157"/>
                <a:gd name="T1" fmla="*/ 144 h 144"/>
                <a:gd name="T2" fmla="*/ 66 w 157"/>
                <a:gd name="T3" fmla="*/ 0 h 144"/>
                <a:gd name="T4" fmla="*/ 157 w 157"/>
                <a:gd name="T5" fmla="*/ 130 h 144"/>
                <a:gd name="T6" fmla="*/ 0 w 157"/>
                <a:gd name="T7" fmla="*/ 144 h 144"/>
              </a:gdLst>
              <a:ahLst/>
              <a:cxnLst>
                <a:cxn ang="0">
                  <a:pos x="T0" y="T1"/>
                </a:cxn>
                <a:cxn ang="0">
                  <a:pos x="T2" y="T3"/>
                </a:cxn>
                <a:cxn ang="0">
                  <a:pos x="T4" y="T5"/>
                </a:cxn>
                <a:cxn ang="0">
                  <a:pos x="T6" y="T7"/>
                </a:cxn>
              </a:cxnLst>
              <a:rect l="0" t="0" r="r" b="b"/>
              <a:pathLst>
                <a:path w="157" h="144">
                  <a:moveTo>
                    <a:pt x="0" y="144"/>
                  </a:moveTo>
                  <a:lnTo>
                    <a:pt x="66" y="0"/>
                  </a:lnTo>
                  <a:lnTo>
                    <a:pt x="157" y="130"/>
                  </a:lnTo>
                  <a:lnTo>
                    <a:pt x="0" y="144"/>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2" name="iṣḷiḋé">
              <a:extLst>
                <a:ext uri="{FF2B5EF4-FFF2-40B4-BE49-F238E27FC236}">
                  <a16:creationId xmlns:a16="http://schemas.microsoft.com/office/drawing/2014/main" id="{2ACE1362-E8FB-4628-86EC-48D202DBF696}"/>
                </a:ext>
              </a:extLst>
            </p:cNvPr>
            <p:cNvSpPr/>
            <p:nvPr/>
          </p:nvSpPr>
          <p:spPr bwMode="auto">
            <a:xfrm>
              <a:off x="6071601" y="1727003"/>
              <a:ext cx="215500" cy="214367"/>
            </a:xfrm>
            <a:prstGeom prst="ellipse">
              <a:avLst/>
            </a:prstGeom>
            <a:noFill/>
            <a:ln w="73025"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3" name="iṡḷiḓe">
              <a:extLst>
                <a:ext uri="{FF2B5EF4-FFF2-40B4-BE49-F238E27FC236}">
                  <a16:creationId xmlns:a16="http://schemas.microsoft.com/office/drawing/2014/main" id="{9525F41A-D146-4545-8741-E302C9D6E438}"/>
                </a:ext>
              </a:extLst>
            </p:cNvPr>
            <p:cNvSpPr/>
            <p:nvPr/>
          </p:nvSpPr>
          <p:spPr bwMode="auto">
            <a:xfrm>
              <a:off x="5704119" y="4468394"/>
              <a:ext cx="214365" cy="215500"/>
            </a:xfrm>
            <a:prstGeom prst="ellipse">
              <a:avLst/>
            </a:prstGeom>
            <a:noFill/>
            <a:ln w="66675"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grpSp>
        <p:nvGrpSpPr>
          <p:cNvPr id="216" name="组合 215">
            <a:extLst>
              <a:ext uri="{FF2B5EF4-FFF2-40B4-BE49-F238E27FC236}">
                <a16:creationId xmlns:a16="http://schemas.microsoft.com/office/drawing/2014/main" id="{06F84EF6-67A0-4D8D-A11C-9A4D667C0815}"/>
              </a:ext>
            </a:extLst>
          </p:cNvPr>
          <p:cNvGrpSpPr/>
          <p:nvPr userDrawn="1"/>
        </p:nvGrpSpPr>
        <p:grpSpPr>
          <a:xfrm>
            <a:off x="3976717" y="3576135"/>
            <a:ext cx="1302013" cy="2567492"/>
            <a:chOff x="3976717" y="3576135"/>
            <a:chExt cx="1302013" cy="2567492"/>
          </a:xfrm>
        </p:grpSpPr>
        <p:sp>
          <p:nvSpPr>
            <p:cNvPr id="217" name="任意多边形: 形状 216">
              <a:extLst>
                <a:ext uri="{FF2B5EF4-FFF2-40B4-BE49-F238E27FC236}">
                  <a16:creationId xmlns:a16="http://schemas.microsoft.com/office/drawing/2014/main" id="{B7ED7D72-4DBF-4A23-B9AD-94024A8BE883}"/>
                </a:ext>
              </a:extLst>
            </p:cNvPr>
            <p:cNvSpPr/>
            <p:nvPr/>
          </p:nvSpPr>
          <p:spPr bwMode="auto">
            <a:xfrm>
              <a:off x="3976717" y="3636466"/>
              <a:ext cx="1302013" cy="2507161"/>
            </a:xfrm>
            <a:custGeom>
              <a:avLst/>
              <a:gdLst>
                <a:gd name="connsiteX0" fmla="*/ 490545 w 1302013"/>
                <a:gd name="connsiteY0" fmla="*/ 58396 h 2507161"/>
                <a:gd name="connsiteX1" fmla="*/ 727028 w 1302013"/>
                <a:gd name="connsiteY1" fmla="*/ 294879 h 2507161"/>
                <a:gd name="connsiteX2" fmla="*/ 490545 w 1302013"/>
                <a:gd name="connsiteY2" fmla="*/ 531362 h 2507161"/>
                <a:gd name="connsiteX3" fmla="*/ 254062 w 1302013"/>
                <a:gd name="connsiteY3" fmla="*/ 294879 h 2507161"/>
                <a:gd name="connsiteX4" fmla="*/ 490545 w 1302013"/>
                <a:gd name="connsiteY4" fmla="*/ 58396 h 2507161"/>
                <a:gd name="connsiteX5" fmla="*/ 1214453 w 1302013"/>
                <a:gd name="connsiteY5" fmla="*/ 1902 h 2507161"/>
                <a:gd name="connsiteX6" fmla="*/ 1253986 w 1302013"/>
                <a:gd name="connsiteY6" fmla="*/ 17611 h 2507161"/>
                <a:gd name="connsiteX7" fmla="*/ 1284075 w 1302013"/>
                <a:gd name="connsiteY7" fmla="*/ 161613 h 2507161"/>
                <a:gd name="connsiteX8" fmla="*/ 787613 w 1302013"/>
                <a:gd name="connsiteY8" fmla="*/ 934628 h 2507161"/>
                <a:gd name="connsiteX9" fmla="*/ 784958 w 1302013"/>
                <a:gd name="connsiteY9" fmla="*/ 944346 h 2507161"/>
                <a:gd name="connsiteX10" fmla="*/ 784958 w 1302013"/>
                <a:gd name="connsiteY10" fmla="*/ 1610464 h 2507161"/>
                <a:gd name="connsiteX11" fmla="*/ 784958 w 1302013"/>
                <a:gd name="connsiteY11" fmla="*/ 1669655 h 2507161"/>
                <a:gd name="connsiteX12" fmla="*/ 784958 w 1302013"/>
                <a:gd name="connsiteY12" fmla="*/ 2391430 h 2507161"/>
                <a:gd name="connsiteX13" fmla="*/ 664604 w 1302013"/>
                <a:gd name="connsiteY13" fmla="*/ 2507161 h 2507161"/>
                <a:gd name="connsiteX14" fmla="*/ 662834 w 1302013"/>
                <a:gd name="connsiteY14" fmla="*/ 2507161 h 2507161"/>
                <a:gd name="connsiteX15" fmla="*/ 543365 w 1302013"/>
                <a:gd name="connsiteY15" fmla="*/ 2391430 h 2507161"/>
                <a:gd name="connsiteX16" fmla="*/ 543365 w 1302013"/>
                <a:gd name="connsiteY16" fmla="*/ 1686440 h 2507161"/>
                <a:gd name="connsiteX17" fmla="*/ 526550 w 1302013"/>
                <a:gd name="connsiteY17" fmla="*/ 1669655 h 2507161"/>
                <a:gd name="connsiteX18" fmla="*/ 509736 w 1302013"/>
                <a:gd name="connsiteY18" fmla="*/ 1669655 h 2507161"/>
                <a:gd name="connsiteX19" fmla="*/ 492922 w 1302013"/>
                <a:gd name="connsiteY19" fmla="*/ 1686440 h 2507161"/>
                <a:gd name="connsiteX20" fmla="*/ 492922 w 1302013"/>
                <a:gd name="connsiteY20" fmla="*/ 2391430 h 2507161"/>
                <a:gd name="connsiteX21" fmla="*/ 372568 w 1302013"/>
                <a:gd name="connsiteY21" fmla="*/ 2507161 h 2507161"/>
                <a:gd name="connsiteX22" fmla="*/ 370798 w 1302013"/>
                <a:gd name="connsiteY22" fmla="*/ 2507161 h 2507161"/>
                <a:gd name="connsiteX23" fmla="*/ 250443 w 1302013"/>
                <a:gd name="connsiteY23" fmla="*/ 2391430 h 2507161"/>
                <a:gd name="connsiteX24" fmla="*/ 250443 w 1302013"/>
                <a:gd name="connsiteY24" fmla="*/ 1669655 h 2507161"/>
                <a:gd name="connsiteX25" fmla="*/ 250443 w 1302013"/>
                <a:gd name="connsiteY25" fmla="*/ 1610464 h 2507161"/>
                <a:gd name="connsiteX26" fmla="*/ 250443 w 1302013"/>
                <a:gd name="connsiteY26" fmla="*/ 960248 h 2507161"/>
                <a:gd name="connsiteX27" fmla="*/ 232744 w 1302013"/>
                <a:gd name="connsiteY27" fmla="*/ 944346 h 2507161"/>
                <a:gd name="connsiteX28" fmla="*/ 217700 w 1302013"/>
                <a:gd name="connsiteY28" fmla="*/ 960248 h 2507161"/>
                <a:gd name="connsiteX29" fmla="*/ 217700 w 1302013"/>
                <a:gd name="connsiteY29" fmla="*/ 1498266 h 2507161"/>
                <a:gd name="connsiteX30" fmla="*/ 108850 w 1302013"/>
                <a:gd name="connsiteY30" fmla="*/ 1602513 h 2507161"/>
                <a:gd name="connsiteX31" fmla="*/ 0 w 1302013"/>
                <a:gd name="connsiteY31" fmla="*/ 1498266 h 2507161"/>
                <a:gd name="connsiteX32" fmla="*/ 0 w 1302013"/>
                <a:gd name="connsiteY32" fmla="*/ 1019439 h 2507161"/>
                <a:gd name="connsiteX33" fmla="*/ 0 w 1302013"/>
                <a:gd name="connsiteY33" fmla="*/ 890456 h 2507161"/>
                <a:gd name="connsiteX34" fmla="*/ 0 w 1302013"/>
                <a:gd name="connsiteY34" fmla="*/ 636023 h 2507161"/>
                <a:gd name="connsiteX35" fmla="*/ 16814 w 1302013"/>
                <a:gd name="connsiteY35" fmla="*/ 619238 h 2507161"/>
                <a:gd name="connsiteX36" fmla="*/ 738940 w 1302013"/>
                <a:gd name="connsiteY36" fmla="*/ 619238 h 2507161"/>
                <a:gd name="connsiteX37" fmla="*/ 753100 w 1302013"/>
                <a:gd name="connsiteY37" fmla="*/ 611287 h 2507161"/>
                <a:gd name="connsiteX38" fmla="*/ 1105313 w 1302013"/>
                <a:gd name="connsiteY38" fmla="*/ 45881 h 2507161"/>
                <a:gd name="connsiteX39" fmla="*/ 1214453 w 1302013"/>
                <a:gd name="connsiteY39" fmla="*/ 1902 h 250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02013" h="2507161">
                  <a:moveTo>
                    <a:pt x="490545" y="58396"/>
                  </a:moveTo>
                  <a:cubicBezTo>
                    <a:pt x="621151" y="58396"/>
                    <a:pt x="727028" y="164273"/>
                    <a:pt x="727028" y="294879"/>
                  </a:cubicBezTo>
                  <a:cubicBezTo>
                    <a:pt x="727028" y="425485"/>
                    <a:pt x="621151" y="531362"/>
                    <a:pt x="490545" y="531362"/>
                  </a:cubicBezTo>
                  <a:cubicBezTo>
                    <a:pt x="359939" y="531362"/>
                    <a:pt x="254062" y="425485"/>
                    <a:pt x="254062" y="294879"/>
                  </a:cubicBezTo>
                  <a:cubicBezTo>
                    <a:pt x="254062" y="164273"/>
                    <a:pt x="359939" y="58396"/>
                    <a:pt x="490545" y="58396"/>
                  </a:cubicBezTo>
                  <a:close/>
                  <a:moveTo>
                    <a:pt x="1214453" y="1902"/>
                  </a:moveTo>
                  <a:cubicBezTo>
                    <a:pt x="1228156" y="4470"/>
                    <a:pt x="1241597" y="9660"/>
                    <a:pt x="1253986" y="17611"/>
                  </a:cubicBezTo>
                  <a:cubicBezTo>
                    <a:pt x="1303544" y="49415"/>
                    <a:pt x="1316818" y="113907"/>
                    <a:pt x="1284075" y="161613"/>
                  </a:cubicBezTo>
                  <a:cubicBezTo>
                    <a:pt x="787613" y="934628"/>
                    <a:pt x="787613" y="934628"/>
                    <a:pt x="787613" y="934628"/>
                  </a:cubicBezTo>
                  <a:cubicBezTo>
                    <a:pt x="785843" y="937278"/>
                    <a:pt x="784958" y="940812"/>
                    <a:pt x="784958" y="944346"/>
                  </a:cubicBezTo>
                  <a:cubicBezTo>
                    <a:pt x="784958" y="1610464"/>
                    <a:pt x="784958" y="1610464"/>
                    <a:pt x="784958" y="1610464"/>
                  </a:cubicBezTo>
                  <a:cubicBezTo>
                    <a:pt x="784958" y="1669655"/>
                    <a:pt x="784958" y="1669655"/>
                    <a:pt x="784958" y="1669655"/>
                  </a:cubicBezTo>
                  <a:cubicBezTo>
                    <a:pt x="784958" y="2391430"/>
                    <a:pt x="784958" y="2391430"/>
                    <a:pt x="784958" y="2391430"/>
                  </a:cubicBezTo>
                  <a:cubicBezTo>
                    <a:pt x="784958" y="2455038"/>
                    <a:pt x="730976" y="2507161"/>
                    <a:pt x="664604" y="2507161"/>
                  </a:cubicBezTo>
                  <a:cubicBezTo>
                    <a:pt x="662834" y="2507161"/>
                    <a:pt x="662834" y="2507161"/>
                    <a:pt x="662834" y="2507161"/>
                  </a:cubicBezTo>
                  <a:cubicBezTo>
                    <a:pt x="597347" y="2507161"/>
                    <a:pt x="543365" y="2455038"/>
                    <a:pt x="543365" y="2391430"/>
                  </a:cubicBezTo>
                  <a:cubicBezTo>
                    <a:pt x="543365" y="1686440"/>
                    <a:pt x="543365" y="1686440"/>
                    <a:pt x="543365" y="1686440"/>
                  </a:cubicBezTo>
                  <a:cubicBezTo>
                    <a:pt x="543365" y="1676722"/>
                    <a:pt x="535400" y="1669655"/>
                    <a:pt x="526550" y="1669655"/>
                  </a:cubicBezTo>
                  <a:cubicBezTo>
                    <a:pt x="509736" y="1669655"/>
                    <a:pt x="509736" y="1669655"/>
                    <a:pt x="509736" y="1669655"/>
                  </a:cubicBezTo>
                  <a:cubicBezTo>
                    <a:pt x="500002" y="1669655"/>
                    <a:pt x="492922" y="1676722"/>
                    <a:pt x="492922" y="1686440"/>
                  </a:cubicBezTo>
                  <a:cubicBezTo>
                    <a:pt x="492922" y="2391430"/>
                    <a:pt x="492922" y="2391430"/>
                    <a:pt x="492922" y="2391430"/>
                  </a:cubicBezTo>
                  <a:cubicBezTo>
                    <a:pt x="492922" y="2455038"/>
                    <a:pt x="438055" y="2507161"/>
                    <a:pt x="372568" y="2507161"/>
                  </a:cubicBezTo>
                  <a:cubicBezTo>
                    <a:pt x="370798" y="2507161"/>
                    <a:pt x="370798" y="2507161"/>
                    <a:pt x="370798" y="2507161"/>
                  </a:cubicBezTo>
                  <a:cubicBezTo>
                    <a:pt x="304426" y="2507161"/>
                    <a:pt x="250443" y="2455038"/>
                    <a:pt x="250443" y="2391430"/>
                  </a:cubicBezTo>
                  <a:cubicBezTo>
                    <a:pt x="250443" y="1669655"/>
                    <a:pt x="250443" y="1669655"/>
                    <a:pt x="250443" y="1669655"/>
                  </a:cubicBezTo>
                  <a:cubicBezTo>
                    <a:pt x="250443" y="1610464"/>
                    <a:pt x="250443" y="1610464"/>
                    <a:pt x="250443" y="1610464"/>
                  </a:cubicBezTo>
                  <a:cubicBezTo>
                    <a:pt x="250443" y="960248"/>
                    <a:pt x="250443" y="960248"/>
                    <a:pt x="250443" y="960248"/>
                  </a:cubicBezTo>
                  <a:cubicBezTo>
                    <a:pt x="250443" y="950530"/>
                    <a:pt x="242479" y="943462"/>
                    <a:pt x="232744" y="944346"/>
                  </a:cubicBezTo>
                  <a:cubicBezTo>
                    <a:pt x="223895" y="945229"/>
                    <a:pt x="217700" y="952297"/>
                    <a:pt x="217700" y="960248"/>
                  </a:cubicBezTo>
                  <a:cubicBezTo>
                    <a:pt x="217700" y="1498266"/>
                    <a:pt x="217700" y="1498266"/>
                    <a:pt x="217700" y="1498266"/>
                  </a:cubicBezTo>
                  <a:cubicBezTo>
                    <a:pt x="217700" y="1556574"/>
                    <a:pt x="168142" y="1602513"/>
                    <a:pt x="108850" y="1602513"/>
                  </a:cubicBezTo>
                  <a:cubicBezTo>
                    <a:pt x="49558" y="1602513"/>
                    <a:pt x="0" y="1556574"/>
                    <a:pt x="0" y="1498266"/>
                  </a:cubicBezTo>
                  <a:cubicBezTo>
                    <a:pt x="0" y="1019439"/>
                    <a:pt x="0" y="1019439"/>
                    <a:pt x="0" y="1019439"/>
                  </a:cubicBezTo>
                  <a:cubicBezTo>
                    <a:pt x="0" y="890456"/>
                    <a:pt x="0" y="890456"/>
                    <a:pt x="0" y="890456"/>
                  </a:cubicBezTo>
                  <a:cubicBezTo>
                    <a:pt x="0" y="636023"/>
                    <a:pt x="0" y="636023"/>
                    <a:pt x="0" y="636023"/>
                  </a:cubicBezTo>
                  <a:cubicBezTo>
                    <a:pt x="0" y="627189"/>
                    <a:pt x="7965" y="619238"/>
                    <a:pt x="16814" y="619238"/>
                  </a:cubicBezTo>
                  <a:lnTo>
                    <a:pt x="738940" y="619238"/>
                  </a:lnTo>
                  <a:cubicBezTo>
                    <a:pt x="744250" y="619238"/>
                    <a:pt x="749560" y="616587"/>
                    <a:pt x="753100" y="611287"/>
                  </a:cubicBezTo>
                  <a:cubicBezTo>
                    <a:pt x="1105313" y="45881"/>
                    <a:pt x="1105313" y="45881"/>
                    <a:pt x="1105313" y="45881"/>
                  </a:cubicBezTo>
                  <a:cubicBezTo>
                    <a:pt x="1129871" y="10102"/>
                    <a:pt x="1173344" y="-5800"/>
                    <a:pt x="1214453" y="1902"/>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3599">
                <a:cs typeface="+mn-ea"/>
                <a:sym typeface="+mn-lt"/>
              </a:endParaRPr>
            </a:p>
          </p:txBody>
        </p:sp>
        <p:sp>
          <p:nvSpPr>
            <p:cNvPr id="218" name="î$ḷiḓè">
              <a:extLst>
                <a:ext uri="{FF2B5EF4-FFF2-40B4-BE49-F238E27FC236}">
                  <a16:creationId xmlns:a16="http://schemas.microsoft.com/office/drawing/2014/main" id="{4747B061-4B82-4237-A757-0223EF49E85A}"/>
                </a:ext>
              </a:extLst>
            </p:cNvPr>
            <p:cNvSpPr/>
            <p:nvPr/>
          </p:nvSpPr>
          <p:spPr bwMode="auto">
            <a:xfrm>
              <a:off x="4166129" y="3576135"/>
              <a:ext cx="629487" cy="331190"/>
            </a:xfrm>
            <a:custGeom>
              <a:avLst/>
              <a:gdLst>
                <a:gd name="T0" fmla="*/ 51 w 711"/>
                <a:gd name="T1" fmla="*/ 375 h 375"/>
                <a:gd name="T2" fmla="*/ 0 w 711"/>
                <a:gd name="T3" fmla="*/ 323 h 375"/>
                <a:gd name="T4" fmla="*/ 21 w 711"/>
                <a:gd name="T5" fmla="*/ 281 h 375"/>
                <a:gd name="T6" fmla="*/ 334 w 711"/>
                <a:gd name="T7" fmla="*/ 0 h 375"/>
                <a:gd name="T8" fmla="*/ 646 w 711"/>
                <a:gd name="T9" fmla="*/ 271 h 375"/>
                <a:gd name="T10" fmla="*/ 660 w 711"/>
                <a:gd name="T11" fmla="*/ 271 h 375"/>
                <a:gd name="T12" fmla="*/ 711 w 711"/>
                <a:gd name="T13" fmla="*/ 323 h 375"/>
                <a:gd name="T14" fmla="*/ 660 w 711"/>
                <a:gd name="T15" fmla="*/ 375 h 375"/>
                <a:gd name="T16" fmla="*/ 51 w 711"/>
                <a:gd name="T1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375">
                  <a:moveTo>
                    <a:pt x="51" y="375"/>
                  </a:moveTo>
                  <a:cubicBezTo>
                    <a:pt x="23" y="375"/>
                    <a:pt x="0" y="351"/>
                    <a:pt x="0" y="323"/>
                  </a:cubicBezTo>
                  <a:cubicBezTo>
                    <a:pt x="0" y="306"/>
                    <a:pt x="8" y="291"/>
                    <a:pt x="21" y="281"/>
                  </a:cubicBezTo>
                  <a:cubicBezTo>
                    <a:pt x="41" y="120"/>
                    <a:pt x="172" y="0"/>
                    <a:pt x="334" y="0"/>
                  </a:cubicBezTo>
                  <a:cubicBezTo>
                    <a:pt x="492" y="0"/>
                    <a:pt x="622" y="115"/>
                    <a:pt x="646" y="271"/>
                  </a:cubicBezTo>
                  <a:cubicBezTo>
                    <a:pt x="660" y="271"/>
                    <a:pt x="660" y="271"/>
                    <a:pt x="660" y="271"/>
                  </a:cubicBezTo>
                  <a:cubicBezTo>
                    <a:pt x="688" y="271"/>
                    <a:pt x="711" y="295"/>
                    <a:pt x="711" y="323"/>
                  </a:cubicBezTo>
                  <a:cubicBezTo>
                    <a:pt x="711" y="351"/>
                    <a:pt x="688" y="375"/>
                    <a:pt x="660" y="375"/>
                  </a:cubicBezTo>
                  <a:lnTo>
                    <a:pt x="51" y="375"/>
                  </a:lnTo>
                  <a:close/>
                </a:path>
              </a:pathLst>
            </a:custGeom>
            <a:solidFill>
              <a:schemeClr val="bg1"/>
            </a:solidFill>
            <a:ln w="38100">
              <a:solidFill>
                <a:schemeClr val="accent1"/>
              </a:solid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grpSp>
      <p:grpSp>
        <p:nvGrpSpPr>
          <p:cNvPr id="219" name="组合 218">
            <a:extLst>
              <a:ext uri="{FF2B5EF4-FFF2-40B4-BE49-F238E27FC236}">
                <a16:creationId xmlns:a16="http://schemas.microsoft.com/office/drawing/2014/main" id="{DF2157F2-CB39-47E5-AEAD-9554D4A74438}"/>
              </a:ext>
            </a:extLst>
          </p:cNvPr>
          <p:cNvGrpSpPr/>
          <p:nvPr userDrawn="1"/>
        </p:nvGrpSpPr>
        <p:grpSpPr>
          <a:xfrm>
            <a:off x="6686933" y="3698263"/>
            <a:ext cx="1528326" cy="2439691"/>
            <a:chOff x="6686933" y="3698263"/>
            <a:chExt cx="1528326" cy="2439691"/>
          </a:xfrm>
        </p:grpSpPr>
        <p:sp>
          <p:nvSpPr>
            <p:cNvPr id="220" name="任意多边形: 形状 219">
              <a:extLst>
                <a:ext uri="{FF2B5EF4-FFF2-40B4-BE49-F238E27FC236}">
                  <a16:creationId xmlns:a16="http://schemas.microsoft.com/office/drawing/2014/main" id="{01CD1A37-EF4D-45D9-8E5A-243DF5D87A4A}"/>
                </a:ext>
              </a:extLst>
            </p:cNvPr>
            <p:cNvSpPr/>
            <p:nvPr/>
          </p:nvSpPr>
          <p:spPr bwMode="auto">
            <a:xfrm>
              <a:off x="6686933" y="3698263"/>
              <a:ext cx="1528326" cy="2439691"/>
            </a:xfrm>
            <a:custGeom>
              <a:avLst/>
              <a:gdLst>
                <a:gd name="connsiteX0" fmla="*/ 691057 w 1528326"/>
                <a:gd name="connsiteY0" fmla="*/ 548959 h 2439691"/>
                <a:gd name="connsiteX1" fmla="*/ 1517705 w 1528326"/>
                <a:gd name="connsiteY1" fmla="*/ 548959 h 2439691"/>
                <a:gd name="connsiteX2" fmla="*/ 1528326 w 1528326"/>
                <a:gd name="connsiteY2" fmla="*/ 559561 h 2439691"/>
                <a:gd name="connsiteX3" fmla="*/ 1528326 w 1528326"/>
                <a:gd name="connsiteY3" fmla="*/ 821967 h 2439691"/>
                <a:gd name="connsiteX4" fmla="*/ 1528326 w 1528326"/>
                <a:gd name="connsiteY4" fmla="*/ 950961 h 2439691"/>
                <a:gd name="connsiteX5" fmla="*/ 1528326 w 1528326"/>
                <a:gd name="connsiteY5" fmla="*/ 1429828 h 2439691"/>
                <a:gd name="connsiteX6" fmla="*/ 1419464 w 1528326"/>
                <a:gd name="connsiteY6" fmla="*/ 1534084 h 2439691"/>
                <a:gd name="connsiteX7" fmla="*/ 1309716 w 1528326"/>
                <a:gd name="connsiteY7" fmla="*/ 1429828 h 2439691"/>
                <a:gd name="connsiteX8" fmla="*/ 1309716 w 1528326"/>
                <a:gd name="connsiteY8" fmla="*/ 891765 h 2439691"/>
                <a:gd name="connsiteX9" fmla="*/ 1295555 w 1528326"/>
                <a:gd name="connsiteY9" fmla="*/ 875861 h 2439691"/>
                <a:gd name="connsiteX10" fmla="*/ 1277854 w 1528326"/>
                <a:gd name="connsiteY10" fmla="*/ 891765 h 2439691"/>
                <a:gd name="connsiteX11" fmla="*/ 1277854 w 1528326"/>
                <a:gd name="connsiteY11" fmla="*/ 1542035 h 2439691"/>
                <a:gd name="connsiteX12" fmla="*/ 1277854 w 1528326"/>
                <a:gd name="connsiteY12" fmla="*/ 1601231 h 2439691"/>
                <a:gd name="connsiteX13" fmla="*/ 1277854 w 1528326"/>
                <a:gd name="connsiteY13" fmla="*/ 2323067 h 2439691"/>
                <a:gd name="connsiteX14" fmla="*/ 1158370 w 1528326"/>
                <a:gd name="connsiteY14" fmla="*/ 2439691 h 2439691"/>
                <a:gd name="connsiteX15" fmla="*/ 1156600 w 1528326"/>
                <a:gd name="connsiteY15" fmla="*/ 2439691 h 2439691"/>
                <a:gd name="connsiteX16" fmla="*/ 1037117 w 1528326"/>
                <a:gd name="connsiteY16" fmla="*/ 2323067 h 2439691"/>
                <a:gd name="connsiteX17" fmla="*/ 1037117 w 1528326"/>
                <a:gd name="connsiteY17" fmla="*/ 1612717 h 2439691"/>
                <a:gd name="connsiteX18" fmla="*/ 1026496 w 1528326"/>
                <a:gd name="connsiteY18" fmla="*/ 1602115 h 2439691"/>
                <a:gd name="connsiteX19" fmla="*/ 998174 w 1528326"/>
                <a:gd name="connsiteY19" fmla="*/ 1602115 h 2439691"/>
                <a:gd name="connsiteX20" fmla="*/ 986668 w 1528326"/>
                <a:gd name="connsiteY20" fmla="*/ 1612717 h 2439691"/>
                <a:gd name="connsiteX21" fmla="*/ 986668 w 1528326"/>
                <a:gd name="connsiteY21" fmla="*/ 2323067 h 2439691"/>
                <a:gd name="connsiteX22" fmla="*/ 865415 w 1528326"/>
                <a:gd name="connsiteY22" fmla="*/ 2439691 h 2439691"/>
                <a:gd name="connsiteX23" fmla="*/ 864530 w 1528326"/>
                <a:gd name="connsiteY23" fmla="*/ 2439691 h 2439691"/>
                <a:gd name="connsiteX24" fmla="*/ 743276 w 1528326"/>
                <a:gd name="connsiteY24" fmla="*/ 2323067 h 2439691"/>
                <a:gd name="connsiteX25" fmla="*/ 743276 w 1528326"/>
                <a:gd name="connsiteY25" fmla="*/ 1601231 h 2439691"/>
                <a:gd name="connsiteX26" fmla="*/ 743276 w 1528326"/>
                <a:gd name="connsiteY26" fmla="*/ 1542035 h 2439691"/>
                <a:gd name="connsiteX27" fmla="*/ 744161 w 1528326"/>
                <a:gd name="connsiteY27" fmla="*/ 907668 h 2439691"/>
                <a:gd name="connsiteX28" fmla="*/ 725574 w 1528326"/>
                <a:gd name="connsiteY28" fmla="*/ 900600 h 2439691"/>
                <a:gd name="connsiteX29" fmla="*/ 540596 w 1528326"/>
                <a:gd name="connsiteY29" fmla="*/ 1115295 h 2439691"/>
                <a:gd name="connsiteX30" fmla="*/ 127272 w 1528326"/>
                <a:gd name="connsiteY30" fmla="*/ 1264610 h 2439691"/>
                <a:gd name="connsiteX31" fmla="*/ 3364 w 1528326"/>
                <a:gd name="connsiteY31" fmla="*/ 1193045 h 2439691"/>
                <a:gd name="connsiteX32" fmla="*/ 74169 w 1528326"/>
                <a:gd name="connsiteY32" fmla="*/ 1065818 h 2439691"/>
                <a:gd name="connsiteX33" fmla="*/ 388366 w 1528326"/>
                <a:gd name="connsiteY33" fmla="*/ 961563 h 2439691"/>
                <a:gd name="connsiteX34" fmla="*/ 393676 w 1528326"/>
                <a:gd name="connsiteY34" fmla="*/ 958912 h 2439691"/>
                <a:gd name="connsiteX35" fmla="*/ 691057 w 1528326"/>
                <a:gd name="connsiteY35" fmla="*/ 548959 h 2439691"/>
                <a:gd name="connsiteX36" fmla="*/ 1027573 w 1528326"/>
                <a:gd name="connsiteY36" fmla="*/ 0 h 2439691"/>
                <a:gd name="connsiteX37" fmla="*/ 1264056 w 1528326"/>
                <a:gd name="connsiteY37" fmla="*/ 236483 h 2439691"/>
                <a:gd name="connsiteX38" fmla="*/ 1027573 w 1528326"/>
                <a:gd name="connsiteY38" fmla="*/ 472966 h 2439691"/>
                <a:gd name="connsiteX39" fmla="*/ 791090 w 1528326"/>
                <a:gd name="connsiteY39" fmla="*/ 236483 h 2439691"/>
                <a:gd name="connsiteX40" fmla="*/ 1027573 w 1528326"/>
                <a:gd name="connsiteY40" fmla="*/ 0 h 243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8326" h="2439691">
                  <a:moveTo>
                    <a:pt x="691057" y="548959"/>
                  </a:moveTo>
                  <a:cubicBezTo>
                    <a:pt x="691057" y="548959"/>
                    <a:pt x="691057" y="548959"/>
                    <a:pt x="1517705" y="548959"/>
                  </a:cubicBezTo>
                  <a:cubicBezTo>
                    <a:pt x="1523901" y="548959"/>
                    <a:pt x="1528326" y="554260"/>
                    <a:pt x="1528326" y="559561"/>
                  </a:cubicBezTo>
                  <a:cubicBezTo>
                    <a:pt x="1528326" y="559561"/>
                    <a:pt x="1528326" y="559561"/>
                    <a:pt x="1528326" y="821967"/>
                  </a:cubicBezTo>
                  <a:cubicBezTo>
                    <a:pt x="1528326" y="821967"/>
                    <a:pt x="1528326" y="821967"/>
                    <a:pt x="1528326" y="950961"/>
                  </a:cubicBezTo>
                  <a:cubicBezTo>
                    <a:pt x="1528326" y="950961"/>
                    <a:pt x="1528326" y="950961"/>
                    <a:pt x="1528326" y="1429828"/>
                  </a:cubicBezTo>
                  <a:cubicBezTo>
                    <a:pt x="1528326" y="1487257"/>
                    <a:pt x="1478763" y="1534084"/>
                    <a:pt x="1419464" y="1534084"/>
                  </a:cubicBezTo>
                  <a:cubicBezTo>
                    <a:pt x="1360164" y="1534084"/>
                    <a:pt x="1309716" y="1487257"/>
                    <a:pt x="1309716" y="1429828"/>
                  </a:cubicBezTo>
                  <a:cubicBezTo>
                    <a:pt x="1309716" y="1429828"/>
                    <a:pt x="1309716" y="1429828"/>
                    <a:pt x="1309716" y="891765"/>
                  </a:cubicBezTo>
                  <a:cubicBezTo>
                    <a:pt x="1309716" y="883813"/>
                    <a:pt x="1303520" y="875861"/>
                    <a:pt x="1295555" y="875861"/>
                  </a:cubicBezTo>
                  <a:cubicBezTo>
                    <a:pt x="1285819" y="874978"/>
                    <a:pt x="1277854" y="882046"/>
                    <a:pt x="1277854" y="891765"/>
                  </a:cubicBezTo>
                  <a:cubicBezTo>
                    <a:pt x="1277854" y="891765"/>
                    <a:pt x="1277854" y="891765"/>
                    <a:pt x="1277854" y="1542035"/>
                  </a:cubicBezTo>
                  <a:cubicBezTo>
                    <a:pt x="1277854" y="1542035"/>
                    <a:pt x="1277854" y="1542035"/>
                    <a:pt x="1277854" y="1601231"/>
                  </a:cubicBezTo>
                  <a:cubicBezTo>
                    <a:pt x="1277854" y="1601231"/>
                    <a:pt x="1277854" y="1601231"/>
                    <a:pt x="1277854" y="2323067"/>
                  </a:cubicBezTo>
                  <a:cubicBezTo>
                    <a:pt x="1277854" y="2386680"/>
                    <a:pt x="1223865" y="2439691"/>
                    <a:pt x="1158370" y="2439691"/>
                  </a:cubicBezTo>
                  <a:cubicBezTo>
                    <a:pt x="1158370" y="2439691"/>
                    <a:pt x="1158370" y="2439691"/>
                    <a:pt x="1156600" y="2439691"/>
                  </a:cubicBezTo>
                  <a:cubicBezTo>
                    <a:pt x="1090220" y="2439691"/>
                    <a:pt x="1037117" y="2386680"/>
                    <a:pt x="1037117" y="2323067"/>
                  </a:cubicBezTo>
                  <a:cubicBezTo>
                    <a:pt x="1037117" y="2323067"/>
                    <a:pt x="1037117" y="2323067"/>
                    <a:pt x="1037117" y="1612717"/>
                  </a:cubicBezTo>
                  <a:cubicBezTo>
                    <a:pt x="1037117" y="1606532"/>
                    <a:pt x="1032691" y="1602115"/>
                    <a:pt x="1026496" y="1602115"/>
                  </a:cubicBezTo>
                  <a:cubicBezTo>
                    <a:pt x="1026496" y="1602115"/>
                    <a:pt x="1026496" y="1602115"/>
                    <a:pt x="998174" y="1602115"/>
                  </a:cubicBezTo>
                  <a:cubicBezTo>
                    <a:pt x="991979" y="1602115"/>
                    <a:pt x="986668" y="1606532"/>
                    <a:pt x="986668" y="1612717"/>
                  </a:cubicBezTo>
                  <a:cubicBezTo>
                    <a:pt x="986668" y="1612717"/>
                    <a:pt x="986668" y="1612717"/>
                    <a:pt x="986668" y="2323067"/>
                  </a:cubicBezTo>
                  <a:cubicBezTo>
                    <a:pt x="986668" y="2386680"/>
                    <a:pt x="931794" y="2439691"/>
                    <a:pt x="865415" y="2439691"/>
                  </a:cubicBezTo>
                  <a:cubicBezTo>
                    <a:pt x="865415" y="2439691"/>
                    <a:pt x="865415" y="2439691"/>
                    <a:pt x="864530" y="2439691"/>
                  </a:cubicBezTo>
                  <a:cubicBezTo>
                    <a:pt x="798150" y="2439691"/>
                    <a:pt x="743276" y="2386680"/>
                    <a:pt x="743276" y="2323067"/>
                  </a:cubicBezTo>
                  <a:cubicBezTo>
                    <a:pt x="743276" y="2323067"/>
                    <a:pt x="743276" y="2323067"/>
                    <a:pt x="743276" y="1601231"/>
                  </a:cubicBezTo>
                  <a:cubicBezTo>
                    <a:pt x="743276" y="1601231"/>
                    <a:pt x="743276" y="1601231"/>
                    <a:pt x="743276" y="1542035"/>
                  </a:cubicBezTo>
                  <a:cubicBezTo>
                    <a:pt x="743276" y="1542035"/>
                    <a:pt x="743276" y="1542035"/>
                    <a:pt x="744161" y="907668"/>
                  </a:cubicBezTo>
                  <a:cubicBezTo>
                    <a:pt x="744161" y="897949"/>
                    <a:pt x="731770" y="892648"/>
                    <a:pt x="725574" y="900600"/>
                  </a:cubicBezTo>
                  <a:cubicBezTo>
                    <a:pt x="662735" y="969515"/>
                    <a:pt x="540596" y="1114412"/>
                    <a:pt x="540596" y="1115295"/>
                  </a:cubicBezTo>
                  <a:cubicBezTo>
                    <a:pt x="519355" y="1137383"/>
                    <a:pt x="203388" y="1238988"/>
                    <a:pt x="127272" y="1264610"/>
                  </a:cubicBezTo>
                  <a:cubicBezTo>
                    <a:pt x="73284" y="1279630"/>
                    <a:pt x="17525" y="1247823"/>
                    <a:pt x="3364" y="1193045"/>
                  </a:cubicBezTo>
                  <a:cubicBezTo>
                    <a:pt x="-10797" y="1138267"/>
                    <a:pt x="21065" y="1080838"/>
                    <a:pt x="74169" y="1065818"/>
                  </a:cubicBezTo>
                  <a:cubicBezTo>
                    <a:pt x="75054" y="1065818"/>
                    <a:pt x="351193" y="974816"/>
                    <a:pt x="388366" y="961563"/>
                  </a:cubicBezTo>
                  <a:cubicBezTo>
                    <a:pt x="390136" y="961563"/>
                    <a:pt x="391906" y="959796"/>
                    <a:pt x="393676" y="958912"/>
                  </a:cubicBezTo>
                  <a:cubicBezTo>
                    <a:pt x="393676" y="958912"/>
                    <a:pt x="393676" y="958912"/>
                    <a:pt x="691057" y="548959"/>
                  </a:cubicBezTo>
                  <a:close/>
                  <a:moveTo>
                    <a:pt x="1027573" y="0"/>
                  </a:moveTo>
                  <a:cubicBezTo>
                    <a:pt x="1158179" y="0"/>
                    <a:pt x="1264056" y="105877"/>
                    <a:pt x="1264056" y="236483"/>
                  </a:cubicBezTo>
                  <a:cubicBezTo>
                    <a:pt x="1264056" y="367089"/>
                    <a:pt x="1158179" y="472966"/>
                    <a:pt x="1027573" y="472966"/>
                  </a:cubicBezTo>
                  <a:cubicBezTo>
                    <a:pt x="896967" y="472966"/>
                    <a:pt x="791090" y="367089"/>
                    <a:pt x="791090" y="236483"/>
                  </a:cubicBezTo>
                  <a:cubicBezTo>
                    <a:pt x="791090" y="105877"/>
                    <a:pt x="896967" y="0"/>
                    <a:pt x="1027573"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endParaRPr lang="en-US" sz="3599">
                <a:cs typeface="+mn-ea"/>
                <a:sym typeface="+mn-lt"/>
              </a:endParaRPr>
            </a:p>
          </p:txBody>
        </p:sp>
        <p:sp>
          <p:nvSpPr>
            <p:cNvPr id="221" name="任意多边形: 形状 220">
              <a:extLst>
                <a:ext uri="{FF2B5EF4-FFF2-40B4-BE49-F238E27FC236}">
                  <a16:creationId xmlns:a16="http://schemas.microsoft.com/office/drawing/2014/main" id="{12183E0D-F498-468F-BB49-36610D8BEE34}"/>
                </a:ext>
              </a:extLst>
            </p:cNvPr>
            <p:cNvSpPr/>
            <p:nvPr/>
          </p:nvSpPr>
          <p:spPr bwMode="auto">
            <a:xfrm>
              <a:off x="7601188" y="4204069"/>
              <a:ext cx="184205" cy="677933"/>
            </a:xfrm>
            <a:custGeom>
              <a:avLst/>
              <a:gdLst>
                <a:gd name="connsiteX0" fmla="*/ 79574 w 184205"/>
                <a:gd name="connsiteY0" fmla="*/ 6643 h 677933"/>
                <a:gd name="connsiteX1" fmla="*/ 105097 w 184205"/>
                <a:gd name="connsiteY1" fmla="*/ 6643 h 677933"/>
                <a:gd name="connsiteX2" fmla="*/ 165823 w 184205"/>
                <a:gd name="connsiteY2" fmla="*/ 87252 h 677933"/>
                <a:gd name="connsiteX3" fmla="*/ 165823 w 184205"/>
                <a:gd name="connsiteY3" fmla="*/ 122685 h 677933"/>
                <a:gd name="connsiteX4" fmla="*/ 140204 w 184205"/>
                <a:gd name="connsiteY4" fmla="*/ 156318 h 677933"/>
                <a:gd name="connsiteX5" fmla="*/ 120406 w 184205"/>
                <a:gd name="connsiteY5" fmla="*/ 182310 h 677933"/>
                <a:gd name="connsiteX6" fmla="*/ 124210 w 184205"/>
                <a:gd name="connsiteY6" fmla="*/ 204422 h 677933"/>
                <a:gd name="connsiteX7" fmla="*/ 184205 w 184205"/>
                <a:gd name="connsiteY7" fmla="*/ 556143 h 677933"/>
                <a:gd name="connsiteX8" fmla="*/ 182428 w 184205"/>
                <a:gd name="connsiteY8" fmla="*/ 567616 h 677933"/>
                <a:gd name="connsiteX9" fmla="*/ 177983 w 184205"/>
                <a:gd name="connsiteY9" fmla="*/ 577324 h 677933"/>
                <a:gd name="connsiteX10" fmla="*/ 106878 w 184205"/>
                <a:gd name="connsiteY10" fmla="*/ 669991 h 677933"/>
                <a:gd name="connsiteX11" fmla="*/ 76658 w 184205"/>
                <a:gd name="connsiteY11" fmla="*/ 669991 h 677933"/>
                <a:gd name="connsiteX12" fmla="*/ 6441 w 184205"/>
                <a:gd name="connsiteY12" fmla="*/ 577324 h 677933"/>
                <a:gd name="connsiteX13" fmla="*/ 219 w 184205"/>
                <a:gd name="connsiteY13" fmla="*/ 551730 h 677933"/>
                <a:gd name="connsiteX14" fmla="*/ 33994 w 184205"/>
                <a:gd name="connsiteY14" fmla="*/ 367279 h 677933"/>
                <a:gd name="connsiteX15" fmla="*/ 33994 w 184205"/>
                <a:gd name="connsiteY15" fmla="*/ 366396 h 677933"/>
                <a:gd name="connsiteX16" fmla="*/ 59770 w 184205"/>
                <a:gd name="connsiteY16" fmla="*/ 206656 h 677933"/>
                <a:gd name="connsiteX17" fmla="*/ 63845 w 184205"/>
                <a:gd name="connsiteY17" fmla="*/ 181759 h 677933"/>
                <a:gd name="connsiteX18" fmla="*/ 53955 w 184205"/>
                <a:gd name="connsiteY18" fmla="*/ 168775 h 677933"/>
                <a:gd name="connsiteX19" fmla="*/ 18847 w 184205"/>
                <a:gd name="connsiteY19" fmla="*/ 122685 h 677933"/>
                <a:gd name="connsiteX20" fmla="*/ 18847 w 184205"/>
                <a:gd name="connsiteY20" fmla="*/ 87252 h 677933"/>
                <a:gd name="connsiteX21" fmla="*/ 79574 w 184205"/>
                <a:gd name="connsiteY21" fmla="*/ 6643 h 67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205" h="677933">
                  <a:moveTo>
                    <a:pt x="79574" y="6643"/>
                  </a:moveTo>
                  <a:cubicBezTo>
                    <a:pt x="86615" y="-2215"/>
                    <a:pt x="98056" y="-2215"/>
                    <a:pt x="105097" y="6643"/>
                  </a:cubicBezTo>
                  <a:cubicBezTo>
                    <a:pt x="105097" y="6643"/>
                    <a:pt x="105097" y="6643"/>
                    <a:pt x="165823" y="87252"/>
                  </a:cubicBezTo>
                  <a:cubicBezTo>
                    <a:pt x="172864" y="96996"/>
                    <a:pt x="172864" y="112941"/>
                    <a:pt x="165823" y="122685"/>
                  </a:cubicBezTo>
                  <a:cubicBezTo>
                    <a:pt x="165823" y="122685"/>
                    <a:pt x="165823" y="122685"/>
                    <a:pt x="140204" y="156318"/>
                  </a:cubicBezTo>
                  <a:lnTo>
                    <a:pt x="120406" y="182310"/>
                  </a:lnTo>
                  <a:lnTo>
                    <a:pt x="124210" y="204422"/>
                  </a:lnTo>
                  <a:cubicBezTo>
                    <a:pt x="145208" y="326130"/>
                    <a:pt x="184205" y="550847"/>
                    <a:pt x="184205" y="556143"/>
                  </a:cubicBezTo>
                  <a:cubicBezTo>
                    <a:pt x="184205" y="560555"/>
                    <a:pt x="184205" y="564086"/>
                    <a:pt x="182428" y="567616"/>
                  </a:cubicBezTo>
                  <a:cubicBezTo>
                    <a:pt x="182428" y="569381"/>
                    <a:pt x="179761" y="577324"/>
                    <a:pt x="177983" y="577324"/>
                  </a:cubicBezTo>
                  <a:cubicBezTo>
                    <a:pt x="106878" y="669991"/>
                    <a:pt x="106878" y="669991"/>
                    <a:pt x="106878" y="669991"/>
                  </a:cubicBezTo>
                  <a:cubicBezTo>
                    <a:pt x="98878" y="680581"/>
                    <a:pt x="85546" y="680581"/>
                    <a:pt x="76658" y="669991"/>
                  </a:cubicBezTo>
                  <a:cubicBezTo>
                    <a:pt x="6441" y="577324"/>
                    <a:pt x="6441" y="577324"/>
                    <a:pt x="6441" y="577324"/>
                  </a:cubicBezTo>
                  <a:cubicBezTo>
                    <a:pt x="1108" y="570263"/>
                    <a:pt x="-670" y="560555"/>
                    <a:pt x="219" y="551730"/>
                  </a:cubicBezTo>
                  <a:cubicBezTo>
                    <a:pt x="1108" y="544670"/>
                    <a:pt x="25106" y="421996"/>
                    <a:pt x="33994" y="367279"/>
                  </a:cubicBezTo>
                  <a:cubicBezTo>
                    <a:pt x="33994" y="367279"/>
                    <a:pt x="33994" y="366396"/>
                    <a:pt x="33994" y="366396"/>
                  </a:cubicBezTo>
                  <a:cubicBezTo>
                    <a:pt x="37550" y="343450"/>
                    <a:pt x="55326" y="236662"/>
                    <a:pt x="59770" y="206656"/>
                  </a:cubicBezTo>
                  <a:lnTo>
                    <a:pt x="63845" y="181759"/>
                  </a:lnTo>
                  <a:lnTo>
                    <a:pt x="53955" y="168775"/>
                  </a:lnTo>
                  <a:cubicBezTo>
                    <a:pt x="45415" y="157564"/>
                    <a:pt x="34029" y="142616"/>
                    <a:pt x="18847" y="122685"/>
                  </a:cubicBezTo>
                  <a:cubicBezTo>
                    <a:pt x="11806" y="112941"/>
                    <a:pt x="11806" y="96996"/>
                    <a:pt x="18847" y="87252"/>
                  </a:cubicBezTo>
                  <a:cubicBezTo>
                    <a:pt x="18847" y="87252"/>
                    <a:pt x="18847" y="87252"/>
                    <a:pt x="79574" y="66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3599">
                <a:cs typeface="+mn-ea"/>
                <a:sym typeface="+mn-lt"/>
              </a:endParaRPr>
            </a:p>
          </p:txBody>
        </p:sp>
      </p:grpSp>
    </p:spTree>
    <p:extLst>
      <p:ext uri="{BB962C8B-B14F-4D97-AF65-F5344CB8AC3E}">
        <p14:creationId xmlns:p14="http://schemas.microsoft.com/office/powerpoint/2010/main" val="35595733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图片占位符 112">
            <a:extLst>
              <a:ext uri="{FF2B5EF4-FFF2-40B4-BE49-F238E27FC236}">
                <a16:creationId xmlns:a16="http://schemas.microsoft.com/office/drawing/2014/main" id="{FDCF1219-66FD-47D0-A338-2CE1AD26457B}"/>
              </a:ext>
            </a:extLst>
          </p:cNvPr>
          <p:cNvSpPr>
            <a:spLocks noGrp="1"/>
          </p:cNvSpPr>
          <p:nvPr>
            <p:ph type="pic" sz="quarter" idx="10"/>
          </p:nvPr>
        </p:nvSpPr>
        <p:spPr>
          <a:xfrm>
            <a:off x="381" y="1199638"/>
            <a:ext cx="12191238" cy="4838400"/>
          </a:xfrm>
          <a:custGeom>
            <a:avLst/>
            <a:gdLst>
              <a:gd name="connsiteX0" fmla="*/ 10755219 w 12191238"/>
              <a:gd name="connsiteY0" fmla="*/ 0 h 4838400"/>
              <a:gd name="connsiteX1" fmla="*/ 12191238 w 12191238"/>
              <a:gd name="connsiteY1" fmla="*/ 0 h 4838400"/>
              <a:gd name="connsiteX2" fmla="*/ 12191238 w 12191238"/>
              <a:gd name="connsiteY2" fmla="*/ 4838400 h 4838400"/>
              <a:gd name="connsiteX3" fmla="*/ 10755219 w 12191238"/>
              <a:gd name="connsiteY3" fmla="*/ 4838400 h 4838400"/>
              <a:gd name="connsiteX4" fmla="*/ 6903069 w 12191238"/>
              <a:gd name="connsiteY4" fmla="*/ 0 h 4838400"/>
              <a:gd name="connsiteX5" fmla="*/ 10675869 w 12191238"/>
              <a:gd name="connsiteY5" fmla="*/ 0 h 4838400"/>
              <a:gd name="connsiteX6" fmla="*/ 10675869 w 12191238"/>
              <a:gd name="connsiteY6" fmla="*/ 4838400 h 4838400"/>
              <a:gd name="connsiteX7" fmla="*/ 6903069 w 12191238"/>
              <a:gd name="connsiteY7" fmla="*/ 4838400 h 4838400"/>
              <a:gd name="connsiteX8" fmla="*/ 0 w 12191238"/>
              <a:gd name="connsiteY8" fmla="*/ 0 h 4838400"/>
              <a:gd name="connsiteX9" fmla="*/ 2169094 w 12191238"/>
              <a:gd name="connsiteY9" fmla="*/ 0 h 4838400"/>
              <a:gd name="connsiteX10" fmla="*/ 2169094 w 12191238"/>
              <a:gd name="connsiteY10" fmla="*/ 4838400 h 4838400"/>
              <a:gd name="connsiteX11" fmla="*/ 0 w 12191238"/>
              <a:gd name="connsiteY11" fmla="*/ 4838400 h 48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238" h="4838400">
                <a:moveTo>
                  <a:pt x="10755219" y="0"/>
                </a:moveTo>
                <a:lnTo>
                  <a:pt x="12191238" y="0"/>
                </a:lnTo>
                <a:lnTo>
                  <a:pt x="12191238" y="4838400"/>
                </a:lnTo>
                <a:lnTo>
                  <a:pt x="10755219" y="4838400"/>
                </a:lnTo>
                <a:close/>
                <a:moveTo>
                  <a:pt x="6903069" y="0"/>
                </a:moveTo>
                <a:lnTo>
                  <a:pt x="10675869" y="0"/>
                </a:lnTo>
                <a:lnTo>
                  <a:pt x="10675869" y="4838400"/>
                </a:lnTo>
                <a:lnTo>
                  <a:pt x="6903069" y="4838400"/>
                </a:lnTo>
                <a:close/>
                <a:moveTo>
                  <a:pt x="0" y="0"/>
                </a:moveTo>
                <a:lnTo>
                  <a:pt x="2169094" y="0"/>
                </a:lnTo>
                <a:lnTo>
                  <a:pt x="2169094" y="4838400"/>
                </a:lnTo>
                <a:lnTo>
                  <a:pt x="0" y="4838400"/>
                </a:lnTo>
                <a:close/>
              </a:path>
            </a:pathLst>
          </a:custGeom>
          <a:solidFill>
            <a:schemeClr val="accent1">
              <a:lumMod val="20000"/>
              <a:lumOff val="80000"/>
            </a:schemeClr>
          </a:solidFill>
        </p:spPr>
        <p:txBody>
          <a:bodyPr wrap="square">
            <a:noAutofit/>
          </a:bodyPr>
          <a:lstStyle/>
          <a:p>
            <a:endParaRPr lang="en-US"/>
          </a:p>
        </p:txBody>
      </p:sp>
    </p:spTree>
    <p:extLst>
      <p:ext uri="{BB962C8B-B14F-4D97-AF65-F5344CB8AC3E}">
        <p14:creationId xmlns:p14="http://schemas.microsoft.com/office/powerpoint/2010/main" val="25789168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图片占位符 6">
            <a:extLst>
              <a:ext uri="{FF2B5EF4-FFF2-40B4-BE49-F238E27FC236}">
                <a16:creationId xmlns:a16="http://schemas.microsoft.com/office/drawing/2014/main" id="{ABBDFC0A-D959-4C84-8676-8F0F8ED823AF}"/>
              </a:ext>
            </a:extLst>
          </p:cNvPr>
          <p:cNvSpPr>
            <a:spLocks noGrp="1"/>
          </p:cNvSpPr>
          <p:nvPr>
            <p:ph type="pic" sz="quarter" idx="10"/>
          </p:nvPr>
        </p:nvSpPr>
        <p:spPr>
          <a:xfrm>
            <a:off x="797186" y="1646362"/>
            <a:ext cx="2129171" cy="1460519"/>
          </a:xfrm>
          <a:solidFill>
            <a:schemeClr val="accent1">
              <a:lumMod val="20000"/>
              <a:lumOff val="80000"/>
            </a:schemeClr>
          </a:solidFill>
        </p:spPr>
        <p:txBody>
          <a:bodyPr/>
          <a:lstStyle/>
          <a:p>
            <a:endParaRPr lang="en-US"/>
          </a:p>
        </p:txBody>
      </p:sp>
      <p:sp>
        <p:nvSpPr>
          <p:cNvPr id="116" name="图片占位符 6">
            <a:extLst>
              <a:ext uri="{FF2B5EF4-FFF2-40B4-BE49-F238E27FC236}">
                <a16:creationId xmlns:a16="http://schemas.microsoft.com/office/drawing/2014/main" id="{6839B8E7-54A4-40C7-A11B-C2183357C9C8}"/>
              </a:ext>
            </a:extLst>
          </p:cNvPr>
          <p:cNvSpPr>
            <a:spLocks noGrp="1"/>
          </p:cNvSpPr>
          <p:nvPr>
            <p:ph type="pic" sz="quarter" idx="11"/>
          </p:nvPr>
        </p:nvSpPr>
        <p:spPr>
          <a:xfrm>
            <a:off x="3615771" y="1646362"/>
            <a:ext cx="2129171" cy="1460519"/>
          </a:xfrm>
          <a:solidFill>
            <a:schemeClr val="accent1">
              <a:lumMod val="20000"/>
              <a:lumOff val="80000"/>
            </a:schemeClr>
          </a:solidFill>
        </p:spPr>
        <p:txBody>
          <a:bodyPr/>
          <a:lstStyle/>
          <a:p>
            <a:endParaRPr lang="en-US"/>
          </a:p>
        </p:txBody>
      </p:sp>
      <p:sp>
        <p:nvSpPr>
          <p:cNvPr id="117" name="图片占位符 6">
            <a:extLst>
              <a:ext uri="{FF2B5EF4-FFF2-40B4-BE49-F238E27FC236}">
                <a16:creationId xmlns:a16="http://schemas.microsoft.com/office/drawing/2014/main" id="{B560B2FF-C7B5-4044-8476-C7E915F26598}"/>
              </a:ext>
            </a:extLst>
          </p:cNvPr>
          <p:cNvSpPr>
            <a:spLocks noGrp="1"/>
          </p:cNvSpPr>
          <p:nvPr>
            <p:ph type="pic" sz="quarter" idx="12"/>
          </p:nvPr>
        </p:nvSpPr>
        <p:spPr>
          <a:xfrm>
            <a:off x="6434356" y="1646362"/>
            <a:ext cx="2129171" cy="1460519"/>
          </a:xfrm>
          <a:solidFill>
            <a:schemeClr val="accent1">
              <a:lumMod val="20000"/>
              <a:lumOff val="80000"/>
            </a:schemeClr>
          </a:solidFill>
        </p:spPr>
        <p:txBody>
          <a:bodyPr/>
          <a:lstStyle/>
          <a:p>
            <a:endParaRPr lang="en-US"/>
          </a:p>
        </p:txBody>
      </p:sp>
      <p:sp>
        <p:nvSpPr>
          <p:cNvPr id="118" name="图片占位符 6">
            <a:extLst>
              <a:ext uri="{FF2B5EF4-FFF2-40B4-BE49-F238E27FC236}">
                <a16:creationId xmlns:a16="http://schemas.microsoft.com/office/drawing/2014/main" id="{D260482A-4D6C-4F03-BDF2-7A1936C28443}"/>
              </a:ext>
            </a:extLst>
          </p:cNvPr>
          <p:cNvSpPr>
            <a:spLocks noGrp="1"/>
          </p:cNvSpPr>
          <p:nvPr>
            <p:ph type="pic" sz="quarter" idx="13"/>
          </p:nvPr>
        </p:nvSpPr>
        <p:spPr>
          <a:xfrm>
            <a:off x="9252941" y="1646362"/>
            <a:ext cx="2129171" cy="1460519"/>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206807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18" name="图片 117">
            <a:extLst>
              <a:ext uri="{FF2B5EF4-FFF2-40B4-BE49-F238E27FC236}">
                <a16:creationId xmlns:a16="http://schemas.microsoft.com/office/drawing/2014/main" id="{EBAE68E8-22BD-48C0-870B-68575BE99D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8115" y="1384085"/>
            <a:ext cx="1945162" cy="4011890"/>
          </a:xfrm>
          <a:prstGeom prst="rect">
            <a:avLst/>
          </a:prstGeom>
        </p:spPr>
      </p:pic>
      <p:sp>
        <p:nvSpPr>
          <p:cNvPr id="119" name="图片占位符 6">
            <a:extLst>
              <a:ext uri="{FF2B5EF4-FFF2-40B4-BE49-F238E27FC236}">
                <a16:creationId xmlns:a16="http://schemas.microsoft.com/office/drawing/2014/main" id="{62C81596-79DC-4E9D-8F56-F1A52ED83847}"/>
              </a:ext>
            </a:extLst>
          </p:cNvPr>
          <p:cNvSpPr>
            <a:spLocks noGrp="1"/>
          </p:cNvSpPr>
          <p:nvPr>
            <p:ph type="pic" sz="quarter" idx="10"/>
          </p:nvPr>
        </p:nvSpPr>
        <p:spPr>
          <a:xfrm>
            <a:off x="591311" y="1749552"/>
            <a:ext cx="1652017" cy="3279648"/>
          </a:xfrm>
          <a:prstGeom prst="roundRect">
            <a:avLst>
              <a:gd name="adj" fmla="val 5598"/>
            </a:avLst>
          </a:prstGeom>
          <a:solidFill>
            <a:schemeClr val="accent1">
              <a:lumMod val="20000"/>
              <a:lumOff val="80000"/>
            </a:schemeClr>
          </a:solidFill>
        </p:spPr>
        <p:txBody>
          <a:bodyPr/>
          <a:lstStyle/>
          <a:p>
            <a:endParaRPr lang="en-US" dirty="0"/>
          </a:p>
        </p:txBody>
      </p:sp>
      <p:grpSp>
        <p:nvGrpSpPr>
          <p:cNvPr id="114" name="组合 113">
            <a:extLst>
              <a:ext uri="{FF2B5EF4-FFF2-40B4-BE49-F238E27FC236}">
                <a16:creationId xmlns:a16="http://schemas.microsoft.com/office/drawing/2014/main" id="{614A6746-787D-4EC8-B5BD-153DAD07A36C}"/>
              </a:ext>
            </a:extLst>
          </p:cNvPr>
          <p:cNvGrpSpPr/>
          <p:nvPr userDrawn="1"/>
        </p:nvGrpSpPr>
        <p:grpSpPr>
          <a:xfrm>
            <a:off x="2479158" y="1196975"/>
            <a:ext cx="9233416" cy="4932363"/>
            <a:chOff x="2479158" y="1196975"/>
            <a:chExt cx="9233416" cy="4932363"/>
          </a:xfrm>
        </p:grpSpPr>
        <p:sp>
          <p:nvSpPr>
            <p:cNvPr id="115" name="Rectangle 31">
              <a:extLst>
                <a:ext uri="{FF2B5EF4-FFF2-40B4-BE49-F238E27FC236}">
                  <a16:creationId xmlns:a16="http://schemas.microsoft.com/office/drawing/2014/main" id="{835FA047-0718-4BE3-8C96-09EF50A4CF2A}"/>
                </a:ext>
              </a:extLst>
            </p:cNvPr>
            <p:cNvSpPr/>
            <p:nvPr/>
          </p:nvSpPr>
          <p:spPr>
            <a:xfrm>
              <a:off x="3029885" y="1196975"/>
              <a:ext cx="8682689" cy="4932363"/>
            </a:xfrm>
            <a:prstGeom prst="rect">
              <a:avLst/>
            </a:prstGeom>
            <a:pattFill prst="ltUpDiag">
              <a:fgClr>
                <a:schemeClr val="bg1">
                  <a:lumMod val="95000"/>
                </a:schemeClr>
              </a:fgClr>
              <a:bgClr>
                <a:schemeClr val="bg1"/>
              </a:bgClr>
            </a:pattFill>
            <a:ln w="9525" cap="rnd"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endParaRPr lang="en-US" sz="1200" dirty="0" err="1">
                <a:solidFill>
                  <a:srgbClr val="FFFFFF"/>
                </a:solidFill>
                <a:cs typeface="+mn-ea"/>
                <a:sym typeface="+mn-lt"/>
              </a:endParaRPr>
            </a:p>
          </p:txBody>
        </p:sp>
        <p:sp>
          <p:nvSpPr>
            <p:cNvPr id="116" name="任意多边形: 形状 115">
              <a:extLst>
                <a:ext uri="{FF2B5EF4-FFF2-40B4-BE49-F238E27FC236}">
                  <a16:creationId xmlns:a16="http://schemas.microsoft.com/office/drawing/2014/main" id="{7B1EDE63-815C-4D06-AF38-B394C62D3645}"/>
                </a:ext>
              </a:extLst>
            </p:cNvPr>
            <p:cNvSpPr/>
            <p:nvPr/>
          </p:nvSpPr>
          <p:spPr>
            <a:xfrm>
              <a:off x="2479158" y="1196975"/>
              <a:ext cx="550727" cy="4932363"/>
            </a:xfrm>
            <a:custGeom>
              <a:avLst/>
              <a:gdLst>
                <a:gd name="connsiteX0" fmla="*/ 550727 w 550727"/>
                <a:gd name="connsiteY0" fmla="*/ 0 h 4694366"/>
                <a:gd name="connsiteX1" fmla="*/ 550727 w 550727"/>
                <a:gd name="connsiteY1" fmla="*/ 4694366 h 4694366"/>
                <a:gd name="connsiteX2" fmla="*/ 517963 w 550727"/>
                <a:gd name="connsiteY2" fmla="*/ 4629632 h 4694366"/>
                <a:gd name="connsiteX3" fmla="*/ 4148 w 550727"/>
                <a:gd name="connsiteY3" fmla="*/ 3578354 h 4694366"/>
                <a:gd name="connsiteX4" fmla="*/ 0 w 550727"/>
                <a:gd name="connsiteY4" fmla="*/ 341049 h 469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27" h="4694366">
                  <a:moveTo>
                    <a:pt x="550727" y="0"/>
                  </a:moveTo>
                  <a:lnTo>
                    <a:pt x="550727" y="4694366"/>
                  </a:lnTo>
                  <a:lnTo>
                    <a:pt x="517963" y="4629632"/>
                  </a:lnTo>
                  <a:cubicBezTo>
                    <a:pt x="226323" y="4050576"/>
                    <a:pt x="115236" y="3809653"/>
                    <a:pt x="4148" y="3578354"/>
                  </a:cubicBezTo>
                  <a:cubicBezTo>
                    <a:pt x="2765" y="2499253"/>
                    <a:pt x="1383" y="1420151"/>
                    <a:pt x="0" y="341049"/>
                  </a:cubicBezTo>
                  <a:close/>
                </a:path>
              </a:pathLst>
            </a:custGeom>
            <a:gradFill flip="none" rotWithShape="1">
              <a:gsLst>
                <a:gs pos="0">
                  <a:schemeClr val="bg1">
                    <a:lumMod val="85000"/>
                    <a:alpha val="0"/>
                  </a:schemeClr>
                </a:gs>
                <a:gs pos="100000">
                  <a:schemeClr val="bg1">
                    <a:lumMod val="75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spcBef>
                  <a:spcPts val="600"/>
                </a:spcBef>
                <a:spcAft>
                  <a:spcPts val="300"/>
                </a:spcAft>
                <a:buClr>
                  <a:schemeClr val="bg1"/>
                </a:buClr>
              </a:pPr>
              <a:endParaRPr lang="en-US" sz="2400" dirty="0" err="1">
                <a:cs typeface="+mn-ea"/>
                <a:sym typeface="+mn-lt"/>
              </a:endParaRPr>
            </a:p>
          </p:txBody>
        </p:sp>
      </p:grpSp>
    </p:spTree>
    <p:extLst>
      <p:ext uri="{BB962C8B-B14F-4D97-AF65-F5344CB8AC3E}">
        <p14:creationId xmlns:p14="http://schemas.microsoft.com/office/powerpoint/2010/main" val="3576015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2" name="矩形: 圆角 111">
            <a:extLst>
              <a:ext uri="{FF2B5EF4-FFF2-40B4-BE49-F238E27FC236}">
                <a16:creationId xmlns:a16="http://schemas.microsoft.com/office/drawing/2014/main" id="{5BD01A25-85AE-47B1-AA2C-F5A474E0373D}"/>
              </a:ext>
            </a:extLst>
          </p:cNvPr>
          <p:cNvSpPr/>
          <p:nvPr userDrawn="1"/>
        </p:nvSpPr>
        <p:spPr>
          <a:xfrm>
            <a:off x="5218730"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4" name="图片占位符 133">
            <a:extLst>
              <a:ext uri="{FF2B5EF4-FFF2-40B4-BE49-F238E27FC236}">
                <a16:creationId xmlns:a16="http://schemas.microsoft.com/office/drawing/2014/main" id="{7C7E4B1B-647A-4646-A4A3-2C672B56DEAC}"/>
              </a:ext>
            </a:extLst>
          </p:cNvPr>
          <p:cNvSpPr>
            <a:spLocks noGrp="1"/>
          </p:cNvSpPr>
          <p:nvPr>
            <p:ph type="pic" sz="quarter" idx="14"/>
          </p:nvPr>
        </p:nvSpPr>
        <p:spPr>
          <a:xfrm>
            <a:off x="5219260"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15" name="矩形: 圆角 114">
            <a:extLst>
              <a:ext uri="{FF2B5EF4-FFF2-40B4-BE49-F238E27FC236}">
                <a16:creationId xmlns:a16="http://schemas.microsoft.com/office/drawing/2014/main" id="{EBFB8E03-821E-457C-908F-CD7AC8C0D1C4}"/>
              </a:ext>
            </a:extLst>
          </p:cNvPr>
          <p:cNvSpPr/>
          <p:nvPr userDrawn="1"/>
        </p:nvSpPr>
        <p:spPr>
          <a:xfrm>
            <a:off x="7554743" y="1721476"/>
            <a:ext cx="4157833" cy="3948488"/>
          </a:xfrm>
          <a:prstGeom prst="roundRect">
            <a:avLst>
              <a:gd name="adj" fmla="val 3609"/>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18" name="矩形: 圆角 117">
            <a:extLst>
              <a:ext uri="{FF2B5EF4-FFF2-40B4-BE49-F238E27FC236}">
                <a16:creationId xmlns:a16="http://schemas.microsoft.com/office/drawing/2014/main" id="{4B34CD58-1A67-4C28-BB4D-C2F72E75DD00}"/>
              </a:ext>
            </a:extLst>
          </p:cNvPr>
          <p:cNvSpPr/>
          <p:nvPr userDrawn="1"/>
        </p:nvSpPr>
        <p:spPr>
          <a:xfrm>
            <a:off x="2899324" y="3758366"/>
            <a:ext cx="2012948" cy="1911598"/>
          </a:xfrm>
          <a:prstGeom prst="roundRect">
            <a:avLst>
              <a:gd name="adj" fmla="val 7552"/>
            </a:avLst>
          </a:prstGeom>
          <a:solidFill>
            <a:schemeClr val="bg1"/>
          </a:solidFill>
          <a:ln>
            <a:noFill/>
          </a:ln>
          <a:effectLst>
            <a:outerShdw blurRad="101600" dist="38100" dir="2700000" algn="tl" rotWithShape="0">
              <a:schemeClr val="accent1">
                <a:alpha val="2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3" name="图片占位符 132">
            <a:extLst>
              <a:ext uri="{FF2B5EF4-FFF2-40B4-BE49-F238E27FC236}">
                <a16:creationId xmlns:a16="http://schemas.microsoft.com/office/drawing/2014/main" id="{81A40E5D-1A1B-4658-B395-24A5559DD395}"/>
              </a:ext>
            </a:extLst>
          </p:cNvPr>
          <p:cNvSpPr>
            <a:spLocks noGrp="1"/>
          </p:cNvSpPr>
          <p:nvPr>
            <p:ph type="pic" sz="quarter" idx="13"/>
          </p:nvPr>
        </p:nvSpPr>
        <p:spPr>
          <a:xfrm>
            <a:off x="2899854"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1" name="矩形: 圆角 120">
            <a:extLst>
              <a:ext uri="{FF2B5EF4-FFF2-40B4-BE49-F238E27FC236}">
                <a16:creationId xmlns:a16="http://schemas.microsoft.com/office/drawing/2014/main" id="{38DCD6B0-8C52-453C-8313-7B05FC6CF782}"/>
              </a:ext>
            </a:extLst>
          </p:cNvPr>
          <p:cNvSpPr/>
          <p:nvPr userDrawn="1"/>
        </p:nvSpPr>
        <p:spPr>
          <a:xfrm>
            <a:off x="5218730"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31" name="图片占位符 130">
            <a:extLst>
              <a:ext uri="{FF2B5EF4-FFF2-40B4-BE49-F238E27FC236}">
                <a16:creationId xmlns:a16="http://schemas.microsoft.com/office/drawing/2014/main" id="{9512C034-CF4F-4C57-A560-AD7599D4780C}"/>
              </a:ext>
            </a:extLst>
          </p:cNvPr>
          <p:cNvSpPr>
            <a:spLocks noGrp="1"/>
          </p:cNvSpPr>
          <p:nvPr>
            <p:ph type="pic" sz="quarter" idx="11"/>
          </p:nvPr>
        </p:nvSpPr>
        <p:spPr>
          <a:xfrm>
            <a:off x="5219260"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4" name="矩形: 圆角 123">
            <a:extLst>
              <a:ext uri="{FF2B5EF4-FFF2-40B4-BE49-F238E27FC236}">
                <a16:creationId xmlns:a16="http://schemas.microsoft.com/office/drawing/2014/main" id="{4FB3CB73-986D-45E7-B4B7-250485EF469A}"/>
              </a:ext>
            </a:extLst>
          </p:cNvPr>
          <p:cNvSpPr/>
          <p:nvPr userDrawn="1"/>
        </p:nvSpPr>
        <p:spPr>
          <a:xfrm>
            <a:off x="2899324"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27" name="矩形: 圆角 126">
            <a:extLst>
              <a:ext uri="{FF2B5EF4-FFF2-40B4-BE49-F238E27FC236}">
                <a16:creationId xmlns:a16="http://schemas.microsoft.com/office/drawing/2014/main" id="{9703F79A-4DE5-46AC-B519-0702EB4B1021}"/>
              </a:ext>
            </a:extLst>
          </p:cNvPr>
          <p:cNvSpPr/>
          <p:nvPr userDrawn="1"/>
        </p:nvSpPr>
        <p:spPr>
          <a:xfrm>
            <a:off x="515938"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2" name="图片占位符 131">
            <a:extLst>
              <a:ext uri="{FF2B5EF4-FFF2-40B4-BE49-F238E27FC236}">
                <a16:creationId xmlns:a16="http://schemas.microsoft.com/office/drawing/2014/main" id="{F0AC285A-9E90-424D-AAE1-B279088F6573}"/>
              </a:ext>
            </a:extLst>
          </p:cNvPr>
          <p:cNvSpPr>
            <a:spLocks noGrp="1"/>
          </p:cNvSpPr>
          <p:nvPr>
            <p:ph type="pic" sz="quarter" idx="12"/>
          </p:nvPr>
        </p:nvSpPr>
        <p:spPr>
          <a:xfrm>
            <a:off x="516468"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0" name="图片占位符 129">
            <a:extLst>
              <a:ext uri="{FF2B5EF4-FFF2-40B4-BE49-F238E27FC236}">
                <a16:creationId xmlns:a16="http://schemas.microsoft.com/office/drawing/2014/main" id="{455D71AD-F0C2-42D8-8A7A-AD2CE05AA863}"/>
              </a:ext>
            </a:extLst>
          </p:cNvPr>
          <p:cNvSpPr>
            <a:spLocks noGrp="1"/>
          </p:cNvSpPr>
          <p:nvPr>
            <p:ph type="pic" sz="quarter" idx="10"/>
          </p:nvPr>
        </p:nvSpPr>
        <p:spPr>
          <a:xfrm>
            <a:off x="2899854"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5" name="图片占位符 134">
            <a:extLst>
              <a:ext uri="{FF2B5EF4-FFF2-40B4-BE49-F238E27FC236}">
                <a16:creationId xmlns:a16="http://schemas.microsoft.com/office/drawing/2014/main" id="{FD2403C6-27F1-49F7-9CC0-6FFEA7459F59}"/>
              </a:ext>
            </a:extLst>
          </p:cNvPr>
          <p:cNvSpPr>
            <a:spLocks noGrp="1"/>
          </p:cNvSpPr>
          <p:nvPr>
            <p:ph type="pic" sz="quarter" idx="15"/>
          </p:nvPr>
        </p:nvSpPr>
        <p:spPr>
          <a:xfrm>
            <a:off x="7554741" y="1721476"/>
            <a:ext cx="4156652" cy="3379108"/>
          </a:xfrm>
          <a:custGeom>
            <a:avLst/>
            <a:gdLst>
              <a:gd name="connsiteX0" fmla="*/ 159561 w 4156652"/>
              <a:gd name="connsiteY0" fmla="*/ 0 h 3379108"/>
              <a:gd name="connsiteX1" fmla="*/ 3997091 w 4156652"/>
              <a:gd name="connsiteY1" fmla="*/ 0 h 3379108"/>
              <a:gd name="connsiteX2" fmla="*/ 4156652 w 4156652"/>
              <a:gd name="connsiteY2" fmla="*/ 159561 h 3379108"/>
              <a:gd name="connsiteX3" fmla="*/ 4156652 w 4156652"/>
              <a:gd name="connsiteY3" fmla="*/ 3379108 h 3379108"/>
              <a:gd name="connsiteX4" fmla="*/ 0 w 4156652"/>
              <a:gd name="connsiteY4" fmla="*/ 3379108 h 3379108"/>
              <a:gd name="connsiteX5" fmla="*/ 0 w 4156652"/>
              <a:gd name="connsiteY5" fmla="*/ 159561 h 3379108"/>
              <a:gd name="connsiteX6" fmla="*/ 159561 w 4156652"/>
              <a:gd name="connsiteY6" fmla="*/ 0 h 337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6652" h="3379108">
                <a:moveTo>
                  <a:pt x="159561" y="0"/>
                </a:moveTo>
                <a:lnTo>
                  <a:pt x="3997091" y="0"/>
                </a:lnTo>
                <a:cubicBezTo>
                  <a:pt x="4085214" y="0"/>
                  <a:pt x="4156652" y="71438"/>
                  <a:pt x="4156652" y="159561"/>
                </a:cubicBezTo>
                <a:lnTo>
                  <a:pt x="4156652" y="3379108"/>
                </a:lnTo>
                <a:lnTo>
                  <a:pt x="0" y="3379108"/>
                </a:lnTo>
                <a:lnTo>
                  <a:pt x="0" y="159561"/>
                </a:lnTo>
                <a:cubicBezTo>
                  <a:pt x="0" y="71438"/>
                  <a:pt x="71438" y="0"/>
                  <a:pt x="159561" y="0"/>
                </a:cubicBezTo>
                <a:close/>
              </a:path>
            </a:pathLst>
          </a:custGeom>
          <a:solidFill>
            <a:schemeClr val="accent1">
              <a:lumMod val="20000"/>
              <a:lumOff val="80000"/>
            </a:schemeClr>
          </a:solidFill>
        </p:spPr>
        <p:txBody>
          <a:bodyPr wrap="square">
            <a:noAutofit/>
          </a:bodyPr>
          <a:lstStyle/>
          <a:p>
            <a:endParaRPr lang="en-US"/>
          </a:p>
        </p:txBody>
      </p:sp>
      <p:sp>
        <p:nvSpPr>
          <p:cNvPr id="11" name="文本占位符 10">
            <a:extLst>
              <a:ext uri="{FF2B5EF4-FFF2-40B4-BE49-F238E27FC236}">
                <a16:creationId xmlns:a16="http://schemas.microsoft.com/office/drawing/2014/main" id="{AE91FC7A-48CA-40F8-A53B-0AA393BBA887}"/>
              </a:ext>
            </a:extLst>
          </p:cNvPr>
          <p:cNvSpPr>
            <a:spLocks noGrp="1"/>
          </p:cNvSpPr>
          <p:nvPr>
            <p:ph type="body" sz="quarter" idx="16"/>
          </p:nvPr>
        </p:nvSpPr>
        <p:spPr>
          <a:xfrm>
            <a:off x="515938" y="960699"/>
            <a:ext cx="2012948" cy="2644617"/>
          </a:xfrm>
          <a:solidFill>
            <a:schemeClr val="accent1"/>
          </a:solidFill>
        </p:spPr>
        <p:txBody>
          <a:bodyPr bIns="324000" anchor="b" anchorCtr="1"/>
          <a:lstStyle>
            <a:lvl1pPr marL="0" algn="ctr" defTabSz="685800" rtl="0" eaLnBrk="1" latinLnBrk="0" hangingPunct="1">
              <a:lnSpc>
                <a:spcPct val="90000"/>
              </a:lnSpc>
              <a:spcBef>
                <a:spcPct val="0"/>
              </a:spcBef>
              <a:defRPr lang="en-US" sz="2400" b="1" kern="1200" dirty="0">
                <a:ln w="6350">
                  <a:noFill/>
                </a:ln>
                <a:solidFill>
                  <a:srgbClr val="FFFFFF"/>
                </a:solidFill>
                <a:effectLst>
                  <a:outerShdw dist="63500" dir="3000000" algn="tl">
                    <a:srgbClr val="000000">
                      <a:alpha val="12000"/>
                    </a:srgbClr>
                  </a:outerShdw>
                </a:effectLst>
                <a:latin typeface="+mn-lt"/>
                <a:ea typeface="+mn-ea"/>
                <a:cs typeface="+mn-ea"/>
              </a:defRPr>
            </a:lvl1pPr>
          </a:lstStyle>
          <a:p>
            <a:pPr lvl="0"/>
            <a:endParaRPr lang="en-US" dirty="0"/>
          </a:p>
        </p:txBody>
      </p:sp>
      <p:sp>
        <p:nvSpPr>
          <p:cNvPr id="13" name="文本占位符 12">
            <a:extLst>
              <a:ext uri="{FF2B5EF4-FFF2-40B4-BE49-F238E27FC236}">
                <a16:creationId xmlns:a16="http://schemas.microsoft.com/office/drawing/2014/main" id="{22A43FA3-D81F-4185-9CE1-B667D8F7B6C6}"/>
              </a:ext>
            </a:extLst>
          </p:cNvPr>
          <p:cNvSpPr>
            <a:spLocks noGrp="1"/>
          </p:cNvSpPr>
          <p:nvPr>
            <p:ph type="body" sz="quarter" idx="17" hasCustomPrompt="1"/>
          </p:nvPr>
        </p:nvSpPr>
        <p:spPr>
          <a:xfrm>
            <a:off x="2899854" y="3170238"/>
            <a:ext cx="2011888" cy="365125"/>
          </a:xfrm>
        </p:spPr>
        <p:txBody>
          <a:bodyPr anchor="ctr"/>
          <a:lstStyle>
            <a:lvl1pPr algn="ctr">
              <a:defRPr sz="2000"/>
            </a:lvl1pPr>
          </a:lstStyle>
          <a:p>
            <a:pPr lvl="0"/>
            <a:r>
              <a:rPr lang="zh-CN" altLang="en-US" dirty="0"/>
              <a:t>请输入文案</a:t>
            </a:r>
            <a:endParaRPr lang="en-US" dirty="0"/>
          </a:p>
        </p:txBody>
      </p:sp>
      <p:sp>
        <p:nvSpPr>
          <p:cNvPr id="138" name="文本占位符 12">
            <a:extLst>
              <a:ext uri="{FF2B5EF4-FFF2-40B4-BE49-F238E27FC236}">
                <a16:creationId xmlns:a16="http://schemas.microsoft.com/office/drawing/2014/main" id="{990D8012-BA06-4481-AEC4-0642C9715E4A}"/>
              </a:ext>
            </a:extLst>
          </p:cNvPr>
          <p:cNvSpPr>
            <a:spLocks noGrp="1"/>
          </p:cNvSpPr>
          <p:nvPr>
            <p:ph type="body" sz="quarter" idx="18" hasCustomPrompt="1"/>
          </p:nvPr>
        </p:nvSpPr>
        <p:spPr>
          <a:xfrm>
            <a:off x="5219260" y="3170238"/>
            <a:ext cx="2011888" cy="365125"/>
          </a:xfrm>
        </p:spPr>
        <p:txBody>
          <a:bodyPr anchor="ctr"/>
          <a:lstStyle>
            <a:lvl1pPr algn="ctr">
              <a:defRPr sz="2000"/>
            </a:lvl1pPr>
          </a:lstStyle>
          <a:p>
            <a:pPr lvl="0"/>
            <a:r>
              <a:rPr lang="zh-CN" altLang="en-US" dirty="0"/>
              <a:t>请输入文案</a:t>
            </a:r>
            <a:endParaRPr lang="en-US" dirty="0"/>
          </a:p>
        </p:txBody>
      </p:sp>
      <p:sp>
        <p:nvSpPr>
          <p:cNvPr id="139" name="文本占位符 12">
            <a:extLst>
              <a:ext uri="{FF2B5EF4-FFF2-40B4-BE49-F238E27FC236}">
                <a16:creationId xmlns:a16="http://schemas.microsoft.com/office/drawing/2014/main" id="{8A9FE278-00D0-4C64-952A-E3DB6777E4C9}"/>
              </a:ext>
            </a:extLst>
          </p:cNvPr>
          <p:cNvSpPr>
            <a:spLocks noGrp="1"/>
          </p:cNvSpPr>
          <p:nvPr>
            <p:ph type="body" sz="quarter" idx="19" hasCustomPrompt="1"/>
          </p:nvPr>
        </p:nvSpPr>
        <p:spPr>
          <a:xfrm>
            <a:off x="516468" y="5193592"/>
            <a:ext cx="2011888" cy="365125"/>
          </a:xfrm>
        </p:spPr>
        <p:txBody>
          <a:bodyPr anchor="ctr"/>
          <a:lstStyle>
            <a:lvl1pPr algn="ctr">
              <a:defRPr sz="2000"/>
            </a:lvl1pPr>
          </a:lstStyle>
          <a:p>
            <a:pPr lvl="0"/>
            <a:r>
              <a:rPr lang="zh-CN" altLang="en-US" dirty="0"/>
              <a:t>请输入文案</a:t>
            </a:r>
            <a:endParaRPr lang="en-US" dirty="0"/>
          </a:p>
        </p:txBody>
      </p:sp>
      <p:sp>
        <p:nvSpPr>
          <p:cNvPr id="140" name="文本占位符 12">
            <a:extLst>
              <a:ext uri="{FF2B5EF4-FFF2-40B4-BE49-F238E27FC236}">
                <a16:creationId xmlns:a16="http://schemas.microsoft.com/office/drawing/2014/main" id="{2B78EFFD-83B8-4ABA-A142-844C8AF095FD}"/>
              </a:ext>
            </a:extLst>
          </p:cNvPr>
          <p:cNvSpPr>
            <a:spLocks noGrp="1"/>
          </p:cNvSpPr>
          <p:nvPr>
            <p:ph type="body" sz="quarter" idx="20" hasCustomPrompt="1"/>
          </p:nvPr>
        </p:nvSpPr>
        <p:spPr>
          <a:xfrm>
            <a:off x="2899854" y="5193592"/>
            <a:ext cx="2011888" cy="365125"/>
          </a:xfrm>
        </p:spPr>
        <p:txBody>
          <a:bodyPr anchor="ctr"/>
          <a:lstStyle>
            <a:lvl1pPr algn="ctr">
              <a:defRPr sz="2000"/>
            </a:lvl1pPr>
          </a:lstStyle>
          <a:p>
            <a:pPr lvl="0"/>
            <a:r>
              <a:rPr lang="zh-CN" altLang="en-US" dirty="0"/>
              <a:t>请输入文案</a:t>
            </a:r>
            <a:endParaRPr lang="en-US" dirty="0"/>
          </a:p>
        </p:txBody>
      </p:sp>
      <p:sp>
        <p:nvSpPr>
          <p:cNvPr id="141" name="文本占位符 12">
            <a:extLst>
              <a:ext uri="{FF2B5EF4-FFF2-40B4-BE49-F238E27FC236}">
                <a16:creationId xmlns:a16="http://schemas.microsoft.com/office/drawing/2014/main" id="{623E3501-616C-44E9-B5D1-50211EAD4DCA}"/>
              </a:ext>
            </a:extLst>
          </p:cNvPr>
          <p:cNvSpPr>
            <a:spLocks noGrp="1"/>
          </p:cNvSpPr>
          <p:nvPr>
            <p:ph type="body" sz="quarter" idx="21" hasCustomPrompt="1"/>
          </p:nvPr>
        </p:nvSpPr>
        <p:spPr>
          <a:xfrm>
            <a:off x="5219260" y="5193592"/>
            <a:ext cx="2011888" cy="365125"/>
          </a:xfrm>
        </p:spPr>
        <p:txBody>
          <a:bodyPr anchor="ctr"/>
          <a:lstStyle>
            <a:lvl1pPr algn="ctr">
              <a:defRPr sz="2000"/>
            </a:lvl1pPr>
          </a:lstStyle>
          <a:p>
            <a:pPr lvl="0"/>
            <a:r>
              <a:rPr lang="zh-CN" altLang="en-US" dirty="0"/>
              <a:t>请输入文案</a:t>
            </a:r>
            <a:endParaRPr lang="en-US" dirty="0"/>
          </a:p>
        </p:txBody>
      </p:sp>
      <p:sp>
        <p:nvSpPr>
          <p:cNvPr id="142" name="文本占位符 12">
            <a:extLst>
              <a:ext uri="{FF2B5EF4-FFF2-40B4-BE49-F238E27FC236}">
                <a16:creationId xmlns:a16="http://schemas.microsoft.com/office/drawing/2014/main" id="{BD950119-715B-4E14-B46C-1C12249B6138}"/>
              </a:ext>
            </a:extLst>
          </p:cNvPr>
          <p:cNvSpPr>
            <a:spLocks noGrp="1"/>
          </p:cNvSpPr>
          <p:nvPr>
            <p:ph type="body" sz="quarter" idx="22" hasCustomPrompt="1"/>
          </p:nvPr>
        </p:nvSpPr>
        <p:spPr>
          <a:xfrm>
            <a:off x="7554743" y="5193592"/>
            <a:ext cx="4157833" cy="365125"/>
          </a:xfrm>
        </p:spPr>
        <p:txBody>
          <a:bodyPr anchor="ctr"/>
          <a:lstStyle>
            <a:lvl1pPr algn="ctr">
              <a:defRPr sz="2000"/>
            </a:lvl1pPr>
          </a:lstStyle>
          <a:p>
            <a:pPr lvl="0"/>
            <a:r>
              <a:rPr lang="zh-CN" altLang="en-US" dirty="0"/>
              <a:t>请输入文案</a:t>
            </a:r>
            <a:endParaRPr lang="en-US" dirty="0"/>
          </a:p>
        </p:txBody>
      </p:sp>
    </p:spTree>
    <p:extLst>
      <p:ext uri="{BB962C8B-B14F-4D97-AF65-F5344CB8AC3E}">
        <p14:creationId xmlns:p14="http://schemas.microsoft.com/office/powerpoint/2010/main" val="36048421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2" name="任意多边形: 形状 111">
            <a:extLst>
              <a:ext uri="{FF2B5EF4-FFF2-40B4-BE49-F238E27FC236}">
                <a16:creationId xmlns:a16="http://schemas.microsoft.com/office/drawing/2014/main" id="{9B7CF053-4321-47A4-823F-0329EDE0F746}"/>
              </a:ext>
            </a:extLst>
          </p:cNvPr>
          <p:cNvSpPr/>
          <p:nvPr userDrawn="1"/>
        </p:nvSpPr>
        <p:spPr>
          <a:xfrm flipV="1">
            <a:off x="0" y="4388818"/>
            <a:ext cx="12192000" cy="1981678"/>
          </a:xfrm>
          <a:custGeom>
            <a:avLst/>
            <a:gdLst>
              <a:gd name="connsiteX0" fmla="*/ 6096000 w 12192000"/>
              <a:gd name="connsiteY0" fmla="*/ 1981678 h 1981678"/>
              <a:gd name="connsiteX1" fmla="*/ 12187594 w 12192000"/>
              <a:gd name="connsiteY1" fmla="*/ 859019 h 1981678"/>
              <a:gd name="connsiteX2" fmla="*/ 12192000 w 12192000"/>
              <a:gd name="connsiteY2" fmla="*/ 853440 h 1981678"/>
              <a:gd name="connsiteX3" fmla="*/ 12192000 w 12192000"/>
              <a:gd name="connsiteY3" fmla="*/ 0 h 1981678"/>
              <a:gd name="connsiteX4" fmla="*/ 12187594 w 12192000"/>
              <a:gd name="connsiteY4" fmla="*/ 5579 h 1981678"/>
              <a:gd name="connsiteX5" fmla="*/ 6096000 w 12192000"/>
              <a:gd name="connsiteY5" fmla="*/ 1128238 h 1981678"/>
              <a:gd name="connsiteX6" fmla="*/ 4406 w 12192000"/>
              <a:gd name="connsiteY6" fmla="*/ 5579 h 1981678"/>
              <a:gd name="connsiteX7" fmla="*/ 0 w 12192000"/>
              <a:gd name="connsiteY7" fmla="*/ 0 h 1981678"/>
              <a:gd name="connsiteX8" fmla="*/ 0 w 12192000"/>
              <a:gd name="connsiteY8" fmla="*/ 853440 h 1981678"/>
              <a:gd name="connsiteX9" fmla="*/ 4406 w 12192000"/>
              <a:gd name="connsiteY9" fmla="*/ 859019 h 1981678"/>
              <a:gd name="connsiteX10" fmla="*/ 6096000 w 12192000"/>
              <a:gd name="connsiteY10" fmla="*/ 1981678 h 198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1981678">
                <a:moveTo>
                  <a:pt x="6096000" y="1981678"/>
                </a:moveTo>
                <a:cubicBezTo>
                  <a:pt x="9100804" y="1981678"/>
                  <a:pt x="11607796" y="1499720"/>
                  <a:pt x="12187594" y="859019"/>
                </a:cubicBezTo>
                <a:lnTo>
                  <a:pt x="12192000" y="853440"/>
                </a:lnTo>
                <a:lnTo>
                  <a:pt x="12192000" y="0"/>
                </a:lnTo>
                <a:lnTo>
                  <a:pt x="12187594" y="5579"/>
                </a:lnTo>
                <a:cubicBezTo>
                  <a:pt x="11607796" y="646280"/>
                  <a:pt x="9100804" y="1128238"/>
                  <a:pt x="6096000" y="1128238"/>
                </a:cubicBezTo>
                <a:cubicBezTo>
                  <a:pt x="3091196" y="1128238"/>
                  <a:pt x="584204" y="646280"/>
                  <a:pt x="4406" y="5579"/>
                </a:cubicBezTo>
                <a:lnTo>
                  <a:pt x="0" y="0"/>
                </a:lnTo>
                <a:lnTo>
                  <a:pt x="0" y="853440"/>
                </a:lnTo>
                <a:lnTo>
                  <a:pt x="4406" y="859019"/>
                </a:lnTo>
                <a:cubicBezTo>
                  <a:pt x="584204" y="1499720"/>
                  <a:pt x="3091196" y="1981678"/>
                  <a:pt x="6096000" y="1981678"/>
                </a:cubicBezTo>
                <a:close/>
              </a:path>
            </a:pathLst>
          </a:cu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cs typeface="+mn-ea"/>
              <a:sym typeface="+mn-lt"/>
            </a:endParaRPr>
          </a:p>
        </p:txBody>
      </p:sp>
      <p:sp>
        <p:nvSpPr>
          <p:cNvPr id="113" name="任意多边形: 形状 112">
            <a:extLst>
              <a:ext uri="{FF2B5EF4-FFF2-40B4-BE49-F238E27FC236}">
                <a16:creationId xmlns:a16="http://schemas.microsoft.com/office/drawing/2014/main" id="{87E050B5-3F0E-4397-8BDA-D7A152D2FDB4}"/>
              </a:ext>
            </a:extLst>
          </p:cNvPr>
          <p:cNvSpPr/>
          <p:nvPr userDrawn="1"/>
        </p:nvSpPr>
        <p:spPr>
          <a:xfrm flipV="1">
            <a:off x="0" y="43797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cs typeface="+mn-ea"/>
              <a:sym typeface="+mn-lt"/>
            </a:endParaRPr>
          </a:p>
        </p:txBody>
      </p:sp>
      <p:cxnSp>
        <p:nvCxnSpPr>
          <p:cNvPr id="118" name="直接连接符 117">
            <a:extLst>
              <a:ext uri="{FF2B5EF4-FFF2-40B4-BE49-F238E27FC236}">
                <a16:creationId xmlns:a16="http://schemas.microsoft.com/office/drawing/2014/main" id="{209E81C1-449E-4E30-B8BD-2301C6CC8E1A}"/>
              </a:ext>
            </a:extLst>
          </p:cNvPr>
          <p:cNvCxnSpPr>
            <a:cxnSpLocks/>
          </p:cNvCxnSpPr>
          <p:nvPr userDrawn="1"/>
        </p:nvCxnSpPr>
        <p:spPr>
          <a:xfrm>
            <a:off x="2032000" y="478655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a:extLst>
              <a:ext uri="{FF2B5EF4-FFF2-40B4-BE49-F238E27FC236}">
                <a16:creationId xmlns:a16="http://schemas.microsoft.com/office/drawing/2014/main" id="{54934106-C929-48D7-A1F8-9719ECAC9B56}"/>
              </a:ext>
            </a:extLst>
          </p:cNvPr>
          <p:cNvCxnSpPr>
            <a:cxnSpLocks/>
          </p:cNvCxnSpPr>
          <p:nvPr userDrawn="1"/>
        </p:nvCxnSpPr>
        <p:spPr>
          <a:xfrm>
            <a:off x="4086352" y="454271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直接连接符 119">
            <a:extLst>
              <a:ext uri="{FF2B5EF4-FFF2-40B4-BE49-F238E27FC236}">
                <a16:creationId xmlns:a16="http://schemas.microsoft.com/office/drawing/2014/main" id="{5CBB6994-9624-4BFF-B871-B9F7E91E4016}"/>
              </a:ext>
            </a:extLst>
          </p:cNvPr>
          <p:cNvCxnSpPr>
            <a:cxnSpLocks/>
          </p:cNvCxnSpPr>
          <p:nvPr userDrawn="1"/>
        </p:nvCxnSpPr>
        <p:spPr>
          <a:xfrm>
            <a:off x="6104128" y="4469561"/>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直接连接符 120">
            <a:extLst>
              <a:ext uri="{FF2B5EF4-FFF2-40B4-BE49-F238E27FC236}">
                <a16:creationId xmlns:a16="http://schemas.microsoft.com/office/drawing/2014/main" id="{28A57440-BC9B-4D39-AF65-59B137F48C94}"/>
              </a:ext>
            </a:extLst>
          </p:cNvPr>
          <p:cNvCxnSpPr>
            <a:cxnSpLocks/>
          </p:cNvCxnSpPr>
          <p:nvPr userDrawn="1"/>
        </p:nvCxnSpPr>
        <p:spPr>
          <a:xfrm>
            <a:off x="8128000" y="4548809"/>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直接连接符 121">
            <a:extLst>
              <a:ext uri="{FF2B5EF4-FFF2-40B4-BE49-F238E27FC236}">
                <a16:creationId xmlns:a16="http://schemas.microsoft.com/office/drawing/2014/main" id="{86CD9C50-475D-4B72-9310-446C25551072}"/>
              </a:ext>
            </a:extLst>
          </p:cNvPr>
          <p:cNvCxnSpPr>
            <a:cxnSpLocks/>
          </p:cNvCxnSpPr>
          <p:nvPr userDrawn="1"/>
        </p:nvCxnSpPr>
        <p:spPr>
          <a:xfrm>
            <a:off x="10145643" y="4817166"/>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3" name="任意多边形: 形状 122">
            <a:extLst>
              <a:ext uri="{FF2B5EF4-FFF2-40B4-BE49-F238E27FC236}">
                <a16:creationId xmlns:a16="http://schemas.microsoft.com/office/drawing/2014/main" id="{577C38F8-9CE8-4E43-B85A-83D4D7FC098E}"/>
              </a:ext>
            </a:extLst>
          </p:cNvPr>
          <p:cNvSpPr/>
          <p:nvPr userDrawn="1"/>
        </p:nvSpPr>
        <p:spPr>
          <a:xfrm flipV="1">
            <a:off x="0" y="53195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cs typeface="+mn-ea"/>
              <a:sym typeface="+mn-lt"/>
            </a:endParaRPr>
          </a:p>
        </p:txBody>
      </p:sp>
      <p:sp>
        <p:nvSpPr>
          <p:cNvPr id="124" name="任意多边形: 形状 123">
            <a:extLst>
              <a:ext uri="{FF2B5EF4-FFF2-40B4-BE49-F238E27FC236}">
                <a16:creationId xmlns:a16="http://schemas.microsoft.com/office/drawing/2014/main" id="{C0AF6884-737F-4527-887C-6EA9DE84B175}"/>
              </a:ext>
            </a:extLst>
          </p:cNvPr>
          <p:cNvSpPr/>
          <p:nvPr userDrawn="1"/>
        </p:nvSpPr>
        <p:spPr>
          <a:xfrm>
            <a:off x="0" y="8999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cs typeface="+mn-ea"/>
              <a:sym typeface="+mn-lt"/>
            </a:endParaRPr>
          </a:p>
        </p:txBody>
      </p:sp>
      <p:sp>
        <p:nvSpPr>
          <p:cNvPr id="125" name="任意多边形: 形状 124">
            <a:extLst>
              <a:ext uri="{FF2B5EF4-FFF2-40B4-BE49-F238E27FC236}">
                <a16:creationId xmlns:a16="http://schemas.microsoft.com/office/drawing/2014/main" id="{D953E8C2-4FCA-483A-B4B2-A9984EC6C80C}"/>
              </a:ext>
            </a:extLst>
          </p:cNvPr>
          <p:cNvSpPr/>
          <p:nvPr userDrawn="1"/>
        </p:nvSpPr>
        <p:spPr>
          <a:xfrm>
            <a:off x="0" y="78819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cs typeface="+mn-ea"/>
              <a:sym typeface="+mn-lt"/>
            </a:endParaRPr>
          </a:p>
        </p:txBody>
      </p:sp>
      <p:sp>
        <p:nvSpPr>
          <p:cNvPr id="126" name="任意多边形: 形状 125">
            <a:extLst>
              <a:ext uri="{FF2B5EF4-FFF2-40B4-BE49-F238E27FC236}">
                <a16:creationId xmlns:a16="http://schemas.microsoft.com/office/drawing/2014/main" id="{AE4C563F-BC93-44E9-BF92-5659AFCD4DFF}"/>
              </a:ext>
            </a:extLst>
          </p:cNvPr>
          <p:cNvSpPr/>
          <p:nvPr userDrawn="1"/>
        </p:nvSpPr>
        <p:spPr>
          <a:xfrm flipV="1">
            <a:off x="0" y="5436392"/>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cs typeface="+mn-ea"/>
              <a:sym typeface="+mn-lt"/>
            </a:endParaRPr>
          </a:p>
        </p:txBody>
      </p:sp>
      <p:sp>
        <p:nvSpPr>
          <p:cNvPr id="19" name="文本占位符 18">
            <a:extLst>
              <a:ext uri="{FF2B5EF4-FFF2-40B4-BE49-F238E27FC236}">
                <a16:creationId xmlns:a16="http://schemas.microsoft.com/office/drawing/2014/main" id="{7B1D1C96-987F-41E8-A58E-FFCE0B5A0E0D}"/>
              </a:ext>
            </a:extLst>
          </p:cNvPr>
          <p:cNvSpPr>
            <a:spLocks noGrp="1"/>
          </p:cNvSpPr>
          <p:nvPr>
            <p:ph type="body" sz="quarter" idx="16"/>
          </p:nvPr>
        </p:nvSpPr>
        <p:spPr>
          <a:xfrm>
            <a:off x="3499413" y="1196975"/>
            <a:ext cx="5193174" cy="481354"/>
          </a:xfrm>
          <a:noFill/>
          <a:ln>
            <a:noFill/>
          </a:ln>
        </p:spPr>
        <p:txBody>
          <a:bodyPr wrap="square" lIns="91440" tIns="45720" rIns="91440" bIns="45720" anchor="ctr" anchorCtr="0">
            <a:noAutofit/>
          </a:bodyPr>
          <a:lstStyle>
            <a:lvl1pPr algn="ctr">
              <a:defRPr lang="en-US" b="1" dirty="0">
                <a:solidFill>
                  <a:schemeClr val="accent1"/>
                </a:solidFill>
                <a:cs typeface="+mn-ea"/>
              </a:defRPr>
            </a:lvl1pPr>
          </a:lstStyle>
          <a:p>
            <a:pPr lvl="0" algn="ctr">
              <a:buSzPct val="25000"/>
            </a:pPr>
            <a:endParaRPr lang="en-US" dirty="0"/>
          </a:p>
        </p:txBody>
      </p:sp>
      <p:sp>
        <p:nvSpPr>
          <p:cNvPr id="136" name="图片占位符 135">
            <a:extLst>
              <a:ext uri="{FF2B5EF4-FFF2-40B4-BE49-F238E27FC236}">
                <a16:creationId xmlns:a16="http://schemas.microsoft.com/office/drawing/2014/main" id="{78805875-03F3-4CD5-B2D4-16C691CB053C}"/>
              </a:ext>
            </a:extLst>
          </p:cNvPr>
          <p:cNvSpPr>
            <a:spLocks noGrp="1"/>
          </p:cNvSpPr>
          <p:nvPr>
            <p:ph type="pic" sz="quarter" idx="10"/>
          </p:nvPr>
        </p:nvSpPr>
        <p:spPr>
          <a:xfrm>
            <a:off x="0" y="1018362"/>
            <a:ext cx="2026000" cy="4498694"/>
          </a:xfrm>
          <a:custGeom>
            <a:avLst/>
            <a:gdLst>
              <a:gd name="connsiteX0" fmla="*/ 0 w 2026000"/>
              <a:gd name="connsiteY0" fmla="*/ 0 h 4498694"/>
              <a:gd name="connsiteX1" fmla="*/ 7260 w 2026000"/>
              <a:gd name="connsiteY1" fmla="*/ 0 h 4498694"/>
              <a:gd name="connsiteX2" fmla="*/ 157626 w 2026000"/>
              <a:gd name="connsiteY2" fmla="*/ 132236 h 4498694"/>
              <a:gd name="connsiteX3" fmla="*/ 1998705 w 2026000"/>
              <a:gd name="connsiteY3" fmla="*/ 771745 h 4498694"/>
              <a:gd name="connsiteX4" fmla="*/ 2026000 w 2026000"/>
              <a:gd name="connsiteY4" fmla="*/ 776746 h 4498694"/>
              <a:gd name="connsiteX5" fmla="*/ 2026000 w 2026000"/>
              <a:gd name="connsiteY5" fmla="*/ 3713878 h 4498694"/>
              <a:gd name="connsiteX6" fmla="*/ 1942892 w 2026000"/>
              <a:gd name="connsiteY6" fmla="*/ 3730059 h 4498694"/>
              <a:gd name="connsiteX7" fmla="*/ 4406 w 2026000"/>
              <a:gd name="connsiteY7" fmla="*/ 4493115 h 4498694"/>
              <a:gd name="connsiteX8" fmla="*/ 0 w 2026000"/>
              <a:gd name="connsiteY8" fmla="*/ 4498694 h 4498694"/>
              <a:gd name="connsiteX9" fmla="*/ 0 w 2026000"/>
              <a:gd name="connsiteY9" fmla="*/ 664967 h 4498694"/>
              <a:gd name="connsiteX10" fmla="*/ 0 w 2026000"/>
              <a:gd name="connsiteY10" fmla="*/ 536295 h 449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4">
                <a:moveTo>
                  <a:pt x="0" y="0"/>
                </a:moveTo>
                <a:lnTo>
                  <a:pt x="7260" y="0"/>
                </a:lnTo>
                <a:lnTo>
                  <a:pt x="157626" y="132236"/>
                </a:lnTo>
                <a:cubicBezTo>
                  <a:pt x="502052" y="382638"/>
                  <a:pt x="1147691" y="603031"/>
                  <a:pt x="1998705" y="771745"/>
                </a:cubicBezTo>
                <a:lnTo>
                  <a:pt x="2026000" y="776746"/>
                </a:lnTo>
                <a:lnTo>
                  <a:pt x="2026000" y="3713878"/>
                </a:lnTo>
                <a:lnTo>
                  <a:pt x="1942892" y="3730059"/>
                </a:lnTo>
                <a:cubicBezTo>
                  <a:pt x="971422" y="3927338"/>
                  <a:pt x="276186" y="4192786"/>
                  <a:pt x="4406" y="4493115"/>
                </a:cubicBezTo>
                <a:lnTo>
                  <a:pt x="0" y="4498694"/>
                </a:lnTo>
                <a:lnTo>
                  <a:pt x="0" y="664967"/>
                </a:lnTo>
                <a:lnTo>
                  <a:pt x="0" y="536295"/>
                </a:lnTo>
                <a:close/>
              </a:path>
            </a:pathLst>
          </a:custGeom>
          <a:solidFill>
            <a:schemeClr val="accent1">
              <a:lumMod val="20000"/>
              <a:lumOff val="80000"/>
            </a:schemeClr>
          </a:solidFill>
        </p:spPr>
        <p:txBody>
          <a:bodyPr wrap="square">
            <a:noAutofit/>
          </a:bodyPr>
          <a:lstStyle/>
          <a:p>
            <a:endParaRPr lang="en-US" dirty="0"/>
          </a:p>
        </p:txBody>
      </p:sp>
      <p:sp>
        <p:nvSpPr>
          <p:cNvPr id="137" name="图片占位符 136">
            <a:extLst>
              <a:ext uri="{FF2B5EF4-FFF2-40B4-BE49-F238E27FC236}">
                <a16:creationId xmlns:a16="http://schemas.microsoft.com/office/drawing/2014/main" id="{ED751D8D-61DC-4F9D-93A9-8F7B6C6A5B02}"/>
              </a:ext>
            </a:extLst>
          </p:cNvPr>
          <p:cNvSpPr>
            <a:spLocks noGrp="1"/>
          </p:cNvSpPr>
          <p:nvPr>
            <p:ph type="pic" sz="quarter" idx="11"/>
          </p:nvPr>
        </p:nvSpPr>
        <p:spPr>
          <a:xfrm>
            <a:off x="2062000" y="1801704"/>
            <a:ext cx="1990000" cy="2923527"/>
          </a:xfrm>
          <a:custGeom>
            <a:avLst/>
            <a:gdLst>
              <a:gd name="connsiteX0" fmla="*/ 0 w 1990000"/>
              <a:gd name="connsiteY0" fmla="*/ 0 h 2923527"/>
              <a:gd name="connsiteX1" fmla="*/ 313720 w 1990000"/>
              <a:gd name="connsiteY1" fmla="*/ 57481 h 2923527"/>
              <a:gd name="connsiteX2" fmla="*/ 1578889 w 1990000"/>
              <a:gd name="connsiteY2" fmla="*/ 222957 h 2923527"/>
              <a:gd name="connsiteX3" fmla="*/ 1990000 w 1990000"/>
              <a:gd name="connsiteY3" fmla="*/ 258619 h 2923527"/>
              <a:gd name="connsiteX4" fmla="*/ 1990000 w 1990000"/>
              <a:gd name="connsiteY4" fmla="*/ 2665682 h 2923527"/>
              <a:gd name="connsiteX5" fmla="*/ 1896071 w 1990000"/>
              <a:gd name="connsiteY5" fmla="*/ 2672431 h 2923527"/>
              <a:gd name="connsiteX6" fmla="*/ 78826 w 1990000"/>
              <a:gd name="connsiteY6" fmla="*/ 2908181 h 2923527"/>
              <a:gd name="connsiteX7" fmla="*/ 0 w 1990000"/>
              <a:gd name="connsiteY7" fmla="*/ 2923527 h 29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923527">
                <a:moveTo>
                  <a:pt x="0" y="0"/>
                </a:moveTo>
                <a:lnTo>
                  <a:pt x="313720" y="57481"/>
                </a:lnTo>
                <a:cubicBezTo>
                  <a:pt x="702750" y="123269"/>
                  <a:pt x="1126988" y="178997"/>
                  <a:pt x="1578889" y="222957"/>
                </a:cubicBezTo>
                <a:lnTo>
                  <a:pt x="1990000" y="258619"/>
                </a:lnTo>
                <a:lnTo>
                  <a:pt x="1990000" y="2665682"/>
                </a:lnTo>
                <a:lnTo>
                  <a:pt x="1896071" y="2672431"/>
                </a:lnTo>
                <a:cubicBezTo>
                  <a:pt x="1229431" y="2727625"/>
                  <a:pt x="616238" y="2807892"/>
                  <a:pt x="78826" y="2908181"/>
                </a:cubicBezTo>
                <a:lnTo>
                  <a:pt x="0" y="2923527"/>
                </a:lnTo>
                <a:close/>
              </a:path>
            </a:pathLst>
          </a:custGeom>
          <a:solidFill>
            <a:schemeClr val="accent1">
              <a:lumMod val="20000"/>
              <a:lumOff val="80000"/>
            </a:schemeClr>
          </a:solidFill>
        </p:spPr>
        <p:txBody>
          <a:bodyPr wrap="square">
            <a:noAutofit/>
          </a:bodyPr>
          <a:lstStyle/>
          <a:p>
            <a:endParaRPr lang="en-US"/>
          </a:p>
        </p:txBody>
      </p:sp>
      <p:sp>
        <p:nvSpPr>
          <p:cNvPr id="138" name="图片占位符 137">
            <a:extLst>
              <a:ext uri="{FF2B5EF4-FFF2-40B4-BE49-F238E27FC236}">
                <a16:creationId xmlns:a16="http://schemas.microsoft.com/office/drawing/2014/main" id="{EC9B6A5C-A9DE-4621-91BA-AECD839BFBD1}"/>
              </a:ext>
            </a:extLst>
          </p:cNvPr>
          <p:cNvSpPr>
            <a:spLocks noGrp="1"/>
          </p:cNvSpPr>
          <p:nvPr>
            <p:ph type="pic" sz="quarter" idx="12"/>
          </p:nvPr>
        </p:nvSpPr>
        <p:spPr>
          <a:xfrm>
            <a:off x="4088000" y="2063447"/>
            <a:ext cx="1990000" cy="2401353"/>
          </a:xfrm>
          <a:custGeom>
            <a:avLst/>
            <a:gdLst>
              <a:gd name="connsiteX0" fmla="*/ 0 w 1990000"/>
              <a:gd name="connsiteY0" fmla="*/ 0 h 2401353"/>
              <a:gd name="connsiteX1" fmla="*/ 13732 w 1990000"/>
              <a:gd name="connsiteY1" fmla="*/ 1191 h 2401353"/>
              <a:gd name="connsiteX2" fmla="*/ 1490152 w 1990000"/>
              <a:gd name="connsiteY2" fmla="*/ 70259 h 2401353"/>
              <a:gd name="connsiteX3" fmla="*/ 1990000 w 1990000"/>
              <a:gd name="connsiteY3" fmla="*/ 74899 h 2401353"/>
              <a:gd name="connsiteX4" fmla="*/ 1990000 w 1990000"/>
              <a:gd name="connsiteY4" fmla="*/ 2325551 h 2401353"/>
              <a:gd name="connsiteX5" fmla="*/ 1450782 w 1990000"/>
              <a:gd name="connsiteY5" fmla="*/ 2330940 h 2401353"/>
              <a:gd name="connsiteX6" fmla="*/ 379724 w 1990000"/>
              <a:gd name="connsiteY6" fmla="*/ 2374072 h 2401353"/>
              <a:gd name="connsiteX7" fmla="*/ 0 w 1990000"/>
              <a:gd name="connsiteY7" fmla="*/ 2401353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0" y="0"/>
                </a:moveTo>
                <a:lnTo>
                  <a:pt x="13732" y="1191"/>
                </a:lnTo>
                <a:cubicBezTo>
                  <a:pt x="483238" y="37118"/>
                  <a:pt x="977893" y="60709"/>
                  <a:pt x="1490152" y="70259"/>
                </a:cubicBezTo>
                <a:lnTo>
                  <a:pt x="1990000" y="74899"/>
                </a:lnTo>
                <a:lnTo>
                  <a:pt x="1990000" y="2325551"/>
                </a:lnTo>
                <a:lnTo>
                  <a:pt x="1450782" y="2330940"/>
                </a:lnTo>
                <a:cubicBezTo>
                  <a:pt x="1083658" y="2338313"/>
                  <a:pt x="725708" y="2352900"/>
                  <a:pt x="379724" y="2374072"/>
                </a:cubicBezTo>
                <a:lnTo>
                  <a:pt x="0" y="2401353"/>
                </a:lnTo>
                <a:close/>
              </a:path>
            </a:pathLst>
          </a:custGeom>
          <a:solidFill>
            <a:schemeClr val="accent1">
              <a:lumMod val="20000"/>
              <a:lumOff val="80000"/>
            </a:schemeClr>
          </a:solidFill>
        </p:spPr>
        <p:txBody>
          <a:bodyPr wrap="square">
            <a:noAutofit/>
          </a:bodyPr>
          <a:lstStyle/>
          <a:p>
            <a:endParaRPr lang="en-US"/>
          </a:p>
        </p:txBody>
      </p:sp>
      <p:sp>
        <p:nvSpPr>
          <p:cNvPr id="139" name="图片占位符 138">
            <a:extLst>
              <a:ext uri="{FF2B5EF4-FFF2-40B4-BE49-F238E27FC236}">
                <a16:creationId xmlns:a16="http://schemas.microsoft.com/office/drawing/2014/main" id="{535BE455-31C8-4C38-A584-6BF2B9E52CA3}"/>
              </a:ext>
            </a:extLst>
          </p:cNvPr>
          <p:cNvSpPr>
            <a:spLocks noGrp="1"/>
          </p:cNvSpPr>
          <p:nvPr>
            <p:ph type="pic" sz="quarter" idx="13"/>
          </p:nvPr>
        </p:nvSpPr>
        <p:spPr>
          <a:xfrm>
            <a:off x="6114000" y="2063447"/>
            <a:ext cx="1990000" cy="2401353"/>
          </a:xfrm>
          <a:custGeom>
            <a:avLst/>
            <a:gdLst>
              <a:gd name="connsiteX0" fmla="*/ 1990000 w 1990000"/>
              <a:gd name="connsiteY0" fmla="*/ 0 h 2401353"/>
              <a:gd name="connsiteX1" fmla="*/ 1990000 w 1990000"/>
              <a:gd name="connsiteY1" fmla="*/ 2401353 h 2401353"/>
              <a:gd name="connsiteX2" fmla="*/ 1610276 w 1990000"/>
              <a:gd name="connsiteY2" fmla="*/ 2374072 h 2401353"/>
              <a:gd name="connsiteX3" fmla="*/ 539218 w 1990000"/>
              <a:gd name="connsiteY3" fmla="*/ 2330940 h 2401353"/>
              <a:gd name="connsiteX4" fmla="*/ 0 w 1990000"/>
              <a:gd name="connsiteY4" fmla="*/ 2325551 h 2401353"/>
              <a:gd name="connsiteX5" fmla="*/ 0 w 1990000"/>
              <a:gd name="connsiteY5" fmla="*/ 74899 h 2401353"/>
              <a:gd name="connsiteX6" fmla="*/ 499848 w 1990000"/>
              <a:gd name="connsiteY6" fmla="*/ 70259 h 2401353"/>
              <a:gd name="connsiteX7" fmla="*/ 1976268 w 1990000"/>
              <a:gd name="connsiteY7" fmla="*/ 1191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1990000" y="0"/>
                </a:moveTo>
                <a:lnTo>
                  <a:pt x="1990000" y="2401353"/>
                </a:lnTo>
                <a:lnTo>
                  <a:pt x="1610276" y="2374072"/>
                </a:lnTo>
                <a:cubicBezTo>
                  <a:pt x="1264293" y="2352900"/>
                  <a:pt x="906343" y="2338313"/>
                  <a:pt x="539218" y="2330940"/>
                </a:cubicBezTo>
                <a:lnTo>
                  <a:pt x="0" y="2325551"/>
                </a:lnTo>
                <a:lnTo>
                  <a:pt x="0" y="74899"/>
                </a:lnTo>
                <a:lnTo>
                  <a:pt x="499848" y="70259"/>
                </a:lnTo>
                <a:cubicBezTo>
                  <a:pt x="1012108" y="60709"/>
                  <a:pt x="1506762" y="37118"/>
                  <a:pt x="1976268" y="1191"/>
                </a:cubicBezTo>
                <a:close/>
              </a:path>
            </a:pathLst>
          </a:custGeom>
          <a:solidFill>
            <a:schemeClr val="accent1">
              <a:lumMod val="20000"/>
              <a:lumOff val="80000"/>
            </a:schemeClr>
          </a:solidFill>
        </p:spPr>
        <p:txBody>
          <a:bodyPr wrap="square">
            <a:noAutofit/>
          </a:bodyPr>
          <a:lstStyle/>
          <a:p>
            <a:endParaRPr lang="en-US"/>
          </a:p>
        </p:txBody>
      </p:sp>
      <p:sp>
        <p:nvSpPr>
          <p:cNvPr id="140" name="图片占位符 139">
            <a:extLst>
              <a:ext uri="{FF2B5EF4-FFF2-40B4-BE49-F238E27FC236}">
                <a16:creationId xmlns:a16="http://schemas.microsoft.com/office/drawing/2014/main" id="{A6518E82-DB13-4F41-93CC-DAB539F22642}"/>
              </a:ext>
            </a:extLst>
          </p:cNvPr>
          <p:cNvSpPr>
            <a:spLocks noGrp="1"/>
          </p:cNvSpPr>
          <p:nvPr>
            <p:ph type="pic" sz="quarter" idx="14"/>
          </p:nvPr>
        </p:nvSpPr>
        <p:spPr>
          <a:xfrm>
            <a:off x="8140000" y="1801704"/>
            <a:ext cx="1990000" cy="2909325"/>
          </a:xfrm>
          <a:custGeom>
            <a:avLst/>
            <a:gdLst>
              <a:gd name="connsiteX0" fmla="*/ 1990000 w 1990000"/>
              <a:gd name="connsiteY0" fmla="*/ 0 h 2909325"/>
              <a:gd name="connsiteX1" fmla="*/ 1990000 w 1990000"/>
              <a:gd name="connsiteY1" fmla="*/ 2909325 h 2909325"/>
              <a:gd name="connsiteX2" fmla="*/ 1917050 w 1990000"/>
              <a:gd name="connsiteY2" fmla="*/ 2909325 h 2909325"/>
              <a:gd name="connsiteX3" fmla="*/ 1911174 w 1990000"/>
              <a:gd name="connsiteY3" fmla="*/ 2908181 h 2909325"/>
              <a:gd name="connsiteX4" fmla="*/ 93929 w 1990000"/>
              <a:gd name="connsiteY4" fmla="*/ 2672431 h 2909325"/>
              <a:gd name="connsiteX5" fmla="*/ 0 w 1990000"/>
              <a:gd name="connsiteY5" fmla="*/ 2665682 h 2909325"/>
              <a:gd name="connsiteX6" fmla="*/ 0 w 1990000"/>
              <a:gd name="connsiteY6" fmla="*/ 258619 h 2909325"/>
              <a:gd name="connsiteX7" fmla="*/ 411111 w 1990000"/>
              <a:gd name="connsiteY7" fmla="*/ 222957 h 2909325"/>
              <a:gd name="connsiteX8" fmla="*/ 1676281 w 1990000"/>
              <a:gd name="connsiteY8" fmla="*/ 57481 h 290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0000" h="2909325">
                <a:moveTo>
                  <a:pt x="1990000" y="0"/>
                </a:moveTo>
                <a:lnTo>
                  <a:pt x="1990000" y="2909325"/>
                </a:lnTo>
                <a:lnTo>
                  <a:pt x="1917050" y="2909325"/>
                </a:lnTo>
                <a:lnTo>
                  <a:pt x="1911174" y="2908181"/>
                </a:lnTo>
                <a:cubicBezTo>
                  <a:pt x="1373763" y="2807892"/>
                  <a:pt x="760570" y="2727625"/>
                  <a:pt x="93929" y="2672431"/>
                </a:cubicBezTo>
                <a:lnTo>
                  <a:pt x="0" y="2665682"/>
                </a:lnTo>
                <a:lnTo>
                  <a:pt x="0" y="258619"/>
                </a:lnTo>
                <a:lnTo>
                  <a:pt x="411111" y="222957"/>
                </a:lnTo>
                <a:cubicBezTo>
                  <a:pt x="863012" y="178997"/>
                  <a:pt x="1287250" y="123269"/>
                  <a:pt x="1676281" y="57481"/>
                </a:cubicBezTo>
                <a:close/>
              </a:path>
            </a:pathLst>
          </a:custGeom>
          <a:solidFill>
            <a:schemeClr val="accent1">
              <a:lumMod val="20000"/>
              <a:lumOff val="80000"/>
            </a:schemeClr>
          </a:solidFill>
        </p:spPr>
        <p:txBody>
          <a:bodyPr wrap="square">
            <a:noAutofit/>
          </a:bodyPr>
          <a:lstStyle/>
          <a:p>
            <a:endParaRPr lang="en-US"/>
          </a:p>
        </p:txBody>
      </p:sp>
      <p:sp>
        <p:nvSpPr>
          <p:cNvPr id="141" name="图片占位符 140">
            <a:extLst>
              <a:ext uri="{FF2B5EF4-FFF2-40B4-BE49-F238E27FC236}">
                <a16:creationId xmlns:a16="http://schemas.microsoft.com/office/drawing/2014/main" id="{2B1D2CAE-95C3-46B2-8202-C5F898C02C5A}"/>
              </a:ext>
            </a:extLst>
          </p:cNvPr>
          <p:cNvSpPr>
            <a:spLocks noGrp="1"/>
          </p:cNvSpPr>
          <p:nvPr>
            <p:ph type="pic" sz="quarter" idx="15"/>
          </p:nvPr>
        </p:nvSpPr>
        <p:spPr>
          <a:xfrm>
            <a:off x="10166000" y="1018362"/>
            <a:ext cx="2026000" cy="4498692"/>
          </a:xfrm>
          <a:custGeom>
            <a:avLst/>
            <a:gdLst>
              <a:gd name="connsiteX0" fmla="*/ 2018741 w 2026000"/>
              <a:gd name="connsiteY0" fmla="*/ 0 h 4498692"/>
              <a:gd name="connsiteX1" fmla="*/ 2026000 w 2026000"/>
              <a:gd name="connsiteY1" fmla="*/ 0 h 4498692"/>
              <a:gd name="connsiteX2" fmla="*/ 2026000 w 2026000"/>
              <a:gd name="connsiteY2" fmla="*/ 664967 h 4498692"/>
              <a:gd name="connsiteX3" fmla="*/ 2025999 w 2026000"/>
              <a:gd name="connsiteY3" fmla="*/ 664967 h 4498692"/>
              <a:gd name="connsiteX4" fmla="*/ 2025999 w 2026000"/>
              <a:gd name="connsiteY4" fmla="*/ 4498692 h 4498692"/>
              <a:gd name="connsiteX5" fmla="*/ 2021594 w 2026000"/>
              <a:gd name="connsiteY5" fmla="*/ 4493115 h 4498692"/>
              <a:gd name="connsiteX6" fmla="*/ 83108 w 2026000"/>
              <a:gd name="connsiteY6" fmla="*/ 3730059 h 4498692"/>
              <a:gd name="connsiteX7" fmla="*/ 0 w 2026000"/>
              <a:gd name="connsiteY7" fmla="*/ 3713878 h 4498692"/>
              <a:gd name="connsiteX8" fmla="*/ 0 w 2026000"/>
              <a:gd name="connsiteY8" fmla="*/ 776746 h 4498692"/>
              <a:gd name="connsiteX9" fmla="*/ 27296 w 2026000"/>
              <a:gd name="connsiteY9" fmla="*/ 771745 h 4498692"/>
              <a:gd name="connsiteX10" fmla="*/ 1868375 w 2026000"/>
              <a:gd name="connsiteY10" fmla="*/ 132236 h 449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2">
                <a:moveTo>
                  <a:pt x="2018741" y="0"/>
                </a:moveTo>
                <a:lnTo>
                  <a:pt x="2026000" y="0"/>
                </a:lnTo>
                <a:lnTo>
                  <a:pt x="2026000" y="664967"/>
                </a:lnTo>
                <a:lnTo>
                  <a:pt x="2025999" y="664967"/>
                </a:lnTo>
                <a:lnTo>
                  <a:pt x="2025999" y="4498692"/>
                </a:lnTo>
                <a:lnTo>
                  <a:pt x="2021594" y="4493115"/>
                </a:lnTo>
                <a:cubicBezTo>
                  <a:pt x="1749814" y="4192786"/>
                  <a:pt x="1054578" y="3927338"/>
                  <a:pt x="83108" y="3730059"/>
                </a:cubicBezTo>
                <a:lnTo>
                  <a:pt x="0" y="3713878"/>
                </a:lnTo>
                <a:lnTo>
                  <a:pt x="0" y="776746"/>
                </a:lnTo>
                <a:lnTo>
                  <a:pt x="27296" y="771745"/>
                </a:lnTo>
                <a:cubicBezTo>
                  <a:pt x="878310" y="603031"/>
                  <a:pt x="1523949" y="382638"/>
                  <a:pt x="1868375" y="132236"/>
                </a:cubicBezTo>
                <a:close/>
              </a:path>
            </a:pathLst>
          </a:custGeom>
          <a:solidFill>
            <a:schemeClr val="accent1">
              <a:lumMod val="20000"/>
              <a:lumOff val="80000"/>
            </a:schemeClr>
          </a:solidFill>
        </p:spPr>
        <p:txBody>
          <a:bodyPr wrap="square">
            <a:noAutofit/>
          </a:bodyPr>
          <a:lstStyle/>
          <a:p>
            <a:endParaRPr lang="en-US"/>
          </a:p>
        </p:txBody>
      </p:sp>
      <p:sp>
        <p:nvSpPr>
          <p:cNvPr id="21" name="文本占位符 20">
            <a:extLst>
              <a:ext uri="{FF2B5EF4-FFF2-40B4-BE49-F238E27FC236}">
                <a16:creationId xmlns:a16="http://schemas.microsoft.com/office/drawing/2014/main" id="{3EBE47C1-C48E-4845-992D-D5276693CBF6}"/>
              </a:ext>
            </a:extLst>
          </p:cNvPr>
          <p:cNvSpPr>
            <a:spLocks noGrp="1"/>
          </p:cNvSpPr>
          <p:nvPr>
            <p:ph type="body" sz="quarter" idx="17" hasCustomPrompt="1"/>
          </p:nvPr>
        </p:nvSpPr>
        <p:spPr>
          <a:xfrm rot="20473700">
            <a:off x="205739" y="5317113"/>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2" name="文本占位符 20">
            <a:extLst>
              <a:ext uri="{FF2B5EF4-FFF2-40B4-BE49-F238E27FC236}">
                <a16:creationId xmlns:a16="http://schemas.microsoft.com/office/drawing/2014/main" id="{2BED4618-504D-47E2-A2E0-67277518220A}"/>
              </a:ext>
            </a:extLst>
          </p:cNvPr>
          <p:cNvSpPr>
            <a:spLocks noGrp="1"/>
          </p:cNvSpPr>
          <p:nvPr>
            <p:ph type="body" sz="quarter" idx="18" hasCustomPrompt="1"/>
          </p:nvPr>
        </p:nvSpPr>
        <p:spPr>
          <a:xfrm rot="21090254">
            <a:off x="2263139" y="4859913"/>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3" name="文本占位符 20">
            <a:extLst>
              <a:ext uri="{FF2B5EF4-FFF2-40B4-BE49-F238E27FC236}">
                <a16:creationId xmlns:a16="http://schemas.microsoft.com/office/drawing/2014/main" id="{9DDC291E-C49D-411D-9A20-994BE00A325E}"/>
              </a:ext>
            </a:extLst>
          </p:cNvPr>
          <p:cNvSpPr>
            <a:spLocks noGrp="1"/>
          </p:cNvSpPr>
          <p:nvPr>
            <p:ph type="body" sz="quarter" idx="19" hasCustomPrompt="1"/>
          </p:nvPr>
        </p:nvSpPr>
        <p:spPr>
          <a:xfrm>
            <a:off x="431292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4" name="文本占位符 20">
            <a:extLst>
              <a:ext uri="{FF2B5EF4-FFF2-40B4-BE49-F238E27FC236}">
                <a16:creationId xmlns:a16="http://schemas.microsoft.com/office/drawing/2014/main" id="{2BC1B4C5-09E5-49DE-9CC0-0002A94101EE}"/>
              </a:ext>
            </a:extLst>
          </p:cNvPr>
          <p:cNvSpPr>
            <a:spLocks noGrp="1"/>
          </p:cNvSpPr>
          <p:nvPr>
            <p:ph type="body" sz="quarter" idx="20" hasCustomPrompt="1"/>
          </p:nvPr>
        </p:nvSpPr>
        <p:spPr>
          <a:xfrm>
            <a:off x="628650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5" name="文本占位符 20">
            <a:extLst>
              <a:ext uri="{FF2B5EF4-FFF2-40B4-BE49-F238E27FC236}">
                <a16:creationId xmlns:a16="http://schemas.microsoft.com/office/drawing/2014/main" id="{1F3E3B01-36C5-4BF2-81CE-B7B0197AE13C}"/>
              </a:ext>
            </a:extLst>
          </p:cNvPr>
          <p:cNvSpPr>
            <a:spLocks noGrp="1"/>
          </p:cNvSpPr>
          <p:nvPr>
            <p:ph type="body" sz="quarter" idx="21" hasCustomPrompt="1"/>
          </p:nvPr>
        </p:nvSpPr>
        <p:spPr>
          <a:xfrm rot="509746" flipH="1">
            <a:off x="8323471" y="485991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6" name="文本占位符 20">
            <a:extLst>
              <a:ext uri="{FF2B5EF4-FFF2-40B4-BE49-F238E27FC236}">
                <a16:creationId xmlns:a16="http://schemas.microsoft.com/office/drawing/2014/main" id="{15F998F0-2559-4D12-A16B-8DEA90C6C861}"/>
              </a:ext>
            </a:extLst>
          </p:cNvPr>
          <p:cNvSpPr>
            <a:spLocks noGrp="1"/>
          </p:cNvSpPr>
          <p:nvPr>
            <p:ph type="body" sz="quarter" idx="22" hasCustomPrompt="1"/>
          </p:nvPr>
        </p:nvSpPr>
        <p:spPr>
          <a:xfrm rot="1126300" flipH="1">
            <a:off x="10341961" y="5317112"/>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Tree>
    <p:extLst>
      <p:ext uri="{BB962C8B-B14F-4D97-AF65-F5344CB8AC3E}">
        <p14:creationId xmlns:p14="http://schemas.microsoft.com/office/powerpoint/2010/main" val="28432810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组合 111">
            <a:extLst>
              <a:ext uri="{FF2B5EF4-FFF2-40B4-BE49-F238E27FC236}">
                <a16:creationId xmlns:a16="http://schemas.microsoft.com/office/drawing/2014/main" id="{0A203406-D549-43B3-858B-D22FF029ECC4}"/>
              </a:ext>
            </a:extLst>
          </p:cNvPr>
          <p:cNvGrpSpPr/>
          <p:nvPr userDrawn="1"/>
        </p:nvGrpSpPr>
        <p:grpSpPr>
          <a:xfrm>
            <a:off x="1126359" y="1209174"/>
            <a:ext cx="5489130" cy="4651672"/>
            <a:chOff x="804241" y="1209174"/>
            <a:chExt cx="5489130" cy="4651672"/>
          </a:xfrm>
          <a:effectLst>
            <a:outerShdw blurRad="50800" dist="38100" dir="2700000" algn="tl" rotWithShape="0">
              <a:prstClr val="black">
                <a:alpha val="40000"/>
              </a:prstClr>
            </a:outerShdw>
          </a:effectLst>
        </p:grpSpPr>
        <p:sp>
          <p:nvSpPr>
            <p:cNvPr id="113" name="Freeform 5">
              <a:extLst>
                <a:ext uri="{FF2B5EF4-FFF2-40B4-BE49-F238E27FC236}">
                  <a16:creationId xmlns:a16="http://schemas.microsoft.com/office/drawing/2014/main" id="{B2F15345-65BF-492B-AFCA-7BC2CBD82198}"/>
                </a:ext>
              </a:extLst>
            </p:cNvPr>
            <p:cNvSpPr>
              <a:spLocks noEditPoints="1"/>
            </p:cNvSpPr>
            <p:nvPr/>
          </p:nvSpPr>
          <p:spPr bwMode="auto">
            <a:xfrm>
              <a:off x="804241"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dirty="0">
                <a:ln>
                  <a:noFill/>
                </a:ln>
                <a:solidFill>
                  <a:prstClr val="black"/>
                </a:solidFill>
                <a:effectLst/>
                <a:uLnTx/>
                <a:uFillTx/>
                <a:cs typeface="+mn-cs"/>
              </a:endParaRPr>
            </a:p>
          </p:txBody>
        </p:sp>
        <p:grpSp>
          <p:nvGrpSpPr>
            <p:cNvPr id="114" name="组合 113">
              <a:extLst>
                <a:ext uri="{FF2B5EF4-FFF2-40B4-BE49-F238E27FC236}">
                  <a16:creationId xmlns:a16="http://schemas.microsoft.com/office/drawing/2014/main" id="{A26AC114-3036-4067-B75F-10194AA750BF}"/>
                </a:ext>
              </a:extLst>
            </p:cNvPr>
            <p:cNvGrpSpPr/>
            <p:nvPr/>
          </p:nvGrpSpPr>
          <p:grpSpPr>
            <a:xfrm>
              <a:off x="2947523" y="1209174"/>
              <a:ext cx="3345848" cy="4651672"/>
              <a:chOff x="3526643" y="1209174"/>
              <a:chExt cx="3345848" cy="4651672"/>
            </a:xfrm>
          </p:grpSpPr>
          <p:sp>
            <p:nvSpPr>
              <p:cNvPr id="115" name="Freeform 5">
                <a:extLst>
                  <a:ext uri="{FF2B5EF4-FFF2-40B4-BE49-F238E27FC236}">
                    <a16:creationId xmlns:a16="http://schemas.microsoft.com/office/drawing/2014/main" id="{1BBB97DE-51BF-48AE-9D84-8D5A7B7A289A}"/>
                  </a:ext>
                </a:extLst>
              </p:cNvPr>
              <p:cNvSpPr>
                <a:spLocks noEditPoints="1"/>
              </p:cNvSpPr>
              <p:nvPr/>
            </p:nvSpPr>
            <p:spPr bwMode="auto">
              <a:xfrm>
                <a:off x="3526643"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dirty="0">
                  <a:ln>
                    <a:noFill/>
                  </a:ln>
                  <a:solidFill>
                    <a:prstClr val="black"/>
                  </a:solidFill>
                  <a:effectLst/>
                  <a:uLnTx/>
                  <a:uFillTx/>
                  <a:cs typeface="+mn-cs"/>
                </a:endParaRPr>
              </a:p>
            </p:txBody>
          </p:sp>
          <p:sp>
            <p:nvSpPr>
              <p:cNvPr id="116" name="Freeform 13">
                <a:extLst>
                  <a:ext uri="{FF2B5EF4-FFF2-40B4-BE49-F238E27FC236}">
                    <a16:creationId xmlns:a16="http://schemas.microsoft.com/office/drawing/2014/main" id="{CBCFC339-F56F-48FB-820D-5B23971FB2B2}"/>
                  </a:ext>
                </a:extLst>
              </p:cNvPr>
              <p:cNvSpPr>
                <a:spLocks/>
              </p:cNvSpPr>
              <p:nvPr/>
            </p:nvSpPr>
            <p:spPr bwMode="auto">
              <a:xfrm>
                <a:off x="6528130" y="5491377"/>
                <a:ext cx="344361" cy="369469"/>
              </a:xfrm>
              <a:custGeom>
                <a:avLst/>
                <a:gdLst>
                  <a:gd name="T0" fmla="*/ 236 w 236"/>
                  <a:gd name="T1" fmla="*/ 0 h 244"/>
                  <a:gd name="T2" fmla="*/ 0 w 236"/>
                  <a:gd name="T3" fmla="*/ 244 h 244"/>
                  <a:gd name="T4" fmla="*/ 0 w 236"/>
                  <a:gd name="T5" fmla="*/ 0 h 244"/>
                  <a:gd name="T6" fmla="*/ 236 w 236"/>
                  <a:gd name="T7" fmla="*/ 0 h 244"/>
                </a:gdLst>
                <a:ahLst/>
                <a:cxnLst>
                  <a:cxn ang="0">
                    <a:pos x="T0" y="T1"/>
                  </a:cxn>
                  <a:cxn ang="0">
                    <a:pos x="T2" y="T3"/>
                  </a:cxn>
                  <a:cxn ang="0">
                    <a:pos x="T4" y="T5"/>
                  </a:cxn>
                  <a:cxn ang="0">
                    <a:pos x="T6" y="T7"/>
                  </a:cxn>
                </a:cxnLst>
                <a:rect l="0" t="0" r="r" b="b"/>
                <a:pathLst>
                  <a:path w="236" h="244">
                    <a:moveTo>
                      <a:pt x="236" y="0"/>
                    </a:moveTo>
                    <a:lnTo>
                      <a:pt x="0" y="244"/>
                    </a:lnTo>
                    <a:lnTo>
                      <a:pt x="0" y="0"/>
                    </a:lnTo>
                    <a:lnTo>
                      <a:pt x="236"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noProof="0">
                  <a:ln>
                    <a:noFill/>
                  </a:ln>
                  <a:solidFill>
                    <a:prstClr val="black"/>
                  </a:solidFill>
                  <a:effectLst/>
                  <a:uLnTx/>
                  <a:uFillTx/>
                  <a:cs typeface="+mn-cs"/>
                </a:endParaRPr>
              </a:p>
            </p:txBody>
          </p:sp>
        </p:grpSp>
      </p:grpSp>
      <p:sp>
        <p:nvSpPr>
          <p:cNvPr id="117" name="Freeform 14">
            <a:extLst>
              <a:ext uri="{FF2B5EF4-FFF2-40B4-BE49-F238E27FC236}">
                <a16:creationId xmlns:a16="http://schemas.microsoft.com/office/drawing/2014/main" id="{281B576A-0E0B-4744-A791-B822C3EA5682}"/>
              </a:ext>
            </a:extLst>
          </p:cNvPr>
          <p:cNvSpPr>
            <a:spLocks/>
          </p:cNvSpPr>
          <p:nvPr userDrawn="1"/>
        </p:nvSpPr>
        <p:spPr bwMode="auto">
          <a:xfrm>
            <a:off x="847660" y="1209174"/>
            <a:ext cx="557398" cy="902473"/>
          </a:xfrm>
          <a:custGeom>
            <a:avLst/>
            <a:gdLst>
              <a:gd name="T0" fmla="*/ 134 w 134"/>
              <a:gd name="T1" fmla="*/ 81 h 210"/>
              <a:gd name="T2" fmla="*/ 134 w 134"/>
              <a:gd name="T3" fmla="*/ 210 h 210"/>
              <a:gd name="T4" fmla="*/ 85 w 134"/>
              <a:gd name="T5" fmla="*/ 210 h 210"/>
              <a:gd name="T6" fmla="*/ 83 w 134"/>
              <a:gd name="T7" fmla="*/ 210 h 210"/>
              <a:gd name="T8" fmla="*/ 0 w 134"/>
              <a:gd name="T9" fmla="*/ 104 h 210"/>
              <a:gd name="T10" fmla="*/ 2 w 134"/>
              <a:gd name="T11" fmla="*/ 81 h 210"/>
              <a:gd name="T12" fmla="*/ 30 w 134"/>
              <a:gd name="T13" fmla="*/ 23 h 210"/>
              <a:gd name="T14" fmla="*/ 67 w 134"/>
              <a:gd name="T15" fmla="*/ 0 h 210"/>
              <a:gd name="T16" fmla="*/ 83 w 134"/>
              <a:gd name="T17" fmla="*/ 4 h 210"/>
              <a:gd name="T18" fmla="*/ 115 w 134"/>
              <a:gd name="T19" fmla="*/ 28 h 210"/>
              <a:gd name="T20" fmla="*/ 134 w 134"/>
              <a:gd name="T21" fmla="*/ 8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210">
                <a:moveTo>
                  <a:pt x="134" y="81"/>
                </a:moveTo>
                <a:cubicBezTo>
                  <a:pt x="134" y="210"/>
                  <a:pt x="134" y="210"/>
                  <a:pt x="134" y="210"/>
                </a:cubicBezTo>
                <a:cubicBezTo>
                  <a:pt x="85" y="210"/>
                  <a:pt x="85" y="210"/>
                  <a:pt x="85" y="210"/>
                </a:cubicBezTo>
                <a:cubicBezTo>
                  <a:pt x="84" y="210"/>
                  <a:pt x="84" y="210"/>
                  <a:pt x="83" y="210"/>
                </a:cubicBezTo>
                <a:cubicBezTo>
                  <a:pt x="37" y="209"/>
                  <a:pt x="0" y="162"/>
                  <a:pt x="0" y="104"/>
                </a:cubicBezTo>
                <a:cubicBezTo>
                  <a:pt x="0" y="96"/>
                  <a:pt x="1" y="88"/>
                  <a:pt x="2" y="81"/>
                </a:cubicBezTo>
                <a:cubicBezTo>
                  <a:pt x="6" y="58"/>
                  <a:pt x="16" y="37"/>
                  <a:pt x="30" y="23"/>
                </a:cubicBezTo>
                <a:cubicBezTo>
                  <a:pt x="41" y="12"/>
                  <a:pt x="54" y="4"/>
                  <a:pt x="67" y="0"/>
                </a:cubicBezTo>
                <a:cubicBezTo>
                  <a:pt x="73" y="1"/>
                  <a:pt x="78" y="2"/>
                  <a:pt x="83" y="4"/>
                </a:cubicBezTo>
                <a:cubicBezTo>
                  <a:pt x="96" y="9"/>
                  <a:pt x="107" y="17"/>
                  <a:pt x="115" y="28"/>
                </a:cubicBezTo>
                <a:cubicBezTo>
                  <a:pt x="127" y="42"/>
                  <a:pt x="134" y="61"/>
                  <a:pt x="134" y="81"/>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cs typeface="+mn-cs"/>
            </a:endParaRPr>
          </a:p>
        </p:txBody>
      </p:sp>
      <p:grpSp>
        <p:nvGrpSpPr>
          <p:cNvPr id="118" name="组合 117">
            <a:extLst>
              <a:ext uri="{FF2B5EF4-FFF2-40B4-BE49-F238E27FC236}">
                <a16:creationId xmlns:a16="http://schemas.microsoft.com/office/drawing/2014/main" id="{85295BF4-CF2E-473D-AF36-D9E0DAFD90E8}"/>
              </a:ext>
            </a:extLst>
          </p:cNvPr>
          <p:cNvGrpSpPr/>
          <p:nvPr userDrawn="1"/>
        </p:nvGrpSpPr>
        <p:grpSpPr>
          <a:xfrm>
            <a:off x="838056" y="2221950"/>
            <a:ext cx="1219231" cy="4033622"/>
            <a:chOff x="2617114" y="2629161"/>
            <a:chExt cx="1326471" cy="4228839"/>
          </a:xfrm>
        </p:grpSpPr>
        <p:sp>
          <p:nvSpPr>
            <p:cNvPr id="119" name="iśḻîḍé">
              <a:extLst>
                <a:ext uri="{FF2B5EF4-FFF2-40B4-BE49-F238E27FC236}">
                  <a16:creationId xmlns:a16="http://schemas.microsoft.com/office/drawing/2014/main" id="{877DB513-5133-42C5-8AC3-F49F27393C9E}"/>
                </a:ext>
              </a:extLst>
            </p:cNvPr>
            <p:cNvSpPr/>
            <p:nvPr/>
          </p:nvSpPr>
          <p:spPr bwMode="auto">
            <a:xfrm flipH="1">
              <a:off x="2617114" y="2629161"/>
              <a:ext cx="1326471" cy="3113789"/>
            </a:xfrm>
            <a:custGeom>
              <a:avLst/>
              <a:gdLst>
                <a:gd name="T0" fmla="*/ 485 w 653"/>
                <a:gd name="T1" fmla="*/ 235 h 1443"/>
                <a:gd name="T2" fmla="*/ 346 w 653"/>
                <a:gd name="T3" fmla="*/ 20 h 1443"/>
                <a:gd name="T4" fmla="*/ 342 w 653"/>
                <a:gd name="T5" fmla="*/ 590 h 1443"/>
                <a:gd name="T6" fmla="*/ 188 w 653"/>
                <a:gd name="T7" fmla="*/ 190 h 1443"/>
                <a:gd name="T8" fmla="*/ 86 w 653"/>
                <a:gd name="T9" fmla="*/ 7 h 1443"/>
                <a:gd name="T10" fmla="*/ 22 w 653"/>
                <a:gd name="T11" fmla="*/ 191 h 1443"/>
                <a:gd name="T12" fmla="*/ 107 w 653"/>
                <a:gd name="T13" fmla="*/ 538 h 1443"/>
                <a:gd name="T14" fmla="*/ 132 w 653"/>
                <a:gd name="T15" fmla="*/ 1010 h 1443"/>
                <a:gd name="T16" fmla="*/ 60 w 653"/>
                <a:gd name="T17" fmla="*/ 1009 h 1443"/>
                <a:gd name="T18" fmla="*/ 113 w 653"/>
                <a:gd name="T19" fmla="*/ 1152 h 1443"/>
                <a:gd name="T20" fmla="*/ 137 w 653"/>
                <a:gd name="T21" fmla="*/ 1433 h 1443"/>
                <a:gd name="T22" fmla="*/ 563 w 653"/>
                <a:gd name="T23" fmla="*/ 1443 h 1443"/>
                <a:gd name="T24" fmla="*/ 622 w 653"/>
                <a:gd name="T25" fmla="*/ 644 h 1443"/>
                <a:gd name="T26" fmla="*/ 485 w 653"/>
                <a:gd name="T27" fmla="*/ 235 h 1443"/>
                <a:gd name="connsiteX0" fmla="*/ 7215 w 9385"/>
                <a:gd name="connsiteY0" fmla="*/ 1583 h 9954"/>
                <a:gd name="connsiteX1" fmla="*/ 5087 w 9385"/>
                <a:gd name="connsiteY1" fmla="*/ 93 h 9954"/>
                <a:gd name="connsiteX2" fmla="*/ 5025 w 9385"/>
                <a:gd name="connsiteY2" fmla="*/ 4043 h 9954"/>
                <a:gd name="connsiteX3" fmla="*/ 2667 w 9385"/>
                <a:gd name="connsiteY3" fmla="*/ 1271 h 9954"/>
                <a:gd name="connsiteX4" fmla="*/ 1105 w 9385"/>
                <a:gd name="connsiteY4" fmla="*/ 3 h 9954"/>
                <a:gd name="connsiteX5" fmla="*/ 125 w 9385"/>
                <a:gd name="connsiteY5" fmla="*/ 1278 h 9954"/>
                <a:gd name="connsiteX6" fmla="*/ 1427 w 9385"/>
                <a:gd name="connsiteY6" fmla="*/ 3682 h 9954"/>
                <a:gd name="connsiteX7" fmla="*/ 1809 w 9385"/>
                <a:gd name="connsiteY7" fmla="*/ 6953 h 9954"/>
                <a:gd name="connsiteX8" fmla="*/ 1518 w 9385"/>
                <a:gd name="connsiteY8" fmla="*/ 7937 h 9954"/>
                <a:gd name="connsiteX9" fmla="*/ 1886 w 9385"/>
                <a:gd name="connsiteY9" fmla="*/ 9885 h 9954"/>
                <a:gd name="connsiteX10" fmla="*/ 8410 w 9385"/>
                <a:gd name="connsiteY10" fmla="*/ 9954 h 9954"/>
                <a:gd name="connsiteX11" fmla="*/ 9313 w 9385"/>
                <a:gd name="connsiteY11" fmla="*/ 4417 h 9954"/>
                <a:gd name="connsiteX12" fmla="*/ 7215 w 9385"/>
                <a:gd name="connsiteY12" fmla="*/ 1583 h 9954"/>
                <a:gd name="connsiteX0" fmla="*/ 7688 w 9999"/>
                <a:gd name="connsiteY0" fmla="*/ 1590 h 10000"/>
                <a:gd name="connsiteX1" fmla="*/ 5420 w 9999"/>
                <a:gd name="connsiteY1" fmla="*/ 93 h 10000"/>
                <a:gd name="connsiteX2" fmla="*/ 5354 w 9999"/>
                <a:gd name="connsiteY2" fmla="*/ 4062 h 10000"/>
                <a:gd name="connsiteX3" fmla="*/ 2842 w 9999"/>
                <a:gd name="connsiteY3" fmla="*/ 1277 h 10000"/>
                <a:gd name="connsiteX4" fmla="*/ 1177 w 9999"/>
                <a:gd name="connsiteY4" fmla="*/ 3 h 10000"/>
                <a:gd name="connsiteX5" fmla="*/ 133 w 9999"/>
                <a:gd name="connsiteY5" fmla="*/ 1284 h 10000"/>
                <a:gd name="connsiteX6" fmla="*/ 1521 w 9999"/>
                <a:gd name="connsiteY6" fmla="*/ 3699 h 10000"/>
                <a:gd name="connsiteX7" fmla="*/ 1928 w 9999"/>
                <a:gd name="connsiteY7" fmla="*/ 6985 h 10000"/>
                <a:gd name="connsiteX8" fmla="*/ 2010 w 9999"/>
                <a:gd name="connsiteY8" fmla="*/ 9931 h 10000"/>
                <a:gd name="connsiteX9" fmla="*/ 8961 w 9999"/>
                <a:gd name="connsiteY9" fmla="*/ 10000 h 10000"/>
                <a:gd name="connsiteX10" fmla="*/ 9923 w 9999"/>
                <a:gd name="connsiteY10" fmla="*/ 4437 h 10000"/>
                <a:gd name="connsiteX11" fmla="*/ 7688 w 9999"/>
                <a:gd name="connsiteY11" fmla="*/ 1590 h 10000"/>
                <a:gd name="connsiteX0" fmla="*/ 7683 w 9994"/>
                <a:gd name="connsiteY0" fmla="*/ 1497 h 9907"/>
                <a:gd name="connsiteX1" fmla="*/ 5415 w 9994"/>
                <a:gd name="connsiteY1" fmla="*/ 0 h 9907"/>
                <a:gd name="connsiteX2" fmla="*/ 5349 w 9994"/>
                <a:gd name="connsiteY2" fmla="*/ 3969 h 9907"/>
                <a:gd name="connsiteX3" fmla="*/ 2836 w 9994"/>
                <a:gd name="connsiteY3" fmla="*/ 1184 h 9907"/>
                <a:gd name="connsiteX4" fmla="*/ 1216 w 9994"/>
                <a:gd name="connsiteY4" fmla="*/ 240 h 9907"/>
                <a:gd name="connsiteX5" fmla="*/ 127 w 9994"/>
                <a:gd name="connsiteY5" fmla="*/ 1191 h 9907"/>
                <a:gd name="connsiteX6" fmla="*/ 1515 w 9994"/>
                <a:gd name="connsiteY6" fmla="*/ 3606 h 9907"/>
                <a:gd name="connsiteX7" fmla="*/ 1922 w 9994"/>
                <a:gd name="connsiteY7" fmla="*/ 6892 h 9907"/>
                <a:gd name="connsiteX8" fmla="*/ 2004 w 9994"/>
                <a:gd name="connsiteY8" fmla="*/ 9838 h 9907"/>
                <a:gd name="connsiteX9" fmla="*/ 8956 w 9994"/>
                <a:gd name="connsiteY9" fmla="*/ 9907 h 9907"/>
                <a:gd name="connsiteX10" fmla="*/ 9918 w 9994"/>
                <a:gd name="connsiteY10" fmla="*/ 4344 h 9907"/>
                <a:gd name="connsiteX11" fmla="*/ 7683 w 9994"/>
                <a:gd name="connsiteY11" fmla="*/ 1497 h 9907"/>
                <a:gd name="connsiteX0" fmla="*/ 7641 w 9953"/>
                <a:gd name="connsiteY0" fmla="*/ 1511 h 10000"/>
                <a:gd name="connsiteX1" fmla="*/ 5371 w 9953"/>
                <a:gd name="connsiteY1" fmla="*/ 0 h 10000"/>
                <a:gd name="connsiteX2" fmla="*/ 5305 w 9953"/>
                <a:gd name="connsiteY2" fmla="*/ 4006 h 10000"/>
                <a:gd name="connsiteX3" fmla="*/ 3155 w 9953"/>
                <a:gd name="connsiteY3" fmla="*/ 1704 h 10000"/>
                <a:gd name="connsiteX4" fmla="*/ 1170 w 9953"/>
                <a:gd name="connsiteY4" fmla="*/ 242 h 10000"/>
                <a:gd name="connsiteX5" fmla="*/ 80 w 9953"/>
                <a:gd name="connsiteY5" fmla="*/ 1202 h 10000"/>
                <a:gd name="connsiteX6" fmla="*/ 1469 w 9953"/>
                <a:gd name="connsiteY6" fmla="*/ 3640 h 10000"/>
                <a:gd name="connsiteX7" fmla="*/ 1876 w 9953"/>
                <a:gd name="connsiteY7" fmla="*/ 6957 h 10000"/>
                <a:gd name="connsiteX8" fmla="*/ 1958 w 9953"/>
                <a:gd name="connsiteY8" fmla="*/ 9930 h 10000"/>
                <a:gd name="connsiteX9" fmla="*/ 8914 w 9953"/>
                <a:gd name="connsiteY9" fmla="*/ 10000 h 10000"/>
                <a:gd name="connsiteX10" fmla="*/ 9877 w 9953"/>
                <a:gd name="connsiteY10" fmla="*/ 4385 h 10000"/>
                <a:gd name="connsiteX11" fmla="*/ 7641 w 9953"/>
                <a:gd name="connsiteY11" fmla="*/ 1511 h 10000"/>
                <a:gd name="connsiteX0" fmla="*/ 7506 w 9830"/>
                <a:gd name="connsiteY0" fmla="*/ 1511 h 10000"/>
                <a:gd name="connsiteX1" fmla="*/ 5225 w 9830"/>
                <a:gd name="connsiteY1" fmla="*/ 0 h 10000"/>
                <a:gd name="connsiteX2" fmla="*/ 5159 w 9830"/>
                <a:gd name="connsiteY2" fmla="*/ 4006 h 10000"/>
                <a:gd name="connsiteX3" fmla="*/ 2999 w 9830"/>
                <a:gd name="connsiteY3" fmla="*/ 1704 h 10000"/>
                <a:gd name="connsiteX4" fmla="*/ 1005 w 9830"/>
                <a:gd name="connsiteY4" fmla="*/ 242 h 10000"/>
                <a:gd name="connsiteX5" fmla="*/ 92 w 9830"/>
                <a:gd name="connsiteY5" fmla="*/ 2005 h 10000"/>
                <a:gd name="connsiteX6" fmla="*/ 1305 w 9830"/>
                <a:gd name="connsiteY6" fmla="*/ 3640 h 10000"/>
                <a:gd name="connsiteX7" fmla="*/ 1714 w 9830"/>
                <a:gd name="connsiteY7" fmla="*/ 6957 h 10000"/>
                <a:gd name="connsiteX8" fmla="*/ 1796 w 9830"/>
                <a:gd name="connsiteY8" fmla="*/ 9930 h 10000"/>
                <a:gd name="connsiteX9" fmla="*/ 8785 w 9830"/>
                <a:gd name="connsiteY9" fmla="*/ 10000 h 10000"/>
                <a:gd name="connsiteX10" fmla="*/ 9753 w 9830"/>
                <a:gd name="connsiteY10" fmla="*/ 4385 h 10000"/>
                <a:gd name="connsiteX11" fmla="*/ 7506 w 9830"/>
                <a:gd name="connsiteY11" fmla="*/ 1511 h 10000"/>
                <a:gd name="connsiteX0" fmla="*/ 7629 w 9993"/>
                <a:gd name="connsiteY0" fmla="*/ 1511 h 10000"/>
                <a:gd name="connsiteX1" fmla="*/ 5308 w 9993"/>
                <a:gd name="connsiteY1" fmla="*/ 0 h 10000"/>
                <a:gd name="connsiteX2" fmla="*/ 5241 w 9993"/>
                <a:gd name="connsiteY2" fmla="*/ 4006 h 10000"/>
                <a:gd name="connsiteX3" fmla="*/ 3044 w 9993"/>
                <a:gd name="connsiteY3" fmla="*/ 1704 h 10000"/>
                <a:gd name="connsiteX4" fmla="*/ 1108 w 9993"/>
                <a:gd name="connsiteY4" fmla="*/ 908 h 10000"/>
                <a:gd name="connsiteX5" fmla="*/ 87 w 9993"/>
                <a:gd name="connsiteY5" fmla="*/ 2005 h 10000"/>
                <a:gd name="connsiteX6" fmla="*/ 1321 w 9993"/>
                <a:gd name="connsiteY6" fmla="*/ 3640 h 10000"/>
                <a:gd name="connsiteX7" fmla="*/ 1737 w 9993"/>
                <a:gd name="connsiteY7" fmla="*/ 6957 h 10000"/>
                <a:gd name="connsiteX8" fmla="*/ 1820 w 9993"/>
                <a:gd name="connsiteY8" fmla="*/ 9930 h 10000"/>
                <a:gd name="connsiteX9" fmla="*/ 8930 w 9993"/>
                <a:gd name="connsiteY9" fmla="*/ 10000 h 10000"/>
                <a:gd name="connsiteX10" fmla="*/ 9915 w 9993"/>
                <a:gd name="connsiteY10" fmla="*/ 4385 h 10000"/>
                <a:gd name="connsiteX11" fmla="*/ 7629 w 9993"/>
                <a:gd name="connsiteY11" fmla="*/ 1511 h 10000"/>
                <a:gd name="connsiteX0" fmla="*/ 7671 w 10037"/>
                <a:gd name="connsiteY0" fmla="*/ 1511 h 10000"/>
                <a:gd name="connsiteX1" fmla="*/ 5349 w 10037"/>
                <a:gd name="connsiteY1" fmla="*/ 0 h 10000"/>
                <a:gd name="connsiteX2" fmla="*/ 5282 w 10037"/>
                <a:gd name="connsiteY2" fmla="*/ 4006 h 10000"/>
                <a:gd name="connsiteX3" fmla="*/ 3083 w 10037"/>
                <a:gd name="connsiteY3" fmla="*/ 1704 h 10000"/>
                <a:gd name="connsiteX4" fmla="*/ 1146 w 10037"/>
                <a:gd name="connsiteY4" fmla="*/ 908 h 10000"/>
                <a:gd name="connsiteX5" fmla="*/ 124 w 10037"/>
                <a:gd name="connsiteY5" fmla="*/ 2005 h 10000"/>
                <a:gd name="connsiteX6" fmla="*/ 1359 w 10037"/>
                <a:gd name="connsiteY6" fmla="*/ 3640 h 10000"/>
                <a:gd name="connsiteX7" fmla="*/ 1775 w 10037"/>
                <a:gd name="connsiteY7" fmla="*/ 6957 h 10000"/>
                <a:gd name="connsiteX8" fmla="*/ 1858 w 10037"/>
                <a:gd name="connsiteY8" fmla="*/ 9930 h 10000"/>
                <a:gd name="connsiteX9" fmla="*/ 8973 w 10037"/>
                <a:gd name="connsiteY9" fmla="*/ 10000 h 10000"/>
                <a:gd name="connsiteX10" fmla="*/ 9959 w 10037"/>
                <a:gd name="connsiteY10" fmla="*/ 4385 h 10000"/>
                <a:gd name="connsiteX11" fmla="*/ 7671 w 10037"/>
                <a:gd name="connsiteY11" fmla="*/ 1511 h 10000"/>
                <a:gd name="connsiteX0" fmla="*/ 7636 w 10002"/>
                <a:gd name="connsiteY0" fmla="*/ 1511 h 10000"/>
                <a:gd name="connsiteX1" fmla="*/ 5314 w 10002"/>
                <a:gd name="connsiteY1" fmla="*/ 0 h 10000"/>
                <a:gd name="connsiteX2" fmla="*/ 5247 w 10002"/>
                <a:gd name="connsiteY2" fmla="*/ 4006 h 10000"/>
                <a:gd name="connsiteX3" fmla="*/ 3234 w 10002"/>
                <a:gd name="connsiteY3" fmla="*/ 1802 h 10000"/>
                <a:gd name="connsiteX4" fmla="*/ 1111 w 10002"/>
                <a:gd name="connsiteY4" fmla="*/ 908 h 10000"/>
                <a:gd name="connsiteX5" fmla="*/ 89 w 10002"/>
                <a:gd name="connsiteY5" fmla="*/ 2005 h 10000"/>
                <a:gd name="connsiteX6" fmla="*/ 1324 w 10002"/>
                <a:gd name="connsiteY6" fmla="*/ 3640 h 10000"/>
                <a:gd name="connsiteX7" fmla="*/ 1740 w 10002"/>
                <a:gd name="connsiteY7" fmla="*/ 6957 h 10000"/>
                <a:gd name="connsiteX8" fmla="*/ 1823 w 10002"/>
                <a:gd name="connsiteY8" fmla="*/ 9930 h 10000"/>
                <a:gd name="connsiteX9" fmla="*/ 8938 w 10002"/>
                <a:gd name="connsiteY9" fmla="*/ 10000 h 10000"/>
                <a:gd name="connsiteX10" fmla="*/ 9924 w 10002"/>
                <a:gd name="connsiteY10" fmla="*/ 4385 h 10000"/>
                <a:gd name="connsiteX11" fmla="*/ 7636 w 10002"/>
                <a:gd name="connsiteY11" fmla="*/ 1511 h 10000"/>
                <a:gd name="connsiteX0" fmla="*/ 7737 w 10103"/>
                <a:gd name="connsiteY0" fmla="*/ 1511 h 10000"/>
                <a:gd name="connsiteX1" fmla="*/ 5415 w 10103"/>
                <a:gd name="connsiteY1" fmla="*/ 0 h 10000"/>
                <a:gd name="connsiteX2" fmla="*/ 5348 w 10103"/>
                <a:gd name="connsiteY2" fmla="*/ 4006 h 10000"/>
                <a:gd name="connsiteX3" fmla="*/ 3335 w 10103"/>
                <a:gd name="connsiteY3" fmla="*/ 1802 h 10000"/>
                <a:gd name="connsiteX4" fmla="*/ 1212 w 10103"/>
                <a:gd name="connsiteY4" fmla="*/ 908 h 10000"/>
                <a:gd name="connsiteX5" fmla="*/ 190 w 10103"/>
                <a:gd name="connsiteY5" fmla="*/ 2005 h 10000"/>
                <a:gd name="connsiteX6" fmla="*/ 1425 w 10103"/>
                <a:gd name="connsiteY6" fmla="*/ 3640 h 10000"/>
                <a:gd name="connsiteX7" fmla="*/ 1841 w 10103"/>
                <a:gd name="connsiteY7" fmla="*/ 6957 h 10000"/>
                <a:gd name="connsiteX8" fmla="*/ 1924 w 10103"/>
                <a:gd name="connsiteY8" fmla="*/ 9930 h 10000"/>
                <a:gd name="connsiteX9" fmla="*/ 9039 w 10103"/>
                <a:gd name="connsiteY9" fmla="*/ 10000 h 10000"/>
                <a:gd name="connsiteX10" fmla="*/ 10025 w 10103"/>
                <a:gd name="connsiteY10" fmla="*/ 4385 h 10000"/>
                <a:gd name="connsiteX11" fmla="*/ 7737 w 10103"/>
                <a:gd name="connsiteY11" fmla="*/ 1511 h 10000"/>
                <a:gd name="connsiteX0" fmla="*/ 7737 w 10122"/>
                <a:gd name="connsiteY0" fmla="*/ 1511 h 10000"/>
                <a:gd name="connsiteX1" fmla="*/ 5415 w 10122"/>
                <a:gd name="connsiteY1" fmla="*/ 0 h 10000"/>
                <a:gd name="connsiteX2" fmla="*/ 5348 w 10122"/>
                <a:gd name="connsiteY2" fmla="*/ 4006 h 10000"/>
                <a:gd name="connsiteX3" fmla="*/ 3335 w 10122"/>
                <a:gd name="connsiteY3" fmla="*/ 1802 h 10000"/>
                <a:gd name="connsiteX4" fmla="*/ 1212 w 10122"/>
                <a:gd name="connsiteY4" fmla="*/ 908 h 10000"/>
                <a:gd name="connsiteX5" fmla="*/ 190 w 10122"/>
                <a:gd name="connsiteY5" fmla="*/ 2005 h 10000"/>
                <a:gd name="connsiteX6" fmla="*/ 1425 w 10122"/>
                <a:gd name="connsiteY6" fmla="*/ 3640 h 10000"/>
                <a:gd name="connsiteX7" fmla="*/ 1841 w 10122"/>
                <a:gd name="connsiteY7" fmla="*/ 6957 h 10000"/>
                <a:gd name="connsiteX8" fmla="*/ 1924 w 10122"/>
                <a:gd name="connsiteY8" fmla="*/ 9930 h 10000"/>
                <a:gd name="connsiteX9" fmla="*/ 9039 w 10122"/>
                <a:gd name="connsiteY9" fmla="*/ 10000 h 10000"/>
                <a:gd name="connsiteX10" fmla="*/ 10025 w 10122"/>
                <a:gd name="connsiteY10" fmla="*/ 4385 h 10000"/>
                <a:gd name="connsiteX11" fmla="*/ 8248 w 10122"/>
                <a:gd name="connsiteY11" fmla="*/ 1394 h 10000"/>
                <a:gd name="connsiteX0" fmla="*/ 5415 w 10122"/>
                <a:gd name="connsiteY0" fmla="*/ 0 h 10000"/>
                <a:gd name="connsiteX1" fmla="*/ 5348 w 10122"/>
                <a:gd name="connsiteY1" fmla="*/ 4006 h 10000"/>
                <a:gd name="connsiteX2" fmla="*/ 3335 w 10122"/>
                <a:gd name="connsiteY2" fmla="*/ 1802 h 10000"/>
                <a:gd name="connsiteX3" fmla="*/ 1212 w 10122"/>
                <a:gd name="connsiteY3" fmla="*/ 908 h 10000"/>
                <a:gd name="connsiteX4" fmla="*/ 190 w 10122"/>
                <a:gd name="connsiteY4" fmla="*/ 2005 h 10000"/>
                <a:gd name="connsiteX5" fmla="*/ 1425 w 10122"/>
                <a:gd name="connsiteY5" fmla="*/ 3640 h 10000"/>
                <a:gd name="connsiteX6" fmla="*/ 1841 w 10122"/>
                <a:gd name="connsiteY6" fmla="*/ 6957 h 10000"/>
                <a:gd name="connsiteX7" fmla="*/ 1924 w 10122"/>
                <a:gd name="connsiteY7" fmla="*/ 9930 h 10000"/>
                <a:gd name="connsiteX8" fmla="*/ 9039 w 10122"/>
                <a:gd name="connsiteY8" fmla="*/ 10000 h 10000"/>
                <a:gd name="connsiteX9" fmla="*/ 10025 w 10122"/>
                <a:gd name="connsiteY9" fmla="*/ 4385 h 10000"/>
                <a:gd name="connsiteX10" fmla="*/ 8248 w 10122"/>
                <a:gd name="connsiteY10" fmla="*/ 1394 h 10000"/>
                <a:gd name="connsiteX0" fmla="*/ 5415 w 10118"/>
                <a:gd name="connsiteY0" fmla="*/ 0 h 10000"/>
                <a:gd name="connsiteX1" fmla="*/ 5348 w 10118"/>
                <a:gd name="connsiteY1" fmla="*/ 4006 h 10000"/>
                <a:gd name="connsiteX2" fmla="*/ 3335 w 10118"/>
                <a:gd name="connsiteY2" fmla="*/ 1802 h 10000"/>
                <a:gd name="connsiteX3" fmla="*/ 1212 w 10118"/>
                <a:gd name="connsiteY3" fmla="*/ 908 h 10000"/>
                <a:gd name="connsiteX4" fmla="*/ 190 w 10118"/>
                <a:gd name="connsiteY4" fmla="*/ 2005 h 10000"/>
                <a:gd name="connsiteX5" fmla="*/ 1425 w 10118"/>
                <a:gd name="connsiteY5" fmla="*/ 3640 h 10000"/>
                <a:gd name="connsiteX6" fmla="*/ 1841 w 10118"/>
                <a:gd name="connsiteY6" fmla="*/ 6957 h 10000"/>
                <a:gd name="connsiteX7" fmla="*/ 1924 w 10118"/>
                <a:gd name="connsiteY7" fmla="*/ 9930 h 10000"/>
                <a:gd name="connsiteX8" fmla="*/ 9039 w 10118"/>
                <a:gd name="connsiteY8" fmla="*/ 10000 h 10000"/>
                <a:gd name="connsiteX9" fmla="*/ 10025 w 10118"/>
                <a:gd name="connsiteY9" fmla="*/ 4385 h 10000"/>
                <a:gd name="connsiteX10" fmla="*/ 8155 w 10118"/>
                <a:gd name="connsiteY10" fmla="*/ 13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18" h="10000">
                  <a:moveTo>
                    <a:pt x="5415" y="0"/>
                  </a:moveTo>
                  <a:cubicBezTo>
                    <a:pt x="5393" y="1335"/>
                    <a:pt x="5695" y="3706"/>
                    <a:pt x="5348" y="4006"/>
                  </a:cubicBezTo>
                  <a:cubicBezTo>
                    <a:pt x="5001" y="4306"/>
                    <a:pt x="3469" y="2111"/>
                    <a:pt x="3335" y="1802"/>
                  </a:cubicBezTo>
                  <a:cubicBezTo>
                    <a:pt x="3218" y="1492"/>
                    <a:pt x="2526" y="796"/>
                    <a:pt x="1212" y="908"/>
                  </a:cubicBezTo>
                  <a:cubicBezTo>
                    <a:pt x="-102" y="1020"/>
                    <a:pt x="-177" y="1470"/>
                    <a:pt x="190" y="2005"/>
                  </a:cubicBezTo>
                  <a:cubicBezTo>
                    <a:pt x="875" y="3045"/>
                    <a:pt x="1323" y="2838"/>
                    <a:pt x="1425" y="3640"/>
                  </a:cubicBezTo>
                  <a:cubicBezTo>
                    <a:pt x="1541" y="4371"/>
                    <a:pt x="-146" y="4906"/>
                    <a:pt x="1841" y="6957"/>
                  </a:cubicBezTo>
                  <a:cubicBezTo>
                    <a:pt x="1868" y="7948"/>
                    <a:pt x="1897" y="8939"/>
                    <a:pt x="1924" y="9930"/>
                  </a:cubicBezTo>
                  <a:lnTo>
                    <a:pt x="9039" y="10000"/>
                  </a:lnTo>
                  <a:cubicBezTo>
                    <a:pt x="9121" y="8748"/>
                    <a:pt x="9608" y="5418"/>
                    <a:pt x="10025" y="4385"/>
                  </a:cubicBezTo>
                  <a:cubicBezTo>
                    <a:pt x="10541" y="3071"/>
                    <a:pt x="8773" y="1943"/>
                    <a:pt x="8155" y="1374"/>
                  </a:cubicBezTo>
                </a:path>
              </a:pathLst>
            </a:custGeom>
            <a:solidFill>
              <a:srgbClr val="FAD6A6"/>
            </a:solidFill>
            <a:ln>
              <a:noFill/>
            </a:ln>
            <a:effectLst>
              <a:innerShdw dist="114300" dir="12000000">
                <a:prstClr val="black">
                  <a:alpha val="9000"/>
                </a:prstClr>
              </a:inn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思源黑体 CN Medium"/>
                <a:cs typeface="+mn-cs"/>
              </a:endParaRPr>
            </a:p>
          </p:txBody>
        </p:sp>
        <p:sp>
          <p:nvSpPr>
            <p:cNvPr id="120" name="îṧļiďé">
              <a:extLst>
                <a:ext uri="{FF2B5EF4-FFF2-40B4-BE49-F238E27FC236}">
                  <a16:creationId xmlns:a16="http://schemas.microsoft.com/office/drawing/2014/main" id="{E7B59D1D-C165-4B43-A1D2-2BC81A6AC1D0}"/>
                </a:ext>
              </a:extLst>
            </p:cNvPr>
            <p:cNvSpPr/>
            <p:nvPr/>
          </p:nvSpPr>
          <p:spPr bwMode="auto">
            <a:xfrm flipH="1">
              <a:off x="2713800" y="5721667"/>
              <a:ext cx="1032773" cy="253566"/>
            </a:xfrm>
            <a:custGeom>
              <a:avLst/>
              <a:gdLst>
                <a:gd name="T0" fmla="*/ 24 w 1116"/>
                <a:gd name="T1" fmla="*/ 0 h 274"/>
                <a:gd name="T2" fmla="*/ 0 w 1116"/>
                <a:gd name="T3" fmla="*/ 232 h 274"/>
                <a:gd name="T4" fmla="*/ 1116 w 1116"/>
                <a:gd name="T5" fmla="*/ 274 h 274"/>
                <a:gd name="T6" fmla="*/ 1116 w 1116"/>
                <a:gd name="T7" fmla="*/ 23 h 274"/>
                <a:gd name="T8" fmla="*/ 1100 w 1116"/>
                <a:gd name="T9" fmla="*/ 23 h 274"/>
                <a:gd name="T10" fmla="*/ 92 w 1116"/>
                <a:gd name="T11" fmla="*/ 0 h 274"/>
                <a:gd name="T12" fmla="*/ 24 w 1116"/>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1116" h="274">
                  <a:moveTo>
                    <a:pt x="24" y="0"/>
                  </a:moveTo>
                  <a:lnTo>
                    <a:pt x="0" y="232"/>
                  </a:lnTo>
                  <a:lnTo>
                    <a:pt x="1116" y="274"/>
                  </a:lnTo>
                  <a:lnTo>
                    <a:pt x="1116" y="23"/>
                  </a:lnTo>
                  <a:lnTo>
                    <a:pt x="1100" y="23"/>
                  </a:lnTo>
                  <a:lnTo>
                    <a:pt x="92" y="0"/>
                  </a:lnTo>
                  <a:lnTo>
                    <a:pt x="24" y="0"/>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思源黑体 CN Medium"/>
                <a:cs typeface="+mn-cs"/>
              </a:endParaRPr>
            </a:p>
          </p:txBody>
        </p:sp>
        <p:sp>
          <p:nvSpPr>
            <p:cNvPr id="121" name="任意多边形: 形状 120">
              <a:extLst>
                <a:ext uri="{FF2B5EF4-FFF2-40B4-BE49-F238E27FC236}">
                  <a16:creationId xmlns:a16="http://schemas.microsoft.com/office/drawing/2014/main" id="{57B5EC4B-AEEC-4246-A05D-E51792720700}"/>
                </a:ext>
              </a:extLst>
            </p:cNvPr>
            <p:cNvSpPr/>
            <p:nvPr/>
          </p:nvSpPr>
          <p:spPr bwMode="auto">
            <a:xfrm flipH="1">
              <a:off x="2650332" y="5936364"/>
              <a:ext cx="1250670" cy="921636"/>
            </a:xfrm>
            <a:custGeom>
              <a:avLst/>
              <a:gdLst>
                <a:gd name="connsiteX0" fmla="*/ 154430 w 1250670"/>
                <a:gd name="connsiteY0" fmla="*/ 0 h 921636"/>
                <a:gd name="connsiteX1" fmla="*/ 106308 w 1250670"/>
                <a:gd name="connsiteY1" fmla="*/ 0 h 921636"/>
                <a:gd name="connsiteX2" fmla="*/ 0 w 1250670"/>
                <a:gd name="connsiteY2" fmla="*/ 921636 h 921636"/>
                <a:gd name="connsiteX3" fmla="*/ 1250670 w 1250670"/>
                <a:gd name="connsiteY3" fmla="*/ 921636 h 921636"/>
                <a:gd name="connsiteX4" fmla="*/ 1246431 w 1250670"/>
                <a:gd name="connsiteY4" fmla="*/ 41644 h 921636"/>
                <a:gd name="connsiteX5" fmla="*/ 1187204 w 1250670"/>
                <a:gd name="connsiteY5" fmla="*/ 38868 h 92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670" h="921636">
                  <a:moveTo>
                    <a:pt x="154430" y="0"/>
                  </a:moveTo>
                  <a:lnTo>
                    <a:pt x="106308" y="0"/>
                  </a:lnTo>
                  <a:lnTo>
                    <a:pt x="0" y="921636"/>
                  </a:lnTo>
                  <a:lnTo>
                    <a:pt x="1250670" y="921636"/>
                  </a:lnTo>
                  <a:lnTo>
                    <a:pt x="1246431" y="41644"/>
                  </a:lnTo>
                  <a:lnTo>
                    <a:pt x="1187204" y="38868"/>
                  </a:lnTo>
                  <a:close/>
                </a:path>
              </a:pathLst>
            </a:custGeom>
            <a:solidFill>
              <a:srgbClr val="4C4C4C"/>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思源黑体 CN Medium"/>
                <a:cs typeface="+mn-cs"/>
              </a:endParaRPr>
            </a:p>
          </p:txBody>
        </p:sp>
      </p:grpSp>
    </p:spTree>
    <p:extLst>
      <p:ext uri="{BB962C8B-B14F-4D97-AF65-F5344CB8AC3E}">
        <p14:creationId xmlns:p14="http://schemas.microsoft.com/office/powerpoint/2010/main" val="2492474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5" name="任意多边形: 形状 214">
            <a:extLst>
              <a:ext uri="{FF2B5EF4-FFF2-40B4-BE49-F238E27FC236}">
                <a16:creationId xmlns:a16="http://schemas.microsoft.com/office/drawing/2014/main" id="{E574EF3D-BF8D-4FD6-A6D4-0EEEF41E0258}"/>
              </a:ext>
            </a:extLst>
          </p:cNvPr>
          <p:cNvSpPr/>
          <p:nvPr userDrawn="1"/>
        </p:nvSpPr>
        <p:spPr>
          <a:xfrm>
            <a:off x="0" y="4841002"/>
            <a:ext cx="11652738" cy="1904035"/>
          </a:xfrm>
          <a:custGeom>
            <a:avLst/>
            <a:gdLst>
              <a:gd name="connsiteX0" fmla="*/ 0 w 11652738"/>
              <a:gd name="connsiteY0" fmla="*/ 0 h 1904035"/>
              <a:gd name="connsiteX1" fmla="*/ 11652738 w 11652738"/>
              <a:gd name="connsiteY1" fmla="*/ 0 h 1904035"/>
              <a:gd name="connsiteX2" fmla="*/ 11176729 w 11652738"/>
              <a:gd name="connsiteY2" fmla="*/ 1904035 h 1904035"/>
              <a:gd name="connsiteX3" fmla="*/ 0 w 11652738"/>
              <a:gd name="connsiteY3" fmla="*/ 1904035 h 1904035"/>
            </a:gdLst>
            <a:ahLst/>
            <a:cxnLst>
              <a:cxn ang="0">
                <a:pos x="connsiteX0" y="connsiteY0"/>
              </a:cxn>
              <a:cxn ang="0">
                <a:pos x="connsiteX1" y="connsiteY1"/>
              </a:cxn>
              <a:cxn ang="0">
                <a:pos x="connsiteX2" y="connsiteY2"/>
              </a:cxn>
              <a:cxn ang="0">
                <a:pos x="connsiteX3" y="connsiteY3"/>
              </a:cxn>
            </a:cxnLst>
            <a:rect l="l" t="t" r="r" b="b"/>
            <a:pathLst>
              <a:path w="11652738" h="1904035">
                <a:moveTo>
                  <a:pt x="0" y="0"/>
                </a:moveTo>
                <a:lnTo>
                  <a:pt x="11652738" y="0"/>
                </a:lnTo>
                <a:lnTo>
                  <a:pt x="11176729" y="1904035"/>
                </a:lnTo>
                <a:lnTo>
                  <a:pt x="0" y="1904035"/>
                </a:lnTo>
                <a:close/>
              </a:path>
            </a:pathLst>
          </a:custGeom>
          <a:gradFill flip="none" rotWithShape="1">
            <a:gsLst>
              <a:gs pos="0">
                <a:schemeClr val="bg1">
                  <a:alpha val="17000"/>
                </a:schemeClr>
              </a:gs>
              <a:gs pos="100000">
                <a:schemeClr val="tx1">
                  <a:lumMod val="65000"/>
                  <a:lumOff val="35000"/>
                  <a:alpha val="64000"/>
                </a:schemeClr>
              </a:gs>
            </a:gsLst>
            <a:lin ang="1620000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white"/>
              </a:solidFill>
              <a:effectLst/>
              <a:uLnTx/>
              <a:uFillTx/>
              <a:cs typeface="+mn-cs"/>
            </a:endParaRPr>
          </a:p>
        </p:txBody>
      </p:sp>
      <p:sp>
        <p:nvSpPr>
          <p:cNvPr id="114" name="íś1ïḍê">
            <a:extLst>
              <a:ext uri="{FF2B5EF4-FFF2-40B4-BE49-F238E27FC236}">
                <a16:creationId xmlns:a16="http://schemas.microsoft.com/office/drawing/2014/main" id="{67F45815-E812-4449-A28E-347E37FF7FFB}"/>
              </a:ext>
            </a:extLst>
          </p:cNvPr>
          <p:cNvSpPr/>
          <p:nvPr/>
        </p:nvSpPr>
        <p:spPr bwMode="auto">
          <a:xfrm>
            <a:off x="9298660" y="4798944"/>
            <a:ext cx="2553239" cy="343364"/>
          </a:xfrm>
          <a:custGeom>
            <a:avLst/>
            <a:gdLst>
              <a:gd name="T0" fmla="*/ 334 w 334"/>
              <a:gd name="T1" fmla="*/ 22 h 45"/>
              <a:gd name="T2" fmla="*/ 312 w 334"/>
              <a:gd name="T3" fmla="*/ 0 h 45"/>
              <a:gd name="T4" fmla="*/ 309 w 334"/>
              <a:gd name="T5" fmla="*/ 0 h 45"/>
              <a:gd name="T6" fmla="*/ 0 w 334"/>
              <a:gd name="T7" fmla="*/ 0 h 45"/>
              <a:gd name="T8" fmla="*/ 0 w 334"/>
              <a:gd name="T9" fmla="*/ 45 h 45"/>
              <a:gd name="T10" fmla="*/ 312 w 334"/>
              <a:gd name="T11" fmla="*/ 45 h 45"/>
              <a:gd name="T12" fmla="*/ 312 w 334"/>
              <a:gd name="T13" fmla="*/ 45 h 45"/>
              <a:gd name="T14" fmla="*/ 334 w 334"/>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4" h="45">
                <a:moveTo>
                  <a:pt x="334" y="22"/>
                </a:moveTo>
                <a:cubicBezTo>
                  <a:pt x="334" y="10"/>
                  <a:pt x="324" y="0"/>
                  <a:pt x="312" y="0"/>
                </a:cubicBezTo>
                <a:cubicBezTo>
                  <a:pt x="311" y="0"/>
                  <a:pt x="310" y="0"/>
                  <a:pt x="309" y="0"/>
                </a:cubicBezTo>
                <a:cubicBezTo>
                  <a:pt x="0" y="0"/>
                  <a:pt x="0" y="0"/>
                  <a:pt x="0" y="0"/>
                </a:cubicBezTo>
                <a:cubicBezTo>
                  <a:pt x="0" y="45"/>
                  <a:pt x="0" y="45"/>
                  <a:pt x="0" y="45"/>
                </a:cubicBezTo>
                <a:cubicBezTo>
                  <a:pt x="312" y="45"/>
                  <a:pt x="312" y="45"/>
                  <a:pt x="312" y="45"/>
                </a:cubicBezTo>
                <a:cubicBezTo>
                  <a:pt x="312" y="45"/>
                  <a:pt x="312" y="45"/>
                  <a:pt x="312" y="45"/>
                </a:cubicBezTo>
                <a:cubicBezTo>
                  <a:pt x="324" y="44"/>
                  <a:pt x="334" y="34"/>
                  <a:pt x="334" y="22"/>
                </a:cubicBezTo>
                <a:close/>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5" name="iṡliḑe">
            <a:extLst>
              <a:ext uri="{FF2B5EF4-FFF2-40B4-BE49-F238E27FC236}">
                <a16:creationId xmlns:a16="http://schemas.microsoft.com/office/drawing/2014/main" id="{8FFB6726-D5FA-4FFF-A605-FC7401F0C694}"/>
              </a:ext>
            </a:extLst>
          </p:cNvPr>
          <p:cNvSpPr/>
          <p:nvPr/>
        </p:nvSpPr>
        <p:spPr bwMode="auto">
          <a:xfrm>
            <a:off x="11171721" y="5013195"/>
            <a:ext cx="641818" cy="381723"/>
          </a:xfrm>
          <a:custGeom>
            <a:avLst/>
            <a:gdLst>
              <a:gd name="T0" fmla="*/ 392 w 686"/>
              <a:gd name="T1" fmla="*/ 408 h 408"/>
              <a:gd name="T2" fmla="*/ 686 w 686"/>
              <a:gd name="T3" fmla="*/ 65 h 408"/>
              <a:gd name="T4" fmla="*/ 229 w 686"/>
              <a:gd name="T5" fmla="*/ 0 h 408"/>
              <a:gd name="T6" fmla="*/ 0 w 686"/>
              <a:gd name="T7" fmla="*/ 228 h 408"/>
              <a:gd name="T8" fmla="*/ 392 w 686"/>
              <a:gd name="T9" fmla="*/ 408 h 408"/>
            </a:gdLst>
            <a:ahLst/>
            <a:cxnLst>
              <a:cxn ang="0">
                <a:pos x="T0" y="T1"/>
              </a:cxn>
              <a:cxn ang="0">
                <a:pos x="T2" y="T3"/>
              </a:cxn>
              <a:cxn ang="0">
                <a:pos x="T4" y="T5"/>
              </a:cxn>
              <a:cxn ang="0">
                <a:pos x="T6" y="T7"/>
              </a:cxn>
              <a:cxn ang="0">
                <a:pos x="T8" y="T9"/>
              </a:cxn>
            </a:cxnLst>
            <a:rect l="0" t="0" r="r" b="b"/>
            <a:pathLst>
              <a:path w="686" h="408">
                <a:moveTo>
                  <a:pt x="392" y="408"/>
                </a:moveTo>
                <a:lnTo>
                  <a:pt x="686" y="65"/>
                </a:lnTo>
                <a:lnTo>
                  <a:pt x="229" y="0"/>
                </a:lnTo>
                <a:lnTo>
                  <a:pt x="0" y="228"/>
                </a:lnTo>
                <a:lnTo>
                  <a:pt x="392" y="408"/>
                </a:lnTo>
                <a:close/>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6" name="îş1îde">
            <a:extLst>
              <a:ext uri="{FF2B5EF4-FFF2-40B4-BE49-F238E27FC236}">
                <a16:creationId xmlns:a16="http://schemas.microsoft.com/office/drawing/2014/main" id="{DB6C06D9-4DA6-445A-90AD-44A8CB958559}"/>
              </a:ext>
            </a:extLst>
          </p:cNvPr>
          <p:cNvSpPr/>
          <p:nvPr/>
        </p:nvSpPr>
        <p:spPr bwMode="auto">
          <a:xfrm>
            <a:off x="898523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7" name="îş1íḓê">
            <a:extLst>
              <a:ext uri="{FF2B5EF4-FFF2-40B4-BE49-F238E27FC236}">
                <a16:creationId xmlns:a16="http://schemas.microsoft.com/office/drawing/2014/main" id="{A6BD14BD-7176-4ABD-B5AF-C50F8A305E52}"/>
              </a:ext>
            </a:extLst>
          </p:cNvPr>
          <p:cNvSpPr/>
          <p:nvPr/>
        </p:nvSpPr>
        <p:spPr bwMode="auto">
          <a:xfrm>
            <a:off x="902359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8" name="ísľíďè">
            <a:extLst>
              <a:ext uri="{FF2B5EF4-FFF2-40B4-BE49-F238E27FC236}">
                <a16:creationId xmlns:a16="http://schemas.microsoft.com/office/drawing/2014/main" id="{053E61AF-E556-4B5F-A63A-FF6752A73A76}"/>
              </a:ext>
            </a:extLst>
          </p:cNvPr>
          <p:cNvSpPr/>
          <p:nvPr/>
        </p:nvSpPr>
        <p:spPr bwMode="auto">
          <a:xfrm>
            <a:off x="931456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9" name="îSľïḍè">
            <a:extLst>
              <a:ext uri="{FF2B5EF4-FFF2-40B4-BE49-F238E27FC236}">
                <a16:creationId xmlns:a16="http://schemas.microsoft.com/office/drawing/2014/main" id="{81C77474-5FEB-463C-9D92-A7187DF64FD7}"/>
              </a:ext>
            </a:extLst>
          </p:cNvPr>
          <p:cNvSpPr/>
          <p:nvPr/>
        </p:nvSpPr>
        <p:spPr bwMode="auto">
          <a:xfrm>
            <a:off x="961208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0" name="í$ḷiḑê">
            <a:extLst>
              <a:ext uri="{FF2B5EF4-FFF2-40B4-BE49-F238E27FC236}">
                <a16:creationId xmlns:a16="http://schemas.microsoft.com/office/drawing/2014/main" id="{8134506D-AED7-4CEF-BA37-A6247CCABCD6}"/>
              </a:ext>
            </a:extLst>
          </p:cNvPr>
          <p:cNvSpPr/>
          <p:nvPr/>
        </p:nvSpPr>
        <p:spPr bwMode="auto">
          <a:xfrm>
            <a:off x="991053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1" name="íŝļïďè">
            <a:extLst>
              <a:ext uri="{FF2B5EF4-FFF2-40B4-BE49-F238E27FC236}">
                <a16:creationId xmlns:a16="http://schemas.microsoft.com/office/drawing/2014/main" id="{1F7B696D-A635-44AB-B4B5-99DABC61FB4B}"/>
              </a:ext>
            </a:extLst>
          </p:cNvPr>
          <p:cNvSpPr/>
          <p:nvPr/>
        </p:nvSpPr>
        <p:spPr bwMode="auto">
          <a:xfrm>
            <a:off x="1020899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2" name="îşlídè">
            <a:extLst>
              <a:ext uri="{FF2B5EF4-FFF2-40B4-BE49-F238E27FC236}">
                <a16:creationId xmlns:a16="http://schemas.microsoft.com/office/drawing/2014/main" id="{1D8648B4-D064-4BF3-A432-ACE53029D6B1}"/>
              </a:ext>
            </a:extLst>
          </p:cNvPr>
          <p:cNvSpPr/>
          <p:nvPr/>
        </p:nvSpPr>
        <p:spPr bwMode="auto">
          <a:xfrm>
            <a:off x="1049902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3" name="işļíḍè">
            <a:extLst>
              <a:ext uri="{FF2B5EF4-FFF2-40B4-BE49-F238E27FC236}">
                <a16:creationId xmlns:a16="http://schemas.microsoft.com/office/drawing/2014/main" id="{2F4987E1-1C42-4F6D-AD54-D4DC437066DB}"/>
              </a:ext>
            </a:extLst>
          </p:cNvPr>
          <p:cNvSpPr/>
          <p:nvPr/>
        </p:nvSpPr>
        <p:spPr bwMode="auto">
          <a:xfrm>
            <a:off x="1079748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4" name="íšļïḑè">
            <a:extLst>
              <a:ext uri="{FF2B5EF4-FFF2-40B4-BE49-F238E27FC236}">
                <a16:creationId xmlns:a16="http://schemas.microsoft.com/office/drawing/2014/main" id="{2DE19F42-E10B-425B-A91D-796F13CB15D6}"/>
              </a:ext>
            </a:extLst>
          </p:cNvPr>
          <p:cNvSpPr/>
          <p:nvPr/>
        </p:nvSpPr>
        <p:spPr bwMode="auto">
          <a:xfrm>
            <a:off x="1109500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5" name="îšļïḋê">
            <a:extLst>
              <a:ext uri="{FF2B5EF4-FFF2-40B4-BE49-F238E27FC236}">
                <a16:creationId xmlns:a16="http://schemas.microsoft.com/office/drawing/2014/main" id="{DA97C777-CCE4-4973-9B71-398F0D8077F6}"/>
              </a:ext>
            </a:extLst>
          </p:cNvPr>
          <p:cNvSpPr/>
          <p:nvPr/>
        </p:nvSpPr>
        <p:spPr bwMode="auto">
          <a:xfrm>
            <a:off x="8985235" y="5112369"/>
            <a:ext cx="2591598" cy="343364"/>
          </a:xfrm>
          <a:custGeom>
            <a:avLst/>
            <a:gdLst>
              <a:gd name="T0" fmla="*/ 339 w 339"/>
              <a:gd name="T1" fmla="*/ 22 h 45"/>
              <a:gd name="T2" fmla="*/ 317 w 339"/>
              <a:gd name="T3" fmla="*/ 0 h 45"/>
              <a:gd name="T4" fmla="*/ 314 w 339"/>
              <a:gd name="T5" fmla="*/ 0 h 45"/>
              <a:gd name="T6" fmla="*/ 0 w 339"/>
              <a:gd name="T7" fmla="*/ 0 h 45"/>
              <a:gd name="T8" fmla="*/ 0 w 339"/>
              <a:gd name="T9" fmla="*/ 45 h 45"/>
              <a:gd name="T10" fmla="*/ 317 w 339"/>
              <a:gd name="T11" fmla="*/ 45 h 45"/>
              <a:gd name="T12" fmla="*/ 317 w 339"/>
              <a:gd name="T13" fmla="*/ 45 h 45"/>
              <a:gd name="T14" fmla="*/ 339 w 339"/>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45">
                <a:moveTo>
                  <a:pt x="339" y="22"/>
                </a:moveTo>
                <a:cubicBezTo>
                  <a:pt x="339" y="10"/>
                  <a:pt x="329" y="0"/>
                  <a:pt x="317" y="0"/>
                </a:cubicBezTo>
                <a:cubicBezTo>
                  <a:pt x="316" y="0"/>
                  <a:pt x="315" y="0"/>
                  <a:pt x="314" y="0"/>
                </a:cubicBezTo>
                <a:cubicBezTo>
                  <a:pt x="0" y="0"/>
                  <a:pt x="0" y="0"/>
                  <a:pt x="0" y="0"/>
                </a:cubicBezTo>
                <a:cubicBezTo>
                  <a:pt x="0" y="45"/>
                  <a:pt x="0" y="45"/>
                  <a:pt x="0" y="45"/>
                </a:cubicBezTo>
                <a:cubicBezTo>
                  <a:pt x="317" y="45"/>
                  <a:pt x="317" y="45"/>
                  <a:pt x="317" y="45"/>
                </a:cubicBezTo>
                <a:cubicBezTo>
                  <a:pt x="317" y="45"/>
                  <a:pt x="317" y="45"/>
                  <a:pt x="317" y="45"/>
                </a:cubicBezTo>
                <a:cubicBezTo>
                  <a:pt x="330" y="44"/>
                  <a:pt x="339" y="34"/>
                  <a:pt x="339" y="22"/>
                </a:cubicBezTo>
                <a:close/>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6" name="íṣlíde">
            <a:extLst>
              <a:ext uri="{FF2B5EF4-FFF2-40B4-BE49-F238E27FC236}">
                <a16:creationId xmlns:a16="http://schemas.microsoft.com/office/drawing/2014/main" id="{7598027F-5309-42C2-B7A6-F5D296E54B71}"/>
              </a:ext>
            </a:extLst>
          </p:cNvPr>
          <p:cNvSpPr/>
          <p:nvPr/>
        </p:nvSpPr>
        <p:spPr bwMode="auto">
          <a:xfrm>
            <a:off x="11408426" y="4813915"/>
            <a:ext cx="421018" cy="443472"/>
          </a:xfrm>
          <a:custGeom>
            <a:avLst/>
            <a:gdLst>
              <a:gd name="T0" fmla="*/ 0 w 55"/>
              <a:gd name="T1" fmla="*/ 38 h 58"/>
              <a:gd name="T2" fmla="*/ 34 w 55"/>
              <a:gd name="T3" fmla="*/ 0 h 58"/>
              <a:gd name="T4" fmla="*/ 55 w 55"/>
              <a:gd name="T5" fmla="*/ 17 h 58"/>
              <a:gd name="T6" fmla="*/ 19 w 55"/>
              <a:gd name="T7" fmla="*/ 58 h 58"/>
              <a:gd name="T8" fmla="*/ 0 w 55"/>
              <a:gd name="T9" fmla="*/ 38 h 58"/>
            </a:gdLst>
            <a:ahLst/>
            <a:cxnLst>
              <a:cxn ang="0">
                <a:pos x="T0" y="T1"/>
              </a:cxn>
              <a:cxn ang="0">
                <a:pos x="T2" y="T3"/>
              </a:cxn>
              <a:cxn ang="0">
                <a:pos x="T4" y="T5"/>
              </a:cxn>
              <a:cxn ang="0">
                <a:pos x="T6" y="T7"/>
              </a:cxn>
              <a:cxn ang="0">
                <a:pos x="T8" y="T9"/>
              </a:cxn>
            </a:cxnLst>
            <a:rect l="0" t="0" r="r" b="b"/>
            <a:pathLst>
              <a:path w="55" h="58">
                <a:moveTo>
                  <a:pt x="0" y="38"/>
                </a:moveTo>
                <a:cubicBezTo>
                  <a:pt x="34" y="0"/>
                  <a:pt x="34" y="0"/>
                  <a:pt x="34" y="0"/>
                </a:cubicBezTo>
                <a:cubicBezTo>
                  <a:pt x="34" y="0"/>
                  <a:pt x="50" y="0"/>
                  <a:pt x="55" y="17"/>
                </a:cubicBezTo>
                <a:cubicBezTo>
                  <a:pt x="45" y="27"/>
                  <a:pt x="19" y="58"/>
                  <a:pt x="19" y="58"/>
                </a:cubicBezTo>
                <a:cubicBezTo>
                  <a:pt x="19" y="58"/>
                  <a:pt x="21" y="40"/>
                  <a:pt x="0" y="3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7" name="íṩliḓê">
            <a:extLst>
              <a:ext uri="{FF2B5EF4-FFF2-40B4-BE49-F238E27FC236}">
                <a16:creationId xmlns:a16="http://schemas.microsoft.com/office/drawing/2014/main" id="{BE47EC22-4015-49DD-A817-B52EEDBF8F29}"/>
              </a:ext>
            </a:extLst>
          </p:cNvPr>
          <p:cNvSpPr/>
          <p:nvPr/>
        </p:nvSpPr>
        <p:spPr bwMode="auto">
          <a:xfrm>
            <a:off x="11538474" y="4967353"/>
            <a:ext cx="290970" cy="420082"/>
          </a:xfrm>
          <a:custGeom>
            <a:avLst/>
            <a:gdLst>
              <a:gd name="T0" fmla="*/ 38 w 38"/>
              <a:gd name="T1" fmla="*/ 0 h 55"/>
              <a:gd name="T2" fmla="*/ 2 w 38"/>
              <a:gd name="T3" fmla="*/ 43 h 55"/>
              <a:gd name="T4" fmla="*/ 0 w 38"/>
              <a:gd name="T5" fmla="*/ 55 h 55"/>
              <a:gd name="T6" fmla="*/ 35 w 38"/>
              <a:gd name="T7" fmla="*/ 15 h 55"/>
              <a:gd name="T8" fmla="*/ 38 w 38"/>
              <a:gd name="T9" fmla="*/ 0 h 55"/>
            </a:gdLst>
            <a:ahLst/>
            <a:cxnLst>
              <a:cxn ang="0">
                <a:pos x="T0" y="T1"/>
              </a:cxn>
              <a:cxn ang="0">
                <a:pos x="T2" y="T3"/>
              </a:cxn>
              <a:cxn ang="0">
                <a:pos x="T4" y="T5"/>
              </a:cxn>
              <a:cxn ang="0">
                <a:pos x="T6" y="T7"/>
              </a:cxn>
              <a:cxn ang="0">
                <a:pos x="T8" y="T9"/>
              </a:cxn>
            </a:cxnLst>
            <a:rect l="0" t="0" r="r" b="b"/>
            <a:pathLst>
              <a:path w="38" h="55">
                <a:moveTo>
                  <a:pt x="38" y="0"/>
                </a:moveTo>
                <a:cubicBezTo>
                  <a:pt x="2" y="43"/>
                  <a:pt x="2" y="43"/>
                  <a:pt x="2" y="43"/>
                </a:cubicBezTo>
                <a:cubicBezTo>
                  <a:pt x="2" y="43"/>
                  <a:pt x="3" y="50"/>
                  <a:pt x="0" y="55"/>
                </a:cubicBezTo>
                <a:cubicBezTo>
                  <a:pt x="17" y="37"/>
                  <a:pt x="35" y="15"/>
                  <a:pt x="35" y="15"/>
                </a:cubicBezTo>
                <a:cubicBezTo>
                  <a:pt x="35" y="15"/>
                  <a:pt x="38" y="8"/>
                  <a:pt x="38" y="0"/>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2" name="îş1îde">
            <a:extLst>
              <a:ext uri="{FF2B5EF4-FFF2-40B4-BE49-F238E27FC236}">
                <a16:creationId xmlns:a16="http://schemas.microsoft.com/office/drawing/2014/main" id="{CA73FF82-4851-4902-9C29-27CA735E5122}"/>
              </a:ext>
            </a:extLst>
          </p:cNvPr>
          <p:cNvSpPr/>
          <p:nvPr/>
        </p:nvSpPr>
        <p:spPr bwMode="auto">
          <a:xfrm>
            <a:off x="662176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3" name="îş1íḓê">
            <a:extLst>
              <a:ext uri="{FF2B5EF4-FFF2-40B4-BE49-F238E27FC236}">
                <a16:creationId xmlns:a16="http://schemas.microsoft.com/office/drawing/2014/main" id="{FFB3DE4E-8CD7-4B2D-808B-C0315F0AE726}"/>
              </a:ext>
            </a:extLst>
          </p:cNvPr>
          <p:cNvSpPr/>
          <p:nvPr/>
        </p:nvSpPr>
        <p:spPr bwMode="auto">
          <a:xfrm>
            <a:off x="66601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4" name="ísľíďè">
            <a:extLst>
              <a:ext uri="{FF2B5EF4-FFF2-40B4-BE49-F238E27FC236}">
                <a16:creationId xmlns:a16="http://schemas.microsoft.com/office/drawing/2014/main" id="{1F9671B6-DC38-4AB5-BA82-D9208348C065}"/>
              </a:ext>
            </a:extLst>
          </p:cNvPr>
          <p:cNvSpPr/>
          <p:nvPr/>
        </p:nvSpPr>
        <p:spPr bwMode="auto">
          <a:xfrm>
            <a:off x="695109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5" name="îSľïḍè">
            <a:extLst>
              <a:ext uri="{FF2B5EF4-FFF2-40B4-BE49-F238E27FC236}">
                <a16:creationId xmlns:a16="http://schemas.microsoft.com/office/drawing/2014/main" id="{C5F002B4-D80F-4E09-B5D9-64E2D00D9AAE}"/>
              </a:ext>
            </a:extLst>
          </p:cNvPr>
          <p:cNvSpPr/>
          <p:nvPr/>
        </p:nvSpPr>
        <p:spPr bwMode="auto">
          <a:xfrm>
            <a:off x="72486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6" name="í$ḷiḑê">
            <a:extLst>
              <a:ext uri="{FF2B5EF4-FFF2-40B4-BE49-F238E27FC236}">
                <a16:creationId xmlns:a16="http://schemas.microsoft.com/office/drawing/2014/main" id="{AA5A9D97-9C32-4FC3-8E65-0C274CFF3449}"/>
              </a:ext>
            </a:extLst>
          </p:cNvPr>
          <p:cNvSpPr/>
          <p:nvPr/>
        </p:nvSpPr>
        <p:spPr bwMode="auto">
          <a:xfrm>
            <a:off x="754706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7" name="íŝļïďè">
            <a:extLst>
              <a:ext uri="{FF2B5EF4-FFF2-40B4-BE49-F238E27FC236}">
                <a16:creationId xmlns:a16="http://schemas.microsoft.com/office/drawing/2014/main" id="{7D3B4F5C-A0CB-4F4F-9B07-3CE1BBE2C614}"/>
              </a:ext>
            </a:extLst>
          </p:cNvPr>
          <p:cNvSpPr/>
          <p:nvPr/>
        </p:nvSpPr>
        <p:spPr bwMode="auto">
          <a:xfrm>
            <a:off x="784552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8" name="îşlídè">
            <a:extLst>
              <a:ext uri="{FF2B5EF4-FFF2-40B4-BE49-F238E27FC236}">
                <a16:creationId xmlns:a16="http://schemas.microsoft.com/office/drawing/2014/main" id="{62719D4A-8C7E-4A08-8C37-8C74B6F2A692}"/>
              </a:ext>
            </a:extLst>
          </p:cNvPr>
          <p:cNvSpPr/>
          <p:nvPr/>
        </p:nvSpPr>
        <p:spPr bwMode="auto">
          <a:xfrm>
            <a:off x="813555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9" name="işļíḍè">
            <a:extLst>
              <a:ext uri="{FF2B5EF4-FFF2-40B4-BE49-F238E27FC236}">
                <a16:creationId xmlns:a16="http://schemas.microsoft.com/office/drawing/2014/main" id="{6A379346-5B7D-4CE1-99D9-05A1BA7934BB}"/>
              </a:ext>
            </a:extLst>
          </p:cNvPr>
          <p:cNvSpPr/>
          <p:nvPr/>
        </p:nvSpPr>
        <p:spPr bwMode="auto">
          <a:xfrm>
            <a:off x="843401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70" name="íšļïḑè">
            <a:extLst>
              <a:ext uri="{FF2B5EF4-FFF2-40B4-BE49-F238E27FC236}">
                <a16:creationId xmlns:a16="http://schemas.microsoft.com/office/drawing/2014/main" id="{6B5BBDA6-C249-4715-883A-E8035BF3BF4C}"/>
              </a:ext>
            </a:extLst>
          </p:cNvPr>
          <p:cNvSpPr/>
          <p:nvPr/>
        </p:nvSpPr>
        <p:spPr bwMode="auto">
          <a:xfrm>
            <a:off x="873153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71" name="îšļïḋê">
            <a:extLst>
              <a:ext uri="{FF2B5EF4-FFF2-40B4-BE49-F238E27FC236}">
                <a16:creationId xmlns:a16="http://schemas.microsoft.com/office/drawing/2014/main" id="{8B584DD3-F706-4BEA-9877-635EEFFEED5A}"/>
              </a:ext>
            </a:extLst>
          </p:cNvPr>
          <p:cNvSpPr/>
          <p:nvPr/>
        </p:nvSpPr>
        <p:spPr bwMode="auto">
          <a:xfrm>
            <a:off x="6621765"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2" name="îş1îde">
            <a:extLst>
              <a:ext uri="{FF2B5EF4-FFF2-40B4-BE49-F238E27FC236}">
                <a16:creationId xmlns:a16="http://schemas.microsoft.com/office/drawing/2014/main" id="{A469B0B3-F140-4833-B996-72EB33601183}"/>
              </a:ext>
            </a:extLst>
          </p:cNvPr>
          <p:cNvSpPr/>
          <p:nvPr/>
        </p:nvSpPr>
        <p:spPr bwMode="auto">
          <a:xfrm>
            <a:off x="42504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3" name="îş1íḓê">
            <a:extLst>
              <a:ext uri="{FF2B5EF4-FFF2-40B4-BE49-F238E27FC236}">
                <a16:creationId xmlns:a16="http://schemas.microsoft.com/office/drawing/2014/main" id="{B64FC1ED-314F-4275-B1C2-F2DD90800242}"/>
              </a:ext>
            </a:extLst>
          </p:cNvPr>
          <p:cNvSpPr/>
          <p:nvPr/>
        </p:nvSpPr>
        <p:spPr bwMode="auto">
          <a:xfrm>
            <a:off x="42887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4" name="ísľíďè">
            <a:extLst>
              <a:ext uri="{FF2B5EF4-FFF2-40B4-BE49-F238E27FC236}">
                <a16:creationId xmlns:a16="http://schemas.microsoft.com/office/drawing/2014/main" id="{E6E8006C-0121-43D6-A1AC-08D7A7E0D2B1}"/>
              </a:ext>
            </a:extLst>
          </p:cNvPr>
          <p:cNvSpPr/>
          <p:nvPr/>
        </p:nvSpPr>
        <p:spPr bwMode="auto">
          <a:xfrm>
            <a:off x="45797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5" name="îSľïḍè">
            <a:extLst>
              <a:ext uri="{FF2B5EF4-FFF2-40B4-BE49-F238E27FC236}">
                <a16:creationId xmlns:a16="http://schemas.microsoft.com/office/drawing/2014/main" id="{D46B9FED-4202-4BC0-9A51-93774CDCC12A}"/>
              </a:ext>
            </a:extLst>
          </p:cNvPr>
          <p:cNvSpPr/>
          <p:nvPr/>
        </p:nvSpPr>
        <p:spPr bwMode="auto">
          <a:xfrm>
            <a:off x="48772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6" name="í$ḷiḑê">
            <a:extLst>
              <a:ext uri="{FF2B5EF4-FFF2-40B4-BE49-F238E27FC236}">
                <a16:creationId xmlns:a16="http://schemas.microsoft.com/office/drawing/2014/main" id="{2BE48DAA-47B6-4C9E-AA4B-D14C222078E0}"/>
              </a:ext>
            </a:extLst>
          </p:cNvPr>
          <p:cNvSpPr/>
          <p:nvPr/>
        </p:nvSpPr>
        <p:spPr bwMode="auto">
          <a:xfrm>
            <a:off x="51757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7" name="íŝļïďè">
            <a:extLst>
              <a:ext uri="{FF2B5EF4-FFF2-40B4-BE49-F238E27FC236}">
                <a16:creationId xmlns:a16="http://schemas.microsoft.com/office/drawing/2014/main" id="{3E0A52D2-8D67-419C-B1E2-A55D11A67943}"/>
              </a:ext>
            </a:extLst>
          </p:cNvPr>
          <p:cNvSpPr/>
          <p:nvPr/>
        </p:nvSpPr>
        <p:spPr bwMode="auto">
          <a:xfrm>
            <a:off x="54741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8" name="îşlídè">
            <a:extLst>
              <a:ext uri="{FF2B5EF4-FFF2-40B4-BE49-F238E27FC236}">
                <a16:creationId xmlns:a16="http://schemas.microsoft.com/office/drawing/2014/main" id="{63679F1D-0598-4685-B5DF-A8524096B9B1}"/>
              </a:ext>
            </a:extLst>
          </p:cNvPr>
          <p:cNvSpPr/>
          <p:nvPr/>
        </p:nvSpPr>
        <p:spPr bwMode="auto">
          <a:xfrm>
            <a:off x="57642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9" name="işļíḍè">
            <a:extLst>
              <a:ext uri="{FF2B5EF4-FFF2-40B4-BE49-F238E27FC236}">
                <a16:creationId xmlns:a16="http://schemas.microsoft.com/office/drawing/2014/main" id="{B1B13366-3295-435A-B407-18FA26F0D96A}"/>
              </a:ext>
            </a:extLst>
          </p:cNvPr>
          <p:cNvSpPr/>
          <p:nvPr/>
        </p:nvSpPr>
        <p:spPr bwMode="auto">
          <a:xfrm>
            <a:off x="60626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0" name="íšļïḑè">
            <a:extLst>
              <a:ext uri="{FF2B5EF4-FFF2-40B4-BE49-F238E27FC236}">
                <a16:creationId xmlns:a16="http://schemas.microsoft.com/office/drawing/2014/main" id="{8FA7549E-26F4-4DEC-9004-6DC128691062}"/>
              </a:ext>
            </a:extLst>
          </p:cNvPr>
          <p:cNvSpPr/>
          <p:nvPr/>
        </p:nvSpPr>
        <p:spPr bwMode="auto">
          <a:xfrm>
            <a:off x="63601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1" name="îšļïḋê">
            <a:extLst>
              <a:ext uri="{FF2B5EF4-FFF2-40B4-BE49-F238E27FC236}">
                <a16:creationId xmlns:a16="http://schemas.microsoft.com/office/drawing/2014/main" id="{E357F577-D208-4BB4-A49D-E2AB2BB578F4}"/>
              </a:ext>
            </a:extLst>
          </p:cNvPr>
          <p:cNvSpPr/>
          <p:nvPr/>
        </p:nvSpPr>
        <p:spPr bwMode="auto">
          <a:xfrm>
            <a:off x="42504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2" name="îş1îde">
            <a:extLst>
              <a:ext uri="{FF2B5EF4-FFF2-40B4-BE49-F238E27FC236}">
                <a16:creationId xmlns:a16="http://schemas.microsoft.com/office/drawing/2014/main" id="{828062CA-9052-462C-87FD-CA777518FAA6}"/>
              </a:ext>
            </a:extLst>
          </p:cNvPr>
          <p:cNvSpPr/>
          <p:nvPr/>
        </p:nvSpPr>
        <p:spPr bwMode="auto">
          <a:xfrm>
            <a:off x="18882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3" name="îş1íḓê">
            <a:extLst>
              <a:ext uri="{FF2B5EF4-FFF2-40B4-BE49-F238E27FC236}">
                <a16:creationId xmlns:a16="http://schemas.microsoft.com/office/drawing/2014/main" id="{2BA5A467-039A-4DEF-AA81-19E5AB7614BC}"/>
              </a:ext>
            </a:extLst>
          </p:cNvPr>
          <p:cNvSpPr/>
          <p:nvPr/>
        </p:nvSpPr>
        <p:spPr bwMode="auto">
          <a:xfrm>
            <a:off x="19265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4" name="ísľíďè">
            <a:extLst>
              <a:ext uri="{FF2B5EF4-FFF2-40B4-BE49-F238E27FC236}">
                <a16:creationId xmlns:a16="http://schemas.microsoft.com/office/drawing/2014/main" id="{0E44D559-31C1-45E5-A7DC-5A2E16B0F4D6}"/>
              </a:ext>
            </a:extLst>
          </p:cNvPr>
          <p:cNvSpPr/>
          <p:nvPr/>
        </p:nvSpPr>
        <p:spPr bwMode="auto">
          <a:xfrm>
            <a:off x="22175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5" name="îSľïḍè">
            <a:extLst>
              <a:ext uri="{FF2B5EF4-FFF2-40B4-BE49-F238E27FC236}">
                <a16:creationId xmlns:a16="http://schemas.microsoft.com/office/drawing/2014/main" id="{2D000311-105D-42F4-8370-8DA32BC9A9C5}"/>
              </a:ext>
            </a:extLst>
          </p:cNvPr>
          <p:cNvSpPr/>
          <p:nvPr/>
        </p:nvSpPr>
        <p:spPr bwMode="auto">
          <a:xfrm>
            <a:off x="25150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6" name="í$ḷiḑê">
            <a:extLst>
              <a:ext uri="{FF2B5EF4-FFF2-40B4-BE49-F238E27FC236}">
                <a16:creationId xmlns:a16="http://schemas.microsoft.com/office/drawing/2014/main" id="{14B4A0D0-B9D9-44D0-9CD8-E2C09EB9CCA1}"/>
              </a:ext>
            </a:extLst>
          </p:cNvPr>
          <p:cNvSpPr/>
          <p:nvPr/>
        </p:nvSpPr>
        <p:spPr bwMode="auto">
          <a:xfrm>
            <a:off x="28135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7" name="íŝļïďè">
            <a:extLst>
              <a:ext uri="{FF2B5EF4-FFF2-40B4-BE49-F238E27FC236}">
                <a16:creationId xmlns:a16="http://schemas.microsoft.com/office/drawing/2014/main" id="{21931DF6-C745-4293-A996-3DCDC0AC1EAE}"/>
              </a:ext>
            </a:extLst>
          </p:cNvPr>
          <p:cNvSpPr/>
          <p:nvPr/>
        </p:nvSpPr>
        <p:spPr bwMode="auto">
          <a:xfrm>
            <a:off x="31119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8" name="îşlídè">
            <a:extLst>
              <a:ext uri="{FF2B5EF4-FFF2-40B4-BE49-F238E27FC236}">
                <a16:creationId xmlns:a16="http://schemas.microsoft.com/office/drawing/2014/main" id="{10E034EA-CF34-4627-9C04-EB39D38AD7A4}"/>
              </a:ext>
            </a:extLst>
          </p:cNvPr>
          <p:cNvSpPr/>
          <p:nvPr/>
        </p:nvSpPr>
        <p:spPr bwMode="auto">
          <a:xfrm>
            <a:off x="34020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9" name="işļíḍè">
            <a:extLst>
              <a:ext uri="{FF2B5EF4-FFF2-40B4-BE49-F238E27FC236}">
                <a16:creationId xmlns:a16="http://schemas.microsoft.com/office/drawing/2014/main" id="{2822F856-4500-46B7-AC1A-4179A81164AF}"/>
              </a:ext>
            </a:extLst>
          </p:cNvPr>
          <p:cNvSpPr/>
          <p:nvPr/>
        </p:nvSpPr>
        <p:spPr bwMode="auto">
          <a:xfrm>
            <a:off x="37004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0" name="íšļïḑè">
            <a:extLst>
              <a:ext uri="{FF2B5EF4-FFF2-40B4-BE49-F238E27FC236}">
                <a16:creationId xmlns:a16="http://schemas.microsoft.com/office/drawing/2014/main" id="{4DA52C37-5F76-4E29-A5A8-9F18791EFA7F}"/>
              </a:ext>
            </a:extLst>
          </p:cNvPr>
          <p:cNvSpPr/>
          <p:nvPr/>
        </p:nvSpPr>
        <p:spPr bwMode="auto">
          <a:xfrm>
            <a:off x="39979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1" name="îšļïḋê">
            <a:extLst>
              <a:ext uri="{FF2B5EF4-FFF2-40B4-BE49-F238E27FC236}">
                <a16:creationId xmlns:a16="http://schemas.microsoft.com/office/drawing/2014/main" id="{AD81DCA3-6A72-43CE-A26D-7658E85CFF94}"/>
              </a:ext>
            </a:extLst>
          </p:cNvPr>
          <p:cNvSpPr/>
          <p:nvPr/>
        </p:nvSpPr>
        <p:spPr bwMode="auto">
          <a:xfrm>
            <a:off x="18882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8" name="任意多边形: 形状 217">
            <a:extLst>
              <a:ext uri="{FF2B5EF4-FFF2-40B4-BE49-F238E27FC236}">
                <a16:creationId xmlns:a16="http://schemas.microsoft.com/office/drawing/2014/main" id="{64E3BAD5-F9AE-4EE9-8212-72ECF0F054AF}"/>
              </a:ext>
            </a:extLst>
          </p:cNvPr>
          <p:cNvSpPr/>
          <p:nvPr/>
        </p:nvSpPr>
        <p:spPr bwMode="auto">
          <a:xfrm>
            <a:off x="1" y="4798944"/>
            <a:ext cx="2201823" cy="313425"/>
          </a:xfrm>
          <a:custGeom>
            <a:avLst/>
            <a:gdLst>
              <a:gd name="connsiteX0" fmla="*/ 0 w 2201823"/>
              <a:gd name="connsiteY0" fmla="*/ 0 h 313425"/>
              <a:gd name="connsiteX1" fmla="*/ 2201823 w 2201823"/>
              <a:gd name="connsiteY1" fmla="*/ 0 h 313425"/>
              <a:gd name="connsiteX2" fmla="*/ 1911789 w 2201823"/>
              <a:gd name="connsiteY2" fmla="*/ 313425 h 313425"/>
              <a:gd name="connsiteX3" fmla="*/ 0 w 2201823"/>
              <a:gd name="connsiteY3" fmla="*/ 313425 h 313425"/>
            </a:gdLst>
            <a:ahLst/>
            <a:cxnLst>
              <a:cxn ang="0">
                <a:pos x="connsiteX0" y="connsiteY0"/>
              </a:cxn>
              <a:cxn ang="0">
                <a:pos x="connsiteX1" y="connsiteY1"/>
              </a:cxn>
              <a:cxn ang="0">
                <a:pos x="connsiteX2" y="connsiteY2"/>
              </a:cxn>
              <a:cxn ang="0">
                <a:pos x="connsiteX3" y="connsiteY3"/>
              </a:cxn>
            </a:cxnLst>
            <a:rect l="l" t="t" r="r" b="b"/>
            <a:pathLst>
              <a:path w="2201823" h="313425">
                <a:moveTo>
                  <a:pt x="0" y="0"/>
                </a:moveTo>
                <a:lnTo>
                  <a:pt x="2201823" y="0"/>
                </a:lnTo>
                <a:lnTo>
                  <a:pt x="1911789" y="313425"/>
                </a:lnTo>
                <a:lnTo>
                  <a:pt x="0" y="31342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7" name="任意多边形: 形状 216">
            <a:extLst>
              <a:ext uri="{FF2B5EF4-FFF2-40B4-BE49-F238E27FC236}">
                <a16:creationId xmlns:a16="http://schemas.microsoft.com/office/drawing/2014/main" id="{362EA956-766C-4111-BF8F-FEE9376E3BA8}"/>
              </a:ext>
            </a:extLst>
          </p:cNvPr>
          <p:cNvSpPr/>
          <p:nvPr/>
        </p:nvSpPr>
        <p:spPr bwMode="auto">
          <a:xfrm>
            <a:off x="1" y="4806429"/>
            <a:ext cx="99541" cy="108006"/>
          </a:xfrm>
          <a:custGeom>
            <a:avLst/>
            <a:gdLst>
              <a:gd name="connsiteX0" fmla="*/ 0 w 99541"/>
              <a:gd name="connsiteY0" fmla="*/ 0 h 108006"/>
              <a:gd name="connsiteX1" fmla="*/ 99541 w 99541"/>
              <a:gd name="connsiteY1" fmla="*/ 0 h 108006"/>
              <a:gd name="connsiteX2" fmla="*/ 0 w 99541"/>
              <a:gd name="connsiteY2" fmla="*/ 108006 h 108006"/>
            </a:gdLst>
            <a:ahLst/>
            <a:cxnLst>
              <a:cxn ang="0">
                <a:pos x="connsiteX0" y="connsiteY0"/>
              </a:cxn>
              <a:cxn ang="0">
                <a:pos x="connsiteX1" y="connsiteY1"/>
              </a:cxn>
              <a:cxn ang="0">
                <a:pos x="connsiteX2" y="connsiteY2"/>
              </a:cxn>
            </a:cxnLst>
            <a:rect l="l" t="t" r="r" b="b"/>
            <a:pathLst>
              <a:path w="99541" h="108006">
                <a:moveTo>
                  <a:pt x="0" y="0"/>
                </a:moveTo>
                <a:lnTo>
                  <a:pt x="99541" y="0"/>
                </a:lnTo>
                <a:lnTo>
                  <a:pt x="0" y="10800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9" name="任意多边形: 形状 218">
            <a:extLst>
              <a:ext uri="{FF2B5EF4-FFF2-40B4-BE49-F238E27FC236}">
                <a16:creationId xmlns:a16="http://schemas.microsoft.com/office/drawing/2014/main" id="{FD7B9418-0FCB-4E7C-8D13-12F9E9C06C3A}"/>
              </a:ext>
            </a:extLst>
          </p:cNvPr>
          <p:cNvSpPr/>
          <p:nvPr/>
        </p:nvSpPr>
        <p:spPr bwMode="auto">
          <a:xfrm>
            <a:off x="0" y="4806429"/>
            <a:ext cx="397995" cy="298455"/>
          </a:xfrm>
          <a:custGeom>
            <a:avLst/>
            <a:gdLst>
              <a:gd name="connsiteX0" fmla="*/ 130415 w 397995"/>
              <a:gd name="connsiteY0" fmla="*/ 0 h 298455"/>
              <a:gd name="connsiteX1" fmla="*/ 397995 w 397995"/>
              <a:gd name="connsiteY1" fmla="*/ 0 h 298455"/>
              <a:gd name="connsiteX2" fmla="*/ 122930 w 397995"/>
              <a:gd name="connsiteY2" fmla="*/ 298455 h 298455"/>
              <a:gd name="connsiteX3" fmla="*/ 0 w 397995"/>
              <a:gd name="connsiteY3" fmla="*/ 298455 h 298455"/>
              <a:gd name="connsiteX4" fmla="*/ 0 w 397995"/>
              <a:gd name="connsiteY4" fmla="*/ 141505 h 29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95" h="298455">
                <a:moveTo>
                  <a:pt x="130415" y="0"/>
                </a:moveTo>
                <a:lnTo>
                  <a:pt x="397995" y="0"/>
                </a:lnTo>
                <a:lnTo>
                  <a:pt x="122930" y="298455"/>
                </a:lnTo>
                <a:lnTo>
                  <a:pt x="0" y="298455"/>
                </a:lnTo>
                <a:lnTo>
                  <a:pt x="0" y="14150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5" name="îSľïḍè">
            <a:extLst>
              <a:ext uri="{FF2B5EF4-FFF2-40B4-BE49-F238E27FC236}">
                <a16:creationId xmlns:a16="http://schemas.microsoft.com/office/drawing/2014/main" id="{B288F4E8-68BD-4709-960A-50C8F6D8C962}"/>
              </a:ext>
            </a:extLst>
          </p:cNvPr>
          <p:cNvSpPr/>
          <p:nvPr/>
        </p:nvSpPr>
        <p:spPr bwMode="auto">
          <a:xfrm>
            <a:off x="1528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6" name="í$ḷiḑê">
            <a:extLst>
              <a:ext uri="{FF2B5EF4-FFF2-40B4-BE49-F238E27FC236}">
                <a16:creationId xmlns:a16="http://schemas.microsoft.com/office/drawing/2014/main" id="{5102A321-77A7-4DFB-839A-1FA5B330E7BF}"/>
              </a:ext>
            </a:extLst>
          </p:cNvPr>
          <p:cNvSpPr/>
          <p:nvPr/>
        </p:nvSpPr>
        <p:spPr bwMode="auto">
          <a:xfrm>
            <a:off x="4513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7" name="íŝļïďè">
            <a:extLst>
              <a:ext uri="{FF2B5EF4-FFF2-40B4-BE49-F238E27FC236}">
                <a16:creationId xmlns:a16="http://schemas.microsoft.com/office/drawing/2014/main" id="{E6AD6E48-C5F0-47B6-B6AB-20589E14302F}"/>
              </a:ext>
            </a:extLst>
          </p:cNvPr>
          <p:cNvSpPr/>
          <p:nvPr/>
        </p:nvSpPr>
        <p:spPr bwMode="auto">
          <a:xfrm>
            <a:off x="7497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8" name="îşlídè">
            <a:extLst>
              <a:ext uri="{FF2B5EF4-FFF2-40B4-BE49-F238E27FC236}">
                <a16:creationId xmlns:a16="http://schemas.microsoft.com/office/drawing/2014/main" id="{3BDE4F78-AE27-451F-AA65-39D2DF1C8BE7}"/>
              </a:ext>
            </a:extLst>
          </p:cNvPr>
          <p:cNvSpPr/>
          <p:nvPr/>
        </p:nvSpPr>
        <p:spPr bwMode="auto">
          <a:xfrm>
            <a:off x="10398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9" name="işļíḍè">
            <a:extLst>
              <a:ext uri="{FF2B5EF4-FFF2-40B4-BE49-F238E27FC236}">
                <a16:creationId xmlns:a16="http://schemas.microsoft.com/office/drawing/2014/main" id="{F438F2F5-4216-48A2-B068-32BC6619B74E}"/>
              </a:ext>
            </a:extLst>
          </p:cNvPr>
          <p:cNvSpPr/>
          <p:nvPr/>
        </p:nvSpPr>
        <p:spPr bwMode="auto">
          <a:xfrm>
            <a:off x="13382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0" name="íšļïḑè">
            <a:extLst>
              <a:ext uri="{FF2B5EF4-FFF2-40B4-BE49-F238E27FC236}">
                <a16:creationId xmlns:a16="http://schemas.microsoft.com/office/drawing/2014/main" id="{3EC5B88D-A3EF-45FD-BC83-F20830D43419}"/>
              </a:ext>
            </a:extLst>
          </p:cNvPr>
          <p:cNvSpPr/>
          <p:nvPr/>
        </p:nvSpPr>
        <p:spPr bwMode="auto">
          <a:xfrm>
            <a:off x="16357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6" name="任意多边形: 形状 215">
            <a:extLst>
              <a:ext uri="{FF2B5EF4-FFF2-40B4-BE49-F238E27FC236}">
                <a16:creationId xmlns:a16="http://schemas.microsoft.com/office/drawing/2014/main" id="{C32AA9C4-8209-4A37-9B26-353163D62E54}"/>
              </a:ext>
            </a:extLst>
          </p:cNvPr>
          <p:cNvSpPr/>
          <p:nvPr/>
        </p:nvSpPr>
        <p:spPr bwMode="auto">
          <a:xfrm>
            <a:off x="1" y="5112369"/>
            <a:ext cx="1905947" cy="343364"/>
          </a:xfrm>
          <a:custGeom>
            <a:avLst/>
            <a:gdLst>
              <a:gd name="connsiteX0" fmla="*/ 0 w 1905947"/>
              <a:gd name="connsiteY0" fmla="*/ 0 h 343364"/>
              <a:gd name="connsiteX1" fmla="*/ 1905947 w 1905947"/>
              <a:gd name="connsiteY1" fmla="*/ 0 h 343364"/>
              <a:gd name="connsiteX2" fmla="*/ 1905947 w 1905947"/>
              <a:gd name="connsiteY2" fmla="*/ 343364 h 343364"/>
              <a:gd name="connsiteX3" fmla="*/ 0 w 1905947"/>
              <a:gd name="connsiteY3" fmla="*/ 343364 h 343364"/>
            </a:gdLst>
            <a:ahLst/>
            <a:cxnLst>
              <a:cxn ang="0">
                <a:pos x="connsiteX0" y="connsiteY0"/>
              </a:cxn>
              <a:cxn ang="0">
                <a:pos x="connsiteX1" y="connsiteY1"/>
              </a:cxn>
              <a:cxn ang="0">
                <a:pos x="connsiteX2" y="connsiteY2"/>
              </a:cxn>
              <a:cxn ang="0">
                <a:pos x="connsiteX3" y="connsiteY3"/>
              </a:cxn>
            </a:cxnLst>
            <a:rect l="l" t="t" r="r" b="b"/>
            <a:pathLst>
              <a:path w="1905947" h="343364">
                <a:moveTo>
                  <a:pt x="0" y="0"/>
                </a:moveTo>
                <a:lnTo>
                  <a:pt x="1905947" y="0"/>
                </a:lnTo>
                <a:lnTo>
                  <a:pt x="1905947" y="343364"/>
                </a:lnTo>
                <a:lnTo>
                  <a:pt x="0" y="343364"/>
                </a:lnTo>
                <a:close/>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nvGrpSpPr>
          <p:cNvPr id="172" name="组合 171">
            <a:extLst>
              <a:ext uri="{FF2B5EF4-FFF2-40B4-BE49-F238E27FC236}">
                <a16:creationId xmlns:a16="http://schemas.microsoft.com/office/drawing/2014/main" id="{F7A054D5-929B-4B9D-974A-31D26A700E02}"/>
              </a:ext>
            </a:extLst>
          </p:cNvPr>
          <p:cNvGrpSpPr/>
          <p:nvPr/>
        </p:nvGrpSpPr>
        <p:grpSpPr>
          <a:xfrm>
            <a:off x="517026" y="2977480"/>
            <a:ext cx="1892580" cy="2070572"/>
            <a:chOff x="164632" y="2987274"/>
            <a:chExt cx="1983137" cy="2169647"/>
          </a:xfrm>
        </p:grpSpPr>
        <p:grpSp>
          <p:nvGrpSpPr>
            <p:cNvPr id="173" name="组合 172">
              <a:extLst>
                <a:ext uri="{FF2B5EF4-FFF2-40B4-BE49-F238E27FC236}">
                  <a16:creationId xmlns:a16="http://schemas.microsoft.com/office/drawing/2014/main" id="{DE5ABB88-3630-41C6-878A-5D34049E5EF6}"/>
                </a:ext>
              </a:extLst>
            </p:cNvPr>
            <p:cNvGrpSpPr/>
            <p:nvPr/>
          </p:nvGrpSpPr>
          <p:grpSpPr>
            <a:xfrm>
              <a:off x="164632" y="4894285"/>
              <a:ext cx="405114" cy="260096"/>
              <a:chOff x="4742689" y="4248832"/>
              <a:chExt cx="405114" cy="260096"/>
            </a:xfrm>
          </p:grpSpPr>
          <p:sp>
            <p:nvSpPr>
              <p:cNvPr id="213" name="isḻiḓè">
                <a:extLst>
                  <a:ext uri="{FF2B5EF4-FFF2-40B4-BE49-F238E27FC236}">
                    <a16:creationId xmlns:a16="http://schemas.microsoft.com/office/drawing/2014/main" id="{CA2ED3B5-4C94-447C-927F-A067BAA23273}"/>
                  </a:ext>
                </a:extLst>
              </p:cNvPr>
              <p:cNvSpPr/>
              <p:nvPr/>
            </p:nvSpPr>
            <p:spPr bwMode="auto">
              <a:xfrm>
                <a:off x="4742689"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1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3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1" y="19"/>
                      <a:pt x="1" y="19"/>
                      <a:pt x="1" y="19"/>
                    </a:cubicBezTo>
                    <a:cubicBezTo>
                      <a:pt x="1"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1" y="29"/>
                    </a:cubicBezTo>
                    <a:cubicBezTo>
                      <a:pt x="14" y="30"/>
                      <a:pt x="14" y="30"/>
                      <a:pt x="14" y="30"/>
                    </a:cubicBezTo>
                    <a:cubicBezTo>
                      <a:pt x="15" y="30"/>
                      <a:pt x="16" y="30"/>
                      <a:pt x="17" y="30"/>
                    </a:cubicBezTo>
                    <a:cubicBezTo>
                      <a:pt x="18" y="29"/>
                      <a:pt x="18" y="29"/>
                      <a:pt x="18" y="29"/>
                    </a:cubicBezTo>
                    <a:cubicBezTo>
                      <a:pt x="20" y="29"/>
                      <a:pt x="21" y="29"/>
                      <a:pt x="23"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3" y="29"/>
                      <a:pt x="43" y="29"/>
                      <a:pt x="43"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4" name="î$ḷíḓê">
                <a:extLst>
                  <a:ext uri="{FF2B5EF4-FFF2-40B4-BE49-F238E27FC236}">
                    <a16:creationId xmlns:a16="http://schemas.microsoft.com/office/drawing/2014/main" id="{514A581B-CBA2-4A2B-BE5D-90504BA456F8}"/>
                  </a:ext>
                </a:extLst>
              </p:cNvPr>
              <p:cNvSpPr/>
              <p:nvPr/>
            </p:nvSpPr>
            <p:spPr bwMode="auto">
              <a:xfrm>
                <a:off x="4742690"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3 w 53"/>
                  <a:gd name="T21" fmla="*/ 26 h 28"/>
                  <a:gd name="T22" fmla="*/ 17 w 53"/>
                  <a:gd name="T23" fmla="*/ 26 h 28"/>
                  <a:gd name="T24" fmla="*/ 11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5 w 53"/>
                  <a:gd name="T41" fmla="*/ 10 h 28"/>
                  <a:gd name="T42" fmla="*/ 7 w 53"/>
                  <a:gd name="T43" fmla="*/ 6 h 28"/>
                  <a:gd name="T44" fmla="*/ 11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3" y="13"/>
                    </a:moveTo>
                    <a:cubicBezTo>
                      <a:pt x="53" y="15"/>
                      <a:pt x="53" y="15"/>
                      <a:pt x="53" y="15"/>
                    </a:cubicBezTo>
                    <a:cubicBezTo>
                      <a:pt x="53" y="16"/>
                      <a:pt x="52" y="16"/>
                      <a:pt x="51" y="16"/>
                    </a:cubicBezTo>
                    <a:cubicBezTo>
                      <a:pt x="49" y="16"/>
                      <a:pt x="49" y="16"/>
                      <a:pt x="49" y="16"/>
                    </a:cubicBezTo>
                    <a:cubicBezTo>
                      <a:pt x="49" y="17"/>
                      <a:pt x="49" y="17"/>
                      <a:pt x="48" y="18"/>
                    </a:cubicBezTo>
                    <a:cubicBezTo>
                      <a:pt x="50" y="19"/>
                      <a:pt x="50" y="19"/>
                      <a:pt x="50" y="19"/>
                    </a:cubicBezTo>
                    <a:cubicBezTo>
                      <a:pt x="51" y="19"/>
                      <a:pt x="52"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3"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3" y="26"/>
                      <a:pt x="23" y="26"/>
                      <a:pt x="23" y="26"/>
                    </a:cubicBezTo>
                    <a:cubicBezTo>
                      <a:pt x="21" y="26"/>
                      <a:pt x="20" y="25"/>
                      <a:pt x="18" y="25"/>
                    </a:cubicBezTo>
                    <a:cubicBezTo>
                      <a:pt x="17" y="26"/>
                      <a:pt x="17" y="26"/>
                      <a:pt x="17" y="26"/>
                    </a:cubicBezTo>
                    <a:cubicBezTo>
                      <a:pt x="16" y="27"/>
                      <a:pt x="15" y="27"/>
                      <a:pt x="14" y="27"/>
                    </a:cubicBezTo>
                    <a:cubicBezTo>
                      <a:pt x="11" y="26"/>
                      <a:pt x="11" y="26"/>
                      <a:pt x="11" y="26"/>
                    </a:cubicBezTo>
                    <a:cubicBezTo>
                      <a:pt x="10" y="25"/>
                      <a:pt x="10"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5"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5" y="10"/>
                      <a:pt x="5" y="10"/>
                      <a:pt x="5" y="10"/>
                    </a:cubicBezTo>
                    <a:cubicBezTo>
                      <a:pt x="4" y="9"/>
                      <a:pt x="4" y="9"/>
                      <a:pt x="4" y="8"/>
                    </a:cubicBezTo>
                    <a:cubicBezTo>
                      <a:pt x="7" y="6"/>
                      <a:pt x="7" y="6"/>
                      <a:pt x="7" y="6"/>
                    </a:cubicBezTo>
                    <a:cubicBezTo>
                      <a:pt x="7" y="6"/>
                      <a:pt x="8" y="6"/>
                      <a:pt x="9" y="6"/>
                    </a:cubicBezTo>
                    <a:cubicBezTo>
                      <a:pt x="11" y="7"/>
                      <a:pt x="11" y="7"/>
                      <a:pt x="11" y="7"/>
                    </a:cubicBezTo>
                    <a:cubicBezTo>
                      <a:pt x="11" y="6"/>
                      <a:pt x="12" y="6"/>
                      <a:pt x="14"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4"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6"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3" y="13"/>
                    </a:cubicBezTo>
                    <a:close/>
                    <a:moveTo>
                      <a:pt x="38" y="18"/>
                    </a:moveTo>
                    <a:cubicBezTo>
                      <a:pt x="40"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2"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grpSp>
          <p:nvGrpSpPr>
            <p:cNvPr id="174" name="组合 173">
              <a:extLst>
                <a:ext uri="{FF2B5EF4-FFF2-40B4-BE49-F238E27FC236}">
                  <a16:creationId xmlns:a16="http://schemas.microsoft.com/office/drawing/2014/main" id="{703B0111-42F5-4EB9-AF70-AEBDA8211872}"/>
                </a:ext>
              </a:extLst>
            </p:cNvPr>
            <p:cNvGrpSpPr/>
            <p:nvPr/>
          </p:nvGrpSpPr>
          <p:grpSpPr>
            <a:xfrm>
              <a:off x="1750140" y="4894285"/>
              <a:ext cx="397629" cy="260096"/>
              <a:chOff x="6293907" y="4248832"/>
              <a:chExt cx="397629" cy="260096"/>
            </a:xfrm>
          </p:grpSpPr>
          <p:sp>
            <p:nvSpPr>
              <p:cNvPr id="209" name="iṣḻîďe">
                <a:extLst>
                  <a:ext uri="{FF2B5EF4-FFF2-40B4-BE49-F238E27FC236}">
                    <a16:creationId xmlns:a16="http://schemas.microsoft.com/office/drawing/2014/main" id="{B993C6D4-C288-4C23-9A3D-563EB7A66827}"/>
                  </a:ext>
                </a:extLst>
              </p:cNvPr>
              <p:cNvSpPr/>
              <p:nvPr/>
            </p:nvSpPr>
            <p:spPr bwMode="auto">
              <a:xfrm>
                <a:off x="6423954" y="4355490"/>
                <a:ext cx="137533" cy="61749"/>
              </a:xfrm>
              <a:prstGeom prst="rect">
                <a:avLst/>
              </a:prstGeom>
              <a:solidFill>
                <a:srgbClr val="DEDED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0" name="iś1îďè">
                <a:extLst>
                  <a:ext uri="{FF2B5EF4-FFF2-40B4-BE49-F238E27FC236}">
                    <a16:creationId xmlns:a16="http://schemas.microsoft.com/office/drawing/2014/main" id="{8B91314C-2695-4E55-80B9-D2F478C71517}"/>
                  </a:ext>
                </a:extLst>
              </p:cNvPr>
              <p:cNvSpPr/>
              <p:nvPr/>
            </p:nvSpPr>
            <p:spPr bwMode="auto">
              <a:xfrm>
                <a:off x="6293907" y="4272222"/>
                <a:ext cx="397628" cy="236706"/>
              </a:xfrm>
              <a:custGeom>
                <a:avLst/>
                <a:gdLst>
                  <a:gd name="T0" fmla="*/ 52 w 52"/>
                  <a:gd name="T1" fmla="*/ 18 h 31"/>
                  <a:gd name="T2" fmla="*/ 52 w 52"/>
                  <a:gd name="T3" fmla="*/ 12 h 31"/>
                  <a:gd name="T4" fmla="*/ 49 w 52"/>
                  <a:gd name="T5" fmla="*/ 11 h 31"/>
                  <a:gd name="T6" fmla="*/ 49 w 52"/>
                  <a:gd name="T7" fmla="*/ 9 h 31"/>
                  <a:gd name="T8" fmla="*/ 43 w 52"/>
                  <a:gd name="T9" fmla="*/ 5 h 31"/>
                  <a:gd name="T10" fmla="*/ 41 w 52"/>
                  <a:gd name="T11" fmla="*/ 0 h 31"/>
                  <a:gd name="T12" fmla="*/ 19 w 52"/>
                  <a:gd name="T13" fmla="*/ 2 h 31"/>
                  <a:gd name="T14" fmla="*/ 12 w 52"/>
                  <a:gd name="T15" fmla="*/ 4 h 31"/>
                  <a:gd name="T16" fmla="*/ 3 w 52"/>
                  <a:gd name="T17" fmla="*/ 6 h 31"/>
                  <a:gd name="T18" fmla="*/ 0 w 52"/>
                  <a:gd name="T19" fmla="*/ 13 h 31"/>
                  <a:gd name="T20" fmla="*/ 0 w 52"/>
                  <a:gd name="T21" fmla="*/ 19 h 31"/>
                  <a:gd name="T22" fmla="*/ 1 w 52"/>
                  <a:gd name="T23" fmla="*/ 20 h 31"/>
                  <a:gd name="T24" fmla="*/ 1 w 52"/>
                  <a:gd name="T25" fmla="*/ 23 h 31"/>
                  <a:gd name="T26" fmla="*/ 3 w 52"/>
                  <a:gd name="T27" fmla="*/ 25 h 31"/>
                  <a:gd name="T28" fmla="*/ 8 w 52"/>
                  <a:gd name="T29" fmla="*/ 25 h 31"/>
                  <a:gd name="T30" fmla="*/ 9 w 52"/>
                  <a:gd name="T31" fmla="*/ 28 h 31"/>
                  <a:gd name="T32" fmla="*/ 14 w 52"/>
                  <a:gd name="T33" fmla="*/ 30 h 31"/>
                  <a:gd name="T34" fmla="*/ 18 w 52"/>
                  <a:gd name="T35" fmla="*/ 29 h 31"/>
                  <a:gd name="T36" fmla="*/ 22 w 52"/>
                  <a:gd name="T37" fmla="*/ 30 h 31"/>
                  <a:gd name="T38" fmla="*/ 28 w 52"/>
                  <a:gd name="T39" fmla="*/ 31 h 31"/>
                  <a:gd name="T40" fmla="*/ 30 w 52"/>
                  <a:gd name="T41" fmla="*/ 29 h 31"/>
                  <a:gd name="T42" fmla="*/ 36 w 52"/>
                  <a:gd name="T43" fmla="*/ 30 h 31"/>
                  <a:gd name="T44" fmla="*/ 42 w 52"/>
                  <a:gd name="T45" fmla="*/ 29 h 31"/>
                  <a:gd name="T46" fmla="*/ 43 w 52"/>
                  <a:gd name="T47" fmla="*/ 28 h 31"/>
                  <a:gd name="T48" fmla="*/ 43 w 52"/>
                  <a:gd name="T49" fmla="*/ 28 h 31"/>
                  <a:gd name="T50" fmla="*/ 44 w 52"/>
                  <a:gd name="T51" fmla="*/ 25 h 31"/>
                  <a:gd name="T52" fmla="*/ 49 w 52"/>
                  <a:gd name="T53" fmla="*/ 25 h 31"/>
                  <a:gd name="T54" fmla="*/ 51 w 52"/>
                  <a:gd name="T55" fmla="*/ 23 h 31"/>
                  <a:gd name="T56" fmla="*/ 51 w 52"/>
                  <a:gd name="T57" fmla="*/ 19 h 31"/>
                  <a:gd name="T58" fmla="*/ 52 w 52"/>
                  <a:gd name="T59" fmla="*/ 19 h 31"/>
                  <a:gd name="T60" fmla="*/ 38 w 52"/>
                  <a:gd name="T61" fmla="*/ 20 h 31"/>
                  <a:gd name="T62" fmla="*/ 12 w 52"/>
                  <a:gd name="T63" fmla="*/ 18 h 31"/>
                  <a:gd name="T64" fmla="*/ 26 w 52"/>
                  <a:gd name="T65" fmla="*/ 10 h 31"/>
                  <a:gd name="T66" fmla="*/ 38 w 52"/>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1">
                    <a:moveTo>
                      <a:pt x="52" y="19"/>
                    </a:moveTo>
                    <a:cubicBezTo>
                      <a:pt x="52" y="18"/>
                      <a:pt x="52" y="18"/>
                      <a:pt x="52" y="18"/>
                    </a:cubicBezTo>
                    <a:cubicBezTo>
                      <a:pt x="52" y="18"/>
                      <a:pt x="52" y="18"/>
                      <a:pt x="52" y="18"/>
                    </a:cubicBezTo>
                    <a:cubicBezTo>
                      <a:pt x="52" y="12"/>
                      <a:pt x="52" y="12"/>
                      <a:pt x="52" y="12"/>
                    </a:cubicBezTo>
                    <a:cubicBezTo>
                      <a:pt x="49" y="12"/>
                      <a:pt x="49" y="12"/>
                      <a:pt x="49" y="12"/>
                    </a:cubicBezTo>
                    <a:cubicBezTo>
                      <a:pt x="49" y="11"/>
                      <a:pt x="49" y="11"/>
                      <a:pt x="49" y="11"/>
                    </a:cubicBezTo>
                    <a:cubicBezTo>
                      <a:pt x="48" y="10"/>
                      <a:pt x="48" y="10"/>
                      <a:pt x="48" y="10"/>
                    </a:cubicBezTo>
                    <a:cubicBezTo>
                      <a:pt x="49" y="9"/>
                      <a:pt x="49" y="9"/>
                      <a:pt x="49" y="9"/>
                    </a:cubicBezTo>
                    <a:cubicBezTo>
                      <a:pt x="49" y="5"/>
                      <a:pt x="49" y="5"/>
                      <a:pt x="49" y="5"/>
                    </a:cubicBezTo>
                    <a:cubicBezTo>
                      <a:pt x="43" y="5"/>
                      <a:pt x="43" y="5"/>
                      <a:pt x="43" y="5"/>
                    </a:cubicBezTo>
                    <a:cubicBezTo>
                      <a:pt x="41" y="4"/>
                      <a:pt x="41" y="4"/>
                      <a:pt x="41" y="4"/>
                    </a:cubicBezTo>
                    <a:cubicBezTo>
                      <a:pt x="41" y="0"/>
                      <a:pt x="41" y="0"/>
                      <a:pt x="41" y="0"/>
                    </a:cubicBezTo>
                    <a:cubicBezTo>
                      <a:pt x="36" y="1"/>
                      <a:pt x="36" y="1"/>
                      <a:pt x="36" y="1"/>
                    </a:cubicBezTo>
                    <a:cubicBezTo>
                      <a:pt x="19" y="2"/>
                      <a:pt x="19" y="2"/>
                      <a:pt x="19" y="2"/>
                    </a:cubicBezTo>
                    <a:cubicBezTo>
                      <a:pt x="12" y="1"/>
                      <a:pt x="12" y="1"/>
                      <a:pt x="12" y="1"/>
                    </a:cubicBezTo>
                    <a:cubicBezTo>
                      <a:pt x="12" y="4"/>
                      <a:pt x="12" y="4"/>
                      <a:pt x="12" y="4"/>
                    </a:cubicBezTo>
                    <a:cubicBezTo>
                      <a:pt x="8" y="7"/>
                      <a:pt x="8" y="7"/>
                      <a:pt x="8" y="7"/>
                    </a:cubicBezTo>
                    <a:cubicBezTo>
                      <a:pt x="3" y="6"/>
                      <a:pt x="3" y="6"/>
                      <a:pt x="3" y="6"/>
                    </a:cubicBezTo>
                    <a:cubicBezTo>
                      <a:pt x="3" y="11"/>
                      <a:pt x="3" y="11"/>
                      <a:pt x="3" y="11"/>
                    </a:cubicBezTo>
                    <a:cubicBezTo>
                      <a:pt x="0" y="13"/>
                      <a:pt x="0" y="13"/>
                      <a:pt x="0" y="13"/>
                    </a:cubicBezTo>
                    <a:cubicBezTo>
                      <a:pt x="0" y="19"/>
                      <a:pt x="0" y="19"/>
                      <a:pt x="0" y="19"/>
                    </a:cubicBezTo>
                    <a:cubicBezTo>
                      <a:pt x="0" y="19"/>
                      <a:pt x="0" y="19"/>
                      <a:pt x="0" y="19"/>
                    </a:cubicBezTo>
                    <a:cubicBezTo>
                      <a:pt x="0" y="19"/>
                      <a:pt x="0" y="20"/>
                      <a:pt x="1" y="20"/>
                    </a:cubicBezTo>
                    <a:cubicBezTo>
                      <a:pt x="1" y="20"/>
                      <a:pt x="1" y="20"/>
                      <a:pt x="1" y="20"/>
                    </a:cubicBezTo>
                    <a:cubicBezTo>
                      <a:pt x="1" y="23"/>
                      <a:pt x="1" y="23"/>
                      <a:pt x="1" y="23"/>
                    </a:cubicBezTo>
                    <a:cubicBezTo>
                      <a:pt x="1" y="23"/>
                      <a:pt x="1" y="23"/>
                      <a:pt x="1" y="23"/>
                    </a:cubicBezTo>
                    <a:cubicBezTo>
                      <a:pt x="1" y="23"/>
                      <a:pt x="1" y="23"/>
                      <a:pt x="1" y="23"/>
                    </a:cubicBezTo>
                    <a:cubicBezTo>
                      <a:pt x="3" y="25"/>
                      <a:pt x="3" y="25"/>
                      <a:pt x="3" y="25"/>
                    </a:cubicBezTo>
                    <a:cubicBezTo>
                      <a:pt x="4" y="26"/>
                      <a:pt x="5" y="26"/>
                      <a:pt x="6" y="26"/>
                    </a:cubicBezTo>
                    <a:cubicBezTo>
                      <a:pt x="8" y="25"/>
                      <a:pt x="8" y="25"/>
                      <a:pt x="8" y="25"/>
                    </a:cubicBezTo>
                    <a:cubicBezTo>
                      <a:pt x="8" y="25"/>
                      <a:pt x="9" y="26"/>
                      <a:pt x="9" y="26"/>
                    </a:cubicBezTo>
                    <a:cubicBezTo>
                      <a:pt x="9" y="28"/>
                      <a:pt x="9" y="28"/>
                      <a:pt x="9" y="28"/>
                    </a:cubicBezTo>
                    <a:cubicBezTo>
                      <a:pt x="9" y="28"/>
                      <a:pt x="9" y="29"/>
                      <a:pt x="10" y="29"/>
                    </a:cubicBezTo>
                    <a:cubicBezTo>
                      <a:pt x="14" y="30"/>
                      <a:pt x="14" y="30"/>
                      <a:pt x="14" y="30"/>
                    </a:cubicBezTo>
                    <a:cubicBezTo>
                      <a:pt x="15" y="30"/>
                      <a:pt x="16" y="30"/>
                      <a:pt x="16" y="30"/>
                    </a:cubicBezTo>
                    <a:cubicBezTo>
                      <a:pt x="18" y="29"/>
                      <a:pt x="18" y="29"/>
                      <a:pt x="18" y="29"/>
                    </a:cubicBezTo>
                    <a:cubicBezTo>
                      <a:pt x="19" y="29"/>
                      <a:pt x="20" y="29"/>
                      <a:pt x="22" y="29"/>
                    </a:cubicBezTo>
                    <a:cubicBezTo>
                      <a:pt x="22" y="30"/>
                      <a:pt x="22" y="30"/>
                      <a:pt x="22" y="30"/>
                    </a:cubicBezTo>
                    <a:cubicBezTo>
                      <a:pt x="22" y="31"/>
                      <a:pt x="23" y="31"/>
                      <a:pt x="24" y="31"/>
                    </a:cubicBezTo>
                    <a:cubicBezTo>
                      <a:pt x="28" y="31"/>
                      <a:pt x="28" y="31"/>
                      <a:pt x="28" y="31"/>
                    </a:cubicBezTo>
                    <a:cubicBezTo>
                      <a:pt x="29" y="31"/>
                      <a:pt x="30" y="31"/>
                      <a:pt x="30" y="30"/>
                    </a:cubicBezTo>
                    <a:cubicBezTo>
                      <a:pt x="30" y="29"/>
                      <a:pt x="30" y="29"/>
                      <a:pt x="30" y="29"/>
                    </a:cubicBezTo>
                    <a:cubicBezTo>
                      <a:pt x="31" y="29"/>
                      <a:pt x="33" y="29"/>
                      <a:pt x="34" y="29"/>
                    </a:cubicBezTo>
                    <a:cubicBezTo>
                      <a:pt x="36" y="30"/>
                      <a:pt x="36" y="30"/>
                      <a:pt x="36" y="30"/>
                    </a:cubicBezTo>
                    <a:cubicBezTo>
                      <a:pt x="36" y="30"/>
                      <a:pt x="37" y="30"/>
                      <a:pt x="38" y="30"/>
                    </a:cubicBezTo>
                    <a:cubicBezTo>
                      <a:pt x="42" y="29"/>
                      <a:pt x="42" y="29"/>
                      <a:pt x="42" y="29"/>
                    </a:cubicBezTo>
                    <a:cubicBezTo>
                      <a:pt x="42"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3" y="25"/>
                      <a:pt x="44" y="25"/>
                      <a:pt x="44" y="25"/>
                    </a:cubicBezTo>
                    <a:cubicBezTo>
                      <a:pt x="46" y="26"/>
                      <a:pt x="46" y="26"/>
                      <a:pt x="46" y="26"/>
                    </a:cubicBezTo>
                    <a:cubicBezTo>
                      <a:pt x="47" y="26"/>
                      <a:pt x="48"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2" y="19"/>
                      <a:pt x="52" y="19"/>
                    </a:cubicBezTo>
                    <a:cubicBezTo>
                      <a:pt x="52" y="19"/>
                      <a:pt x="52" y="19"/>
                      <a:pt x="52" y="19"/>
                    </a:cubicBezTo>
                    <a:close/>
                    <a:moveTo>
                      <a:pt x="38" y="20"/>
                    </a:moveTo>
                    <a:cubicBezTo>
                      <a:pt x="35" y="22"/>
                      <a:pt x="31" y="21"/>
                      <a:pt x="27" y="21"/>
                    </a:cubicBezTo>
                    <a:cubicBezTo>
                      <a:pt x="19" y="21"/>
                      <a:pt x="12" y="22"/>
                      <a:pt x="12" y="18"/>
                    </a:cubicBezTo>
                    <a:cubicBezTo>
                      <a:pt x="13" y="16"/>
                      <a:pt x="14" y="15"/>
                      <a:pt x="15" y="14"/>
                    </a:cubicBezTo>
                    <a:cubicBezTo>
                      <a:pt x="18" y="12"/>
                      <a:pt x="22" y="10"/>
                      <a:pt x="26" y="10"/>
                    </a:cubicBezTo>
                    <a:cubicBezTo>
                      <a:pt x="33" y="10"/>
                      <a:pt x="39" y="13"/>
                      <a:pt x="40" y="18"/>
                    </a:cubicBezTo>
                    <a:cubicBezTo>
                      <a:pt x="40" y="19"/>
                      <a:pt x="39"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1" name="îṣ1ide">
                <a:extLst>
                  <a:ext uri="{FF2B5EF4-FFF2-40B4-BE49-F238E27FC236}">
                    <a16:creationId xmlns:a16="http://schemas.microsoft.com/office/drawing/2014/main" id="{64D2CF91-C320-4981-9B27-30849FB2809A}"/>
                  </a:ext>
                </a:extLst>
              </p:cNvPr>
              <p:cNvSpPr/>
              <p:nvPr/>
            </p:nvSpPr>
            <p:spPr bwMode="auto">
              <a:xfrm>
                <a:off x="6293908" y="4248832"/>
                <a:ext cx="397628" cy="214251"/>
              </a:xfrm>
              <a:custGeom>
                <a:avLst/>
                <a:gdLst>
                  <a:gd name="T0" fmla="*/ 52 w 52"/>
                  <a:gd name="T1" fmla="*/ 15 h 28"/>
                  <a:gd name="T2" fmla="*/ 48 w 52"/>
                  <a:gd name="T3" fmla="*/ 16 h 28"/>
                  <a:gd name="T4" fmla="*/ 50 w 52"/>
                  <a:gd name="T5" fmla="*/ 19 h 28"/>
                  <a:gd name="T6" fmla="*/ 49 w 52"/>
                  <a:gd name="T7" fmla="*/ 22 h 28"/>
                  <a:gd name="T8" fmla="*/ 44 w 52"/>
                  <a:gd name="T9" fmla="*/ 22 h 28"/>
                  <a:gd name="T10" fmla="*/ 42 w 52"/>
                  <a:gd name="T11" fmla="*/ 24 h 28"/>
                  <a:gd name="T12" fmla="*/ 38 w 52"/>
                  <a:gd name="T13" fmla="*/ 27 h 28"/>
                  <a:gd name="T14" fmla="*/ 34 w 52"/>
                  <a:gd name="T15" fmla="*/ 25 h 28"/>
                  <a:gd name="T16" fmla="*/ 30 w 52"/>
                  <a:gd name="T17" fmla="*/ 27 h 28"/>
                  <a:gd name="T18" fmla="*/ 24 w 52"/>
                  <a:gd name="T19" fmla="*/ 28 h 28"/>
                  <a:gd name="T20" fmla="*/ 22 w 52"/>
                  <a:gd name="T21" fmla="*/ 26 h 28"/>
                  <a:gd name="T22" fmla="*/ 16 w 52"/>
                  <a:gd name="T23" fmla="*/ 26 h 28"/>
                  <a:gd name="T24" fmla="*/ 10 w 52"/>
                  <a:gd name="T25" fmla="*/ 25 h 28"/>
                  <a:gd name="T26" fmla="*/ 11 w 52"/>
                  <a:gd name="T27" fmla="*/ 23 h 28"/>
                  <a:gd name="T28" fmla="*/ 6 w 52"/>
                  <a:gd name="T29" fmla="*/ 22 h 28"/>
                  <a:gd name="T30" fmla="*/ 1 w 52"/>
                  <a:gd name="T31" fmla="*/ 20 h 28"/>
                  <a:gd name="T32" fmla="*/ 5 w 52"/>
                  <a:gd name="T33" fmla="*/ 18 h 28"/>
                  <a:gd name="T34" fmla="*/ 1 w 52"/>
                  <a:gd name="T35" fmla="*/ 16 h 28"/>
                  <a:gd name="T36" fmla="*/ 0 w 52"/>
                  <a:gd name="T37" fmla="*/ 13 h 28"/>
                  <a:gd name="T38" fmla="*/ 4 w 52"/>
                  <a:gd name="T39" fmla="*/ 12 h 28"/>
                  <a:gd name="T40" fmla="*/ 4 w 52"/>
                  <a:gd name="T41" fmla="*/ 10 h 28"/>
                  <a:gd name="T42" fmla="*/ 6 w 52"/>
                  <a:gd name="T43" fmla="*/ 6 h 28"/>
                  <a:gd name="T44" fmla="*/ 10 w 52"/>
                  <a:gd name="T45" fmla="*/ 7 h 28"/>
                  <a:gd name="T46" fmla="*/ 12 w 52"/>
                  <a:gd name="T47" fmla="*/ 4 h 28"/>
                  <a:gd name="T48" fmla="*/ 16 w 52"/>
                  <a:gd name="T49" fmla="*/ 2 h 28"/>
                  <a:gd name="T50" fmla="*/ 19 w 52"/>
                  <a:gd name="T51" fmla="*/ 3 h 28"/>
                  <a:gd name="T52" fmla="*/ 23 w 52"/>
                  <a:gd name="T53" fmla="*/ 1 h 28"/>
                  <a:gd name="T54" fmla="*/ 28 w 52"/>
                  <a:gd name="T55" fmla="*/ 0 h 28"/>
                  <a:gd name="T56" fmla="*/ 30 w 52"/>
                  <a:gd name="T57" fmla="*/ 2 h 28"/>
                  <a:gd name="T58" fmla="*/ 34 w 52"/>
                  <a:gd name="T59" fmla="*/ 2 h 28"/>
                  <a:gd name="T60" fmla="*/ 40 w 52"/>
                  <a:gd name="T61" fmla="*/ 2 h 28"/>
                  <a:gd name="T62" fmla="*/ 40 w 52"/>
                  <a:gd name="T63" fmla="*/ 5 h 28"/>
                  <a:gd name="T64" fmla="*/ 44 w 52"/>
                  <a:gd name="T65" fmla="*/ 6 h 28"/>
                  <a:gd name="T66" fmla="*/ 49 w 52"/>
                  <a:gd name="T67" fmla="*/ 8 h 28"/>
                  <a:gd name="T68" fmla="*/ 46 w 52"/>
                  <a:gd name="T69" fmla="*/ 10 h 28"/>
                  <a:gd name="T70" fmla="*/ 50 w 52"/>
                  <a:gd name="T71" fmla="*/ 12 h 28"/>
                  <a:gd name="T72" fmla="*/ 38 w 52"/>
                  <a:gd name="T73" fmla="*/ 18 h 28"/>
                  <a:gd name="T74" fmla="*/ 26 w 52"/>
                  <a:gd name="T75" fmla="*/ 7 h 28"/>
                  <a:gd name="T76" fmla="*/ 12 w 52"/>
                  <a:gd name="T77" fmla="*/ 14 h 28"/>
                  <a:gd name="T78" fmla="*/ 38 w 52"/>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 h="28">
                    <a:moveTo>
                      <a:pt x="52" y="13"/>
                    </a:moveTo>
                    <a:cubicBezTo>
                      <a:pt x="52" y="15"/>
                      <a:pt x="52" y="15"/>
                      <a:pt x="52" y="15"/>
                    </a:cubicBezTo>
                    <a:cubicBezTo>
                      <a:pt x="52" y="15"/>
                      <a:pt x="52" y="16"/>
                      <a:pt x="51" y="16"/>
                    </a:cubicBezTo>
                    <a:cubicBezTo>
                      <a:pt x="48" y="16"/>
                      <a:pt x="48" y="16"/>
                      <a:pt x="48" y="16"/>
                    </a:cubicBezTo>
                    <a:cubicBezTo>
                      <a:pt x="48" y="17"/>
                      <a:pt x="48" y="17"/>
                      <a:pt x="47" y="18"/>
                    </a:cubicBezTo>
                    <a:cubicBezTo>
                      <a:pt x="50" y="19"/>
                      <a:pt x="50" y="19"/>
                      <a:pt x="50" y="19"/>
                    </a:cubicBezTo>
                    <a:cubicBezTo>
                      <a:pt x="51" y="19"/>
                      <a:pt x="51" y="19"/>
                      <a:pt x="51" y="20"/>
                    </a:cubicBezTo>
                    <a:cubicBezTo>
                      <a:pt x="49" y="22"/>
                      <a:pt x="49" y="22"/>
                      <a:pt x="49" y="22"/>
                    </a:cubicBezTo>
                    <a:cubicBezTo>
                      <a:pt x="48" y="22"/>
                      <a:pt x="47" y="22"/>
                      <a:pt x="46" y="22"/>
                    </a:cubicBezTo>
                    <a:cubicBezTo>
                      <a:pt x="44" y="22"/>
                      <a:pt x="44" y="22"/>
                      <a:pt x="44" y="22"/>
                    </a:cubicBezTo>
                    <a:cubicBezTo>
                      <a:pt x="43" y="22"/>
                      <a:pt x="42" y="23"/>
                      <a:pt x="41" y="23"/>
                    </a:cubicBezTo>
                    <a:cubicBezTo>
                      <a:pt x="42" y="24"/>
                      <a:pt x="42" y="24"/>
                      <a:pt x="42" y="24"/>
                    </a:cubicBezTo>
                    <a:cubicBezTo>
                      <a:pt x="43" y="25"/>
                      <a:pt x="43" y="25"/>
                      <a:pt x="42" y="25"/>
                    </a:cubicBezTo>
                    <a:cubicBezTo>
                      <a:pt x="38" y="27"/>
                      <a:pt x="38" y="27"/>
                      <a:pt x="38" y="27"/>
                    </a:cubicBezTo>
                    <a:cubicBezTo>
                      <a:pt x="37" y="27"/>
                      <a:pt x="36" y="27"/>
                      <a:pt x="36" y="26"/>
                    </a:cubicBezTo>
                    <a:cubicBezTo>
                      <a:pt x="34" y="25"/>
                      <a:pt x="34" y="25"/>
                      <a:pt x="34" y="25"/>
                    </a:cubicBezTo>
                    <a:cubicBezTo>
                      <a:pt x="33" y="25"/>
                      <a:pt x="31" y="26"/>
                      <a:pt x="30" y="26"/>
                    </a:cubicBezTo>
                    <a:cubicBezTo>
                      <a:pt x="30" y="27"/>
                      <a:pt x="30" y="27"/>
                      <a:pt x="30" y="27"/>
                    </a:cubicBezTo>
                    <a:cubicBezTo>
                      <a:pt x="30" y="27"/>
                      <a:pt x="29" y="28"/>
                      <a:pt x="28" y="28"/>
                    </a:cubicBezTo>
                    <a:cubicBezTo>
                      <a:pt x="24" y="28"/>
                      <a:pt x="24" y="28"/>
                      <a:pt x="24" y="28"/>
                    </a:cubicBezTo>
                    <a:cubicBezTo>
                      <a:pt x="23" y="28"/>
                      <a:pt x="22" y="27"/>
                      <a:pt x="22" y="27"/>
                    </a:cubicBezTo>
                    <a:cubicBezTo>
                      <a:pt x="22" y="26"/>
                      <a:pt x="22" y="26"/>
                      <a:pt x="22" y="26"/>
                    </a:cubicBezTo>
                    <a:cubicBezTo>
                      <a:pt x="20" y="26"/>
                      <a:pt x="19" y="25"/>
                      <a:pt x="18" y="25"/>
                    </a:cubicBezTo>
                    <a:cubicBezTo>
                      <a:pt x="16" y="26"/>
                      <a:pt x="16" y="26"/>
                      <a:pt x="16" y="26"/>
                    </a:cubicBezTo>
                    <a:cubicBezTo>
                      <a:pt x="16" y="27"/>
                      <a:pt x="15" y="27"/>
                      <a:pt x="14" y="27"/>
                    </a:cubicBezTo>
                    <a:cubicBezTo>
                      <a:pt x="10" y="25"/>
                      <a:pt x="10" y="25"/>
                      <a:pt x="10" y="25"/>
                    </a:cubicBezTo>
                    <a:cubicBezTo>
                      <a:pt x="9" y="25"/>
                      <a:pt x="9" y="25"/>
                      <a:pt x="9" y="24"/>
                    </a:cubicBezTo>
                    <a:cubicBezTo>
                      <a:pt x="11" y="23"/>
                      <a:pt x="11" y="23"/>
                      <a:pt x="11" y="23"/>
                    </a:cubicBezTo>
                    <a:cubicBezTo>
                      <a:pt x="10" y="23"/>
                      <a:pt x="9" y="22"/>
                      <a:pt x="8" y="22"/>
                    </a:cubicBezTo>
                    <a:cubicBezTo>
                      <a:pt x="6" y="22"/>
                      <a:pt x="6" y="22"/>
                      <a:pt x="6" y="22"/>
                    </a:cubicBezTo>
                    <a:cubicBezTo>
                      <a:pt x="5" y="23"/>
                      <a:pt x="4" y="22"/>
                      <a:pt x="3" y="22"/>
                    </a:cubicBezTo>
                    <a:cubicBezTo>
                      <a:pt x="1" y="20"/>
                      <a:pt x="1" y="20"/>
                      <a:pt x="1" y="20"/>
                    </a:cubicBezTo>
                    <a:cubicBezTo>
                      <a:pt x="1" y="20"/>
                      <a:pt x="1" y="19"/>
                      <a:pt x="2" y="19"/>
                    </a:cubicBezTo>
                    <a:cubicBezTo>
                      <a:pt x="5" y="18"/>
                      <a:pt x="5" y="18"/>
                      <a:pt x="5" y="18"/>
                    </a:cubicBezTo>
                    <a:cubicBezTo>
                      <a:pt x="4" y="18"/>
                      <a:pt x="4" y="17"/>
                      <a:pt x="4" y="16"/>
                    </a:cubicBezTo>
                    <a:cubicBezTo>
                      <a:pt x="1" y="16"/>
                      <a:pt x="1" y="16"/>
                      <a:pt x="1" y="16"/>
                    </a:cubicBezTo>
                    <a:cubicBezTo>
                      <a:pt x="0" y="16"/>
                      <a:pt x="0" y="16"/>
                      <a:pt x="0" y="15"/>
                    </a:cubicBezTo>
                    <a:cubicBezTo>
                      <a:pt x="0" y="13"/>
                      <a:pt x="0" y="13"/>
                      <a:pt x="0" y="13"/>
                    </a:cubicBezTo>
                    <a:cubicBezTo>
                      <a:pt x="0" y="13"/>
                      <a:pt x="1" y="12"/>
                      <a:pt x="2" y="12"/>
                    </a:cubicBezTo>
                    <a:cubicBezTo>
                      <a:pt x="4" y="12"/>
                      <a:pt x="4" y="12"/>
                      <a:pt x="4" y="12"/>
                    </a:cubicBezTo>
                    <a:cubicBezTo>
                      <a:pt x="5" y="12"/>
                      <a:pt x="5" y="11"/>
                      <a:pt x="6" y="10"/>
                    </a:cubicBezTo>
                    <a:cubicBezTo>
                      <a:pt x="4" y="10"/>
                      <a:pt x="4" y="10"/>
                      <a:pt x="4" y="10"/>
                    </a:cubicBezTo>
                    <a:cubicBezTo>
                      <a:pt x="3" y="9"/>
                      <a:pt x="3" y="9"/>
                      <a:pt x="4" y="8"/>
                    </a:cubicBezTo>
                    <a:cubicBezTo>
                      <a:pt x="6" y="6"/>
                      <a:pt x="6" y="6"/>
                      <a:pt x="6" y="6"/>
                    </a:cubicBezTo>
                    <a:cubicBezTo>
                      <a:pt x="6" y="6"/>
                      <a:pt x="7" y="6"/>
                      <a:pt x="8" y="6"/>
                    </a:cubicBezTo>
                    <a:cubicBezTo>
                      <a:pt x="10" y="7"/>
                      <a:pt x="10" y="7"/>
                      <a:pt x="10" y="7"/>
                    </a:cubicBezTo>
                    <a:cubicBezTo>
                      <a:pt x="11" y="6"/>
                      <a:pt x="12" y="6"/>
                      <a:pt x="13" y="5"/>
                    </a:cubicBezTo>
                    <a:cubicBezTo>
                      <a:pt x="12" y="4"/>
                      <a:pt x="12" y="4"/>
                      <a:pt x="12" y="4"/>
                    </a:cubicBezTo>
                    <a:cubicBezTo>
                      <a:pt x="11" y="4"/>
                      <a:pt x="12" y="3"/>
                      <a:pt x="13" y="3"/>
                    </a:cubicBezTo>
                    <a:cubicBezTo>
                      <a:pt x="16" y="2"/>
                      <a:pt x="16" y="2"/>
                      <a:pt x="16" y="2"/>
                    </a:cubicBezTo>
                    <a:cubicBezTo>
                      <a:pt x="17" y="1"/>
                      <a:pt x="18" y="2"/>
                      <a:pt x="18" y="2"/>
                    </a:cubicBezTo>
                    <a:cubicBezTo>
                      <a:pt x="19" y="3"/>
                      <a:pt x="19" y="3"/>
                      <a:pt x="19" y="3"/>
                    </a:cubicBezTo>
                    <a:cubicBezTo>
                      <a:pt x="20" y="3"/>
                      <a:pt x="22" y="3"/>
                      <a:pt x="23" y="2"/>
                    </a:cubicBezTo>
                    <a:cubicBezTo>
                      <a:pt x="23" y="1"/>
                      <a:pt x="23" y="1"/>
                      <a:pt x="23" y="1"/>
                    </a:cubicBezTo>
                    <a:cubicBezTo>
                      <a:pt x="23" y="1"/>
                      <a:pt x="24" y="0"/>
                      <a:pt x="24" y="0"/>
                    </a:cubicBezTo>
                    <a:cubicBezTo>
                      <a:pt x="28" y="0"/>
                      <a:pt x="28" y="0"/>
                      <a:pt x="28" y="0"/>
                    </a:cubicBezTo>
                    <a:cubicBezTo>
                      <a:pt x="29" y="0"/>
                      <a:pt x="30" y="1"/>
                      <a:pt x="30" y="1"/>
                    </a:cubicBezTo>
                    <a:cubicBezTo>
                      <a:pt x="30" y="2"/>
                      <a:pt x="30" y="2"/>
                      <a:pt x="30" y="2"/>
                    </a:cubicBezTo>
                    <a:cubicBezTo>
                      <a:pt x="31" y="2"/>
                      <a:pt x="32" y="3"/>
                      <a:pt x="33" y="3"/>
                    </a:cubicBezTo>
                    <a:cubicBezTo>
                      <a:pt x="34" y="2"/>
                      <a:pt x="34" y="2"/>
                      <a:pt x="34" y="2"/>
                    </a:cubicBezTo>
                    <a:cubicBezTo>
                      <a:pt x="35" y="1"/>
                      <a:pt x="36" y="1"/>
                      <a:pt x="36" y="1"/>
                    </a:cubicBezTo>
                    <a:cubicBezTo>
                      <a:pt x="40" y="2"/>
                      <a:pt x="40" y="2"/>
                      <a:pt x="40" y="2"/>
                    </a:cubicBezTo>
                    <a:cubicBezTo>
                      <a:pt x="41" y="3"/>
                      <a:pt x="41" y="3"/>
                      <a:pt x="41" y="4"/>
                    </a:cubicBezTo>
                    <a:cubicBezTo>
                      <a:pt x="40" y="5"/>
                      <a:pt x="40" y="5"/>
                      <a:pt x="40" y="5"/>
                    </a:cubicBezTo>
                    <a:cubicBezTo>
                      <a:pt x="41" y="5"/>
                      <a:pt x="42" y="6"/>
                      <a:pt x="42" y="6"/>
                    </a:cubicBezTo>
                    <a:cubicBezTo>
                      <a:pt x="44" y="6"/>
                      <a:pt x="44" y="6"/>
                      <a:pt x="44" y="6"/>
                    </a:cubicBezTo>
                    <a:cubicBezTo>
                      <a:pt x="45" y="5"/>
                      <a:pt x="46" y="5"/>
                      <a:pt x="46" y="6"/>
                    </a:cubicBezTo>
                    <a:cubicBezTo>
                      <a:pt x="49" y="8"/>
                      <a:pt x="49" y="8"/>
                      <a:pt x="49" y="8"/>
                    </a:cubicBezTo>
                    <a:cubicBezTo>
                      <a:pt x="49" y="8"/>
                      <a:pt x="49" y="9"/>
                      <a:pt x="48" y="9"/>
                    </a:cubicBezTo>
                    <a:cubicBezTo>
                      <a:pt x="46" y="10"/>
                      <a:pt x="46" y="10"/>
                      <a:pt x="46" y="10"/>
                    </a:cubicBezTo>
                    <a:cubicBezTo>
                      <a:pt x="47" y="10"/>
                      <a:pt x="47" y="11"/>
                      <a:pt x="48" y="12"/>
                    </a:cubicBezTo>
                    <a:cubicBezTo>
                      <a:pt x="50" y="12"/>
                      <a:pt x="50" y="12"/>
                      <a:pt x="50" y="12"/>
                    </a:cubicBezTo>
                    <a:cubicBezTo>
                      <a:pt x="51" y="12"/>
                      <a:pt x="52" y="12"/>
                      <a:pt x="52" y="13"/>
                    </a:cubicBezTo>
                    <a:close/>
                    <a:moveTo>
                      <a:pt x="38" y="18"/>
                    </a:moveTo>
                    <a:cubicBezTo>
                      <a:pt x="39" y="17"/>
                      <a:pt x="40" y="16"/>
                      <a:pt x="40" y="14"/>
                    </a:cubicBezTo>
                    <a:cubicBezTo>
                      <a:pt x="39" y="10"/>
                      <a:pt x="33" y="7"/>
                      <a:pt x="26" y="7"/>
                    </a:cubicBezTo>
                    <a:cubicBezTo>
                      <a:pt x="22" y="7"/>
                      <a:pt x="18" y="8"/>
                      <a:pt x="15" y="10"/>
                    </a:cubicBezTo>
                    <a:cubicBezTo>
                      <a:pt x="14" y="11"/>
                      <a:pt x="13" y="13"/>
                      <a:pt x="12" y="14"/>
                    </a:cubicBezTo>
                    <a:cubicBezTo>
                      <a:pt x="12" y="18"/>
                      <a:pt x="18" y="21"/>
                      <a:pt x="26" y="21"/>
                    </a:cubicBezTo>
                    <a:cubicBezTo>
                      <a:pt x="31" y="21"/>
                      <a:pt x="35"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2" name="iSḻîdé">
                <a:extLst>
                  <a:ext uri="{FF2B5EF4-FFF2-40B4-BE49-F238E27FC236}">
                    <a16:creationId xmlns:a16="http://schemas.microsoft.com/office/drawing/2014/main" id="{9429E0BA-FBC1-4557-9DEA-F9ABFC0297CB}"/>
                  </a:ext>
                </a:extLst>
              </p:cNvPr>
              <p:cNvSpPr/>
              <p:nvPr/>
            </p:nvSpPr>
            <p:spPr bwMode="auto">
              <a:xfrm>
                <a:off x="6416469" y="4318066"/>
                <a:ext cx="145018" cy="75783"/>
              </a:xfrm>
              <a:custGeom>
                <a:avLst/>
                <a:gdLst>
                  <a:gd name="T0" fmla="*/ 18 w 19"/>
                  <a:gd name="T1" fmla="*/ 8 h 10"/>
                  <a:gd name="T2" fmla="*/ 19 w 19"/>
                  <a:gd name="T3" fmla="*/ 5 h 10"/>
                  <a:gd name="T4" fmla="*/ 10 w 19"/>
                  <a:gd name="T5" fmla="*/ 0 h 10"/>
                  <a:gd name="T6" fmla="*/ 2 w 19"/>
                  <a:gd name="T7" fmla="*/ 2 h 10"/>
                  <a:gd name="T8" fmla="*/ 1 w 19"/>
                  <a:gd name="T9" fmla="*/ 5 h 10"/>
                  <a:gd name="T10" fmla="*/ 10 w 19"/>
                  <a:gd name="T11" fmla="*/ 10 h 10"/>
                  <a:gd name="T12" fmla="*/ 18 w 19"/>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8" y="8"/>
                    </a:moveTo>
                    <a:cubicBezTo>
                      <a:pt x="19" y="7"/>
                      <a:pt x="19" y="6"/>
                      <a:pt x="19" y="5"/>
                    </a:cubicBezTo>
                    <a:cubicBezTo>
                      <a:pt x="19" y="2"/>
                      <a:pt x="15" y="0"/>
                      <a:pt x="10" y="0"/>
                    </a:cubicBezTo>
                    <a:cubicBezTo>
                      <a:pt x="7" y="0"/>
                      <a:pt x="4" y="1"/>
                      <a:pt x="2" y="2"/>
                    </a:cubicBezTo>
                    <a:cubicBezTo>
                      <a:pt x="1" y="3"/>
                      <a:pt x="1" y="4"/>
                      <a:pt x="1" y="5"/>
                    </a:cubicBezTo>
                    <a:cubicBezTo>
                      <a:pt x="0" y="8"/>
                      <a:pt x="4" y="10"/>
                      <a:pt x="10" y="10"/>
                    </a:cubicBezTo>
                    <a:cubicBezTo>
                      <a:pt x="13" y="10"/>
                      <a:pt x="16"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grpSp>
          <p:nvGrpSpPr>
            <p:cNvPr id="175" name="组合 174">
              <a:extLst>
                <a:ext uri="{FF2B5EF4-FFF2-40B4-BE49-F238E27FC236}">
                  <a16:creationId xmlns:a16="http://schemas.microsoft.com/office/drawing/2014/main" id="{BE36F47A-DE9F-47D9-A279-57363315366D}"/>
                </a:ext>
              </a:extLst>
            </p:cNvPr>
            <p:cNvGrpSpPr/>
            <p:nvPr/>
          </p:nvGrpSpPr>
          <p:grpSpPr>
            <a:xfrm>
              <a:off x="492622" y="2987274"/>
              <a:ext cx="1414621" cy="2169647"/>
              <a:chOff x="5093539" y="2339281"/>
              <a:chExt cx="1414621" cy="2169647"/>
            </a:xfrm>
          </p:grpSpPr>
          <p:sp>
            <p:nvSpPr>
              <p:cNvPr id="176" name="íṥļiḓé">
                <a:extLst>
                  <a:ext uri="{FF2B5EF4-FFF2-40B4-BE49-F238E27FC236}">
                    <a16:creationId xmlns:a16="http://schemas.microsoft.com/office/drawing/2014/main" id="{F9B6ABA7-8D9B-4324-AC7C-53F05587950B}"/>
                  </a:ext>
                </a:extLst>
              </p:cNvPr>
              <p:cNvSpPr/>
              <p:nvPr/>
            </p:nvSpPr>
            <p:spPr bwMode="auto">
              <a:xfrm>
                <a:off x="6049718" y="3630404"/>
                <a:ext cx="458442" cy="733506"/>
              </a:xfrm>
              <a:custGeom>
                <a:avLst/>
                <a:gdLst>
                  <a:gd name="T0" fmla="*/ 0 w 60"/>
                  <a:gd name="T1" fmla="*/ 96 h 96"/>
                  <a:gd name="T2" fmla="*/ 33 w 60"/>
                  <a:gd name="T3" fmla="*/ 81 h 96"/>
                  <a:gd name="T4" fmla="*/ 59 w 60"/>
                  <a:gd name="T5" fmla="*/ 55 h 96"/>
                  <a:gd name="T6" fmla="*/ 54 w 60"/>
                  <a:gd name="T7" fmla="*/ 2 h 96"/>
                  <a:gd name="T8" fmla="*/ 23 w 60"/>
                  <a:gd name="T9" fmla="*/ 0 h 96"/>
                  <a:gd name="T10" fmla="*/ 33 w 60"/>
                  <a:gd name="T11" fmla="*/ 42 h 96"/>
                  <a:gd name="T12" fmla="*/ 3 w 60"/>
                  <a:gd name="T13" fmla="*/ 68 h 96"/>
                  <a:gd name="T14" fmla="*/ 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0" y="96"/>
                    </a:moveTo>
                    <a:cubicBezTo>
                      <a:pt x="0" y="96"/>
                      <a:pt x="30" y="83"/>
                      <a:pt x="33" y="81"/>
                    </a:cubicBezTo>
                    <a:cubicBezTo>
                      <a:pt x="47" y="77"/>
                      <a:pt x="60" y="67"/>
                      <a:pt x="59" y="55"/>
                    </a:cubicBezTo>
                    <a:cubicBezTo>
                      <a:pt x="57" y="20"/>
                      <a:pt x="54" y="2"/>
                      <a:pt x="54" y="2"/>
                    </a:cubicBezTo>
                    <a:cubicBezTo>
                      <a:pt x="23" y="0"/>
                      <a:pt x="23" y="0"/>
                      <a:pt x="23" y="0"/>
                    </a:cubicBezTo>
                    <a:cubicBezTo>
                      <a:pt x="23" y="0"/>
                      <a:pt x="20" y="13"/>
                      <a:pt x="33" y="42"/>
                    </a:cubicBezTo>
                    <a:cubicBezTo>
                      <a:pt x="40" y="58"/>
                      <a:pt x="3" y="68"/>
                      <a:pt x="3" y="68"/>
                    </a:cubicBezTo>
                    <a:lnTo>
                      <a:pt x="0" y="96"/>
                    </a:lnTo>
                    <a:close/>
                  </a:path>
                </a:pathLst>
              </a:cu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nvGrpSpPr>
              <p:cNvPr id="177" name="组合 176">
                <a:extLst>
                  <a:ext uri="{FF2B5EF4-FFF2-40B4-BE49-F238E27FC236}">
                    <a16:creationId xmlns:a16="http://schemas.microsoft.com/office/drawing/2014/main" id="{7C00999C-6798-40D4-864E-394CEF153DD5}"/>
                  </a:ext>
                </a:extLst>
              </p:cNvPr>
              <p:cNvGrpSpPr/>
              <p:nvPr/>
            </p:nvGrpSpPr>
            <p:grpSpPr>
              <a:xfrm>
                <a:off x="5093539" y="2339281"/>
                <a:ext cx="1368778" cy="2169647"/>
                <a:chOff x="5093539" y="2339281"/>
                <a:chExt cx="1368778" cy="2169647"/>
              </a:xfrm>
            </p:grpSpPr>
            <p:sp>
              <p:nvSpPr>
                <p:cNvPr id="178" name="is1idè">
                  <a:extLst>
                    <a:ext uri="{FF2B5EF4-FFF2-40B4-BE49-F238E27FC236}">
                      <a16:creationId xmlns:a16="http://schemas.microsoft.com/office/drawing/2014/main" id="{3DB0EC4F-3EDF-454A-971F-94D52DDA8417}"/>
                    </a:ext>
                  </a:extLst>
                </p:cNvPr>
                <p:cNvSpPr/>
                <p:nvPr/>
              </p:nvSpPr>
              <p:spPr bwMode="auto">
                <a:xfrm>
                  <a:off x="5476195" y="2996069"/>
                  <a:ext cx="626849" cy="481832"/>
                </a:xfrm>
                <a:custGeom>
                  <a:avLst/>
                  <a:gdLst>
                    <a:gd name="T0" fmla="*/ 82 w 82"/>
                    <a:gd name="T1" fmla="*/ 27 h 63"/>
                    <a:gd name="T2" fmla="*/ 56 w 82"/>
                    <a:gd name="T3" fmla="*/ 8 h 63"/>
                    <a:gd name="T4" fmla="*/ 41 w 82"/>
                    <a:gd name="T5" fmla="*/ 5 h 63"/>
                    <a:gd name="T6" fmla="*/ 41 w 82"/>
                    <a:gd name="T7" fmla="*/ 5 h 63"/>
                    <a:gd name="T8" fmla="*/ 27 w 82"/>
                    <a:gd name="T9" fmla="*/ 8 h 63"/>
                    <a:gd name="T10" fmla="*/ 0 w 82"/>
                    <a:gd name="T11" fmla="*/ 27 h 63"/>
                    <a:gd name="T12" fmla="*/ 41 w 82"/>
                    <a:gd name="T13" fmla="*/ 63 h 63"/>
                    <a:gd name="T14" fmla="*/ 41 w 82"/>
                    <a:gd name="T15" fmla="*/ 63 h 63"/>
                    <a:gd name="T16" fmla="*/ 42 w 82"/>
                    <a:gd name="T17" fmla="*/ 63 h 63"/>
                    <a:gd name="T18" fmla="*/ 42 w 82"/>
                    <a:gd name="T19" fmla="*/ 63 h 63"/>
                    <a:gd name="T20" fmla="*/ 42 w 82"/>
                    <a:gd name="T21" fmla="*/ 63 h 63"/>
                    <a:gd name="T22" fmla="*/ 82 w 82"/>
                    <a:gd name="T23"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63">
                      <a:moveTo>
                        <a:pt x="82" y="27"/>
                      </a:moveTo>
                      <a:cubicBezTo>
                        <a:pt x="82" y="27"/>
                        <a:pt x="57" y="16"/>
                        <a:pt x="56" y="8"/>
                      </a:cubicBezTo>
                      <a:cubicBezTo>
                        <a:pt x="54" y="0"/>
                        <a:pt x="41" y="5"/>
                        <a:pt x="41" y="5"/>
                      </a:cubicBezTo>
                      <a:cubicBezTo>
                        <a:pt x="41" y="5"/>
                        <a:pt x="41" y="5"/>
                        <a:pt x="41" y="5"/>
                      </a:cubicBezTo>
                      <a:cubicBezTo>
                        <a:pt x="41" y="5"/>
                        <a:pt x="28" y="0"/>
                        <a:pt x="27" y="8"/>
                      </a:cubicBezTo>
                      <a:cubicBezTo>
                        <a:pt x="25" y="16"/>
                        <a:pt x="0" y="27"/>
                        <a:pt x="0" y="27"/>
                      </a:cubicBezTo>
                      <a:cubicBezTo>
                        <a:pt x="5" y="34"/>
                        <a:pt x="39" y="63"/>
                        <a:pt x="41" y="63"/>
                      </a:cubicBezTo>
                      <a:cubicBezTo>
                        <a:pt x="41" y="63"/>
                        <a:pt x="41" y="63"/>
                        <a:pt x="41" y="63"/>
                      </a:cubicBezTo>
                      <a:cubicBezTo>
                        <a:pt x="42" y="63"/>
                        <a:pt x="42" y="63"/>
                        <a:pt x="42" y="63"/>
                      </a:cubicBezTo>
                      <a:cubicBezTo>
                        <a:pt x="42" y="63"/>
                        <a:pt x="42" y="63"/>
                        <a:pt x="42" y="63"/>
                      </a:cubicBezTo>
                      <a:cubicBezTo>
                        <a:pt x="42" y="63"/>
                        <a:pt x="42" y="63"/>
                        <a:pt x="42" y="63"/>
                      </a:cubicBezTo>
                      <a:cubicBezTo>
                        <a:pt x="45" y="63"/>
                        <a:pt x="77" y="34"/>
                        <a:pt x="82" y="27"/>
                      </a:cubicBezTo>
                      <a:close/>
                    </a:path>
                  </a:pathLst>
                </a:cu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79" name="iSľïdè">
                  <a:extLst>
                    <a:ext uri="{FF2B5EF4-FFF2-40B4-BE49-F238E27FC236}">
                      <a16:creationId xmlns:a16="http://schemas.microsoft.com/office/drawing/2014/main" id="{AFDF0D04-11D0-4527-9EF4-7D4B00EB35C6}"/>
                    </a:ext>
                  </a:extLst>
                </p:cNvPr>
                <p:cNvSpPr/>
                <p:nvPr/>
              </p:nvSpPr>
              <p:spPr bwMode="auto">
                <a:xfrm>
                  <a:off x="5116927" y="3186930"/>
                  <a:ext cx="1345386" cy="641818"/>
                </a:xfrm>
                <a:custGeom>
                  <a:avLst/>
                  <a:gdLst>
                    <a:gd name="T0" fmla="*/ 176 w 176"/>
                    <a:gd name="T1" fmla="*/ 72 h 84"/>
                    <a:gd name="T2" fmla="*/ 176 w 176"/>
                    <a:gd name="T3" fmla="*/ 69 h 84"/>
                    <a:gd name="T4" fmla="*/ 161 w 176"/>
                    <a:gd name="T5" fmla="*/ 21 h 84"/>
                    <a:gd name="T6" fmla="*/ 128 w 176"/>
                    <a:gd name="T7" fmla="*/ 0 h 84"/>
                    <a:gd name="T8" fmla="*/ 88 w 176"/>
                    <a:gd name="T9" fmla="*/ 21 h 84"/>
                    <a:gd name="T10" fmla="*/ 48 w 176"/>
                    <a:gd name="T11" fmla="*/ 0 h 84"/>
                    <a:gd name="T12" fmla="*/ 15 w 176"/>
                    <a:gd name="T13" fmla="*/ 21 h 84"/>
                    <a:gd name="T14" fmla="*/ 0 w 176"/>
                    <a:gd name="T15" fmla="*/ 69 h 84"/>
                    <a:gd name="T16" fmla="*/ 0 w 176"/>
                    <a:gd name="T17" fmla="*/ 72 h 84"/>
                    <a:gd name="T18" fmla="*/ 30 w 176"/>
                    <a:gd name="T19" fmla="*/ 72 h 84"/>
                    <a:gd name="T20" fmla="*/ 29 w 176"/>
                    <a:gd name="T21" fmla="*/ 71 h 84"/>
                    <a:gd name="T22" fmla="*/ 31 w 176"/>
                    <a:gd name="T23" fmla="*/ 83 h 84"/>
                    <a:gd name="T24" fmla="*/ 145 w 176"/>
                    <a:gd name="T25" fmla="*/ 84 h 84"/>
                    <a:gd name="T26" fmla="*/ 148 w 176"/>
                    <a:gd name="T27" fmla="*/ 72 h 84"/>
                    <a:gd name="T28" fmla="*/ 176 w 176"/>
                    <a:gd name="T29"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84">
                      <a:moveTo>
                        <a:pt x="176" y="72"/>
                      </a:moveTo>
                      <a:cubicBezTo>
                        <a:pt x="176" y="71"/>
                        <a:pt x="176" y="70"/>
                        <a:pt x="176" y="69"/>
                      </a:cubicBezTo>
                      <a:cubicBezTo>
                        <a:pt x="173" y="39"/>
                        <a:pt x="172" y="34"/>
                        <a:pt x="161" y="21"/>
                      </a:cubicBezTo>
                      <a:cubicBezTo>
                        <a:pt x="150" y="8"/>
                        <a:pt x="128" y="0"/>
                        <a:pt x="128" y="0"/>
                      </a:cubicBezTo>
                      <a:cubicBezTo>
                        <a:pt x="128" y="0"/>
                        <a:pt x="117" y="21"/>
                        <a:pt x="88" y="21"/>
                      </a:cubicBezTo>
                      <a:cubicBezTo>
                        <a:pt x="59" y="21"/>
                        <a:pt x="48" y="0"/>
                        <a:pt x="48" y="0"/>
                      </a:cubicBezTo>
                      <a:cubicBezTo>
                        <a:pt x="48" y="0"/>
                        <a:pt x="26" y="8"/>
                        <a:pt x="15" y="21"/>
                      </a:cubicBezTo>
                      <a:cubicBezTo>
                        <a:pt x="4" y="34"/>
                        <a:pt x="3" y="39"/>
                        <a:pt x="0" y="69"/>
                      </a:cubicBezTo>
                      <a:cubicBezTo>
                        <a:pt x="0" y="70"/>
                        <a:pt x="0" y="71"/>
                        <a:pt x="0" y="72"/>
                      </a:cubicBezTo>
                      <a:cubicBezTo>
                        <a:pt x="30" y="72"/>
                        <a:pt x="30" y="72"/>
                        <a:pt x="30" y="72"/>
                      </a:cubicBezTo>
                      <a:cubicBezTo>
                        <a:pt x="29" y="71"/>
                        <a:pt x="29" y="71"/>
                        <a:pt x="29" y="71"/>
                      </a:cubicBezTo>
                      <a:cubicBezTo>
                        <a:pt x="31" y="83"/>
                        <a:pt x="31" y="83"/>
                        <a:pt x="31" y="83"/>
                      </a:cubicBezTo>
                      <a:cubicBezTo>
                        <a:pt x="145" y="84"/>
                        <a:pt x="145" y="84"/>
                        <a:pt x="145" y="84"/>
                      </a:cubicBezTo>
                      <a:cubicBezTo>
                        <a:pt x="148" y="72"/>
                        <a:pt x="148" y="72"/>
                        <a:pt x="148" y="72"/>
                      </a:cubicBezTo>
                      <a:lnTo>
                        <a:pt x="176" y="72"/>
                      </a:lnTo>
                      <a:close/>
                    </a:path>
                  </a:pathLst>
                </a:custGeom>
                <a:solidFill>
                  <a:srgbClr val="EC9C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0" name="íṩ1îḓé">
                  <a:extLst>
                    <a:ext uri="{FF2B5EF4-FFF2-40B4-BE49-F238E27FC236}">
                      <a16:creationId xmlns:a16="http://schemas.microsoft.com/office/drawing/2014/main" id="{DA6DD9AE-27E0-402E-B379-8B4B91894024}"/>
                    </a:ext>
                  </a:extLst>
                </p:cNvPr>
                <p:cNvSpPr/>
                <p:nvPr/>
              </p:nvSpPr>
              <p:spPr bwMode="auto">
                <a:xfrm>
                  <a:off x="5797104" y="3186930"/>
                  <a:ext cx="665208" cy="641818"/>
                </a:xfrm>
                <a:custGeom>
                  <a:avLst/>
                  <a:gdLst>
                    <a:gd name="T0" fmla="*/ 87 w 87"/>
                    <a:gd name="T1" fmla="*/ 69 h 84"/>
                    <a:gd name="T2" fmla="*/ 72 w 87"/>
                    <a:gd name="T3" fmla="*/ 21 h 84"/>
                    <a:gd name="T4" fmla="*/ 39 w 87"/>
                    <a:gd name="T5" fmla="*/ 0 h 84"/>
                    <a:gd name="T6" fmla="*/ 0 w 87"/>
                    <a:gd name="T7" fmla="*/ 21 h 84"/>
                    <a:gd name="T8" fmla="*/ 0 w 87"/>
                    <a:gd name="T9" fmla="*/ 83 h 84"/>
                    <a:gd name="T10" fmla="*/ 56 w 87"/>
                    <a:gd name="T11" fmla="*/ 84 h 84"/>
                    <a:gd name="T12" fmla="*/ 59 w 87"/>
                    <a:gd name="T13" fmla="*/ 72 h 84"/>
                    <a:gd name="T14" fmla="*/ 87 w 87"/>
                    <a:gd name="T15" fmla="*/ 72 h 84"/>
                    <a:gd name="T16" fmla="*/ 87 w 87"/>
                    <a:gd name="T17"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4">
                      <a:moveTo>
                        <a:pt x="87" y="69"/>
                      </a:moveTo>
                      <a:cubicBezTo>
                        <a:pt x="84" y="39"/>
                        <a:pt x="83" y="34"/>
                        <a:pt x="72" y="21"/>
                      </a:cubicBezTo>
                      <a:cubicBezTo>
                        <a:pt x="61" y="8"/>
                        <a:pt x="39" y="0"/>
                        <a:pt x="39" y="0"/>
                      </a:cubicBezTo>
                      <a:cubicBezTo>
                        <a:pt x="39" y="0"/>
                        <a:pt x="28" y="21"/>
                        <a:pt x="0" y="21"/>
                      </a:cubicBezTo>
                      <a:cubicBezTo>
                        <a:pt x="0" y="83"/>
                        <a:pt x="0" y="83"/>
                        <a:pt x="0" y="83"/>
                      </a:cubicBezTo>
                      <a:cubicBezTo>
                        <a:pt x="56" y="84"/>
                        <a:pt x="56" y="84"/>
                        <a:pt x="56" y="84"/>
                      </a:cubicBezTo>
                      <a:cubicBezTo>
                        <a:pt x="59" y="72"/>
                        <a:pt x="59" y="72"/>
                        <a:pt x="59" y="72"/>
                      </a:cubicBezTo>
                      <a:cubicBezTo>
                        <a:pt x="87" y="72"/>
                        <a:pt x="87" y="72"/>
                        <a:pt x="87" y="72"/>
                      </a:cubicBezTo>
                      <a:cubicBezTo>
                        <a:pt x="87" y="71"/>
                        <a:pt x="87" y="70"/>
                        <a:pt x="87" y="69"/>
                      </a:cubicBezTo>
                      <a:close/>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1" name="îṧ1ïďé">
                  <a:extLst>
                    <a:ext uri="{FF2B5EF4-FFF2-40B4-BE49-F238E27FC236}">
                      <a16:creationId xmlns:a16="http://schemas.microsoft.com/office/drawing/2014/main" id="{7017FE19-5BCD-4671-83C7-3218B0D3A38E}"/>
                    </a:ext>
                  </a:extLst>
                </p:cNvPr>
                <p:cNvSpPr/>
                <p:nvPr/>
              </p:nvSpPr>
              <p:spPr bwMode="auto">
                <a:xfrm>
                  <a:off x="5705416" y="3072787"/>
                  <a:ext cx="245126" cy="114143"/>
                </a:xfrm>
                <a:custGeom>
                  <a:avLst/>
                  <a:gdLst>
                    <a:gd name="T0" fmla="*/ 32 w 32"/>
                    <a:gd name="T1" fmla="*/ 8 h 15"/>
                    <a:gd name="T2" fmla="*/ 27 w 32"/>
                    <a:gd name="T3" fmla="*/ 2 h 15"/>
                    <a:gd name="T4" fmla="*/ 0 w 32"/>
                    <a:gd name="T5" fmla="*/ 6 h 15"/>
                    <a:gd name="T6" fmla="*/ 14 w 32"/>
                    <a:gd name="T7" fmla="*/ 14 h 15"/>
                    <a:gd name="T8" fmla="*/ 32 w 32"/>
                    <a:gd name="T9" fmla="*/ 8 h 15"/>
                  </a:gdLst>
                  <a:ahLst/>
                  <a:cxnLst>
                    <a:cxn ang="0">
                      <a:pos x="T0" y="T1"/>
                    </a:cxn>
                    <a:cxn ang="0">
                      <a:pos x="T2" y="T3"/>
                    </a:cxn>
                    <a:cxn ang="0">
                      <a:pos x="T4" y="T5"/>
                    </a:cxn>
                    <a:cxn ang="0">
                      <a:pos x="T6" y="T7"/>
                    </a:cxn>
                    <a:cxn ang="0">
                      <a:pos x="T8" y="T9"/>
                    </a:cxn>
                  </a:cxnLst>
                  <a:rect l="0" t="0" r="r" b="b"/>
                  <a:pathLst>
                    <a:path w="32" h="15">
                      <a:moveTo>
                        <a:pt x="32" y="8"/>
                      </a:moveTo>
                      <a:cubicBezTo>
                        <a:pt x="32" y="8"/>
                        <a:pt x="29" y="5"/>
                        <a:pt x="27" y="2"/>
                      </a:cubicBezTo>
                      <a:cubicBezTo>
                        <a:pt x="26" y="0"/>
                        <a:pt x="0" y="6"/>
                        <a:pt x="0" y="6"/>
                      </a:cubicBezTo>
                      <a:cubicBezTo>
                        <a:pt x="0" y="6"/>
                        <a:pt x="8" y="15"/>
                        <a:pt x="14" y="14"/>
                      </a:cubicBezTo>
                      <a:cubicBezTo>
                        <a:pt x="27" y="12"/>
                        <a:pt x="32" y="8"/>
                        <a:pt x="32" y="8"/>
                      </a:cubicBezTo>
                      <a:close/>
                    </a:path>
                  </a:pathLst>
                </a:custGeom>
                <a:solidFill>
                  <a:srgbClr val="CF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2" name="îŝ1îḓè">
                  <a:extLst>
                    <a:ext uri="{FF2B5EF4-FFF2-40B4-BE49-F238E27FC236}">
                      <a16:creationId xmlns:a16="http://schemas.microsoft.com/office/drawing/2014/main" id="{B1268B7F-392E-4394-BB7B-5EEE92A4962A}"/>
                    </a:ext>
                  </a:extLst>
                </p:cNvPr>
                <p:cNvSpPr/>
                <p:nvPr/>
              </p:nvSpPr>
              <p:spPr bwMode="auto">
                <a:xfrm>
                  <a:off x="5774650" y="3806294"/>
                  <a:ext cx="473411" cy="442537"/>
                </a:xfrm>
                <a:custGeom>
                  <a:avLst/>
                  <a:gdLst>
                    <a:gd name="T0" fmla="*/ 474 w 506"/>
                    <a:gd name="T1" fmla="*/ 473 h 473"/>
                    <a:gd name="T2" fmla="*/ 506 w 506"/>
                    <a:gd name="T3" fmla="*/ 0 h 473"/>
                    <a:gd name="T4" fmla="*/ 8 w 506"/>
                    <a:gd name="T5" fmla="*/ 0 h 473"/>
                    <a:gd name="T6" fmla="*/ 0 w 506"/>
                    <a:gd name="T7" fmla="*/ 473 h 473"/>
                    <a:gd name="T8" fmla="*/ 474 w 506"/>
                    <a:gd name="T9" fmla="*/ 473 h 473"/>
                  </a:gdLst>
                  <a:ahLst/>
                  <a:cxnLst>
                    <a:cxn ang="0">
                      <a:pos x="T0" y="T1"/>
                    </a:cxn>
                    <a:cxn ang="0">
                      <a:pos x="T2" y="T3"/>
                    </a:cxn>
                    <a:cxn ang="0">
                      <a:pos x="T4" y="T5"/>
                    </a:cxn>
                    <a:cxn ang="0">
                      <a:pos x="T6" y="T7"/>
                    </a:cxn>
                    <a:cxn ang="0">
                      <a:pos x="T8" y="T9"/>
                    </a:cxn>
                  </a:cxnLst>
                  <a:rect l="0" t="0" r="r" b="b"/>
                  <a:pathLst>
                    <a:path w="506" h="473">
                      <a:moveTo>
                        <a:pt x="474" y="473"/>
                      </a:moveTo>
                      <a:lnTo>
                        <a:pt x="506" y="0"/>
                      </a:lnTo>
                      <a:lnTo>
                        <a:pt x="8" y="0"/>
                      </a:lnTo>
                      <a:lnTo>
                        <a:pt x="0" y="473"/>
                      </a:lnTo>
                      <a:lnTo>
                        <a:pt x="474" y="473"/>
                      </a:lnTo>
                      <a:close/>
                    </a:path>
                  </a:pathLst>
                </a:custGeom>
                <a:solidFill>
                  <a:srgbClr val="245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3" name="íṧḻîde">
                  <a:extLst>
                    <a:ext uri="{FF2B5EF4-FFF2-40B4-BE49-F238E27FC236}">
                      <a16:creationId xmlns:a16="http://schemas.microsoft.com/office/drawing/2014/main" id="{AE7DA9DA-CB20-4E18-98BF-03873796C9BC}"/>
                    </a:ext>
                  </a:extLst>
                </p:cNvPr>
                <p:cNvSpPr/>
                <p:nvPr/>
              </p:nvSpPr>
              <p:spPr bwMode="auto">
                <a:xfrm>
                  <a:off x="5338663" y="3806294"/>
                  <a:ext cx="458442" cy="442537"/>
                </a:xfrm>
                <a:custGeom>
                  <a:avLst/>
                  <a:gdLst>
                    <a:gd name="T0" fmla="*/ 490 w 490"/>
                    <a:gd name="T1" fmla="*/ 473 h 473"/>
                    <a:gd name="T2" fmla="*/ 490 w 490"/>
                    <a:gd name="T3" fmla="*/ 0 h 473"/>
                    <a:gd name="T4" fmla="*/ 0 w 490"/>
                    <a:gd name="T5" fmla="*/ 0 h 473"/>
                    <a:gd name="T6" fmla="*/ 24 w 490"/>
                    <a:gd name="T7" fmla="*/ 473 h 473"/>
                    <a:gd name="T8" fmla="*/ 490 w 490"/>
                    <a:gd name="T9" fmla="*/ 473 h 473"/>
                  </a:gdLst>
                  <a:ahLst/>
                  <a:cxnLst>
                    <a:cxn ang="0">
                      <a:pos x="T0" y="T1"/>
                    </a:cxn>
                    <a:cxn ang="0">
                      <a:pos x="T2" y="T3"/>
                    </a:cxn>
                    <a:cxn ang="0">
                      <a:pos x="T4" y="T5"/>
                    </a:cxn>
                    <a:cxn ang="0">
                      <a:pos x="T6" y="T7"/>
                    </a:cxn>
                    <a:cxn ang="0">
                      <a:pos x="T8" y="T9"/>
                    </a:cxn>
                  </a:cxnLst>
                  <a:rect l="0" t="0" r="r" b="b"/>
                  <a:pathLst>
                    <a:path w="490" h="473">
                      <a:moveTo>
                        <a:pt x="490" y="473"/>
                      </a:moveTo>
                      <a:lnTo>
                        <a:pt x="490" y="0"/>
                      </a:lnTo>
                      <a:lnTo>
                        <a:pt x="0" y="0"/>
                      </a:lnTo>
                      <a:lnTo>
                        <a:pt x="24" y="473"/>
                      </a:lnTo>
                      <a:lnTo>
                        <a:pt x="490" y="473"/>
                      </a:lnTo>
                      <a:close/>
                    </a:path>
                  </a:pathLst>
                </a:custGeom>
                <a:solidFill>
                  <a:srgbClr val="295A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4" name="iṧľîḋê">
                  <a:extLst>
                    <a:ext uri="{FF2B5EF4-FFF2-40B4-BE49-F238E27FC236}">
                      <a16:creationId xmlns:a16="http://schemas.microsoft.com/office/drawing/2014/main" id="{B6932E0B-E4A9-4CBD-94B9-D2FF78EDDF5C}"/>
                    </a:ext>
                  </a:extLst>
                </p:cNvPr>
                <p:cNvSpPr/>
                <p:nvPr/>
              </p:nvSpPr>
              <p:spPr bwMode="auto">
                <a:xfrm>
                  <a:off x="5507070" y="2683580"/>
                  <a:ext cx="282550" cy="480896"/>
                </a:xfrm>
                <a:custGeom>
                  <a:avLst/>
                  <a:gdLst>
                    <a:gd name="T0" fmla="*/ 37 w 37"/>
                    <a:gd name="T1" fmla="*/ 63 h 63"/>
                    <a:gd name="T2" fmla="*/ 7 w 37"/>
                    <a:gd name="T3" fmla="*/ 39 h 63"/>
                    <a:gd name="T4" fmla="*/ 3 w 37"/>
                    <a:gd name="T5" fmla="*/ 0 h 63"/>
                    <a:gd name="T6" fmla="*/ 37 w 37"/>
                    <a:gd name="T7" fmla="*/ 0 h 63"/>
                    <a:gd name="T8" fmla="*/ 37 w 37"/>
                    <a:gd name="T9" fmla="*/ 63 h 63"/>
                  </a:gdLst>
                  <a:ahLst/>
                  <a:cxnLst>
                    <a:cxn ang="0">
                      <a:pos x="T0" y="T1"/>
                    </a:cxn>
                    <a:cxn ang="0">
                      <a:pos x="T2" y="T3"/>
                    </a:cxn>
                    <a:cxn ang="0">
                      <a:pos x="T4" y="T5"/>
                    </a:cxn>
                    <a:cxn ang="0">
                      <a:pos x="T6" y="T7"/>
                    </a:cxn>
                    <a:cxn ang="0">
                      <a:pos x="T8" y="T9"/>
                    </a:cxn>
                  </a:cxnLst>
                  <a:rect l="0" t="0" r="r" b="b"/>
                  <a:pathLst>
                    <a:path w="37" h="63">
                      <a:moveTo>
                        <a:pt x="37" y="63"/>
                      </a:moveTo>
                      <a:cubicBezTo>
                        <a:pt x="37" y="63"/>
                        <a:pt x="14" y="58"/>
                        <a:pt x="7" y="39"/>
                      </a:cubicBezTo>
                      <a:cubicBezTo>
                        <a:pt x="0" y="21"/>
                        <a:pt x="3" y="0"/>
                        <a:pt x="3" y="0"/>
                      </a:cubicBezTo>
                      <a:cubicBezTo>
                        <a:pt x="37" y="0"/>
                        <a:pt x="37" y="0"/>
                        <a:pt x="37" y="0"/>
                      </a:cubicBezTo>
                      <a:lnTo>
                        <a:pt x="37" y="63"/>
                      </a:lnTo>
                      <a:close/>
                    </a:path>
                  </a:pathLst>
                </a:custGeom>
                <a:solidFill>
                  <a:srgbClr val="E6D5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5" name="íṩḷíḍe">
                  <a:extLst>
                    <a:ext uri="{FF2B5EF4-FFF2-40B4-BE49-F238E27FC236}">
                      <a16:creationId xmlns:a16="http://schemas.microsoft.com/office/drawing/2014/main" id="{FF58E199-9410-44E3-AE06-FD9CC70EF148}"/>
                    </a:ext>
                  </a:extLst>
                </p:cNvPr>
                <p:cNvSpPr/>
                <p:nvPr/>
              </p:nvSpPr>
              <p:spPr bwMode="auto">
                <a:xfrm>
                  <a:off x="5789620" y="2683580"/>
                  <a:ext cx="282550" cy="480896"/>
                </a:xfrm>
                <a:custGeom>
                  <a:avLst/>
                  <a:gdLst>
                    <a:gd name="T0" fmla="*/ 0 w 37"/>
                    <a:gd name="T1" fmla="*/ 63 h 63"/>
                    <a:gd name="T2" fmla="*/ 31 w 37"/>
                    <a:gd name="T3" fmla="*/ 39 h 63"/>
                    <a:gd name="T4" fmla="*/ 34 w 37"/>
                    <a:gd name="T5" fmla="*/ 0 h 63"/>
                    <a:gd name="T6" fmla="*/ 0 w 37"/>
                    <a:gd name="T7" fmla="*/ 0 h 63"/>
                    <a:gd name="T8" fmla="*/ 0 w 37"/>
                    <a:gd name="T9" fmla="*/ 63 h 63"/>
                  </a:gdLst>
                  <a:ahLst/>
                  <a:cxnLst>
                    <a:cxn ang="0">
                      <a:pos x="T0" y="T1"/>
                    </a:cxn>
                    <a:cxn ang="0">
                      <a:pos x="T2" y="T3"/>
                    </a:cxn>
                    <a:cxn ang="0">
                      <a:pos x="T4" y="T5"/>
                    </a:cxn>
                    <a:cxn ang="0">
                      <a:pos x="T6" y="T7"/>
                    </a:cxn>
                    <a:cxn ang="0">
                      <a:pos x="T8" y="T9"/>
                    </a:cxn>
                  </a:cxnLst>
                  <a:rect l="0" t="0" r="r" b="b"/>
                  <a:pathLst>
                    <a:path w="37" h="63">
                      <a:moveTo>
                        <a:pt x="0" y="63"/>
                      </a:moveTo>
                      <a:cubicBezTo>
                        <a:pt x="0" y="63"/>
                        <a:pt x="24" y="58"/>
                        <a:pt x="31" y="39"/>
                      </a:cubicBezTo>
                      <a:cubicBezTo>
                        <a:pt x="37" y="21"/>
                        <a:pt x="34" y="0"/>
                        <a:pt x="34" y="0"/>
                      </a:cubicBezTo>
                      <a:cubicBezTo>
                        <a:pt x="0" y="0"/>
                        <a:pt x="0" y="0"/>
                        <a:pt x="0" y="0"/>
                      </a:cubicBezTo>
                      <a:lnTo>
                        <a:pt x="0" y="63"/>
                      </a:lnTo>
                      <a:close/>
                    </a:path>
                  </a:pathLst>
                </a:cu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6" name="ïṥľîḍè">
                  <a:extLst>
                    <a:ext uri="{FF2B5EF4-FFF2-40B4-BE49-F238E27FC236}">
                      <a16:creationId xmlns:a16="http://schemas.microsoft.com/office/drawing/2014/main" id="{61139B4A-6F74-4675-8AA1-3460AF47B6F5}"/>
                    </a:ext>
                  </a:extLst>
                </p:cNvPr>
                <p:cNvSpPr/>
                <p:nvPr/>
              </p:nvSpPr>
              <p:spPr bwMode="auto">
                <a:xfrm>
                  <a:off x="5452805" y="2339281"/>
                  <a:ext cx="681113" cy="397628"/>
                </a:xfrm>
                <a:custGeom>
                  <a:avLst/>
                  <a:gdLst>
                    <a:gd name="T0" fmla="*/ 87 w 89"/>
                    <a:gd name="T1" fmla="*/ 41 h 52"/>
                    <a:gd name="T2" fmla="*/ 62 w 89"/>
                    <a:gd name="T3" fmla="*/ 4 h 52"/>
                    <a:gd name="T4" fmla="*/ 62 w 89"/>
                    <a:gd name="T5" fmla="*/ 3 h 52"/>
                    <a:gd name="T6" fmla="*/ 45 w 89"/>
                    <a:gd name="T7" fmla="*/ 0 h 52"/>
                    <a:gd name="T8" fmla="*/ 27 w 89"/>
                    <a:gd name="T9" fmla="*/ 3 h 52"/>
                    <a:gd name="T10" fmla="*/ 27 w 89"/>
                    <a:gd name="T11" fmla="*/ 4 h 52"/>
                    <a:gd name="T12" fmla="*/ 2 w 89"/>
                    <a:gd name="T13" fmla="*/ 41 h 52"/>
                    <a:gd name="T14" fmla="*/ 0 w 89"/>
                    <a:gd name="T15" fmla="*/ 41 h 52"/>
                    <a:gd name="T16" fmla="*/ 0 w 89"/>
                    <a:gd name="T17" fmla="*/ 52 h 52"/>
                    <a:gd name="T18" fmla="*/ 89 w 89"/>
                    <a:gd name="T19" fmla="*/ 52 h 52"/>
                    <a:gd name="T20" fmla="*/ 89 w 89"/>
                    <a:gd name="T21" fmla="*/ 41 h 52"/>
                    <a:gd name="T22" fmla="*/ 87 w 89"/>
                    <a:gd name="T23"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52">
                      <a:moveTo>
                        <a:pt x="87" y="41"/>
                      </a:moveTo>
                      <a:cubicBezTo>
                        <a:pt x="86" y="34"/>
                        <a:pt x="81" y="12"/>
                        <a:pt x="62" y="4"/>
                      </a:cubicBezTo>
                      <a:cubicBezTo>
                        <a:pt x="62" y="3"/>
                        <a:pt x="62" y="3"/>
                        <a:pt x="62" y="3"/>
                      </a:cubicBezTo>
                      <a:cubicBezTo>
                        <a:pt x="52" y="0"/>
                        <a:pt x="45" y="0"/>
                        <a:pt x="45" y="0"/>
                      </a:cubicBezTo>
                      <a:cubicBezTo>
                        <a:pt x="44" y="0"/>
                        <a:pt x="37" y="0"/>
                        <a:pt x="27" y="3"/>
                      </a:cubicBezTo>
                      <a:cubicBezTo>
                        <a:pt x="27" y="4"/>
                        <a:pt x="27" y="4"/>
                        <a:pt x="27" y="4"/>
                      </a:cubicBezTo>
                      <a:cubicBezTo>
                        <a:pt x="8" y="12"/>
                        <a:pt x="3" y="34"/>
                        <a:pt x="2" y="41"/>
                      </a:cubicBezTo>
                      <a:cubicBezTo>
                        <a:pt x="0" y="41"/>
                        <a:pt x="0" y="41"/>
                        <a:pt x="0" y="41"/>
                      </a:cubicBezTo>
                      <a:cubicBezTo>
                        <a:pt x="0" y="52"/>
                        <a:pt x="0" y="52"/>
                        <a:pt x="0" y="52"/>
                      </a:cubicBezTo>
                      <a:cubicBezTo>
                        <a:pt x="89" y="52"/>
                        <a:pt x="89" y="52"/>
                        <a:pt x="89" y="52"/>
                      </a:cubicBezTo>
                      <a:cubicBezTo>
                        <a:pt x="89" y="41"/>
                        <a:pt x="89" y="41"/>
                        <a:pt x="89" y="41"/>
                      </a:cubicBezTo>
                      <a:cubicBezTo>
                        <a:pt x="87" y="41"/>
                        <a:pt x="87" y="41"/>
                        <a:pt x="87" y="41"/>
                      </a:cubicBezTo>
                    </a:path>
                  </a:pathLst>
                </a:custGeom>
                <a:solidFill>
                  <a:srgbClr val="EC9C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7" name="ïṩlíḑè">
                  <a:extLst>
                    <a:ext uri="{FF2B5EF4-FFF2-40B4-BE49-F238E27FC236}">
                      <a16:creationId xmlns:a16="http://schemas.microsoft.com/office/drawing/2014/main" id="{B926BBC3-B983-4332-AFC6-160AE39ADE94}"/>
                    </a:ext>
                  </a:extLst>
                </p:cNvPr>
                <p:cNvSpPr/>
                <p:nvPr/>
              </p:nvSpPr>
              <p:spPr bwMode="auto">
                <a:xfrm>
                  <a:off x="5789620" y="2339281"/>
                  <a:ext cx="344299" cy="397628"/>
                </a:xfrm>
                <a:custGeom>
                  <a:avLst/>
                  <a:gdLst>
                    <a:gd name="T0" fmla="*/ 43 w 45"/>
                    <a:gd name="T1" fmla="*/ 41 h 52"/>
                    <a:gd name="T2" fmla="*/ 18 w 45"/>
                    <a:gd name="T3" fmla="*/ 4 h 52"/>
                    <a:gd name="T4" fmla="*/ 18 w 45"/>
                    <a:gd name="T5" fmla="*/ 3 h 52"/>
                    <a:gd name="T6" fmla="*/ 1 w 45"/>
                    <a:gd name="T7" fmla="*/ 0 h 52"/>
                    <a:gd name="T8" fmla="*/ 0 w 45"/>
                    <a:gd name="T9" fmla="*/ 0 h 52"/>
                    <a:gd name="T10" fmla="*/ 0 w 45"/>
                    <a:gd name="T11" fmla="*/ 52 h 52"/>
                    <a:gd name="T12" fmla="*/ 45 w 45"/>
                    <a:gd name="T13" fmla="*/ 52 h 52"/>
                    <a:gd name="T14" fmla="*/ 45 w 45"/>
                    <a:gd name="T15" fmla="*/ 41 h 52"/>
                    <a:gd name="T16" fmla="*/ 43 w 45"/>
                    <a:gd name="T17"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2">
                      <a:moveTo>
                        <a:pt x="43" y="41"/>
                      </a:moveTo>
                      <a:cubicBezTo>
                        <a:pt x="42" y="34"/>
                        <a:pt x="37" y="12"/>
                        <a:pt x="18" y="4"/>
                      </a:cubicBezTo>
                      <a:cubicBezTo>
                        <a:pt x="18" y="3"/>
                        <a:pt x="18" y="3"/>
                        <a:pt x="18" y="3"/>
                      </a:cubicBezTo>
                      <a:cubicBezTo>
                        <a:pt x="8" y="0"/>
                        <a:pt x="1" y="0"/>
                        <a:pt x="1" y="0"/>
                      </a:cubicBezTo>
                      <a:cubicBezTo>
                        <a:pt x="0" y="0"/>
                        <a:pt x="0" y="0"/>
                        <a:pt x="0" y="0"/>
                      </a:cubicBezTo>
                      <a:cubicBezTo>
                        <a:pt x="0" y="52"/>
                        <a:pt x="0" y="52"/>
                        <a:pt x="0" y="52"/>
                      </a:cubicBezTo>
                      <a:cubicBezTo>
                        <a:pt x="45" y="52"/>
                        <a:pt x="45" y="52"/>
                        <a:pt x="45" y="52"/>
                      </a:cubicBezTo>
                      <a:cubicBezTo>
                        <a:pt x="45" y="41"/>
                        <a:pt x="45" y="41"/>
                        <a:pt x="45" y="41"/>
                      </a:cubicBezTo>
                      <a:cubicBezTo>
                        <a:pt x="43" y="41"/>
                        <a:pt x="43" y="41"/>
                        <a:pt x="43" y="41"/>
                      </a:cubicBezTo>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8" name="íṣliḍe">
                  <a:extLst>
                    <a:ext uri="{FF2B5EF4-FFF2-40B4-BE49-F238E27FC236}">
                      <a16:creationId xmlns:a16="http://schemas.microsoft.com/office/drawing/2014/main" id="{EC2F18C9-CAFB-4ACE-B3EB-FAB9ED59C08E}"/>
                    </a:ext>
                  </a:extLst>
                </p:cNvPr>
                <p:cNvSpPr/>
                <p:nvPr/>
              </p:nvSpPr>
              <p:spPr bwMode="auto">
                <a:xfrm>
                  <a:off x="5591273" y="2370156"/>
                  <a:ext cx="114143" cy="267580"/>
                </a:xfrm>
                <a:custGeom>
                  <a:avLst/>
                  <a:gdLst>
                    <a:gd name="T0" fmla="*/ 9 w 15"/>
                    <a:gd name="T1" fmla="*/ 0 h 35"/>
                    <a:gd name="T2" fmla="*/ 15 w 15"/>
                    <a:gd name="T3" fmla="*/ 32 h 35"/>
                    <a:gd name="T4" fmla="*/ 10 w 15"/>
                    <a:gd name="T5" fmla="*/ 32 h 35"/>
                    <a:gd name="T6" fmla="*/ 0 w 15"/>
                    <a:gd name="T7" fmla="*/ 6 h 35"/>
                    <a:gd name="T8" fmla="*/ 9 w 15"/>
                    <a:gd name="T9" fmla="*/ 0 h 35"/>
                  </a:gdLst>
                  <a:ahLst/>
                  <a:cxnLst>
                    <a:cxn ang="0">
                      <a:pos x="T0" y="T1"/>
                    </a:cxn>
                    <a:cxn ang="0">
                      <a:pos x="T2" y="T3"/>
                    </a:cxn>
                    <a:cxn ang="0">
                      <a:pos x="T4" y="T5"/>
                    </a:cxn>
                    <a:cxn ang="0">
                      <a:pos x="T6" y="T7"/>
                    </a:cxn>
                    <a:cxn ang="0">
                      <a:pos x="T8" y="T9"/>
                    </a:cxn>
                  </a:cxnLst>
                  <a:rect l="0" t="0" r="r" b="b"/>
                  <a:pathLst>
                    <a:path w="15" h="35">
                      <a:moveTo>
                        <a:pt x="9" y="0"/>
                      </a:moveTo>
                      <a:cubicBezTo>
                        <a:pt x="9" y="0"/>
                        <a:pt x="5" y="6"/>
                        <a:pt x="15" y="32"/>
                      </a:cubicBezTo>
                      <a:cubicBezTo>
                        <a:pt x="14" y="35"/>
                        <a:pt x="10" y="33"/>
                        <a:pt x="10" y="32"/>
                      </a:cubicBezTo>
                      <a:cubicBezTo>
                        <a:pt x="2" y="20"/>
                        <a:pt x="0" y="6"/>
                        <a:pt x="0" y="6"/>
                      </a:cubicBezTo>
                      <a:cubicBezTo>
                        <a:pt x="0" y="6"/>
                        <a:pt x="3" y="3"/>
                        <a:pt x="9" y="0"/>
                      </a:cubicBezTo>
                      <a:close/>
                    </a:path>
                  </a:pathLst>
                </a:custGeom>
                <a:solidFill>
                  <a:srgbClr val="ECCF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9" name="îšliḍê">
                  <a:extLst>
                    <a:ext uri="{FF2B5EF4-FFF2-40B4-BE49-F238E27FC236}">
                      <a16:creationId xmlns:a16="http://schemas.microsoft.com/office/drawing/2014/main" id="{CA3CEC4E-6F62-491A-807C-A751FD1C7F3C}"/>
                    </a:ext>
                  </a:extLst>
                </p:cNvPr>
                <p:cNvSpPr/>
                <p:nvPr/>
              </p:nvSpPr>
              <p:spPr bwMode="auto">
                <a:xfrm>
                  <a:off x="5881308" y="2370156"/>
                  <a:ext cx="115078" cy="267580"/>
                </a:xfrm>
                <a:custGeom>
                  <a:avLst/>
                  <a:gdLst>
                    <a:gd name="T0" fmla="*/ 6 w 15"/>
                    <a:gd name="T1" fmla="*/ 0 h 35"/>
                    <a:gd name="T2" fmla="*/ 0 w 15"/>
                    <a:gd name="T3" fmla="*/ 32 h 35"/>
                    <a:gd name="T4" fmla="*/ 5 w 15"/>
                    <a:gd name="T5" fmla="*/ 32 h 35"/>
                    <a:gd name="T6" fmla="*/ 15 w 15"/>
                    <a:gd name="T7" fmla="*/ 6 h 35"/>
                    <a:gd name="T8" fmla="*/ 6 w 15"/>
                    <a:gd name="T9" fmla="*/ 0 h 35"/>
                  </a:gdLst>
                  <a:ahLst/>
                  <a:cxnLst>
                    <a:cxn ang="0">
                      <a:pos x="T0" y="T1"/>
                    </a:cxn>
                    <a:cxn ang="0">
                      <a:pos x="T2" y="T3"/>
                    </a:cxn>
                    <a:cxn ang="0">
                      <a:pos x="T4" y="T5"/>
                    </a:cxn>
                    <a:cxn ang="0">
                      <a:pos x="T6" y="T7"/>
                    </a:cxn>
                    <a:cxn ang="0">
                      <a:pos x="T8" y="T9"/>
                    </a:cxn>
                  </a:cxnLst>
                  <a:rect l="0" t="0" r="r" b="b"/>
                  <a:pathLst>
                    <a:path w="15" h="35">
                      <a:moveTo>
                        <a:pt x="6" y="0"/>
                      </a:moveTo>
                      <a:cubicBezTo>
                        <a:pt x="6" y="0"/>
                        <a:pt x="10" y="6"/>
                        <a:pt x="0" y="32"/>
                      </a:cubicBezTo>
                      <a:cubicBezTo>
                        <a:pt x="1" y="35"/>
                        <a:pt x="5" y="33"/>
                        <a:pt x="5" y="32"/>
                      </a:cubicBezTo>
                      <a:cubicBezTo>
                        <a:pt x="13" y="20"/>
                        <a:pt x="15" y="6"/>
                        <a:pt x="15" y="6"/>
                      </a:cubicBezTo>
                      <a:cubicBezTo>
                        <a:pt x="15" y="6"/>
                        <a:pt x="12" y="3"/>
                        <a:pt x="6" y="0"/>
                      </a:cubicBezTo>
                      <a:close/>
                    </a:path>
                  </a:pathLst>
                </a:custGeom>
                <a:solidFill>
                  <a:srgbClr val="EC9C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0" name="íSļiḍè">
                  <a:extLst>
                    <a:ext uri="{FF2B5EF4-FFF2-40B4-BE49-F238E27FC236}">
                      <a16:creationId xmlns:a16="http://schemas.microsoft.com/office/drawing/2014/main" id="{8629016C-712D-41EE-81E6-6A29582742D1}"/>
                    </a:ext>
                  </a:extLst>
                </p:cNvPr>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close/>
                    </a:path>
                  </a:pathLst>
                </a:custGeom>
                <a:solidFill>
                  <a:srgbClr val="EC77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1" name="ïSľiḑè">
                  <a:extLst>
                    <a:ext uri="{FF2B5EF4-FFF2-40B4-BE49-F238E27FC236}">
                      <a16:creationId xmlns:a16="http://schemas.microsoft.com/office/drawing/2014/main" id="{5906E0A8-4588-4BF1-9769-4B557509C6D4}"/>
                    </a:ext>
                  </a:extLst>
                </p:cNvPr>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2" name="ïŝľíḓé">
                  <a:extLst>
                    <a:ext uri="{FF2B5EF4-FFF2-40B4-BE49-F238E27FC236}">
                      <a16:creationId xmlns:a16="http://schemas.microsoft.com/office/drawing/2014/main" id="{60E7C01B-79E8-4B47-B15F-B7D144B168FD}"/>
                    </a:ext>
                  </a:extLst>
                </p:cNvPr>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close/>
                    </a:path>
                  </a:pathLst>
                </a:custGeom>
                <a:solidFill>
                  <a:srgbClr val="FF6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3" name="ïŝliḍé">
                  <a:extLst>
                    <a:ext uri="{FF2B5EF4-FFF2-40B4-BE49-F238E27FC236}">
                      <a16:creationId xmlns:a16="http://schemas.microsoft.com/office/drawing/2014/main" id="{C0F4E7C6-65DE-400B-9B9B-2F319B8320DC}"/>
                    </a:ext>
                  </a:extLst>
                </p:cNvPr>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4" name="ïś1îďè">
                  <a:extLst>
                    <a:ext uri="{FF2B5EF4-FFF2-40B4-BE49-F238E27FC236}">
                      <a16:creationId xmlns:a16="http://schemas.microsoft.com/office/drawing/2014/main" id="{214DBD50-597B-4965-922F-282E6E691E21}"/>
                    </a:ext>
                  </a:extLst>
                </p:cNvPr>
                <p:cNvSpPr/>
                <p:nvPr/>
              </p:nvSpPr>
              <p:spPr bwMode="auto">
                <a:xfrm>
                  <a:off x="5476195" y="3133601"/>
                  <a:ext cx="91688" cy="710117"/>
                </a:xfrm>
                <a:custGeom>
                  <a:avLst/>
                  <a:gdLst>
                    <a:gd name="T0" fmla="*/ 98 w 98"/>
                    <a:gd name="T1" fmla="*/ 759 h 759"/>
                    <a:gd name="T2" fmla="*/ 0 w 98"/>
                    <a:gd name="T3" fmla="*/ 759 h 759"/>
                    <a:gd name="T4" fmla="*/ 0 w 98"/>
                    <a:gd name="T5" fmla="*/ 33 h 759"/>
                    <a:gd name="T6" fmla="*/ 98 w 98"/>
                    <a:gd name="T7" fmla="*/ 0 h 759"/>
                    <a:gd name="T8" fmla="*/ 98 w 98"/>
                    <a:gd name="T9" fmla="*/ 759 h 759"/>
                  </a:gdLst>
                  <a:ahLst/>
                  <a:cxnLst>
                    <a:cxn ang="0">
                      <a:pos x="T0" y="T1"/>
                    </a:cxn>
                    <a:cxn ang="0">
                      <a:pos x="T2" y="T3"/>
                    </a:cxn>
                    <a:cxn ang="0">
                      <a:pos x="T4" y="T5"/>
                    </a:cxn>
                    <a:cxn ang="0">
                      <a:pos x="T6" y="T7"/>
                    </a:cxn>
                    <a:cxn ang="0">
                      <a:pos x="T8" y="T9"/>
                    </a:cxn>
                  </a:cxnLst>
                  <a:rect l="0" t="0" r="r" b="b"/>
                  <a:pathLst>
                    <a:path w="98" h="759">
                      <a:moveTo>
                        <a:pt x="98" y="759"/>
                      </a:moveTo>
                      <a:lnTo>
                        <a:pt x="0" y="759"/>
                      </a:lnTo>
                      <a:lnTo>
                        <a:pt x="0" y="33"/>
                      </a:lnTo>
                      <a:lnTo>
                        <a:pt x="98" y="0"/>
                      </a:lnTo>
                      <a:lnTo>
                        <a:pt x="98" y="759"/>
                      </a:lnTo>
                      <a:close/>
                    </a:path>
                  </a:pathLst>
                </a:custGeom>
                <a:solidFill>
                  <a:srgbClr val="295A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5" name="îṧ1îḍè">
                  <a:extLst>
                    <a:ext uri="{FF2B5EF4-FFF2-40B4-BE49-F238E27FC236}">
                      <a16:creationId xmlns:a16="http://schemas.microsoft.com/office/drawing/2014/main" id="{4796EBC7-C94C-4DC5-8BAF-6D0E87C7AF64}"/>
                    </a:ext>
                  </a:extLst>
                </p:cNvPr>
                <p:cNvSpPr/>
                <p:nvPr/>
              </p:nvSpPr>
              <p:spPr bwMode="auto">
                <a:xfrm>
                  <a:off x="6011356" y="3133602"/>
                  <a:ext cx="91688" cy="710117"/>
                </a:xfrm>
                <a:custGeom>
                  <a:avLst/>
                  <a:gdLst>
                    <a:gd name="T0" fmla="*/ 0 w 98"/>
                    <a:gd name="T1" fmla="*/ 759 h 759"/>
                    <a:gd name="T2" fmla="*/ 98 w 98"/>
                    <a:gd name="T3" fmla="*/ 759 h 759"/>
                    <a:gd name="T4" fmla="*/ 98 w 98"/>
                    <a:gd name="T5" fmla="*/ 33 h 759"/>
                    <a:gd name="T6" fmla="*/ 0 w 98"/>
                    <a:gd name="T7" fmla="*/ 0 h 759"/>
                    <a:gd name="T8" fmla="*/ 0 w 98"/>
                    <a:gd name="T9" fmla="*/ 759 h 759"/>
                  </a:gdLst>
                  <a:ahLst/>
                  <a:cxnLst>
                    <a:cxn ang="0">
                      <a:pos x="T0" y="T1"/>
                    </a:cxn>
                    <a:cxn ang="0">
                      <a:pos x="T2" y="T3"/>
                    </a:cxn>
                    <a:cxn ang="0">
                      <a:pos x="T4" y="T5"/>
                    </a:cxn>
                    <a:cxn ang="0">
                      <a:pos x="T6" y="T7"/>
                    </a:cxn>
                    <a:cxn ang="0">
                      <a:pos x="T8" y="T9"/>
                    </a:cxn>
                  </a:cxnLst>
                  <a:rect l="0" t="0" r="r" b="b"/>
                  <a:pathLst>
                    <a:path w="98" h="759">
                      <a:moveTo>
                        <a:pt x="0" y="759"/>
                      </a:moveTo>
                      <a:lnTo>
                        <a:pt x="98" y="759"/>
                      </a:lnTo>
                      <a:lnTo>
                        <a:pt x="98" y="33"/>
                      </a:lnTo>
                      <a:lnTo>
                        <a:pt x="0" y="0"/>
                      </a:lnTo>
                      <a:lnTo>
                        <a:pt x="0" y="759"/>
                      </a:lnTo>
                      <a:close/>
                    </a:path>
                  </a:pathLst>
                </a:custGeom>
                <a:solidFill>
                  <a:srgbClr val="245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6" name="ïŝḻïḑé">
                  <a:extLst>
                    <a:ext uri="{FF2B5EF4-FFF2-40B4-BE49-F238E27FC236}">
                      <a16:creationId xmlns:a16="http://schemas.microsoft.com/office/drawing/2014/main" id="{CCAFD947-F172-42CE-9492-60891F0DB3F5}"/>
                    </a:ext>
                  </a:extLst>
                </p:cNvPr>
                <p:cNvSpPr/>
                <p:nvPr/>
              </p:nvSpPr>
              <p:spPr bwMode="auto">
                <a:xfrm>
                  <a:off x="5422866" y="3577074"/>
                  <a:ext cx="740991" cy="305004"/>
                </a:xfrm>
                <a:prstGeom prst="rect">
                  <a:avLst/>
                </a:prstGeom>
                <a:solidFill>
                  <a:srgbClr val="295A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7" name="isḻïdé">
                  <a:extLst>
                    <a:ext uri="{FF2B5EF4-FFF2-40B4-BE49-F238E27FC236}">
                      <a16:creationId xmlns:a16="http://schemas.microsoft.com/office/drawing/2014/main" id="{F9C3FAE6-8C15-4735-942D-CAC3614E0A50}"/>
                    </a:ext>
                  </a:extLst>
                </p:cNvPr>
                <p:cNvSpPr/>
                <p:nvPr/>
              </p:nvSpPr>
              <p:spPr bwMode="auto">
                <a:xfrm>
                  <a:off x="5797104" y="3577074"/>
                  <a:ext cx="366753" cy="305004"/>
                </a:xfrm>
                <a:prstGeom prst="rect">
                  <a:avLst/>
                </a:prstGeom>
                <a:solidFill>
                  <a:srgbClr val="24518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8" name="ïS1îḋé">
                  <a:extLst>
                    <a:ext uri="{FF2B5EF4-FFF2-40B4-BE49-F238E27FC236}">
                      <a16:creationId xmlns:a16="http://schemas.microsoft.com/office/drawing/2014/main" id="{9468F1DD-9FF1-4A41-B2E9-45A504023D16}"/>
                    </a:ext>
                  </a:extLst>
                </p:cNvPr>
                <p:cNvSpPr/>
                <p:nvPr/>
              </p:nvSpPr>
              <p:spPr bwMode="auto">
                <a:xfrm>
                  <a:off x="5498650" y="3622918"/>
                  <a:ext cx="46780" cy="53329"/>
                </a:xfrm>
                <a:prstGeom prst="ellipse">
                  <a:avLst/>
                </a:prstGeom>
                <a:solidFill>
                  <a:srgbClr val="E8D79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9" name="î$ḷïḋe">
                  <a:extLst>
                    <a:ext uri="{FF2B5EF4-FFF2-40B4-BE49-F238E27FC236}">
                      <a16:creationId xmlns:a16="http://schemas.microsoft.com/office/drawing/2014/main" id="{C2C77E82-7BF3-4DCA-AEE9-82B1B4C02A91}"/>
                    </a:ext>
                  </a:extLst>
                </p:cNvPr>
                <p:cNvSpPr/>
                <p:nvPr/>
              </p:nvSpPr>
              <p:spPr bwMode="auto">
                <a:xfrm>
                  <a:off x="6042230" y="3622918"/>
                  <a:ext cx="45844" cy="53329"/>
                </a:xfrm>
                <a:prstGeom prst="ellipse">
                  <a:avLst/>
                </a:pr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0" name="iṡliḋe">
                  <a:extLst>
                    <a:ext uri="{FF2B5EF4-FFF2-40B4-BE49-F238E27FC236}">
                      <a16:creationId xmlns:a16="http://schemas.microsoft.com/office/drawing/2014/main" id="{6E8F86A8-1106-47A3-8A5F-42584EB562C1}"/>
                    </a:ext>
                  </a:extLst>
                </p:cNvPr>
                <p:cNvSpPr/>
                <p:nvPr/>
              </p:nvSpPr>
              <p:spPr bwMode="auto">
                <a:xfrm>
                  <a:off x="5591274"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0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2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0" y="19"/>
                        <a:pt x="0" y="19"/>
                        <a:pt x="0" y="19"/>
                      </a:cubicBezTo>
                      <a:cubicBezTo>
                        <a:pt x="0"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0" y="29"/>
                      </a:cubicBezTo>
                      <a:cubicBezTo>
                        <a:pt x="14" y="30"/>
                        <a:pt x="14" y="30"/>
                        <a:pt x="14" y="30"/>
                      </a:cubicBezTo>
                      <a:cubicBezTo>
                        <a:pt x="15" y="30"/>
                        <a:pt x="16" y="30"/>
                        <a:pt x="17" y="30"/>
                      </a:cubicBezTo>
                      <a:cubicBezTo>
                        <a:pt x="18" y="29"/>
                        <a:pt x="18" y="29"/>
                        <a:pt x="18" y="29"/>
                      </a:cubicBezTo>
                      <a:cubicBezTo>
                        <a:pt x="20" y="29"/>
                        <a:pt x="21" y="29"/>
                        <a:pt x="22"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2" y="29"/>
                        <a:pt x="42" y="29"/>
                        <a:pt x="42"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1" name="îṧḷíďè">
                  <a:extLst>
                    <a:ext uri="{FF2B5EF4-FFF2-40B4-BE49-F238E27FC236}">
                      <a16:creationId xmlns:a16="http://schemas.microsoft.com/office/drawing/2014/main" id="{1C758CE4-2CDA-4049-9FE7-FD0632008280}"/>
                    </a:ext>
                  </a:extLst>
                </p:cNvPr>
                <p:cNvSpPr/>
                <p:nvPr/>
              </p:nvSpPr>
              <p:spPr bwMode="auto">
                <a:xfrm>
                  <a:off x="5591274"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2 w 53"/>
                    <a:gd name="T21" fmla="*/ 26 h 28"/>
                    <a:gd name="T22" fmla="*/ 17 w 53"/>
                    <a:gd name="T23" fmla="*/ 26 h 28"/>
                    <a:gd name="T24" fmla="*/ 10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4 w 53"/>
                    <a:gd name="T41" fmla="*/ 10 h 28"/>
                    <a:gd name="T42" fmla="*/ 6 w 53"/>
                    <a:gd name="T43" fmla="*/ 6 h 28"/>
                    <a:gd name="T44" fmla="*/ 10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2" y="13"/>
                      </a:moveTo>
                      <a:cubicBezTo>
                        <a:pt x="53" y="15"/>
                        <a:pt x="53" y="15"/>
                        <a:pt x="53" y="15"/>
                      </a:cubicBezTo>
                      <a:cubicBezTo>
                        <a:pt x="53" y="16"/>
                        <a:pt x="52" y="16"/>
                        <a:pt x="51" y="16"/>
                      </a:cubicBezTo>
                      <a:cubicBezTo>
                        <a:pt x="49" y="16"/>
                        <a:pt x="49" y="16"/>
                        <a:pt x="49" y="16"/>
                      </a:cubicBezTo>
                      <a:cubicBezTo>
                        <a:pt x="49" y="17"/>
                        <a:pt x="48" y="17"/>
                        <a:pt x="48" y="18"/>
                      </a:cubicBezTo>
                      <a:cubicBezTo>
                        <a:pt x="50" y="19"/>
                        <a:pt x="50" y="19"/>
                        <a:pt x="50" y="19"/>
                      </a:cubicBezTo>
                      <a:cubicBezTo>
                        <a:pt x="51" y="19"/>
                        <a:pt x="51"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2"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2" y="26"/>
                        <a:pt x="22" y="26"/>
                        <a:pt x="22" y="26"/>
                      </a:cubicBezTo>
                      <a:cubicBezTo>
                        <a:pt x="21" y="26"/>
                        <a:pt x="20" y="25"/>
                        <a:pt x="18" y="25"/>
                      </a:cubicBezTo>
                      <a:cubicBezTo>
                        <a:pt x="17" y="26"/>
                        <a:pt x="17" y="26"/>
                        <a:pt x="17" y="26"/>
                      </a:cubicBezTo>
                      <a:cubicBezTo>
                        <a:pt x="16" y="27"/>
                        <a:pt x="15" y="27"/>
                        <a:pt x="14" y="27"/>
                      </a:cubicBezTo>
                      <a:cubicBezTo>
                        <a:pt x="10" y="26"/>
                        <a:pt x="10" y="26"/>
                        <a:pt x="10" y="26"/>
                      </a:cubicBezTo>
                      <a:cubicBezTo>
                        <a:pt x="10" y="25"/>
                        <a:pt x="9"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4"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4" y="10"/>
                        <a:pt x="4" y="10"/>
                        <a:pt x="4" y="10"/>
                      </a:cubicBezTo>
                      <a:cubicBezTo>
                        <a:pt x="4" y="9"/>
                        <a:pt x="4" y="9"/>
                        <a:pt x="4" y="8"/>
                      </a:cubicBezTo>
                      <a:cubicBezTo>
                        <a:pt x="6" y="6"/>
                        <a:pt x="6" y="6"/>
                        <a:pt x="6" y="6"/>
                      </a:cubicBezTo>
                      <a:cubicBezTo>
                        <a:pt x="7" y="6"/>
                        <a:pt x="8" y="6"/>
                        <a:pt x="9" y="6"/>
                      </a:cubicBezTo>
                      <a:cubicBezTo>
                        <a:pt x="10" y="7"/>
                        <a:pt x="10" y="7"/>
                        <a:pt x="10" y="7"/>
                      </a:cubicBezTo>
                      <a:cubicBezTo>
                        <a:pt x="11" y="6"/>
                        <a:pt x="12" y="6"/>
                        <a:pt x="13"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3"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5"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2" y="13"/>
                      </a:cubicBezTo>
                      <a:close/>
                      <a:moveTo>
                        <a:pt x="38" y="18"/>
                      </a:moveTo>
                      <a:cubicBezTo>
                        <a:pt x="39"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1"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2" name="ïś1iḍê">
                  <a:extLst>
                    <a:ext uri="{FF2B5EF4-FFF2-40B4-BE49-F238E27FC236}">
                      <a16:creationId xmlns:a16="http://schemas.microsoft.com/office/drawing/2014/main" id="{E432FF96-7265-4164-89E1-6E9268A60635}"/>
                    </a:ext>
                  </a:extLst>
                </p:cNvPr>
                <p:cNvSpPr/>
                <p:nvPr/>
              </p:nvSpPr>
              <p:spPr bwMode="auto">
                <a:xfrm>
                  <a:off x="5720387" y="4272222"/>
                  <a:ext cx="145953" cy="91688"/>
                </a:xfrm>
                <a:custGeom>
                  <a:avLst/>
                  <a:gdLst>
                    <a:gd name="T0" fmla="*/ 19 w 19"/>
                    <a:gd name="T1" fmla="*/ 0 h 12"/>
                    <a:gd name="T2" fmla="*/ 0 w 19"/>
                    <a:gd name="T3" fmla="*/ 0 h 12"/>
                    <a:gd name="T4" fmla="*/ 0 w 19"/>
                    <a:gd name="T5" fmla="*/ 8 h 12"/>
                    <a:gd name="T6" fmla="*/ 0 w 19"/>
                    <a:gd name="T7" fmla="*/ 8 h 12"/>
                    <a:gd name="T8" fmla="*/ 9 w 19"/>
                    <a:gd name="T9" fmla="*/ 12 h 12"/>
                    <a:gd name="T10" fmla="*/ 17 w 19"/>
                    <a:gd name="T11" fmla="*/ 10 h 12"/>
                    <a:gd name="T12" fmla="*/ 18 w 19"/>
                    <a:gd name="T13" fmla="*/ 8 h 12"/>
                    <a:gd name="T14" fmla="*/ 19 w 19"/>
                    <a:gd name="T15" fmla="*/ 8 h 12"/>
                    <a:gd name="T16" fmla="*/ 19 w 1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2">
                      <a:moveTo>
                        <a:pt x="19" y="0"/>
                      </a:moveTo>
                      <a:cubicBezTo>
                        <a:pt x="0" y="0"/>
                        <a:pt x="0" y="0"/>
                        <a:pt x="0" y="0"/>
                      </a:cubicBezTo>
                      <a:cubicBezTo>
                        <a:pt x="0" y="8"/>
                        <a:pt x="0" y="8"/>
                        <a:pt x="0" y="8"/>
                      </a:cubicBezTo>
                      <a:cubicBezTo>
                        <a:pt x="0" y="8"/>
                        <a:pt x="0" y="8"/>
                        <a:pt x="0" y="8"/>
                      </a:cubicBezTo>
                      <a:cubicBezTo>
                        <a:pt x="0" y="11"/>
                        <a:pt x="4" y="12"/>
                        <a:pt x="9" y="12"/>
                      </a:cubicBezTo>
                      <a:cubicBezTo>
                        <a:pt x="13" y="12"/>
                        <a:pt x="16" y="12"/>
                        <a:pt x="17" y="10"/>
                      </a:cubicBezTo>
                      <a:cubicBezTo>
                        <a:pt x="18" y="10"/>
                        <a:pt x="18" y="9"/>
                        <a:pt x="18" y="8"/>
                      </a:cubicBezTo>
                      <a:cubicBezTo>
                        <a:pt x="19" y="8"/>
                        <a:pt x="19" y="8"/>
                        <a:pt x="19" y="8"/>
                      </a:cubicBezTo>
                      <a:lnTo>
                        <a:pt x="19"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3" name="iŝ1îďe">
                  <a:extLst>
                    <a:ext uri="{FF2B5EF4-FFF2-40B4-BE49-F238E27FC236}">
                      <a16:creationId xmlns:a16="http://schemas.microsoft.com/office/drawing/2014/main" id="{B5CDCC37-E864-4E17-BC64-2832BDB41CC6}"/>
                    </a:ext>
                  </a:extLst>
                </p:cNvPr>
                <p:cNvSpPr/>
                <p:nvPr/>
              </p:nvSpPr>
              <p:spPr bwMode="auto">
                <a:xfrm>
                  <a:off x="5712902" y="4233863"/>
                  <a:ext cx="153438" cy="75783"/>
                </a:xfrm>
                <a:custGeom>
                  <a:avLst/>
                  <a:gdLst>
                    <a:gd name="T0" fmla="*/ 18 w 20"/>
                    <a:gd name="T1" fmla="*/ 8 h 10"/>
                    <a:gd name="T2" fmla="*/ 20 w 20"/>
                    <a:gd name="T3" fmla="*/ 5 h 10"/>
                    <a:gd name="T4" fmla="*/ 10 w 20"/>
                    <a:gd name="T5" fmla="*/ 0 h 10"/>
                    <a:gd name="T6" fmla="*/ 2 w 20"/>
                    <a:gd name="T7" fmla="*/ 2 h 10"/>
                    <a:gd name="T8" fmla="*/ 1 w 20"/>
                    <a:gd name="T9" fmla="*/ 5 h 10"/>
                    <a:gd name="T10" fmla="*/ 10 w 20"/>
                    <a:gd name="T11" fmla="*/ 10 h 10"/>
                    <a:gd name="T12" fmla="*/ 18 w 20"/>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20" h="10">
                      <a:moveTo>
                        <a:pt x="18" y="8"/>
                      </a:moveTo>
                      <a:cubicBezTo>
                        <a:pt x="19" y="7"/>
                        <a:pt x="20" y="6"/>
                        <a:pt x="20" y="5"/>
                      </a:cubicBezTo>
                      <a:cubicBezTo>
                        <a:pt x="19" y="2"/>
                        <a:pt x="15" y="0"/>
                        <a:pt x="10" y="0"/>
                      </a:cubicBezTo>
                      <a:cubicBezTo>
                        <a:pt x="7" y="0"/>
                        <a:pt x="4" y="1"/>
                        <a:pt x="2" y="2"/>
                      </a:cubicBezTo>
                      <a:cubicBezTo>
                        <a:pt x="1" y="3"/>
                        <a:pt x="1" y="4"/>
                        <a:pt x="1" y="5"/>
                      </a:cubicBezTo>
                      <a:cubicBezTo>
                        <a:pt x="0" y="8"/>
                        <a:pt x="5" y="10"/>
                        <a:pt x="10" y="10"/>
                      </a:cubicBezTo>
                      <a:cubicBezTo>
                        <a:pt x="14" y="10"/>
                        <a:pt x="17"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4" name="îslïḋè">
                  <a:extLst>
                    <a:ext uri="{FF2B5EF4-FFF2-40B4-BE49-F238E27FC236}">
                      <a16:creationId xmlns:a16="http://schemas.microsoft.com/office/drawing/2014/main" id="{1CBDD348-D3C2-4A7E-929E-DA6445E16C7C}"/>
                    </a:ext>
                  </a:extLst>
                </p:cNvPr>
                <p:cNvSpPr/>
                <p:nvPr/>
              </p:nvSpPr>
              <p:spPr bwMode="auto">
                <a:xfrm>
                  <a:off x="5422867" y="4103815"/>
                  <a:ext cx="351784" cy="320909"/>
                </a:xfrm>
                <a:custGeom>
                  <a:avLst/>
                  <a:gdLst>
                    <a:gd name="T0" fmla="*/ 15 w 46"/>
                    <a:gd name="T1" fmla="*/ 33 h 42"/>
                    <a:gd name="T2" fmla="*/ 39 w 46"/>
                    <a:gd name="T3" fmla="*/ 30 h 42"/>
                    <a:gd name="T4" fmla="*/ 23 w 46"/>
                    <a:gd name="T5" fmla="*/ 5 h 42"/>
                    <a:gd name="T6" fmla="*/ 15 w 46"/>
                    <a:gd name="T7" fmla="*/ 33 h 42"/>
                  </a:gdLst>
                  <a:ahLst/>
                  <a:cxnLst>
                    <a:cxn ang="0">
                      <a:pos x="T0" y="T1"/>
                    </a:cxn>
                    <a:cxn ang="0">
                      <a:pos x="T2" y="T3"/>
                    </a:cxn>
                    <a:cxn ang="0">
                      <a:pos x="T4" y="T5"/>
                    </a:cxn>
                    <a:cxn ang="0">
                      <a:pos x="T6" y="T7"/>
                    </a:cxn>
                  </a:cxnLst>
                  <a:rect l="0" t="0" r="r" b="b"/>
                  <a:pathLst>
                    <a:path w="46" h="42">
                      <a:moveTo>
                        <a:pt x="15" y="33"/>
                      </a:moveTo>
                      <a:cubicBezTo>
                        <a:pt x="15" y="33"/>
                        <a:pt x="34" y="42"/>
                        <a:pt x="39" y="30"/>
                      </a:cubicBezTo>
                      <a:cubicBezTo>
                        <a:pt x="44" y="17"/>
                        <a:pt x="46" y="10"/>
                        <a:pt x="23" y="5"/>
                      </a:cubicBezTo>
                      <a:cubicBezTo>
                        <a:pt x="0" y="0"/>
                        <a:pt x="15" y="33"/>
                        <a:pt x="15" y="33"/>
                      </a:cubicBezTo>
                      <a:close/>
                    </a:path>
                  </a:pathLst>
                </a:custGeom>
                <a:solidFill>
                  <a:srgbClr val="E8D79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5" name="îṥľïḑé">
                  <a:extLst>
                    <a:ext uri="{FF2B5EF4-FFF2-40B4-BE49-F238E27FC236}">
                      <a16:creationId xmlns:a16="http://schemas.microsoft.com/office/drawing/2014/main" id="{C287EACC-A427-4B11-AECA-F322D9C6B831}"/>
                    </a:ext>
                  </a:extLst>
                </p:cNvPr>
                <p:cNvSpPr/>
                <p:nvPr/>
              </p:nvSpPr>
              <p:spPr bwMode="auto">
                <a:xfrm>
                  <a:off x="5093539" y="3630404"/>
                  <a:ext cx="459377" cy="733506"/>
                </a:xfrm>
                <a:custGeom>
                  <a:avLst/>
                  <a:gdLst>
                    <a:gd name="T0" fmla="*/ 60 w 60"/>
                    <a:gd name="T1" fmla="*/ 96 h 96"/>
                    <a:gd name="T2" fmla="*/ 27 w 60"/>
                    <a:gd name="T3" fmla="*/ 81 h 96"/>
                    <a:gd name="T4" fmla="*/ 0 w 60"/>
                    <a:gd name="T5" fmla="*/ 55 h 96"/>
                    <a:gd name="T6" fmla="*/ 6 w 60"/>
                    <a:gd name="T7" fmla="*/ 2 h 96"/>
                    <a:gd name="T8" fmla="*/ 37 w 60"/>
                    <a:gd name="T9" fmla="*/ 0 h 96"/>
                    <a:gd name="T10" fmla="*/ 27 w 60"/>
                    <a:gd name="T11" fmla="*/ 42 h 96"/>
                    <a:gd name="T12" fmla="*/ 56 w 60"/>
                    <a:gd name="T13" fmla="*/ 68 h 96"/>
                    <a:gd name="T14" fmla="*/ 6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60" y="96"/>
                      </a:moveTo>
                      <a:cubicBezTo>
                        <a:pt x="60" y="96"/>
                        <a:pt x="30" y="83"/>
                        <a:pt x="27" y="81"/>
                      </a:cubicBezTo>
                      <a:cubicBezTo>
                        <a:pt x="13" y="77"/>
                        <a:pt x="0" y="67"/>
                        <a:pt x="0" y="55"/>
                      </a:cubicBezTo>
                      <a:cubicBezTo>
                        <a:pt x="2" y="20"/>
                        <a:pt x="6" y="2"/>
                        <a:pt x="6" y="2"/>
                      </a:cubicBezTo>
                      <a:cubicBezTo>
                        <a:pt x="37" y="0"/>
                        <a:pt x="37" y="0"/>
                        <a:pt x="37" y="0"/>
                      </a:cubicBezTo>
                      <a:cubicBezTo>
                        <a:pt x="37" y="0"/>
                        <a:pt x="40" y="13"/>
                        <a:pt x="27" y="42"/>
                      </a:cubicBezTo>
                      <a:cubicBezTo>
                        <a:pt x="20" y="58"/>
                        <a:pt x="56" y="68"/>
                        <a:pt x="56" y="68"/>
                      </a:cubicBezTo>
                      <a:lnTo>
                        <a:pt x="60" y="96"/>
                      </a:lnTo>
                      <a:close/>
                    </a:path>
                  </a:pathLst>
                </a:custGeom>
                <a:solidFill>
                  <a:srgbClr val="E8D79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6" name="ïṣļîḍê">
                  <a:extLst>
                    <a:ext uri="{FF2B5EF4-FFF2-40B4-BE49-F238E27FC236}">
                      <a16:creationId xmlns:a16="http://schemas.microsoft.com/office/drawing/2014/main" id="{3111E017-48CA-4FF8-B5CC-27FB71775233}"/>
                    </a:ext>
                  </a:extLst>
                </p:cNvPr>
                <p:cNvSpPr/>
                <p:nvPr/>
              </p:nvSpPr>
              <p:spPr bwMode="auto">
                <a:xfrm>
                  <a:off x="5827981" y="4103815"/>
                  <a:ext cx="344299" cy="320909"/>
                </a:xfrm>
                <a:custGeom>
                  <a:avLst/>
                  <a:gdLst>
                    <a:gd name="T0" fmla="*/ 31 w 45"/>
                    <a:gd name="T1" fmla="*/ 33 h 42"/>
                    <a:gd name="T2" fmla="*/ 7 w 45"/>
                    <a:gd name="T3" fmla="*/ 30 h 42"/>
                    <a:gd name="T4" fmla="*/ 23 w 45"/>
                    <a:gd name="T5" fmla="*/ 5 h 42"/>
                    <a:gd name="T6" fmla="*/ 31 w 45"/>
                    <a:gd name="T7" fmla="*/ 33 h 42"/>
                  </a:gdLst>
                  <a:ahLst/>
                  <a:cxnLst>
                    <a:cxn ang="0">
                      <a:pos x="T0" y="T1"/>
                    </a:cxn>
                    <a:cxn ang="0">
                      <a:pos x="T2" y="T3"/>
                    </a:cxn>
                    <a:cxn ang="0">
                      <a:pos x="T4" y="T5"/>
                    </a:cxn>
                    <a:cxn ang="0">
                      <a:pos x="T6" y="T7"/>
                    </a:cxn>
                  </a:cxnLst>
                  <a:rect l="0" t="0" r="r" b="b"/>
                  <a:pathLst>
                    <a:path w="45" h="42">
                      <a:moveTo>
                        <a:pt x="31" y="33"/>
                      </a:moveTo>
                      <a:cubicBezTo>
                        <a:pt x="31" y="33"/>
                        <a:pt x="12" y="42"/>
                        <a:pt x="7" y="30"/>
                      </a:cubicBezTo>
                      <a:cubicBezTo>
                        <a:pt x="2" y="17"/>
                        <a:pt x="0" y="10"/>
                        <a:pt x="23" y="5"/>
                      </a:cubicBezTo>
                      <a:cubicBezTo>
                        <a:pt x="45" y="0"/>
                        <a:pt x="31" y="33"/>
                        <a:pt x="31" y="33"/>
                      </a:cubicBezTo>
                      <a:close/>
                    </a:path>
                  </a:pathLst>
                </a:cu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7" name="ïšḻiḍe">
                  <a:extLst>
                    <a:ext uri="{FF2B5EF4-FFF2-40B4-BE49-F238E27FC236}">
                      <a16:creationId xmlns:a16="http://schemas.microsoft.com/office/drawing/2014/main" id="{3BC12369-34F7-41F5-95C6-C85FF5EFDD79}"/>
                    </a:ext>
                  </a:extLst>
                </p:cNvPr>
                <p:cNvSpPr/>
                <p:nvPr/>
              </p:nvSpPr>
              <p:spPr bwMode="auto">
                <a:xfrm>
                  <a:off x="5116930" y="3652860"/>
                  <a:ext cx="252611" cy="153438"/>
                </a:xfrm>
                <a:custGeom>
                  <a:avLst/>
                  <a:gdLst>
                    <a:gd name="T0" fmla="*/ 29 w 33"/>
                    <a:gd name="T1" fmla="*/ 10 h 20"/>
                    <a:gd name="T2" fmla="*/ 31 w 33"/>
                    <a:gd name="T3" fmla="*/ 20 h 20"/>
                    <a:gd name="T4" fmla="*/ 33 w 33"/>
                    <a:gd name="T5" fmla="*/ 20 h 20"/>
                    <a:gd name="T6" fmla="*/ 33 w 33"/>
                    <a:gd name="T7" fmla="*/ 0 h 20"/>
                    <a:gd name="T8" fmla="*/ 1 w 33"/>
                    <a:gd name="T9" fmla="*/ 0 h 20"/>
                    <a:gd name="T10" fmla="*/ 0 w 33"/>
                    <a:gd name="T11" fmla="*/ 8 h 20"/>
                    <a:gd name="T12" fmla="*/ 0 w 33"/>
                    <a:gd name="T13" fmla="*/ 11 h 20"/>
                    <a:gd name="T14" fmla="*/ 30 w 33"/>
                    <a:gd name="T15" fmla="*/ 11 h 20"/>
                    <a:gd name="T16" fmla="*/ 29 w 33"/>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0">
                      <a:moveTo>
                        <a:pt x="29" y="10"/>
                      </a:moveTo>
                      <a:cubicBezTo>
                        <a:pt x="31" y="20"/>
                        <a:pt x="31" y="20"/>
                        <a:pt x="31" y="20"/>
                      </a:cubicBezTo>
                      <a:cubicBezTo>
                        <a:pt x="33" y="20"/>
                        <a:pt x="33" y="20"/>
                        <a:pt x="33" y="20"/>
                      </a:cubicBezTo>
                      <a:cubicBezTo>
                        <a:pt x="33" y="0"/>
                        <a:pt x="33" y="0"/>
                        <a:pt x="33" y="0"/>
                      </a:cubicBezTo>
                      <a:cubicBezTo>
                        <a:pt x="1" y="0"/>
                        <a:pt x="1" y="0"/>
                        <a:pt x="1" y="0"/>
                      </a:cubicBezTo>
                      <a:cubicBezTo>
                        <a:pt x="1" y="2"/>
                        <a:pt x="1" y="5"/>
                        <a:pt x="0" y="8"/>
                      </a:cubicBezTo>
                      <a:cubicBezTo>
                        <a:pt x="0" y="9"/>
                        <a:pt x="0" y="10"/>
                        <a:pt x="0" y="11"/>
                      </a:cubicBezTo>
                      <a:cubicBezTo>
                        <a:pt x="30" y="11"/>
                        <a:pt x="30" y="11"/>
                        <a:pt x="30" y="11"/>
                      </a:cubicBezTo>
                      <a:lnTo>
                        <a:pt x="29" y="10"/>
                      </a:lnTo>
                      <a:close/>
                    </a:path>
                  </a:pathLst>
                </a:custGeom>
                <a:solidFill>
                  <a:srgbClr val="EC9C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8" name="işļïḑê">
                  <a:extLst>
                    <a:ext uri="{FF2B5EF4-FFF2-40B4-BE49-F238E27FC236}">
                      <a16:creationId xmlns:a16="http://schemas.microsoft.com/office/drawing/2014/main" id="{74680C0D-A500-4B22-9C90-3DB9F673D592}"/>
                    </a:ext>
                  </a:extLst>
                </p:cNvPr>
                <p:cNvSpPr/>
                <p:nvPr/>
              </p:nvSpPr>
              <p:spPr bwMode="auto">
                <a:xfrm>
                  <a:off x="6202222" y="3652859"/>
                  <a:ext cx="260095" cy="153438"/>
                </a:xfrm>
                <a:custGeom>
                  <a:avLst/>
                  <a:gdLst>
                    <a:gd name="T0" fmla="*/ 34 w 34"/>
                    <a:gd name="T1" fmla="*/ 8 h 20"/>
                    <a:gd name="T2" fmla="*/ 33 w 34"/>
                    <a:gd name="T3" fmla="*/ 0 h 20"/>
                    <a:gd name="T4" fmla="*/ 0 w 34"/>
                    <a:gd name="T5" fmla="*/ 0 h 20"/>
                    <a:gd name="T6" fmla="*/ 1 w 34"/>
                    <a:gd name="T7" fmla="*/ 20 h 20"/>
                    <a:gd name="T8" fmla="*/ 4 w 34"/>
                    <a:gd name="T9" fmla="*/ 20 h 20"/>
                    <a:gd name="T10" fmla="*/ 6 w 34"/>
                    <a:gd name="T11" fmla="*/ 11 h 20"/>
                    <a:gd name="T12" fmla="*/ 34 w 34"/>
                    <a:gd name="T13" fmla="*/ 11 h 20"/>
                    <a:gd name="T14" fmla="*/ 34 w 34"/>
                    <a:gd name="T15" fmla="*/ 8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0">
                      <a:moveTo>
                        <a:pt x="34" y="8"/>
                      </a:moveTo>
                      <a:cubicBezTo>
                        <a:pt x="34" y="5"/>
                        <a:pt x="33" y="2"/>
                        <a:pt x="33" y="0"/>
                      </a:cubicBezTo>
                      <a:cubicBezTo>
                        <a:pt x="0" y="0"/>
                        <a:pt x="0" y="0"/>
                        <a:pt x="0" y="0"/>
                      </a:cubicBezTo>
                      <a:cubicBezTo>
                        <a:pt x="1" y="20"/>
                        <a:pt x="1" y="20"/>
                        <a:pt x="1" y="20"/>
                      </a:cubicBezTo>
                      <a:cubicBezTo>
                        <a:pt x="4" y="20"/>
                        <a:pt x="4" y="20"/>
                        <a:pt x="4" y="20"/>
                      </a:cubicBezTo>
                      <a:cubicBezTo>
                        <a:pt x="6" y="11"/>
                        <a:pt x="6" y="11"/>
                        <a:pt x="6" y="11"/>
                      </a:cubicBezTo>
                      <a:cubicBezTo>
                        <a:pt x="34" y="11"/>
                        <a:pt x="34" y="11"/>
                        <a:pt x="34" y="11"/>
                      </a:cubicBezTo>
                      <a:cubicBezTo>
                        <a:pt x="34" y="10"/>
                        <a:pt x="34" y="9"/>
                        <a:pt x="34" y="8"/>
                      </a:cubicBezTo>
                      <a:close/>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grpSp>
      </p:grpSp>
    </p:spTree>
    <p:extLst>
      <p:ext uri="{BB962C8B-B14F-4D97-AF65-F5344CB8AC3E}">
        <p14:creationId xmlns:p14="http://schemas.microsoft.com/office/powerpoint/2010/main" val="34808315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5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12" name="Picture 3">
            <a:extLst>
              <a:ext uri="{FF2B5EF4-FFF2-40B4-BE49-F238E27FC236}">
                <a16:creationId xmlns:a16="http://schemas.microsoft.com/office/drawing/2014/main" id="{0B872857-B33A-4A2D-89CF-104F76E5339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295" t="5975" r="8023" b="12774"/>
          <a:stretch/>
        </p:blipFill>
        <p:spPr>
          <a:xfrm>
            <a:off x="4063217" y="1481051"/>
            <a:ext cx="7607379" cy="4544378"/>
          </a:xfrm>
          <a:prstGeom prst="rect">
            <a:avLst/>
          </a:prstGeom>
        </p:spPr>
      </p:pic>
    </p:spTree>
    <p:extLst>
      <p:ext uri="{BB962C8B-B14F-4D97-AF65-F5344CB8AC3E}">
        <p14:creationId xmlns:p14="http://schemas.microsoft.com/office/powerpoint/2010/main" val="5080700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封面2-2">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5A1A2F5D-7EF2-4B73-85AB-9BF11B83F7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4107180"/>
          </a:xfrm>
          <a:prstGeom prst="rect">
            <a:avLst/>
          </a:prstGeom>
        </p:spPr>
      </p:pic>
      <p:sp>
        <p:nvSpPr>
          <p:cNvPr id="111" name="矩形: 单圆角 110">
            <a:extLst>
              <a:ext uri="{FF2B5EF4-FFF2-40B4-BE49-F238E27FC236}">
                <a16:creationId xmlns:a16="http://schemas.microsoft.com/office/drawing/2014/main" id="{EAF442DF-F7DD-4876-9392-D355326F67A6}"/>
              </a:ext>
            </a:extLst>
          </p:cNvPr>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a:extLst>
              <a:ext uri="{FF2B5EF4-FFF2-40B4-BE49-F238E27FC236}">
                <a16:creationId xmlns:a16="http://schemas.microsoft.com/office/drawing/2014/main" id="{40D7A070-7AD3-46A0-AD41-94F48E4EE327}"/>
              </a:ext>
            </a:extLst>
          </p:cNvPr>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a:extLst>
              <a:ext uri="{FF2B5EF4-FFF2-40B4-BE49-F238E27FC236}">
                <a16:creationId xmlns:a16="http://schemas.microsoft.com/office/drawing/2014/main" id="{ABEFFFED-3586-4082-A56E-F78581DA1ACB}"/>
              </a:ext>
            </a:extLst>
          </p:cNvPr>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a:extLst>
              <a:ext uri="{FF2B5EF4-FFF2-40B4-BE49-F238E27FC236}">
                <a16:creationId xmlns:a16="http://schemas.microsoft.com/office/drawing/2014/main" id="{E5D5D201-24DF-473B-9E84-E4E6D020883A}"/>
              </a:ext>
            </a:extLst>
          </p:cNvPr>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8" name="内容占位符 123">
            <a:extLst>
              <a:ext uri="{FF2B5EF4-FFF2-40B4-BE49-F238E27FC236}">
                <a16:creationId xmlns:a16="http://schemas.microsoft.com/office/drawing/2014/main" id="{E5CD59C7-0160-4320-B484-3740DF51282A}"/>
              </a:ext>
            </a:extLst>
          </p:cNvPr>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9" name="内容占位符 4">
            <a:extLst>
              <a:ext uri="{FF2B5EF4-FFF2-40B4-BE49-F238E27FC236}">
                <a16:creationId xmlns:a16="http://schemas.microsoft.com/office/drawing/2014/main" id="{E2D6D34F-2210-476B-B52C-F483B17DBF52}"/>
              </a:ext>
            </a:extLst>
          </p:cNvPr>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grpSp>
        <p:nvGrpSpPr>
          <p:cNvPr id="60" name="组合 59">
            <a:extLst>
              <a:ext uri="{FF2B5EF4-FFF2-40B4-BE49-F238E27FC236}">
                <a16:creationId xmlns:a16="http://schemas.microsoft.com/office/drawing/2014/main" id="{5E6DAAE7-9BC0-4DC7-8612-ED5BC1B56135}"/>
              </a:ext>
            </a:extLst>
          </p:cNvPr>
          <p:cNvGrpSpPr/>
          <p:nvPr userDrawn="1"/>
        </p:nvGrpSpPr>
        <p:grpSpPr>
          <a:xfrm>
            <a:off x="10477913" y="446123"/>
            <a:ext cx="1234662" cy="419641"/>
            <a:chOff x="1398368" y="5051425"/>
            <a:chExt cx="3242941" cy="1102222"/>
          </a:xfrm>
        </p:grpSpPr>
        <p:sp>
          <p:nvSpPr>
            <p:cNvPr id="61" name="Freeform 5">
              <a:extLst>
                <a:ext uri="{FF2B5EF4-FFF2-40B4-BE49-F238E27FC236}">
                  <a16:creationId xmlns:a16="http://schemas.microsoft.com/office/drawing/2014/main" id="{9B0C5A24-C1C7-4929-83D1-9548E3C6FE96}"/>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
              <a:extLst>
                <a:ext uri="{FF2B5EF4-FFF2-40B4-BE49-F238E27FC236}">
                  <a16:creationId xmlns:a16="http://schemas.microsoft.com/office/drawing/2014/main" id="{1B9B4665-2BEB-44D4-B798-A4B12B0D7E3F}"/>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8">
              <a:extLst>
                <a:ext uri="{FF2B5EF4-FFF2-40B4-BE49-F238E27FC236}">
                  <a16:creationId xmlns:a16="http://schemas.microsoft.com/office/drawing/2014/main" id="{EBA15D70-2C5D-4DC6-9D04-C416CBBAFC53}"/>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3" name="组合 112">
              <a:extLst>
                <a:ext uri="{FF2B5EF4-FFF2-40B4-BE49-F238E27FC236}">
                  <a16:creationId xmlns:a16="http://schemas.microsoft.com/office/drawing/2014/main" id="{14592885-727D-43B3-BAD2-F13FC70B643D}"/>
                </a:ext>
              </a:extLst>
            </p:cNvPr>
            <p:cNvGrpSpPr/>
            <p:nvPr/>
          </p:nvGrpSpPr>
          <p:grpSpPr>
            <a:xfrm>
              <a:off x="2921957" y="5168150"/>
              <a:ext cx="542765" cy="642593"/>
              <a:chOff x="3102298" y="5183391"/>
              <a:chExt cx="501880" cy="594188"/>
            </a:xfrm>
          </p:grpSpPr>
          <p:sp>
            <p:nvSpPr>
              <p:cNvPr id="160" name="Freeform 6">
                <a:extLst>
                  <a:ext uri="{FF2B5EF4-FFF2-40B4-BE49-F238E27FC236}">
                    <a16:creationId xmlns:a16="http://schemas.microsoft.com/office/drawing/2014/main" id="{4A3149BE-D4FD-4F80-8B56-9C5C91240184}"/>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0">
                <a:extLst>
                  <a:ext uri="{FF2B5EF4-FFF2-40B4-BE49-F238E27FC236}">
                    <a16:creationId xmlns:a16="http://schemas.microsoft.com/office/drawing/2014/main" id="{E0D01AD4-8ECC-4CC7-B833-CE3562D79C69}"/>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3">
                <a:extLst>
                  <a:ext uri="{FF2B5EF4-FFF2-40B4-BE49-F238E27FC236}">
                    <a16:creationId xmlns:a16="http://schemas.microsoft.com/office/drawing/2014/main" id="{86895E5D-201D-4E04-8A3E-241CF19A80BE}"/>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7" name="组合 116">
              <a:extLst>
                <a:ext uri="{FF2B5EF4-FFF2-40B4-BE49-F238E27FC236}">
                  <a16:creationId xmlns:a16="http://schemas.microsoft.com/office/drawing/2014/main" id="{4F4046A9-73F0-48AA-B91A-E90CB1DC5754}"/>
                </a:ext>
              </a:extLst>
            </p:cNvPr>
            <p:cNvGrpSpPr/>
            <p:nvPr/>
          </p:nvGrpSpPr>
          <p:grpSpPr>
            <a:xfrm>
              <a:off x="4196892" y="5154476"/>
              <a:ext cx="444417" cy="649987"/>
              <a:chOff x="4257853" y="5169716"/>
              <a:chExt cx="410940" cy="601025"/>
            </a:xfrm>
          </p:grpSpPr>
          <p:sp>
            <p:nvSpPr>
              <p:cNvPr id="155" name="Freeform 9">
                <a:extLst>
                  <a:ext uri="{FF2B5EF4-FFF2-40B4-BE49-F238E27FC236}">
                    <a16:creationId xmlns:a16="http://schemas.microsoft.com/office/drawing/2014/main" id="{408A795B-82BD-4767-AEC0-1B9BBF7D1603}"/>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1">
                <a:extLst>
                  <a:ext uri="{FF2B5EF4-FFF2-40B4-BE49-F238E27FC236}">
                    <a16:creationId xmlns:a16="http://schemas.microsoft.com/office/drawing/2014/main" id="{DC85FF5B-10EF-431F-8C01-5E8BE42C8CA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2">
                <a:extLst>
                  <a:ext uri="{FF2B5EF4-FFF2-40B4-BE49-F238E27FC236}">
                    <a16:creationId xmlns:a16="http://schemas.microsoft.com/office/drawing/2014/main" id="{7BDCF635-6679-41EC-9E20-AE14932301B2}"/>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
                <a:extLst>
                  <a:ext uri="{FF2B5EF4-FFF2-40B4-BE49-F238E27FC236}">
                    <a16:creationId xmlns:a16="http://schemas.microsoft.com/office/drawing/2014/main" id="{A660E681-A866-4C98-97B3-9124F0F51DDB}"/>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
                <a:extLst>
                  <a:ext uri="{FF2B5EF4-FFF2-40B4-BE49-F238E27FC236}">
                    <a16:creationId xmlns:a16="http://schemas.microsoft.com/office/drawing/2014/main" id="{FFA351A2-53A4-4134-B440-C2D0DABE79E5}"/>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1" name="Freeform 16">
              <a:extLst>
                <a:ext uri="{FF2B5EF4-FFF2-40B4-BE49-F238E27FC236}">
                  <a16:creationId xmlns:a16="http://schemas.microsoft.com/office/drawing/2014/main" id="{166EDD9E-5ED9-46DA-926D-6869F962B12C}"/>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7">
              <a:extLst>
                <a:ext uri="{FF2B5EF4-FFF2-40B4-BE49-F238E27FC236}">
                  <a16:creationId xmlns:a16="http://schemas.microsoft.com/office/drawing/2014/main" id="{A2EBA0BF-0676-4412-A3E2-A1A24FC9887F}"/>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8">
              <a:extLst>
                <a:ext uri="{FF2B5EF4-FFF2-40B4-BE49-F238E27FC236}">
                  <a16:creationId xmlns:a16="http://schemas.microsoft.com/office/drawing/2014/main" id="{0061F077-9689-4C88-832A-598BEEF9631F}"/>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9">
              <a:extLst>
                <a:ext uri="{FF2B5EF4-FFF2-40B4-BE49-F238E27FC236}">
                  <a16:creationId xmlns:a16="http://schemas.microsoft.com/office/drawing/2014/main" id="{24257F43-8216-4C99-95C2-CA1D808354A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0">
              <a:extLst>
                <a:ext uri="{FF2B5EF4-FFF2-40B4-BE49-F238E27FC236}">
                  <a16:creationId xmlns:a16="http://schemas.microsoft.com/office/drawing/2014/main" id="{C00759F6-E333-44AE-8A72-DFD241D597DB}"/>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1">
              <a:extLst>
                <a:ext uri="{FF2B5EF4-FFF2-40B4-BE49-F238E27FC236}">
                  <a16:creationId xmlns:a16="http://schemas.microsoft.com/office/drawing/2014/main" id="{8CCB61FF-4163-444A-A976-54DBA7992C81}"/>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2">
              <a:extLst>
                <a:ext uri="{FF2B5EF4-FFF2-40B4-BE49-F238E27FC236}">
                  <a16:creationId xmlns:a16="http://schemas.microsoft.com/office/drawing/2014/main" id="{EE22FF1B-752F-4F5B-9544-8CD7A2121E1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3">
              <a:extLst>
                <a:ext uri="{FF2B5EF4-FFF2-40B4-BE49-F238E27FC236}">
                  <a16:creationId xmlns:a16="http://schemas.microsoft.com/office/drawing/2014/main" id="{699D2A56-77FC-439B-842D-9219CE13BD6E}"/>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4">
              <a:extLst>
                <a:ext uri="{FF2B5EF4-FFF2-40B4-BE49-F238E27FC236}">
                  <a16:creationId xmlns:a16="http://schemas.microsoft.com/office/drawing/2014/main" id="{F6263587-2C6F-43F1-9215-E1F5F2F6AD51}"/>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5">
              <a:extLst>
                <a:ext uri="{FF2B5EF4-FFF2-40B4-BE49-F238E27FC236}">
                  <a16:creationId xmlns:a16="http://schemas.microsoft.com/office/drawing/2014/main" id="{2506F165-8F8B-4D41-99AE-F020419EE239}"/>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6">
              <a:extLst>
                <a:ext uri="{FF2B5EF4-FFF2-40B4-BE49-F238E27FC236}">
                  <a16:creationId xmlns:a16="http://schemas.microsoft.com/office/drawing/2014/main" id="{36F829C6-11BF-4C6B-BFC3-ED5A5259DC42}"/>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7">
              <a:extLst>
                <a:ext uri="{FF2B5EF4-FFF2-40B4-BE49-F238E27FC236}">
                  <a16:creationId xmlns:a16="http://schemas.microsoft.com/office/drawing/2014/main" id="{48ED641E-032E-422D-BC0A-996FCF82B5D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8">
              <a:extLst>
                <a:ext uri="{FF2B5EF4-FFF2-40B4-BE49-F238E27FC236}">
                  <a16:creationId xmlns:a16="http://schemas.microsoft.com/office/drawing/2014/main" id="{5FEC25F1-928C-49A9-A776-026CD5BC99F4}"/>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9">
              <a:extLst>
                <a:ext uri="{FF2B5EF4-FFF2-40B4-BE49-F238E27FC236}">
                  <a16:creationId xmlns:a16="http://schemas.microsoft.com/office/drawing/2014/main" id="{AD1AEC5D-A212-4A6B-9FC8-E088C6301A49}"/>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0">
              <a:extLst>
                <a:ext uri="{FF2B5EF4-FFF2-40B4-BE49-F238E27FC236}">
                  <a16:creationId xmlns:a16="http://schemas.microsoft.com/office/drawing/2014/main" id="{95371D4B-725A-475B-8BDE-2FCA48A3D6BF}"/>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1">
              <a:extLst>
                <a:ext uri="{FF2B5EF4-FFF2-40B4-BE49-F238E27FC236}">
                  <a16:creationId xmlns:a16="http://schemas.microsoft.com/office/drawing/2014/main" id="{1F5EE90C-6A54-4175-BE38-D0ADA3DB0381}"/>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2">
              <a:extLst>
                <a:ext uri="{FF2B5EF4-FFF2-40B4-BE49-F238E27FC236}">
                  <a16:creationId xmlns:a16="http://schemas.microsoft.com/office/drawing/2014/main" id="{D7FE5FF0-99B5-4198-AD29-07793B09CAFF}"/>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3">
              <a:extLst>
                <a:ext uri="{FF2B5EF4-FFF2-40B4-BE49-F238E27FC236}">
                  <a16:creationId xmlns:a16="http://schemas.microsoft.com/office/drawing/2014/main" id="{68B89323-2E7D-4709-822C-81698B342E75}"/>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4">
              <a:extLst>
                <a:ext uri="{FF2B5EF4-FFF2-40B4-BE49-F238E27FC236}">
                  <a16:creationId xmlns:a16="http://schemas.microsoft.com/office/drawing/2014/main" id="{F7F090DD-13BD-4FF7-94B9-183414BCB635}"/>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35">
              <a:extLst>
                <a:ext uri="{FF2B5EF4-FFF2-40B4-BE49-F238E27FC236}">
                  <a16:creationId xmlns:a16="http://schemas.microsoft.com/office/drawing/2014/main" id="{1BAA5FE3-317A-47E5-B2D7-E0EBF059191A}"/>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6">
              <a:extLst>
                <a:ext uri="{FF2B5EF4-FFF2-40B4-BE49-F238E27FC236}">
                  <a16:creationId xmlns:a16="http://schemas.microsoft.com/office/drawing/2014/main" id="{D27F6EDB-EF25-4D65-8F3B-D73DA485D532}"/>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7">
              <a:extLst>
                <a:ext uri="{FF2B5EF4-FFF2-40B4-BE49-F238E27FC236}">
                  <a16:creationId xmlns:a16="http://schemas.microsoft.com/office/drawing/2014/main" id="{59AD3A7B-E428-44A5-A073-82A0944E567E}"/>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8">
              <a:extLst>
                <a:ext uri="{FF2B5EF4-FFF2-40B4-BE49-F238E27FC236}">
                  <a16:creationId xmlns:a16="http://schemas.microsoft.com/office/drawing/2014/main" id="{221B5C6B-C717-4B46-A9AA-D3B96D6B4DD2}"/>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9">
              <a:extLst>
                <a:ext uri="{FF2B5EF4-FFF2-40B4-BE49-F238E27FC236}">
                  <a16:creationId xmlns:a16="http://schemas.microsoft.com/office/drawing/2014/main" id="{D9820E02-3B23-499C-A183-F2B374F0514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0">
              <a:extLst>
                <a:ext uri="{FF2B5EF4-FFF2-40B4-BE49-F238E27FC236}">
                  <a16:creationId xmlns:a16="http://schemas.microsoft.com/office/drawing/2014/main" id="{8DB8E78E-C965-47B1-8894-679F2C8C880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1">
              <a:extLst>
                <a:ext uri="{FF2B5EF4-FFF2-40B4-BE49-F238E27FC236}">
                  <a16:creationId xmlns:a16="http://schemas.microsoft.com/office/drawing/2014/main" id="{1B6B6184-73F5-4A67-8D20-D9945EBB2007}"/>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2">
              <a:extLst>
                <a:ext uri="{FF2B5EF4-FFF2-40B4-BE49-F238E27FC236}">
                  <a16:creationId xmlns:a16="http://schemas.microsoft.com/office/drawing/2014/main" id="{3E016C33-CF61-4E36-8484-22E53562DDAF}"/>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3">
              <a:extLst>
                <a:ext uri="{FF2B5EF4-FFF2-40B4-BE49-F238E27FC236}">
                  <a16:creationId xmlns:a16="http://schemas.microsoft.com/office/drawing/2014/main" id="{EEDA70E5-CD19-46AF-A9E3-F35FD16CCB2C}"/>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4">
              <a:extLst>
                <a:ext uri="{FF2B5EF4-FFF2-40B4-BE49-F238E27FC236}">
                  <a16:creationId xmlns:a16="http://schemas.microsoft.com/office/drawing/2014/main" id="{42FA3887-E586-4042-AD9E-1BB1A47D640B}"/>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5">
              <a:extLst>
                <a:ext uri="{FF2B5EF4-FFF2-40B4-BE49-F238E27FC236}">
                  <a16:creationId xmlns:a16="http://schemas.microsoft.com/office/drawing/2014/main" id="{82B09E17-ED29-4850-9FD6-329FF3549A55}"/>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6">
              <a:extLst>
                <a:ext uri="{FF2B5EF4-FFF2-40B4-BE49-F238E27FC236}">
                  <a16:creationId xmlns:a16="http://schemas.microsoft.com/office/drawing/2014/main" id="{1A922A67-F9B3-48F7-AD30-D4942C16C212}"/>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7">
              <a:extLst>
                <a:ext uri="{FF2B5EF4-FFF2-40B4-BE49-F238E27FC236}">
                  <a16:creationId xmlns:a16="http://schemas.microsoft.com/office/drawing/2014/main" id="{5831008D-75E4-4DC9-BE81-31DC72C1DC0E}"/>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8">
              <a:extLst>
                <a:ext uri="{FF2B5EF4-FFF2-40B4-BE49-F238E27FC236}">
                  <a16:creationId xmlns:a16="http://schemas.microsoft.com/office/drawing/2014/main" id="{338C26D0-4D66-4196-B534-62936D32094A}"/>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9">
              <a:extLst>
                <a:ext uri="{FF2B5EF4-FFF2-40B4-BE49-F238E27FC236}">
                  <a16:creationId xmlns:a16="http://schemas.microsoft.com/office/drawing/2014/main" id="{F71E6D41-48C5-4FC1-88E7-E815D160C59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3" name="直接连接符 62">
            <a:extLst>
              <a:ext uri="{FF2B5EF4-FFF2-40B4-BE49-F238E27FC236}">
                <a16:creationId xmlns:a16="http://schemas.microsoft.com/office/drawing/2014/main" id="{6EBE6528-4661-4C35-98DF-87E9CDDF9CF5}"/>
              </a:ext>
            </a:extLst>
          </p:cNvPr>
          <p:cNvCxnSpPr>
            <a:cxnSpLocks/>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80482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6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图片占位符 6">
            <a:extLst>
              <a:ext uri="{FF2B5EF4-FFF2-40B4-BE49-F238E27FC236}">
                <a16:creationId xmlns:a16="http://schemas.microsoft.com/office/drawing/2014/main" id="{756ADA68-F4E8-4B54-B88F-4359FF1AD6CC}"/>
              </a:ext>
            </a:extLst>
          </p:cNvPr>
          <p:cNvSpPr>
            <a:spLocks noGrp="1"/>
          </p:cNvSpPr>
          <p:nvPr>
            <p:ph type="pic" sz="quarter" idx="10"/>
          </p:nvPr>
        </p:nvSpPr>
        <p:spPr>
          <a:xfrm>
            <a:off x="515937" y="1196975"/>
            <a:ext cx="11209217" cy="2452255"/>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40922443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7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7" name="图片占位符 156">
            <a:extLst>
              <a:ext uri="{FF2B5EF4-FFF2-40B4-BE49-F238E27FC236}">
                <a16:creationId xmlns:a16="http://schemas.microsoft.com/office/drawing/2014/main" id="{1122BB00-8520-4F7C-B385-7B6C1FD27258}"/>
              </a:ext>
            </a:extLst>
          </p:cNvPr>
          <p:cNvSpPr>
            <a:spLocks noGrp="1"/>
          </p:cNvSpPr>
          <p:nvPr>
            <p:ph type="pic" sz="quarter" idx="10"/>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lumMod val="20000"/>
              <a:lumOff val="80000"/>
            </a:schemeClr>
          </a:solidFill>
        </p:spPr>
        <p:txBody>
          <a:bodyPr wrap="square">
            <a:noAutofit/>
          </a:bodyPr>
          <a:lstStyle/>
          <a:p>
            <a:endParaRPr lang="en-US"/>
          </a:p>
        </p:txBody>
      </p:sp>
      <p:sp>
        <p:nvSpPr>
          <p:cNvPr id="115" name="ïşḷîḓé">
            <a:extLst>
              <a:ext uri="{FF2B5EF4-FFF2-40B4-BE49-F238E27FC236}">
                <a16:creationId xmlns:a16="http://schemas.microsoft.com/office/drawing/2014/main" id="{40997A68-2C1D-4860-BA41-7A5C6E74BC9B}"/>
              </a:ext>
            </a:extLst>
          </p:cNvPr>
          <p:cNvSpPr/>
          <p:nvPr userDrawn="1"/>
        </p:nvSpPr>
        <p:spPr>
          <a:xfrm>
            <a:off x="4229746" y="1372281"/>
            <a:ext cx="4581751" cy="4581750"/>
          </a:xfrm>
          <a:prstGeom prst="ellipse">
            <a:avLst/>
          </a:prstGeom>
          <a:noFill/>
          <a:ln w="22225">
            <a:solidFill>
              <a:schemeClr val="bg1">
                <a:lumMod val="75000"/>
                <a:alpha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6">
              <a:solidFill>
                <a:schemeClr val="tx1"/>
              </a:solidFill>
              <a:cs typeface="+mn-ea"/>
              <a:sym typeface="+mn-lt"/>
            </a:endParaRPr>
          </a:p>
        </p:txBody>
      </p:sp>
      <p:sp>
        <p:nvSpPr>
          <p:cNvPr id="116" name="ïś1ïḍè">
            <a:extLst>
              <a:ext uri="{FF2B5EF4-FFF2-40B4-BE49-F238E27FC236}">
                <a16:creationId xmlns:a16="http://schemas.microsoft.com/office/drawing/2014/main" id="{C6B4CC40-8ACC-44B2-A21C-A2F898B96C9B}"/>
              </a:ext>
            </a:extLst>
          </p:cNvPr>
          <p:cNvSpPr/>
          <p:nvPr userDrawn="1"/>
        </p:nvSpPr>
        <p:spPr>
          <a:xfrm>
            <a:off x="4579367" y="1721902"/>
            <a:ext cx="3882508" cy="3882508"/>
          </a:xfrm>
          <a:prstGeom prst="ellipse">
            <a:avLst/>
          </a:prstGeom>
          <a:solidFill>
            <a:schemeClr val="bg1"/>
          </a:solidFill>
          <a:ln w="12700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6">
              <a:solidFill>
                <a:schemeClr val="tx1"/>
              </a:solidFill>
              <a:cs typeface="+mn-ea"/>
              <a:sym typeface="+mn-lt"/>
            </a:endParaRPr>
          </a:p>
        </p:txBody>
      </p:sp>
      <p:grpSp>
        <p:nvGrpSpPr>
          <p:cNvPr id="117" name="组合 116">
            <a:extLst>
              <a:ext uri="{FF2B5EF4-FFF2-40B4-BE49-F238E27FC236}">
                <a16:creationId xmlns:a16="http://schemas.microsoft.com/office/drawing/2014/main" id="{C2FC0AB7-F3EC-4384-95AE-C5C290E37EC8}"/>
              </a:ext>
            </a:extLst>
          </p:cNvPr>
          <p:cNvGrpSpPr/>
          <p:nvPr userDrawn="1"/>
        </p:nvGrpSpPr>
        <p:grpSpPr>
          <a:xfrm>
            <a:off x="5597075" y="2276966"/>
            <a:ext cx="1847092" cy="2772380"/>
            <a:chOff x="7495980" y="2259422"/>
            <a:chExt cx="1847092" cy="2772380"/>
          </a:xfrm>
        </p:grpSpPr>
        <p:sp>
          <p:nvSpPr>
            <p:cNvPr id="118" name="iṧļîḓè">
              <a:extLst>
                <a:ext uri="{FF2B5EF4-FFF2-40B4-BE49-F238E27FC236}">
                  <a16:creationId xmlns:a16="http://schemas.microsoft.com/office/drawing/2014/main" id="{021B8BD8-E325-4CC0-AC4E-458E89B6803C}"/>
                </a:ext>
              </a:extLst>
            </p:cNvPr>
            <p:cNvSpPr/>
            <p:nvPr/>
          </p:nvSpPr>
          <p:spPr bwMode="auto">
            <a:xfrm>
              <a:off x="7495980" y="2259422"/>
              <a:ext cx="1847092" cy="2772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19" name="isľïde">
              <a:extLst>
                <a:ext uri="{FF2B5EF4-FFF2-40B4-BE49-F238E27FC236}">
                  <a16:creationId xmlns:a16="http://schemas.microsoft.com/office/drawing/2014/main" id="{F5B5AFA2-C464-400E-9275-C99861C23310}"/>
                </a:ext>
              </a:extLst>
            </p:cNvPr>
            <p:cNvSpPr/>
            <p:nvPr/>
          </p:nvSpPr>
          <p:spPr bwMode="auto">
            <a:xfrm>
              <a:off x="8024119" y="2829366"/>
              <a:ext cx="202755" cy="487727"/>
            </a:xfrm>
            <a:custGeom>
              <a:avLst/>
              <a:gdLst>
                <a:gd name="T0" fmla="*/ 23 w 199"/>
                <a:gd name="T1" fmla="*/ 410 h 479"/>
                <a:gd name="T2" fmla="*/ 23 w 199"/>
                <a:gd name="T3" fmla="*/ 410 h 479"/>
                <a:gd name="T4" fmla="*/ 137 w 199"/>
                <a:gd name="T5" fmla="*/ 368 h 479"/>
                <a:gd name="T6" fmla="*/ 57 w 199"/>
                <a:gd name="T7" fmla="*/ 474 h 479"/>
                <a:gd name="T8" fmla="*/ 36 w 199"/>
                <a:gd name="T9" fmla="*/ 477 h 479"/>
                <a:gd name="T10" fmla="*/ 6 w 199"/>
                <a:gd name="T11" fmla="*/ 426 h 479"/>
                <a:gd name="T12" fmla="*/ 6 w 199"/>
                <a:gd name="T13" fmla="*/ 427 h 479"/>
                <a:gd name="T14" fmla="*/ 1 w 199"/>
                <a:gd name="T15" fmla="*/ 382 h 479"/>
                <a:gd name="T16" fmla="*/ 3 w 199"/>
                <a:gd name="T17" fmla="*/ 329 h 479"/>
                <a:gd name="T18" fmla="*/ 3 w 199"/>
                <a:gd name="T19" fmla="*/ 326 h 479"/>
                <a:gd name="T20" fmla="*/ 26 w 199"/>
                <a:gd name="T21" fmla="*/ 206 h 479"/>
                <a:gd name="T22" fmla="*/ 67 w 199"/>
                <a:gd name="T23" fmla="*/ 93 h 479"/>
                <a:gd name="T24" fmla="*/ 120 w 199"/>
                <a:gd name="T25" fmla="*/ 18 h 479"/>
                <a:gd name="T26" fmla="*/ 151 w 199"/>
                <a:gd name="T27" fmla="*/ 4 h 479"/>
                <a:gd name="T28" fmla="*/ 191 w 199"/>
                <a:gd name="T29" fmla="*/ 32 h 479"/>
                <a:gd name="T30" fmla="*/ 184 w 199"/>
                <a:gd name="T31" fmla="*/ 123 h 479"/>
                <a:gd name="T32" fmla="*/ 136 w 199"/>
                <a:gd name="T33" fmla="*/ 247 h 479"/>
                <a:gd name="T34" fmla="*/ 1 w 199"/>
                <a:gd name="T35" fmla="*/ 41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 h="479">
                  <a:moveTo>
                    <a:pt x="23" y="410"/>
                  </a:moveTo>
                  <a:cubicBezTo>
                    <a:pt x="23" y="410"/>
                    <a:pt x="23" y="410"/>
                    <a:pt x="23" y="410"/>
                  </a:cubicBezTo>
                  <a:moveTo>
                    <a:pt x="137" y="368"/>
                  </a:moveTo>
                  <a:cubicBezTo>
                    <a:pt x="109" y="394"/>
                    <a:pt x="88" y="444"/>
                    <a:pt x="57" y="474"/>
                  </a:cubicBezTo>
                  <a:cubicBezTo>
                    <a:pt x="52" y="478"/>
                    <a:pt x="41" y="479"/>
                    <a:pt x="36" y="477"/>
                  </a:cubicBezTo>
                  <a:cubicBezTo>
                    <a:pt x="19" y="468"/>
                    <a:pt x="10" y="444"/>
                    <a:pt x="6" y="426"/>
                  </a:cubicBezTo>
                  <a:moveTo>
                    <a:pt x="6" y="427"/>
                  </a:moveTo>
                  <a:cubicBezTo>
                    <a:pt x="4" y="418"/>
                    <a:pt x="2" y="391"/>
                    <a:pt x="1" y="382"/>
                  </a:cubicBezTo>
                  <a:cubicBezTo>
                    <a:pt x="0" y="364"/>
                    <a:pt x="1" y="346"/>
                    <a:pt x="3" y="329"/>
                  </a:cubicBezTo>
                  <a:cubicBezTo>
                    <a:pt x="3" y="328"/>
                    <a:pt x="3" y="327"/>
                    <a:pt x="3" y="326"/>
                  </a:cubicBezTo>
                  <a:cubicBezTo>
                    <a:pt x="7" y="285"/>
                    <a:pt x="15" y="245"/>
                    <a:pt x="26" y="206"/>
                  </a:cubicBezTo>
                  <a:cubicBezTo>
                    <a:pt x="36" y="167"/>
                    <a:pt x="49" y="129"/>
                    <a:pt x="67" y="93"/>
                  </a:cubicBezTo>
                  <a:cubicBezTo>
                    <a:pt x="80" y="66"/>
                    <a:pt x="96" y="36"/>
                    <a:pt x="120" y="18"/>
                  </a:cubicBezTo>
                  <a:cubicBezTo>
                    <a:pt x="129" y="10"/>
                    <a:pt x="139" y="5"/>
                    <a:pt x="151" y="4"/>
                  </a:cubicBezTo>
                  <a:cubicBezTo>
                    <a:pt x="171" y="0"/>
                    <a:pt x="186" y="13"/>
                    <a:pt x="191" y="32"/>
                  </a:cubicBezTo>
                  <a:cubicBezTo>
                    <a:pt x="199" y="61"/>
                    <a:pt x="191" y="94"/>
                    <a:pt x="184" y="123"/>
                  </a:cubicBezTo>
                  <a:cubicBezTo>
                    <a:pt x="173" y="163"/>
                    <a:pt x="157" y="209"/>
                    <a:pt x="136" y="247"/>
                  </a:cubicBezTo>
                  <a:cubicBezTo>
                    <a:pt x="97" y="318"/>
                    <a:pt x="16" y="404"/>
                    <a:pt x="1" y="419"/>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0" name="iṣļîḑê">
              <a:extLst>
                <a:ext uri="{FF2B5EF4-FFF2-40B4-BE49-F238E27FC236}">
                  <a16:creationId xmlns:a16="http://schemas.microsoft.com/office/drawing/2014/main" id="{90B0CDAB-3369-40AA-A607-F295BB9BA6E3}"/>
                </a:ext>
              </a:extLst>
            </p:cNvPr>
            <p:cNvSpPr/>
            <p:nvPr/>
          </p:nvSpPr>
          <p:spPr bwMode="auto">
            <a:xfrm>
              <a:off x="8138386" y="2889287"/>
              <a:ext cx="330261" cy="425716"/>
            </a:xfrm>
            <a:custGeom>
              <a:avLst/>
              <a:gdLst>
                <a:gd name="T0" fmla="*/ 184 w 324"/>
                <a:gd name="T1" fmla="*/ 334 h 418"/>
                <a:gd name="T2" fmla="*/ 159 w 324"/>
                <a:gd name="T3" fmla="*/ 363 h 418"/>
                <a:gd name="T4" fmla="*/ 102 w 324"/>
                <a:gd name="T5" fmla="*/ 402 h 418"/>
                <a:gd name="T6" fmla="*/ 34 w 324"/>
                <a:gd name="T7" fmla="*/ 407 h 418"/>
                <a:gd name="T8" fmla="*/ 21 w 324"/>
                <a:gd name="T9" fmla="*/ 316 h 418"/>
                <a:gd name="T10" fmla="*/ 69 w 324"/>
                <a:gd name="T11" fmla="*/ 250 h 418"/>
                <a:gd name="T12" fmla="*/ 122 w 324"/>
                <a:gd name="T13" fmla="*/ 209 h 418"/>
                <a:gd name="T14" fmla="*/ 198 w 324"/>
                <a:gd name="T15" fmla="*/ 188 h 418"/>
                <a:gd name="T16" fmla="*/ 240 w 324"/>
                <a:gd name="T17" fmla="*/ 199 h 418"/>
                <a:gd name="T18" fmla="*/ 314 w 324"/>
                <a:gd name="T19" fmla="*/ 0 h 418"/>
                <a:gd name="T20" fmla="*/ 319 w 324"/>
                <a:gd name="T21" fmla="*/ 12 h 418"/>
                <a:gd name="T22" fmla="*/ 230 w 324"/>
                <a:gd name="T23" fmla="*/ 220 h 418"/>
                <a:gd name="T24" fmla="*/ 213 w 324"/>
                <a:gd name="T25" fmla="*/ 260 h 418"/>
                <a:gd name="T26" fmla="*/ 198 w 324"/>
                <a:gd name="T27" fmla="*/ 294 h 418"/>
                <a:gd name="T28" fmla="*/ 180 w 324"/>
                <a:gd name="T29" fmla="*/ 346 h 418"/>
                <a:gd name="T30" fmla="*/ 176 w 324"/>
                <a:gd name="T31" fmla="*/ 376 h 418"/>
                <a:gd name="T32" fmla="*/ 180 w 324"/>
                <a:gd name="T33" fmla="*/ 393 h 418"/>
                <a:gd name="T34" fmla="*/ 215 w 324"/>
                <a:gd name="T35" fmla="*/ 377 h 418"/>
                <a:gd name="T36" fmla="*/ 259 w 324"/>
                <a:gd name="T37" fmla="*/ 330 h 418"/>
                <a:gd name="T38" fmla="*/ 288 w 324"/>
                <a:gd name="T39" fmla="*/ 294 h 418"/>
                <a:gd name="T40" fmla="*/ 324 w 324"/>
                <a:gd name="T41" fmla="*/ 251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4" h="418">
                  <a:moveTo>
                    <a:pt x="184" y="334"/>
                  </a:moveTo>
                  <a:cubicBezTo>
                    <a:pt x="183" y="336"/>
                    <a:pt x="170" y="350"/>
                    <a:pt x="159" y="363"/>
                  </a:cubicBezTo>
                  <a:cubicBezTo>
                    <a:pt x="143" y="381"/>
                    <a:pt x="123" y="391"/>
                    <a:pt x="102" y="402"/>
                  </a:cubicBezTo>
                  <a:cubicBezTo>
                    <a:pt x="83" y="411"/>
                    <a:pt x="55" y="418"/>
                    <a:pt x="34" y="407"/>
                  </a:cubicBezTo>
                  <a:cubicBezTo>
                    <a:pt x="0" y="391"/>
                    <a:pt x="9" y="344"/>
                    <a:pt x="21" y="316"/>
                  </a:cubicBezTo>
                  <a:cubicBezTo>
                    <a:pt x="33" y="292"/>
                    <a:pt x="50" y="270"/>
                    <a:pt x="69" y="250"/>
                  </a:cubicBezTo>
                  <a:cubicBezTo>
                    <a:pt x="84" y="234"/>
                    <a:pt x="102" y="219"/>
                    <a:pt x="122" y="209"/>
                  </a:cubicBezTo>
                  <a:cubicBezTo>
                    <a:pt x="145" y="196"/>
                    <a:pt x="171" y="187"/>
                    <a:pt x="198" y="188"/>
                  </a:cubicBezTo>
                  <a:cubicBezTo>
                    <a:pt x="202" y="188"/>
                    <a:pt x="230" y="187"/>
                    <a:pt x="240" y="199"/>
                  </a:cubicBezTo>
                  <a:moveTo>
                    <a:pt x="314" y="0"/>
                  </a:moveTo>
                  <a:cubicBezTo>
                    <a:pt x="319" y="2"/>
                    <a:pt x="322" y="7"/>
                    <a:pt x="319" y="12"/>
                  </a:cubicBezTo>
                  <a:cubicBezTo>
                    <a:pt x="291" y="82"/>
                    <a:pt x="262" y="152"/>
                    <a:pt x="230" y="220"/>
                  </a:cubicBezTo>
                  <a:cubicBezTo>
                    <a:pt x="213" y="260"/>
                    <a:pt x="213" y="260"/>
                    <a:pt x="213" y="260"/>
                  </a:cubicBezTo>
                  <a:cubicBezTo>
                    <a:pt x="198" y="294"/>
                    <a:pt x="198" y="294"/>
                    <a:pt x="198" y="294"/>
                  </a:cubicBezTo>
                  <a:cubicBezTo>
                    <a:pt x="191" y="311"/>
                    <a:pt x="185" y="329"/>
                    <a:pt x="180" y="346"/>
                  </a:cubicBezTo>
                  <a:cubicBezTo>
                    <a:pt x="178" y="356"/>
                    <a:pt x="176" y="366"/>
                    <a:pt x="176" y="376"/>
                  </a:cubicBezTo>
                  <a:cubicBezTo>
                    <a:pt x="176" y="382"/>
                    <a:pt x="176" y="389"/>
                    <a:pt x="180" y="393"/>
                  </a:cubicBezTo>
                  <a:cubicBezTo>
                    <a:pt x="191" y="403"/>
                    <a:pt x="209" y="383"/>
                    <a:pt x="215" y="377"/>
                  </a:cubicBezTo>
                  <a:cubicBezTo>
                    <a:pt x="231" y="363"/>
                    <a:pt x="245" y="347"/>
                    <a:pt x="259" y="330"/>
                  </a:cubicBezTo>
                  <a:cubicBezTo>
                    <a:pt x="288" y="294"/>
                    <a:pt x="288" y="294"/>
                    <a:pt x="288" y="294"/>
                  </a:cubicBezTo>
                  <a:cubicBezTo>
                    <a:pt x="295" y="287"/>
                    <a:pt x="312" y="263"/>
                    <a:pt x="324" y="251"/>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1" name="iSḻïḑe">
              <a:extLst>
                <a:ext uri="{FF2B5EF4-FFF2-40B4-BE49-F238E27FC236}">
                  <a16:creationId xmlns:a16="http://schemas.microsoft.com/office/drawing/2014/main" id="{75E9DB39-9171-495F-B42C-C4484446C8D8}"/>
                </a:ext>
              </a:extLst>
            </p:cNvPr>
            <p:cNvSpPr/>
            <p:nvPr/>
          </p:nvSpPr>
          <p:spPr bwMode="auto">
            <a:xfrm>
              <a:off x="8431022" y="3074623"/>
              <a:ext cx="193697" cy="234109"/>
            </a:xfrm>
            <a:custGeom>
              <a:avLst/>
              <a:gdLst>
                <a:gd name="T0" fmla="*/ 190 w 190"/>
                <a:gd name="T1" fmla="*/ 139 h 230"/>
                <a:gd name="T2" fmla="*/ 179 w 190"/>
                <a:gd name="T3" fmla="*/ 150 h 230"/>
                <a:gd name="T4" fmla="*/ 144 w 190"/>
                <a:gd name="T5" fmla="*/ 186 h 230"/>
                <a:gd name="T6" fmla="*/ 47 w 190"/>
                <a:gd name="T7" fmla="*/ 226 h 230"/>
                <a:gd name="T8" fmla="*/ 8 w 190"/>
                <a:gd name="T9" fmla="*/ 199 h 230"/>
                <a:gd name="T10" fmla="*/ 7 w 190"/>
                <a:gd name="T11" fmla="*/ 138 h 230"/>
                <a:gd name="T12" fmla="*/ 70 w 190"/>
                <a:gd name="T13" fmla="*/ 29 h 230"/>
                <a:gd name="T14" fmla="*/ 116 w 190"/>
                <a:gd name="T15" fmla="*/ 3 h 230"/>
                <a:gd name="T16" fmla="*/ 163 w 190"/>
                <a:gd name="T17" fmla="*/ 24 h 230"/>
                <a:gd name="T18" fmla="*/ 122 w 190"/>
                <a:gd name="T19" fmla="*/ 93 h 230"/>
                <a:gd name="T20" fmla="*/ 64 w 190"/>
                <a:gd name="T21" fmla="*/ 119 h 230"/>
                <a:gd name="T22" fmla="*/ 44 w 190"/>
                <a:gd name="T23" fmla="*/ 125 h 230"/>
                <a:gd name="T24" fmla="*/ 9 w 190"/>
                <a:gd name="T25" fmla="*/ 1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230">
                  <a:moveTo>
                    <a:pt x="190" y="139"/>
                  </a:moveTo>
                  <a:cubicBezTo>
                    <a:pt x="179" y="150"/>
                    <a:pt x="179" y="150"/>
                    <a:pt x="179" y="150"/>
                  </a:cubicBezTo>
                  <a:cubicBezTo>
                    <a:pt x="168" y="163"/>
                    <a:pt x="157" y="174"/>
                    <a:pt x="144" y="186"/>
                  </a:cubicBezTo>
                  <a:cubicBezTo>
                    <a:pt x="117" y="208"/>
                    <a:pt x="83" y="230"/>
                    <a:pt x="47" y="226"/>
                  </a:cubicBezTo>
                  <a:cubicBezTo>
                    <a:pt x="30" y="224"/>
                    <a:pt x="15" y="215"/>
                    <a:pt x="8" y="199"/>
                  </a:cubicBezTo>
                  <a:cubicBezTo>
                    <a:pt x="0" y="180"/>
                    <a:pt x="2" y="158"/>
                    <a:pt x="7" y="138"/>
                  </a:cubicBezTo>
                  <a:cubicBezTo>
                    <a:pt x="16" y="97"/>
                    <a:pt x="39" y="57"/>
                    <a:pt x="70" y="29"/>
                  </a:cubicBezTo>
                  <a:cubicBezTo>
                    <a:pt x="83" y="17"/>
                    <a:pt x="99" y="6"/>
                    <a:pt x="116" y="3"/>
                  </a:cubicBezTo>
                  <a:cubicBezTo>
                    <a:pt x="135" y="0"/>
                    <a:pt x="157" y="4"/>
                    <a:pt x="163" y="24"/>
                  </a:cubicBezTo>
                  <a:cubicBezTo>
                    <a:pt x="171" y="53"/>
                    <a:pt x="144" y="79"/>
                    <a:pt x="122" y="93"/>
                  </a:cubicBezTo>
                  <a:cubicBezTo>
                    <a:pt x="104" y="105"/>
                    <a:pt x="84" y="113"/>
                    <a:pt x="64" y="119"/>
                  </a:cubicBezTo>
                  <a:cubicBezTo>
                    <a:pt x="57" y="122"/>
                    <a:pt x="51" y="124"/>
                    <a:pt x="44" y="125"/>
                  </a:cubicBezTo>
                  <a:cubicBezTo>
                    <a:pt x="9" y="130"/>
                    <a:pt x="9" y="130"/>
                    <a:pt x="9" y="130"/>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2" name="ï$ḷiďé">
              <a:extLst>
                <a:ext uri="{FF2B5EF4-FFF2-40B4-BE49-F238E27FC236}">
                  <a16:creationId xmlns:a16="http://schemas.microsoft.com/office/drawing/2014/main" id="{119288C6-49E9-48D9-92F6-7FDBDB85FA64}"/>
                </a:ext>
              </a:extLst>
            </p:cNvPr>
            <p:cNvSpPr/>
            <p:nvPr/>
          </p:nvSpPr>
          <p:spPr bwMode="auto">
            <a:xfrm>
              <a:off x="8620539" y="3054417"/>
              <a:ext cx="238289" cy="243167"/>
            </a:xfrm>
            <a:custGeom>
              <a:avLst/>
              <a:gdLst>
                <a:gd name="T0" fmla="*/ 139 w 234"/>
                <a:gd name="T1" fmla="*/ 174 h 239"/>
                <a:gd name="T2" fmla="*/ 82 w 234"/>
                <a:gd name="T3" fmla="*/ 225 h 239"/>
                <a:gd name="T4" fmla="*/ 20 w 234"/>
                <a:gd name="T5" fmla="*/ 226 h 239"/>
                <a:gd name="T6" fmla="*/ 0 w 234"/>
                <a:gd name="T7" fmla="*/ 181 h 239"/>
                <a:gd name="T8" fmla="*/ 19 w 234"/>
                <a:gd name="T9" fmla="*/ 123 h 239"/>
                <a:gd name="T10" fmla="*/ 69 w 234"/>
                <a:gd name="T11" fmla="*/ 58 h 239"/>
                <a:gd name="T12" fmla="*/ 125 w 234"/>
                <a:gd name="T13" fmla="*/ 19 h 239"/>
                <a:gd name="T14" fmla="*/ 206 w 234"/>
                <a:gd name="T15" fmla="*/ 4 h 239"/>
                <a:gd name="T16" fmla="*/ 221 w 234"/>
                <a:gd name="T17" fmla="*/ 7 h 239"/>
                <a:gd name="T18" fmla="*/ 219 w 234"/>
                <a:gd name="T19" fmla="*/ 36 h 239"/>
                <a:gd name="T20" fmla="*/ 188 w 234"/>
                <a:gd name="T21" fmla="*/ 100 h 239"/>
                <a:gd name="T22" fmla="*/ 165 w 234"/>
                <a:gd name="T23" fmla="*/ 135 h 239"/>
                <a:gd name="T24" fmla="*/ 139 w 234"/>
                <a:gd name="T25" fmla="*/ 17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39">
                  <a:moveTo>
                    <a:pt x="139" y="174"/>
                  </a:moveTo>
                  <a:cubicBezTo>
                    <a:pt x="123" y="194"/>
                    <a:pt x="104" y="213"/>
                    <a:pt x="82" y="225"/>
                  </a:cubicBezTo>
                  <a:cubicBezTo>
                    <a:pt x="64" y="234"/>
                    <a:pt x="38" y="239"/>
                    <a:pt x="20" y="226"/>
                  </a:cubicBezTo>
                  <a:cubicBezTo>
                    <a:pt x="6" y="217"/>
                    <a:pt x="0" y="199"/>
                    <a:pt x="0" y="181"/>
                  </a:cubicBezTo>
                  <a:cubicBezTo>
                    <a:pt x="1" y="161"/>
                    <a:pt x="9" y="141"/>
                    <a:pt x="19" y="123"/>
                  </a:cubicBezTo>
                  <a:cubicBezTo>
                    <a:pt x="31" y="98"/>
                    <a:pt x="49" y="77"/>
                    <a:pt x="69" y="58"/>
                  </a:cubicBezTo>
                  <a:cubicBezTo>
                    <a:pt x="86" y="43"/>
                    <a:pt x="104" y="29"/>
                    <a:pt x="125" y="19"/>
                  </a:cubicBezTo>
                  <a:cubicBezTo>
                    <a:pt x="150" y="7"/>
                    <a:pt x="179" y="0"/>
                    <a:pt x="206" y="4"/>
                  </a:cubicBezTo>
                  <a:cubicBezTo>
                    <a:pt x="211" y="5"/>
                    <a:pt x="216" y="5"/>
                    <a:pt x="221" y="7"/>
                  </a:cubicBezTo>
                  <a:cubicBezTo>
                    <a:pt x="234" y="11"/>
                    <a:pt x="223" y="29"/>
                    <a:pt x="219" y="36"/>
                  </a:cubicBezTo>
                  <a:cubicBezTo>
                    <a:pt x="210" y="58"/>
                    <a:pt x="199" y="79"/>
                    <a:pt x="188" y="100"/>
                  </a:cubicBezTo>
                  <a:cubicBezTo>
                    <a:pt x="184" y="106"/>
                    <a:pt x="171" y="128"/>
                    <a:pt x="165" y="135"/>
                  </a:cubicBezTo>
                  <a:cubicBezTo>
                    <a:pt x="158" y="147"/>
                    <a:pt x="151" y="158"/>
                    <a:pt x="139" y="174"/>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3" name="íŝ1ïḍè">
              <a:extLst>
                <a:ext uri="{FF2B5EF4-FFF2-40B4-BE49-F238E27FC236}">
                  <a16:creationId xmlns:a16="http://schemas.microsoft.com/office/drawing/2014/main" id="{9057C37D-DEAB-4B18-AE19-A0394554C18E}"/>
                </a:ext>
              </a:extLst>
            </p:cNvPr>
            <p:cNvSpPr/>
            <p:nvPr/>
          </p:nvSpPr>
          <p:spPr bwMode="auto">
            <a:xfrm>
              <a:off x="7504341" y="2266390"/>
              <a:ext cx="1831763" cy="2166902"/>
            </a:xfrm>
            <a:custGeom>
              <a:avLst/>
              <a:gdLst>
                <a:gd name="T0" fmla="*/ 1797 w 1797"/>
                <a:gd name="T1" fmla="*/ 898 h 2129"/>
                <a:gd name="T2" fmla="*/ 899 w 1797"/>
                <a:gd name="T3" fmla="*/ 0 h 2129"/>
                <a:gd name="T4" fmla="*/ 1 w 1797"/>
                <a:gd name="T5" fmla="*/ 896 h 2129"/>
                <a:gd name="T6" fmla="*/ 329 w 1797"/>
                <a:gd name="T7" fmla="*/ 1592 h 2129"/>
                <a:gd name="T8" fmla="*/ 329 w 1797"/>
                <a:gd name="T9" fmla="*/ 1592 h 2129"/>
                <a:gd name="T10" fmla="*/ 329 w 1797"/>
                <a:gd name="T11" fmla="*/ 1592 h 2129"/>
                <a:gd name="T12" fmla="*/ 373 w 1797"/>
                <a:gd name="T13" fmla="*/ 1627 h 2129"/>
                <a:gd name="T14" fmla="*/ 562 w 1797"/>
                <a:gd name="T15" fmla="*/ 1797 h 2129"/>
                <a:gd name="T16" fmla="*/ 651 w 1797"/>
                <a:gd name="T17" fmla="*/ 2110 h 2129"/>
                <a:gd name="T18" fmla="*/ 671 w 1797"/>
                <a:gd name="T19" fmla="*/ 2129 h 2129"/>
                <a:gd name="T20" fmla="*/ 899 w 1797"/>
                <a:gd name="T21" fmla="*/ 2129 h 2129"/>
                <a:gd name="T22" fmla="*/ 1129 w 1797"/>
                <a:gd name="T23" fmla="*/ 2129 h 2129"/>
                <a:gd name="T24" fmla="*/ 1147 w 1797"/>
                <a:gd name="T25" fmla="*/ 2113 h 2129"/>
                <a:gd name="T26" fmla="*/ 1236 w 1797"/>
                <a:gd name="T27" fmla="*/ 1797 h 2129"/>
                <a:gd name="T28" fmla="*/ 1425 w 1797"/>
                <a:gd name="T29" fmla="*/ 1627 h 2129"/>
                <a:gd name="T30" fmla="*/ 1469 w 1797"/>
                <a:gd name="T31" fmla="*/ 1592 h 2129"/>
                <a:gd name="T32" fmla="*/ 1469 w 1797"/>
                <a:gd name="T33" fmla="*/ 1592 h 2129"/>
                <a:gd name="T34" fmla="*/ 1469 w 1797"/>
                <a:gd name="T35" fmla="*/ 1592 h 2129"/>
                <a:gd name="T36" fmla="*/ 1797 w 1797"/>
                <a:gd name="T37" fmla="*/ 898 h 2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97" h="2129">
                  <a:moveTo>
                    <a:pt x="1797" y="898"/>
                  </a:moveTo>
                  <a:cubicBezTo>
                    <a:pt x="1797" y="402"/>
                    <a:pt x="1395" y="0"/>
                    <a:pt x="899" y="0"/>
                  </a:cubicBezTo>
                  <a:cubicBezTo>
                    <a:pt x="403" y="0"/>
                    <a:pt x="2" y="400"/>
                    <a:pt x="1" y="896"/>
                  </a:cubicBezTo>
                  <a:cubicBezTo>
                    <a:pt x="0" y="1177"/>
                    <a:pt x="128" y="1427"/>
                    <a:pt x="329" y="1592"/>
                  </a:cubicBezTo>
                  <a:cubicBezTo>
                    <a:pt x="329" y="1592"/>
                    <a:pt x="329" y="1592"/>
                    <a:pt x="329" y="1592"/>
                  </a:cubicBezTo>
                  <a:cubicBezTo>
                    <a:pt x="329" y="1592"/>
                    <a:pt x="329" y="1592"/>
                    <a:pt x="329" y="1592"/>
                  </a:cubicBezTo>
                  <a:cubicBezTo>
                    <a:pt x="343" y="1604"/>
                    <a:pt x="358" y="1616"/>
                    <a:pt x="373" y="1627"/>
                  </a:cubicBezTo>
                  <a:cubicBezTo>
                    <a:pt x="429" y="1671"/>
                    <a:pt x="521" y="1746"/>
                    <a:pt x="562" y="1797"/>
                  </a:cubicBezTo>
                  <a:cubicBezTo>
                    <a:pt x="616" y="1865"/>
                    <a:pt x="646" y="2034"/>
                    <a:pt x="651" y="2110"/>
                  </a:cubicBezTo>
                  <a:cubicBezTo>
                    <a:pt x="652" y="2121"/>
                    <a:pt x="660" y="2129"/>
                    <a:pt x="671" y="2129"/>
                  </a:cubicBezTo>
                  <a:cubicBezTo>
                    <a:pt x="899" y="2129"/>
                    <a:pt x="899" y="2129"/>
                    <a:pt x="899" y="2129"/>
                  </a:cubicBezTo>
                  <a:cubicBezTo>
                    <a:pt x="1129" y="2129"/>
                    <a:pt x="1129" y="2129"/>
                    <a:pt x="1129" y="2129"/>
                  </a:cubicBezTo>
                  <a:cubicBezTo>
                    <a:pt x="1139" y="2129"/>
                    <a:pt x="1146" y="2122"/>
                    <a:pt x="1147" y="2113"/>
                  </a:cubicBezTo>
                  <a:cubicBezTo>
                    <a:pt x="1151" y="2038"/>
                    <a:pt x="1181" y="1866"/>
                    <a:pt x="1236" y="1797"/>
                  </a:cubicBezTo>
                  <a:cubicBezTo>
                    <a:pt x="1277" y="1746"/>
                    <a:pt x="1369" y="1671"/>
                    <a:pt x="1425" y="1627"/>
                  </a:cubicBezTo>
                  <a:cubicBezTo>
                    <a:pt x="1440" y="1616"/>
                    <a:pt x="1455" y="1604"/>
                    <a:pt x="1469" y="1592"/>
                  </a:cubicBezTo>
                  <a:cubicBezTo>
                    <a:pt x="1469" y="1592"/>
                    <a:pt x="1469" y="1592"/>
                    <a:pt x="1469" y="1592"/>
                  </a:cubicBezTo>
                  <a:cubicBezTo>
                    <a:pt x="1469" y="1592"/>
                    <a:pt x="1469" y="1592"/>
                    <a:pt x="1469" y="1592"/>
                  </a:cubicBezTo>
                  <a:cubicBezTo>
                    <a:pt x="1670" y="1428"/>
                    <a:pt x="1797" y="1178"/>
                    <a:pt x="1797" y="898"/>
                  </a:cubicBezTo>
                  <a:close/>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4" name="îṡ1ídé">
              <a:extLst>
                <a:ext uri="{FF2B5EF4-FFF2-40B4-BE49-F238E27FC236}">
                  <a16:creationId xmlns:a16="http://schemas.microsoft.com/office/drawing/2014/main" id="{F6C58C94-5A26-454E-8665-18AB682E8237}"/>
                </a:ext>
              </a:extLst>
            </p:cNvPr>
            <p:cNvSpPr/>
            <p:nvPr/>
          </p:nvSpPr>
          <p:spPr bwMode="auto">
            <a:xfrm>
              <a:off x="7721031" y="3074623"/>
              <a:ext cx="622200" cy="1353791"/>
            </a:xfrm>
            <a:custGeom>
              <a:avLst/>
              <a:gdLst>
                <a:gd name="T0" fmla="*/ 610 w 610"/>
                <a:gd name="T1" fmla="*/ 1330 h 1330"/>
                <a:gd name="T2" fmla="*/ 497 w 610"/>
                <a:gd name="T3" fmla="*/ 768 h 1330"/>
                <a:gd name="T4" fmla="*/ 350 w 610"/>
                <a:gd name="T5" fmla="*/ 572 h 1330"/>
                <a:gd name="T6" fmla="*/ 221 w 610"/>
                <a:gd name="T7" fmla="*/ 496 h 1330"/>
                <a:gd name="T8" fmla="*/ 189 w 610"/>
                <a:gd name="T9" fmla="*/ 377 h 1330"/>
                <a:gd name="T10" fmla="*/ 175 w 610"/>
                <a:gd name="T11" fmla="*/ 170 h 1330"/>
                <a:gd name="T12" fmla="*/ 148 w 610"/>
                <a:gd name="T13" fmla="*/ 56 h 1330"/>
                <a:gd name="T14" fmla="*/ 47 w 610"/>
                <a:gd name="T15" fmla="*/ 17 h 1330"/>
                <a:gd name="T16" fmla="*/ 11 w 610"/>
                <a:gd name="T17" fmla="*/ 137 h 1330"/>
                <a:gd name="T18" fmla="*/ 86 w 610"/>
                <a:gd name="T19" fmla="*/ 246 h 1330"/>
                <a:gd name="T20" fmla="*/ 305 w 610"/>
                <a:gd name="T21" fmla="*/ 171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0" h="1330">
                  <a:moveTo>
                    <a:pt x="610" y="1330"/>
                  </a:moveTo>
                  <a:cubicBezTo>
                    <a:pt x="609" y="1138"/>
                    <a:pt x="571" y="945"/>
                    <a:pt x="497" y="768"/>
                  </a:cubicBezTo>
                  <a:cubicBezTo>
                    <a:pt x="465" y="691"/>
                    <a:pt x="422" y="613"/>
                    <a:pt x="350" y="572"/>
                  </a:cubicBezTo>
                  <a:cubicBezTo>
                    <a:pt x="306" y="547"/>
                    <a:pt x="252" y="535"/>
                    <a:pt x="221" y="496"/>
                  </a:cubicBezTo>
                  <a:cubicBezTo>
                    <a:pt x="196" y="463"/>
                    <a:pt x="192" y="419"/>
                    <a:pt x="189" y="377"/>
                  </a:cubicBezTo>
                  <a:cubicBezTo>
                    <a:pt x="184" y="308"/>
                    <a:pt x="180" y="239"/>
                    <a:pt x="175" y="170"/>
                  </a:cubicBezTo>
                  <a:cubicBezTo>
                    <a:pt x="172" y="131"/>
                    <a:pt x="169" y="90"/>
                    <a:pt x="148" y="56"/>
                  </a:cubicBezTo>
                  <a:cubicBezTo>
                    <a:pt x="127" y="23"/>
                    <a:pt x="83" y="0"/>
                    <a:pt x="47" y="17"/>
                  </a:cubicBezTo>
                  <a:cubicBezTo>
                    <a:pt x="6" y="36"/>
                    <a:pt x="0" y="93"/>
                    <a:pt x="11" y="137"/>
                  </a:cubicBezTo>
                  <a:cubicBezTo>
                    <a:pt x="21" y="181"/>
                    <a:pt x="45" y="225"/>
                    <a:pt x="86" y="246"/>
                  </a:cubicBezTo>
                  <a:cubicBezTo>
                    <a:pt x="135" y="272"/>
                    <a:pt x="196" y="271"/>
                    <a:pt x="305" y="171"/>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5" name="îşḻîḑe">
              <a:extLst>
                <a:ext uri="{FF2B5EF4-FFF2-40B4-BE49-F238E27FC236}">
                  <a16:creationId xmlns:a16="http://schemas.microsoft.com/office/drawing/2014/main" id="{4A8F243B-F27E-43C6-91F7-567A473CDA64}"/>
                </a:ext>
              </a:extLst>
            </p:cNvPr>
            <p:cNvSpPr/>
            <p:nvPr/>
          </p:nvSpPr>
          <p:spPr bwMode="auto">
            <a:xfrm>
              <a:off x="8464467" y="3067655"/>
              <a:ext cx="621504" cy="1360759"/>
            </a:xfrm>
            <a:custGeom>
              <a:avLst/>
              <a:gdLst>
                <a:gd name="T0" fmla="*/ 0 w 610"/>
                <a:gd name="T1" fmla="*/ 1337 h 1337"/>
                <a:gd name="T2" fmla="*/ 113 w 610"/>
                <a:gd name="T3" fmla="*/ 768 h 1337"/>
                <a:gd name="T4" fmla="*/ 260 w 610"/>
                <a:gd name="T5" fmla="*/ 572 h 1337"/>
                <a:gd name="T6" fmla="*/ 388 w 610"/>
                <a:gd name="T7" fmla="*/ 496 h 1337"/>
                <a:gd name="T8" fmla="*/ 421 w 610"/>
                <a:gd name="T9" fmla="*/ 377 h 1337"/>
                <a:gd name="T10" fmla="*/ 426 w 610"/>
                <a:gd name="T11" fmla="*/ 169 h 1337"/>
                <a:gd name="T12" fmla="*/ 464 w 610"/>
                <a:gd name="T13" fmla="*/ 53 h 1337"/>
                <a:gd name="T14" fmla="*/ 562 w 610"/>
                <a:gd name="T15" fmla="*/ 17 h 1337"/>
                <a:gd name="T16" fmla="*/ 599 w 610"/>
                <a:gd name="T17" fmla="*/ 137 h 1337"/>
                <a:gd name="T18" fmla="*/ 518 w 610"/>
                <a:gd name="T19" fmla="*/ 242 h 1337"/>
                <a:gd name="T20" fmla="*/ 335 w 610"/>
                <a:gd name="T21" fmla="*/ 232 h 1337"/>
                <a:gd name="T22" fmla="*/ 354 w 610"/>
                <a:gd name="T23" fmla="*/ 6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0" h="1337">
                  <a:moveTo>
                    <a:pt x="0" y="1337"/>
                  </a:moveTo>
                  <a:cubicBezTo>
                    <a:pt x="0" y="1145"/>
                    <a:pt x="39" y="945"/>
                    <a:pt x="113" y="768"/>
                  </a:cubicBezTo>
                  <a:cubicBezTo>
                    <a:pt x="145" y="691"/>
                    <a:pt x="187" y="613"/>
                    <a:pt x="260" y="572"/>
                  </a:cubicBezTo>
                  <a:cubicBezTo>
                    <a:pt x="303" y="547"/>
                    <a:pt x="357" y="535"/>
                    <a:pt x="388" y="496"/>
                  </a:cubicBezTo>
                  <a:cubicBezTo>
                    <a:pt x="414" y="463"/>
                    <a:pt x="418" y="419"/>
                    <a:pt x="421" y="377"/>
                  </a:cubicBezTo>
                  <a:cubicBezTo>
                    <a:pt x="425" y="308"/>
                    <a:pt x="421" y="238"/>
                    <a:pt x="426" y="169"/>
                  </a:cubicBezTo>
                  <a:cubicBezTo>
                    <a:pt x="429" y="129"/>
                    <a:pt x="443" y="86"/>
                    <a:pt x="464" y="53"/>
                  </a:cubicBezTo>
                  <a:cubicBezTo>
                    <a:pt x="484" y="19"/>
                    <a:pt x="527" y="0"/>
                    <a:pt x="562" y="17"/>
                  </a:cubicBezTo>
                  <a:cubicBezTo>
                    <a:pt x="603" y="36"/>
                    <a:pt x="610" y="93"/>
                    <a:pt x="599" y="137"/>
                  </a:cubicBezTo>
                  <a:cubicBezTo>
                    <a:pt x="589" y="181"/>
                    <a:pt x="555" y="215"/>
                    <a:pt x="518" y="242"/>
                  </a:cubicBezTo>
                  <a:cubicBezTo>
                    <a:pt x="472" y="275"/>
                    <a:pt x="371" y="291"/>
                    <a:pt x="335" y="232"/>
                  </a:cubicBezTo>
                  <a:cubicBezTo>
                    <a:pt x="318" y="205"/>
                    <a:pt x="320" y="134"/>
                    <a:pt x="354" y="61"/>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6" name="isḷiḓè">
              <a:extLst>
                <a:ext uri="{FF2B5EF4-FFF2-40B4-BE49-F238E27FC236}">
                  <a16:creationId xmlns:a16="http://schemas.microsoft.com/office/drawing/2014/main" id="{7F74E9D7-05AB-4481-825B-C49DD5496D9E}"/>
                </a:ext>
              </a:extLst>
            </p:cNvPr>
            <p:cNvSpPr/>
            <p:nvPr/>
          </p:nvSpPr>
          <p:spPr bwMode="auto">
            <a:xfrm>
              <a:off x="8172527" y="4428414"/>
              <a:ext cx="492604" cy="28497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8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7" name="îślíďè">
              <a:extLst>
                <a:ext uri="{FF2B5EF4-FFF2-40B4-BE49-F238E27FC236}">
                  <a16:creationId xmlns:a16="http://schemas.microsoft.com/office/drawing/2014/main" id="{6E363781-B4D5-4480-80FA-F6B7A0565368}"/>
                </a:ext>
              </a:extLst>
            </p:cNvPr>
            <p:cNvSpPr/>
            <p:nvPr/>
          </p:nvSpPr>
          <p:spPr bwMode="auto">
            <a:xfrm>
              <a:off x="8172527" y="4732895"/>
              <a:ext cx="495391" cy="22993"/>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8" name="î$1ïḑè">
              <a:extLst>
                <a:ext uri="{FF2B5EF4-FFF2-40B4-BE49-F238E27FC236}">
                  <a16:creationId xmlns:a16="http://schemas.microsoft.com/office/drawing/2014/main" id="{B8F7CC1B-2099-4B67-BF0C-B215F53AAC37}"/>
                </a:ext>
              </a:extLst>
            </p:cNvPr>
            <p:cNvSpPr/>
            <p:nvPr/>
          </p:nvSpPr>
          <p:spPr bwMode="auto">
            <a:xfrm>
              <a:off x="8172527" y="4776094"/>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9" name="ï$líďe">
              <a:extLst>
                <a:ext uri="{FF2B5EF4-FFF2-40B4-BE49-F238E27FC236}">
                  <a16:creationId xmlns:a16="http://schemas.microsoft.com/office/drawing/2014/main" id="{6DE327D2-CC11-4B0C-BAB8-692DA75C8264}"/>
                </a:ext>
              </a:extLst>
            </p:cNvPr>
            <p:cNvSpPr/>
            <p:nvPr/>
          </p:nvSpPr>
          <p:spPr bwMode="auto">
            <a:xfrm>
              <a:off x="8172527" y="4819989"/>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0" name="ïṧḻiḋé">
              <a:extLst>
                <a:ext uri="{FF2B5EF4-FFF2-40B4-BE49-F238E27FC236}">
                  <a16:creationId xmlns:a16="http://schemas.microsoft.com/office/drawing/2014/main" id="{7D36ABCB-7E73-4CB7-874D-B3CC2649006E}"/>
                </a:ext>
              </a:extLst>
            </p:cNvPr>
            <p:cNvSpPr/>
            <p:nvPr/>
          </p:nvSpPr>
          <p:spPr bwMode="auto">
            <a:xfrm>
              <a:off x="8172527" y="4863885"/>
              <a:ext cx="495391" cy="133080"/>
            </a:xfrm>
            <a:custGeom>
              <a:avLst/>
              <a:gdLst>
                <a:gd name="T0" fmla="*/ 478 w 486"/>
                <a:gd name="T1" fmla="*/ 0 h 131"/>
                <a:gd name="T2" fmla="*/ 239 w 486"/>
                <a:gd name="T3" fmla="*/ 0 h 131"/>
                <a:gd name="T4" fmla="*/ 231 w 486"/>
                <a:gd name="T5" fmla="*/ 0 h 131"/>
                <a:gd name="T6" fmla="*/ 8 w 486"/>
                <a:gd name="T7" fmla="*/ 0 h 131"/>
                <a:gd name="T8" fmla="*/ 0 w 486"/>
                <a:gd name="T9" fmla="*/ 8 h 131"/>
                <a:gd name="T10" fmla="*/ 53 w 486"/>
                <a:gd name="T11" fmla="*/ 116 h 131"/>
                <a:gd name="T12" fmla="*/ 235 w 486"/>
                <a:gd name="T13" fmla="*/ 131 h 131"/>
                <a:gd name="T14" fmla="*/ 433 w 486"/>
                <a:gd name="T15" fmla="*/ 116 h 131"/>
                <a:gd name="T16" fmla="*/ 486 w 486"/>
                <a:gd name="T17" fmla="*/ 8 h 131"/>
                <a:gd name="T18" fmla="*/ 478 w 48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6" h="131">
                  <a:moveTo>
                    <a:pt x="478" y="0"/>
                  </a:moveTo>
                  <a:cubicBezTo>
                    <a:pt x="239" y="0"/>
                    <a:pt x="239" y="0"/>
                    <a:pt x="239" y="0"/>
                  </a:cubicBezTo>
                  <a:cubicBezTo>
                    <a:pt x="231" y="0"/>
                    <a:pt x="231" y="0"/>
                    <a:pt x="231" y="0"/>
                  </a:cubicBezTo>
                  <a:cubicBezTo>
                    <a:pt x="8" y="0"/>
                    <a:pt x="8" y="0"/>
                    <a:pt x="8" y="0"/>
                  </a:cubicBezTo>
                  <a:cubicBezTo>
                    <a:pt x="4" y="0"/>
                    <a:pt x="0" y="4"/>
                    <a:pt x="0" y="8"/>
                  </a:cubicBezTo>
                  <a:cubicBezTo>
                    <a:pt x="4" y="38"/>
                    <a:pt x="27" y="107"/>
                    <a:pt x="53" y="116"/>
                  </a:cubicBezTo>
                  <a:cubicBezTo>
                    <a:pt x="78" y="125"/>
                    <a:pt x="154" y="131"/>
                    <a:pt x="235" y="131"/>
                  </a:cubicBezTo>
                  <a:cubicBezTo>
                    <a:pt x="316" y="131"/>
                    <a:pt x="408" y="125"/>
                    <a:pt x="433" y="116"/>
                  </a:cubicBezTo>
                  <a:cubicBezTo>
                    <a:pt x="459" y="107"/>
                    <a:pt x="482" y="38"/>
                    <a:pt x="486" y="8"/>
                  </a:cubicBezTo>
                  <a:cubicBezTo>
                    <a:pt x="486" y="4"/>
                    <a:pt x="482" y="0"/>
                    <a:pt x="478"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1" name="isļîďê">
              <a:extLst>
                <a:ext uri="{FF2B5EF4-FFF2-40B4-BE49-F238E27FC236}">
                  <a16:creationId xmlns:a16="http://schemas.microsoft.com/office/drawing/2014/main" id="{1F5B11C7-9864-4899-9A63-7ECAB662AC66}"/>
                </a:ext>
              </a:extLst>
            </p:cNvPr>
            <p:cNvSpPr/>
            <p:nvPr/>
          </p:nvSpPr>
          <p:spPr bwMode="auto">
            <a:xfrm>
              <a:off x="8309091" y="4976759"/>
              <a:ext cx="222264" cy="54347"/>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2" name="ïś1ïḋe">
              <a:extLst>
                <a:ext uri="{FF2B5EF4-FFF2-40B4-BE49-F238E27FC236}">
                  <a16:creationId xmlns:a16="http://schemas.microsoft.com/office/drawing/2014/main" id="{4B8D5895-0DFC-4AD2-8A4B-81EBAB5CB6A9}"/>
                </a:ext>
              </a:extLst>
            </p:cNvPr>
            <p:cNvSpPr/>
            <p:nvPr/>
          </p:nvSpPr>
          <p:spPr bwMode="auto">
            <a:xfrm>
              <a:off x="8049202" y="4557313"/>
              <a:ext cx="543467" cy="54347"/>
            </a:xfrm>
            <a:prstGeom prst="rect">
              <a:avLst/>
            </a:prstGeom>
            <a:solidFill>
              <a:schemeClr val="accent1"/>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3" name="i$ľîḓê">
              <a:extLst>
                <a:ext uri="{FF2B5EF4-FFF2-40B4-BE49-F238E27FC236}">
                  <a16:creationId xmlns:a16="http://schemas.microsoft.com/office/drawing/2014/main" id="{ED0B667A-79B5-49A0-B47A-249F46726DB7}"/>
                </a:ext>
              </a:extLst>
            </p:cNvPr>
            <p:cNvSpPr/>
            <p:nvPr/>
          </p:nvSpPr>
          <p:spPr bwMode="auto">
            <a:xfrm>
              <a:off x="8049202" y="4477187"/>
              <a:ext cx="52256" cy="213903"/>
            </a:xfrm>
            <a:prstGeom prst="rect">
              <a:avLst/>
            </a:prstGeom>
            <a:solidFill>
              <a:schemeClr val="accent1"/>
            </a:solidFill>
            <a:ln>
              <a:noFill/>
            </a:ln>
          </p:spPr>
          <p:txBody>
            <a:bodyPr vert="horz" wrap="square" lIns="91440" tIns="45720" rIns="91440" bIns="45720" numCol="1" anchor="t" anchorCtr="0" compatLnSpc="1">
              <a:prstTxWarp prst="textNoShape">
                <a:avLst/>
              </a:prstTxWarp>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4" name="îŝľîḓè">
              <a:extLst>
                <a:ext uri="{FF2B5EF4-FFF2-40B4-BE49-F238E27FC236}">
                  <a16:creationId xmlns:a16="http://schemas.microsoft.com/office/drawing/2014/main" id="{AB883BE4-F7A6-4594-A29B-AC010E9D6517}"/>
                </a:ext>
              </a:extLst>
            </p:cNvPr>
            <p:cNvSpPr/>
            <p:nvPr/>
          </p:nvSpPr>
          <p:spPr bwMode="auto">
            <a:xfrm>
              <a:off x="8225480" y="4557313"/>
              <a:ext cx="544861" cy="54347"/>
            </a:xfrm>
            <a:prstGeom prst="rect">
              <a:avLst/>
            </a:prstGeom>
            <a:solidFill>
              <a:schemeClr val="accent1"/>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5" name="ïṧlíḋê">
              <a:extLst>
                <a:ext uri="{FF2B5EF4-FFF2-40B4-BE49-F238E27FC236}">
                  <a16:creationId xmlns:a16="http://schemas.microsoft.com/office/drawing/2014/main" id="{126416CD-00A8-42E5-812B-E38EFC9191A2}"/>
                </a:ext>
              </a:extLst>
            </p:cNvPr>
            <p:cNvSpPr/>
            <p:nvPr/>
          </p:nvSpPr>
          <p:spPr bwMode="auto">
            <a:xfrm>
              <a:off x="8717388" y="4477187"/>
              <a:ext cx="52953" cy="213903"/>
            </a:xfrm>
            <a:prstGeom prst="rect">
              <a:avLst/>
            </a:prstGeom>
            <a:solidFill>
              <a:schemeClr val="accent1"/>
            </a:solidFill>
            <a:ln>
              <a:noFill/>
            </a:ln>
          </p:spPr>
          <p:txBody>
            <a:bodyPr vert="horz" wrap="square" lIns="91440" tIns="45720" rIns="91440" bIns="45720" numCol="1" anchor="t" anchorCtr="0" compatLnSpc="1">
              <a:prstTxWarp prst="textNoShape">
                <a:avLst/>
              </a:prstTxWarp>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grpSp>
    </p:spTree>
    <p:extLst>
      <p:ext uri="{BB962C8B-B14F-4D97-AF65-F5344CB8AC3E}">
        <p14:creationId xmlns:p14="http://schemas.microsoft.com/office/powerpoint/2010/main" val="12233260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8_内页仅标题">
    <p:spTree>
      <p:nvGrpSpPr>
        <p:cNvPr id="1" name=""/>
        <p:cNvGrpSpPr/>
        <p:nvPr/>
      </p:nvGrpSpPr>
      <p:grpSpPr>
        <a:xfrm>
          <a:off x="0" y="0"/>
          <a:ext cx="0" cy="0"/>
          <a:chOff x="0" y="0"/>
          <a:chExt cx="0" cy="0"/>
        </a:xfrm>
      </p:grpSpPr>
      <p:sp>
        <p:nvSpPr>
          <p:cNvPr id="126" name="PA-eighth-note_27352">
            <a:extLst>
              <a:ext uri="{FF2B5EF4-FFF2-40B4-BE49-F238E27FC236}">
                <a16:creationId xmlns:a16="http://schemas.microsoft.com/office/drawing/2014/main" id="{664AD4D8-6188-422E-9946-0FD2E780FC6E}"/>
              </a:ext>
            </a:extLst>
          </p:cNvPr>
          <p:cNvSpPr>
            <a:spLocks noChangeAspect="1"/>
          </p:cNvSpPr>
          <p:nvPr userDrawn="1">
            <p:custDataLst>
              <p:tags r:id="rId1"/>
            </p:custDataLst>
          </p:nvPr>
        </p:nvSpPr>
        <p:spPr bwMode="auto">
          <a:xfrm>
            <a:off x="4683719" y="1572029"/>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7" name="PA-demisemiquaver_153783">
            <a:extLst>
              <a:ext uri="{FF2B5EF4-FFF2-40B4-BE49-F238E27FC236}">
                <a16:creationId xmlns:a16="http://schemas.microsoft.com/office/drawing/2014/main" id="{06EE91A2-DD6F-4C17-AC70-64B9CB56C9D7}"/>
              </a:ext>
            </a:extLst>
          </p:cNvPr>
          <p:cNvSpPr>
            <a:spLocks noChangeAspect="1"/>
          </p:cNvSpPr>
          <p:nvPr userDrawn="1">
            <p:custDataLst>
              <p:tags r:id="rId2"/>
            </p:custDataLst>
          </p:nvPr>
        </p:nvSpPr>
        <p:spPr bwMode="auto">
          <a:xfrm>
            <a:off x="3624419" y="2854889"/>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8" name="PA-eighth-note_27352">
            <a:extLst>
              <a:ext uri="{FF2B5EF4-FFF2-40B4-BE49-F238E27FC236}">
                <a16:creationId xmlns:a16="http://schemas.microsoft.com/office/drawing/2014/main" id="{7D680A08-AA31-4DBC-B47D-0A0D45298FBF}"/>
              </a:ext>
            </a:extLst>
          </p:cNvPr>
          <p:cNvSpPr>
            <a:spLocks noChangeAspect="1"/>
          </p:cNvSpPr>
          <p:nvPr userDrawn="1">
            <p:custDataLst>
              <p:tags r:id="rId3"/>
            </p:custDataLst>
          </p:nvPr>
        </p:nvSpPr>
        <p:spPr bwMode="auto">
          <a:xfrm>
            <a:off x="4435017" y="1872837"/>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9" name="PA-eighth-note_27352">
            <a:extLst>
              <a:ext uri="{FF2B5EF4-FFF2-40B4-BE49-F238E27FC236}">
                <a16:creationId xmlns:a16="http://schemas.microsoft.com/office/drawing/2014/main" id="{716F22F6-8247-4413-8A22-AD55DE4160D3}"/>
              </a:ext>
            </a:extLst>
          </p:cNvPr>
          <p:cNvSpPr>
            <a:spLocks noChangeAspect="1"/>
          </p:cNvSpPr>
          <p:nvPr userDrawn="1">
            <p:custDataLst>
              <p:tags r:id="rId4"/>
            </p:custDataLst>
          </p:nvPr>
        </p:nvSpPr>
        <p:spPr bwMode="auto">
          <a:xfrm>
            <a:off x="4118468" y="3765901"/>
            <a:ext cx="138275" cy="225076"/>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0" name="PA-demisemiquaver_153783">
            <a:extLst>
              <a:ext uri="{FF2B5EF4-FFF2-40B4-BE49-F238E27FC236}">
                <a16:creationId xmlns:a16="http://schemas.microsoft.com/office/drawing/2014/main" id="{47B83E02-37AA-4845-88F4-8FDC474756AD}"/>
              </a:ext>
            </a:extLst>
          </p:cNvPr>
          <p:cNvSpPr>
            <a:spLocks noChangeAspect="1"/>
          </p:cNvSpPr>
          <p:nvPr userDrawn="1">
            <p:custDataLst>
              <p:tags r:id="rId5"/>
            </p:custDataLst>
          </p:nvPr>
        </p:nvSpPr>
        <p:spPr bwMode="auto">
          <a:xfrm>
            <a:off x="3736957" y="1896462"/>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1" name="PA-demisemiquaver_153783">
            <a:extLst>
              <a:ext uri="{FF2B5EF4-FFF2-40B4-BE49-F238E27FC236}">
                <a16:creationId xmlns:a16="http://schemas.microsoft.com/office/drawing/2014/main" id="{BC41DF35-5E9F-4F5C-9C07-6FF1C8780B7B}"/>
              </a:ext>
            </a:extLst>
          </p:cNvPr>
          <p:cNvSpPr>
            <a:spLocks noChangeAspect="1"/>
          </p:cNvSpPr>
          <p:nvPr userDrawn="1">
            <p:custDataLst>
              <p:tags r:id="rId6"/>
            </p:custDataLst>
          </p:nvPr>
        </p:nvSpPr>
        <p:spPr bwMode="auto">
          <a:xfrm>
            <a:off x="4059647" y="3435980"/>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2" name="PA-demisemiquaver_153783">
            <a:extLst>
              <a:ext uri="{FF2B5EF4-FFF2-40B4-BE49-F238E27FC236}">
                <a16:creationId xmlns:a16="http://schemas.microsoft.com/office/drawing/2014/main" id="{7BF23FEE-0299-4416-9D65-DF45B19C5028}"/>
              </a:ext>
            </a:extLst>
          </p:cNvPr>
          <p:cNvSpPr>
            <a:spLocks noChangeAspect="1"/>
          </p:cNvSpPr>
          <p:nvPr userDrawn="1">
            <p:custDataLst>
              <p:tags r:id="rId7"/>
            </p:custDataLst>
          </p:nvPr>
        </p:nvSpPr>
        <p:spPr bwMode="auto">
          <a:xfrm>
            <a:off x="4124669" y="2016511"/>
            <a:ext cx="281567" cy="281468"/>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1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PA-组合 28">
            <a:extLst>
              <a:ext uri="{FF2B5EF4-FFF2-40B4-BE49-F238E27FC236}">
                <a16:creationId xmlns:a16="http://schemas.microsoft.com/office/drawing/2014/main" id="{D6D4F3C6-62BE-406A-94F2-79A150D70068}"/>
              </a:ext>
            </a:extLst>
          </p:cNvPr>
          <p:cNvGrpSpPr/>
          <p:nvPr userDrawn="1">
            <p:custDataLst>
              <p:tags r:id="rId8"/>
            </p:custDataLst>
          </p:nvPr>
        </p:nvGrpSpPr>
        <p:grpSpPr>
          <a:xfrm>
            <a:off x="793935" y="1419056"/>
            <a:ext cx="4656839" cy="4656839"/>
            <a:chOff x="1815157" y="1345388"/>
            <a:chExt cx="4656839" cy="4656839"/>
          </a:xfrm>
          <a:effectLst>
            <a:outerShdw blurRad="127000" dist="38100" dir="2700000" algn="tl" rotWithShape="0">
              <a:schemeClr val="accent1">
                <a:alpha val="40000"/>
              </a:schemeClr>
            </a:outerShdw>
          </a:effectLst>
        </p:grpSpPr>
        <p:sp>
          <p:nvSpPr>
            <p:cNvPr id="113" name="PA-椭圆 11">
              <a:extLst>
                <a:ext uri="{FF2B5EF4-FFF2-40B4-BE49-F238E27FC236}">
                  <a16:creationId xmlns:a16="http://schemas.microsoft.com/office/drawing/2014/main" id="{5DCCA8DD-CA82-44B4-B2DC-A6049DC79CC4}"/>
                </a:ext>
              </a:extLst>
            </p:cNvPr>
            <p:cNvSpPr/>
            <p:nvPr>
              <p:custDataLst>
                <p:tags r:id="rId9"/>
              </p:custDataLst>
            </p:nvPr>
          </p:nvSpPr>
          <p:spPr>
            <a:xfrm>
              <a:off x="1815157" y="1345388"/>
              <a:ext cx="4656839" cy="465683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14" name="PA-图片 12">
              <a:extLst>
                <a:ext uri="{FF2B5EF4-FFF2-40B4-BE49-F238E27FC236}">
                  <a16:creationId xmlns:a16="http://schemas.microsoft.com/office/drawing/2014/main" id="{B7363CC8-5952-4E86-9DE8-67B5C672C321}"/>
                </a:ext>
              </a:extLst>
            </p:cNvPr>
            <p:cNvPicPr/>
            <p:nvPr>
              <p:custDataLst>
                <p:tags r:id="rId10"/>
              </p:custDataLst>
            </p:nvPr>
          </p:nvPicPr>
          <p:blipFill rotWithShape="1">
            <a:blip r:embed="rId13" cstate="email">
              <a:extLst>
                <a:ext uri="{28A0092B-C50C-407E-A947-70E740481C1C}">
                  <a14:useLocalDpi xmlns:a14="http://schemas.microsoft.com/office/drawing/2010/main"/>
                </a:ext>
              </a:extLst>
            </a:blip>
            <a:srcRect/>
            <a:stretch/>
          </p:blipFill>
          <p:spPr>
            <a:xfrm>
              <a:off x="2523577" y="2053808"/>
              <a:ext cx="3240000" cy="3240000"/>
            </a:xfrm>
            <a:prstGeom prst="ellipse">
              <a:avLst/>
            </a:prstGeom>
            <a:noFill/>
            <a:ln w="9525">
              <a:noFill/>
            </a:ln>
            <a:effectLst>
              <a:outerShdw blurRad="127000" dist="38100" dir="2700000" algn="tl" rotWithShape="0">
                <a:prstClr val="black">
                  <a:alpha val="40000"/>
                </a:prstClr>
              </a:outerShdw>
            </a:effectLst>
          </p:spPr>
        </p:pic>
      </p:grpSp>
      <p:sp>
        <p:nvSpPr>
          <p:cNvPr id="115" name="矩形 114">
            <a:extLst>
              <a:ext uri="{FF2B5EF4-FFF2-40B4-BE49-F238E27FC236}">
                <a16:creationId xmlns:a16="http://schemas.microsoft.com/office/drawing/2014/main" id="{F4E9A65E-714B-45D3-9CAF-91FA6A62D093}"/>
              </a:ext>
            </a:extLst>
          </p:cNvPr>
          <p:cNvSpPr/>
          <p:nvPr userDrawn="1"/>
        </p:nvSpPr>
        <p:spPr>
          <a:xfrm rot="20075021">
            <a:off x="140281" y="2707649"/>
            <a:ext cx="101301" cy="1145015"/>
          </a:xfrm>
          <a:prstGeom prst="rect">
            <a:avLst/>
          </a:prstGeom>
          <a:gradFill flip="none" rotWithShape="1">
            <a:gsLst>
              <a:gs pos="0">
                <a:schemeClr val="bg1">
                  <a:lumMod val="8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116" name="组合 115">
            <a:extLst>
              <a:ext uri="{FF2B5EF4-FFF2-40B4-BE49-F238E27FC236}">
                <a16:creationId xmlns:a16="http://schemas.microsoft.com/office/drawing/2014/main" id="{4C9DEE94-AD18-4840-AA02-83D0ED635026}"/>
              </a:ext>
            </a:extLst>
          </p:cNvPr>
          <p:cNvGrpSpPr/>
          <p:nvPr userDrawn="1"/>
        </p:nvGrpSpPr>
        <p:grpSpPr>
          <a:xfrm>
            <a:off x="405659" y="3656618"/>
            <a:ext cx="978402" cy="390639"/>
            <a:chOff x="1319024" y="3614377"/>
            <a:chExt cx="978402" cy="390639"/>
          </a:xfrm>
        </p:grpSpPr>
        <p:sp>
          <p:nvSpPr>
            <p:cNvPr id="117" name="矩形: 圆角 116">
              <a:extLst>
                <a:ext uri="{FF2B5EF4-FFF2-40B4-BE49-F238E27FC236}">
                  <a16:creationId xmlns:a16="http://schemas.microsoft.com/office/drawing/2014/main" id="{AFBD4247-44CF-404D-82F0-01ACC0535EFB}"/>
                </a:ext>
              </a:extLst>
            </p:cNvPr>
            <p:cNvSpPr/>
            <p:nvPr/>
          </p:nvSpPr>
          <p:spPr>
            <a:xfrm rot="348119" flipH="1">
              <a:off x="1319024" y="3684806"/>
              <a:ext cx="539427" cy="100800"/>
            </a:xfrm>
            <a:prstGeom prst="roundRect">
              <a:avLst/>
            </a:prstGeom>
            <a:gradFill flip="none" rotWithShape="1">
              <a:gsLst>
                <a:gs pos="0">
                  <a:schemeClr val="bg1">
                    <a:lumMod val="85000"/>
                  </a:schemeClr>
                </a:gs>
                <a:gs pos="100000">
                  <a:schemeClr val="bg1">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cs typeface="+mn-ea"/>
                <a:sym typeface="+mn-lt"/>
              </a:endParaRPr>
            </a:p>
          </p:txBody>
        </p:sp>
        <p:grpSp>
          <p:nvGrpSpPr>
            <p:cNvPr id="118" name="组合 117">
              <a:extLst>
                <a:ext uri="{FF2B5EF4-FFF2-40B4-BE49-F238E27FC236}">
                  <a16:creationId xmlns:a16="http://schemas.microsoft.com/office/drawing/2014/main" id="{E427FDEA-2821-40D7-A800-32841C5775EE}"/>
                </a:ext>
              </a:extLst>
            </p:cNvPr>
            <p:cNvGrpSpPr/>
            <p:nvPr/>
          </p:nvGrpSpPr>
          <p:grpSpPr>
            <a:xfrm rot="20360457">
              <a:off x="1833874" y="3614377"/>
              <a:ext cx="463552" cy="390639"/>
              <a:chOff x="4562461" y="2905072"/>
              <a:chExt cx="796664" cy="671357"/>
            </a:xfrm>
          </p:grpSpPr>
          <p:sp>
            <p:nvSpPr>
              <p:cNvPr id="121" name="矩形: 圆角 120">
                <a:extLst>
                  <a:ext uri="{FF2B5EF4-FFF2-40B4-BE49-F238E27FC236}">
                    <a16:creationId xmlns:a16="http://schemas.microsoft.com/office/drawing/2014/main" id="{29165F8C-AA79-4658-AABE-C6C3813232F3}"/>
                  </a:ext>
                </a:extLst>
              </p:cNvPr>
              <p:cNvSpPr/>
              <p:nvPr/>
            </p:nvSpPr>
            <p:spPr>
              <a:xfrm rot="1367580">
                <a:off x="4562461" y="2947079"/>
                <a:ext cx="673241" cy="349751"/>
              </a:xfrm>
              <a:prstGeom prst="roundRect">
                <a:avLst>
                  <a:gd name="adj" fmla="val 2785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2" name="矩形: 圆角 121">
                <a:extLst>
                  <a:ext uri="{FF2B5EF4-FFF2-40B4-BE49-F238E27FC236}">
                    <a16:creationId xmlns:a16="http://schemas.microsoft.com/office/drawing/2014/main" id="{3C6CD840-3199-48F5-8387-6CBFD6748ABD}"/>
                  </a:ext>
                </a:extLst>
              </p:cNvPr>
              <p:cNvSpPr/>
              <p:nvPr/>
            </p:nvSpPr>
            <p:spPr>
              <a:xfrm rot="1367580">
                <a:off x="5004454" y="2905072"/>
                <a:ext cx="354671" cy="671357"/>
              </a:xfrm>
              <a:prstGeom prst="roundRect">
                <a:avLst>
                  <a:gd name="adj" fmla="val 27856"/>
                </a:avLst>
              </a:prstGeom>
              <a:solidFill>
                <a:schemeClr val="bg1">
                  <a:lumMod val="9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cxnSp>
          <p:nvCxnSpPr>
            <p:cNvPr id="119" name="直接连接符 118">
              <a:extLst>
                <a:ext uri="{FF2B5EF4-FFF2-40B4-BE49-F238E27FC236}">
                  <a16:creationId xmlns:a16="http://schemas.microsoft.com/office/drawing/2014/main" id="{79401041-57E5-4E48-A732-C86B372938C8}"/>
                </a:ext>
              </a:extLst>
            </p:cNvPr>
            <p:cNvCxnSpPr>
              <a:cxnSpLocks/>
            </p:cNvCxnSpPr>
            <p:nvPr/>
          </p:nvCxnSpPr>
          <p:spPr>
            <a:xfrm rot="20360457">
              <a:off x="2130190" y="3692023"/>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0" name="直接连接符 119">
              <a:extLst>
                <a:ext uri="{FF2B5EF4-FFF2-40B4-BE49-F238E27FC236}">
                  <a16:creationId xmlns:a16="http://schemas.microsoft.com/office/drawing/2014/main" id="{C7B723E5-2C85-4ED0-B8AE-10E080C12A67}"/>
                </a:ext>
              </a:extLst>
            </p:cNvPr>
            <p:cNvCxnSpPr>
              <a:cxnSpLocks/>
            </p:cNvCxnSpPr>
            <p:nvPr/>
          </p:nvCxnSpPr>
          <p:spPr>
            <a:xfrm rot="20360457">
              <a:off x="2130094" y="3794966"/>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23" name="组合 122">
            <a:extLst>
              <a:ext uri="{FF2B5EF4-FFF2-40B4-BE49-F238E27FC236}">
                <a16:creationId xmlns:a16="http://schemas.microsoft.com/office/drawing/2014/main" id="{12F2B159-2405-4C07-BEA9-32DF577B7DA4}"/>
              </a:ext>
            </a:extLst>
          </p:cNvPr>
          <p:cNvGrpSpPr/>
          <p:nvPr userDrawn="1"/>
        </p:nvGrpSpPr>
        <p:grpSpPr>
          <a:xfrm>
            <a:off x="-260480" y="2655812"/>
            <a:ext cx="498803" cy="498803"/>
            <a:chOff x="1868826" y="-564674"/>
            <a:chExt cx="574344" cy="574344"/>
          </a:xfrm>
        </p:grpSpPr>
        <p:sp>
          <p:nvSpPr>
            <p:cNvPr id="124" name="椭圆 123">
              <a:extLst>
                <a:ext uri="{FF2B5EF4-FFF2-40B4-BE49-F238E27FC236}">
                  <a16:creationId xmlns:a16="http://schemas.microsoft.com/office/drawing/2014/main" id="{9432A07B-FFCC-4159-B221-4623CA410CF5}"/>
                </a:ext>
              </a:extLst>
            </p:cNvPr>
            <p:cNvSpPr/>
            <p:nvPr/>
          </p:nvSpPr>
          <p:spPr>
            <a:xfrm>
              <a:off x="1868826" y="-564674"/>
              <a:ext cx="574344" cy="57434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125" name="椭圆 124">
              <a:extLst>
                <a:ext uri="{FF2B5EF4-FFF2-40B4-BE49-F238E27FC236}">
                  <a16:creationId xmlns:a16="http://schemas.microsoft.com/office/drawing/2014/main" id="{5D2BB441-637E-452C-9984-93B0888A0817}"/>
                </a:ext>
              </a:extLst>
            </p:cNvPr>
            <p:cNvSpPr/>
            <p:nvPr/>
          </p:nvSpPr>
          <p:spPr>
            <a:xfrm>
              <a:off x="1967287" y="-466214"/>
              <a:ext cx="377422" cy="377422"/>
            </a:xfrm>
            <a:prstGeom prst="ellipse">
              <a:avLst/>
            </a:prstGeom>
            <a:solidFill>
              <a:schemeClr val="tx1">
                <a:lumMod val="65000"/>
                <a:lumOff val="3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7" name="图片占位符 6">
            <a:extLst>
              <a:ext uri="{FF2B5EF4-FFF2-40B4-BE49-F238E27FC236}">
                <a16:creationId xmlns:a16="http://schemas.microsoft.com/office/drawing/2014/main" id="{B73EFF12-F9CB-45FD-A45D-D96D9B0C064C}"/>
              </a:ext>
            </a:extLst>
          </p:cNvPr>
          <p:cNvSpPr>
            <a:spLocks noGrp="1"/>
          </p:cNvSpPr>
          <p:nvPr>
            <p:ph type="pic" sz="quarter" idx="10"/>
          </p:nvPr>
        </p:nvSpPr>
        <p:spPr>
          <a:xfrm>
            <a:off x="1502355" y="2127476"/>
            <a:ext cx="3240000" cy="3240000"/>
          </a:xfrm>
          <a:prstGeom prst="ellipse">
            <a:avLst/>
          </a:prstGeom>
          <a:solidFill>
            <a:srgbClr val="00B0F0"/>
          </a:solidFill>
        </p:spPr>
        <p:txBody>
          <a:bodyPr/>
          <a:lstStyle/>
          <a:p>
            <a:endParaRPr lang="en-US"/>
          </a:p>
        </p:txBody>
      </p:sp>
    </p:spTree>
    <p:extLst>
      <p:ext uri="{BB962C8B-B14F-4D97-AF65-F5344CB8AC3E}">
        <p14:creationId xmlns:p14="http://schemas.microsoft.com/office/powerpoint/2010/main" val="794162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repeatCount="indefinite" fill="hold" nodeType="clickEffect">
                                  <p:stCondLst>
                                    <p:cond delay="0"/>
                                  </p:stCondLst>
                                  <p:endCondLst>
                                    <p:cond evt="onNext" delay="0">
                                      <p:tgtEl>
                                        <p:sldTgt/>
                                      </p:tgtEl>
                                    </p:cond>
                                  </p:endCondLst>
                                  <p:childTnLst>
                                    <p:animRot by="21600000">
                                      <p:cBhvr>
                                        <p:cTn id="6" dur="20000" fill="hold"/>
                                        <p:tgtEl>
                                          <p:spTgt spid="112"/>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20000" fill="hold"/>
                                        <p:tgtEl>
                                          <p:spTgt spid="7"/>
                                        </p:tgtEl>
                                        <p:attrNameLst>
                                          <p:attrName>r</p:attrName>
                                        </p:attrNameLst>
                                      </p:cBhvr>
                                    </p:animRot>
                                  </p:childTnLst>
                                </p:cTn>
                              </p:par>
                              <p:par>
                                <p:cTn id="9" presetID="53" presetClass="entr" presetSubtype="16" repeatCount="indefinite" fill="hold" nodeType="withEffect">
                                  <p:stCondLst>
                                    <p:cond delay="1526"/>
                                  </p:stCondLst>
                                  <p:endCondLst>
                                    <p:cond evt="onNext" delay="0">
                                      <p:tgtEl>
                                        <p:sldTgt/>
                                      </p:tgtEl>
                                    </p:cond>
                                  </p:endCondLst>
                                  <p:childTnLst>
                                    <p:set>
                                      <p:cBhvr>
                                        <p:cTn id="10" dur="1" fill="hold">
                                          <p:stCondLst>
                                            <p:cond delay="0"/>
                                          </p:stCondLst>
                                        </p:cTn>
                                        <p:tgtEl>
                                          <p:spTgt spid="128"/>
                                        </p:tgtEl>
                                        <p:attrNameLst>
                                          <p:attrName>style.visibility</p:attrName>
                                        </p:attrNameLst>
                                      </p:cBhvr>
                                      <p:to>
                                        <p:strVal val="visible"/>
                                      </p:to>
                                    </p:set>
                                    <p:anim calcmode="lin" valueType="num">
                                      <p:cBhvr>
                                        <p:cTn id="11" dur="500" fill="hold"/>
                                        <p:tgtEl>
                                          <p:spTgt spid="128"/>
                                        </p:tgtEl>
                                        <p:attrNameLst>
                                          <p:attrName>ppt_w</p:attrName>
                                        </p:attrNameLst>
                                      </p:cBhvr>
                                      <p:tavLst>
                                        <p:tav tm="0">
                                          <p:val>
                                            <p:fltVal val="0"/>
                                          </p:val>
                                        </p:tav>
                                        <p:tav tm="100000">
                                          <p:val>
                                            <p:strVal val="#ppt_w"/>
                                          </p:val>
                                        </p:tav>
                                      </p:tavLst>
                                    </p:anim>
                                    <p:anim calcmode="lin" valueType="num">
                                      <p:cBhvr>
                                        <p:cTn id="12" dur="500" fill="hold"/>
                                        <p:tgtEl>
                                          <p:spTgt spid="128"/>
                                        </p:tgtEl>
                                        <p:attrNameLst>
                                          <p:attrName>ppt_h</p:attrName>
                                        </p:attrNameLst>
                                      </p:cBhvr>
                                      <p:tavLst>
                                        <p:tav tm="0">
                                          <p:val>
                                            <p:fltVal val="0"/>
                                          </p:val>
                                        </p:tav>
                                        <p:tav tm="100000">
                                          <p:val>
                                            <p:strVal val="#ppt_h"/>
                                          </p:val>
                                        </p:tav>
                                      </p:tavLst>
                                    </p:anim>
                                    <p:animEffect transition="in" filter="fade">
                                      <p:cBhvr>
                                        <p:cTn id="13" dur="500"/>
                                        <p:tgtEl>
                                          <p:spTgt spid="128"/>
                                        </p:tgtEl>
                                      </p:cBhvr>
                                    </p:animEffect>
                                    <p:animMotion origin="layout" path="M 4.16667E-6 -2.96296E-6 L 0.11132 -0.10995 " pathEditMode="relative">
                                      <p:cBhvr from="" to="">
                                        <p:cTn id="14" dur="2000" accel="50000" decel="50000" fill="hold">
                                          <p:stCondLst>
                                            <p:cond delay="0"/>
                                          </p:stCondLst>
                                        </p:cTn>
                                        <p:tgtEl>
                                          <p:spTgt spid="128"/>
                                        </p:tgtEl>
                                        <p:attrNameLst>
                                          <p:attrName>ppt_x</p:attrName>
                                          <p:attrName>ppt_y</p:attrName>
                                        </p:attrNameLst>
                                      </p:cBhvr>
                                    </p:animMotion>
                                    <p:anim to="" calcmode="lin" valueType="num">
                                      <p:cBhvr>
                                        <p:cTn id="15" dur="500" fill="hold">
                                          <p:stCondLst>
                                            <p:cond delay="1500"/>
                                          </p:stCondLst>
                                        </p:cTn>
                                        <p:tgtEl>
                                          <p:spTgt spid="128"/>
                                        </p:tgtEl>
                                        <p:attrNameLst>
                                          <p:attrName>ppt_w</p:attrName>
                                        </p:attrNameLst>
                                      </p:cBhvr>
                                      <p:tavLst>
                                        <p:tav tm="0">
                                          <p:val>
                                            <p:strVal val="ppt_w"/>
                                          </p:val>
                                        </p:tav>
                                        <p:tav tm="100000">
                                          <p:val>
                                            <p:fltVal val="0"/>
                                          </p:val>
                                        </p:tav>
                                      </p:tavLst>
                                    </p:anim>
                                    <p:anim to="" calcmode="lin" valueType="num">
                                      <p:cBhvr>
                                        <p:cTn id="16" dur="500" fill="hold">
                                          <p:stCondLst>
                                            <p:cond delay="1500"/>
                                          </p:stCondLst>
                                        </p:cTn>
                                        <p:tgtEl>
                                          <p:spTgt spid="128"/>
                                        </p:tgtEl>
                                        <p:attrNameLst>
                                          <p:attrName>ppt_h</p:attrName>
                                        </p:attrNameLst>
                                      </p:cBhvr>
                                      <p:tavLst>
                                        <p:tav tm="0">
                                          <p:val>
                                            <p:strVal val="ppt_h"/>
                                          </p:val>
                                        </p:tav>
                                        <p:tav tm="100000">
                                          <p:val>
                                            <p:fltVal val="0"/>
                                          </p:val>
                                        </p:tav>
                                      </p:tavLst>
                                    </p:anim>
                                    <p:animEffect transition="out" filter="fade">
                                      <p:cBhvr>
                                        <p:cTn id="17" dur="500">
                                          <p:stCondLst>
                                            <p:cond delay="1500"/>
                                          </p:stCondLst>
                                        </p:cTn>
                                        <p:tgtEl>
                                          <p:spTgt spid="128"/>
                                        </p:tgtEl>
                                      </p:cBhvr>
                                    </p:animEffect>
                                    <p:set>
                                      <p:cBhvr>
                                        <p:cTn id="18" dur="1" fill="hold">
                                          <p:stCondLst>
                                            <p:cond delay="1999"/>
                                          </p:stCondLst>
                                        </p:cTn>
                                        <p:tgtEl>
                                          <p:spTgt spid="128"/>
                                        </p:tgtEl>
                                        <p:attrNameLst>
                                          <p:attrName>style.visibility</p:attrName>
                                        </p:attrNameLst>
                                      </p:cBhvr>
                                      <p:to>
                                        <p:strVal val="hidden"/>
                                      </p:to>
                                    </p:set>
                                  </p:childTnLst>
                                </p:cTn>
                              </p:par>
                              <p:par>
                                <p:cTn id="19" presetID="53" presetClass="entr" presetSubtype="16" repeatCount="indefinite" fill="hold" nodeType="withEffect">
                                  <p:stCondLst>
                                    <p:cond delay="518"/>
                                  </p:stCondLst>
                                  <p:endCondLst>
                                    <p:cond evt="onNext" delay="0">
                                      <p:tgtEl>
                                        <p:sldTgt/>
                                      </p:tgtEl>
                                    </p:cond>
                                  </p:endCondLst>
                                  <p:childTnLst>
                                    <p:set>
                                      <p:cBhvr>
                                        <p:cTn id="20" dur="1" fill="hold">
                                          <p:stCondLst>
                                            <p:cond delay="0"/>
                                          </p:stCondLst>
                                        </p:cTn>
                                        <p:tgtEl>
                                          <p:spTgt spid="132"/>
                                        </p:tgtEl>
                                        <p:attrNameLst>
                                          <p:attrName>style.visibility</p:attrName>
                                        </p:attrNameLst>
                                      </p:cBhvr>
                                      <p:to>
                                        <p:strVal val="visible"/>
                                      </p:to>
                                    </p:set>
                                    <p:anim calcmode="lin" valueType="num">
                                      <p:cBhvr>
                                        <p:cTn id="21" dur="500" fill="hold"/>
                                        <p:tgtEl>
                                          <p:spTgt spid="132"/>
                                        </p:tgtEl>
                                        <p:attrNameLst>
                                          <p:attrName>ppt_w</p:attrName>
                                        </p:attrNameLst>
                                      </p:cBhvr>
                                      <p:tavLst>
                                        <p:tav tm="0">
                                          <p:val>
                                            <p:fltVal val="0"/>
                                          </p:val>
                                        </p:tav>
                                        <p:tav tm="100000">
                                          <p:val>
                                            <p:strVal val="#ppt_w"/>
                                          </p:val>
                                        </p:tav>
                                      </p:tavLst>
                                    </p:anim>
                                    <p:anim calcmode="lin" valueType="num">
                                      <p:cBhvr>
                                        <p:cTn id="22" dur="500" fill="hold"/>
                                        <p:tgtEl>
                                          <p:spTgt spid="132"/>
                                        </p:tgtEl>
                                        <p:attrNameLst>
                                          <p:attrName>ppt_h</p:attrName>
                                        </p:attrNameLst>
                                      </p:cBhvr>
                                      <p:tavLst>
                                        <p:tav tm="0">
                                          <p:val>
                                            <p:fltVal val="0"/>
                                          </p:val>
                                        </p:tav>
                                        <p:tav tm="100000">
                                          <p:val>
                                            <p:strVal val="#ppt_h"/>
                                          </p:val>
                                        </p:tav>
                                      </p:tavLst>
                                    </p:anim>
                                    <p:animEffect transition="in" filter="fade">
                                      <p:cBhvr>
                                        <p:cTn id="23" dur="500"/>
                                        <p:tgtEl>
                                          <p:spTgt spid="132"/>
                                        </p:tgtEl>
                                      </p:cBhvr>
                                    </p:animEffect>
                                    <p:animMotion origin="layout" path="M 4.16667E-6 -2.96296E-6 L 0.11132 -0.10995 " pathEditMode="relative">
                                      <p:cBhvr from="" to="">
                                        <p:cTn id="24" dur="2000" accel="50000" decel="50000" fill="hold">
                                          <p:stCondLst>
                                            <p:cond delay="0"/>
                                          </p:stCondLst>
                                        </p:cTn>
                                        <p:tgtEl>
                                          <p:spTgt spid="132"/>
                                        </p:tgtEl>
                                        <p:attrNameLst>
                                          <p:attrName>ppt_x</p:attrName>
                                          <p:attrName>ppt_y</p:attrName>
                                        </p:attrNameLst>
                                      </p:cBhvr>
                                    </p:animMotion>
                                    <p:anim to="" calcmode="lin" valueType="num">
                                      <p:cBhvr>
                                        <p:cTn id="25" dur="500" fill="hold">
                                          <p:stCondLst>
                                            <p:cond delay="1500"/>
                                          </p:stCondLst>
                                        </p:cTn>
                                        <p:tgtEl>
                                          <p:spTgt spid="132"/>
                                        </p:tgtEl>
                                        <p:attrNameLst>
                                          <p:attrName>ppt_w</p:attrName>
                                        </p:attrNameLst>
                                      </p:cBhvr>
                                      <p:tavLst>
                                        <p:tav tm="0">
                                          <p:val>
                                            <p:strVal val="ppt_w"/>
                                          </p:val>
                                        </p:tav>
                                        <p:tav tm="100000">
                                          <p:val>
                                            <p:fltVal val="0"/>
                                          </p:val>
                                        </p:tav>
                                      </p:tavLst>
                                    </p:anim>
                                    <p:anim to="" calcmode="lin" valueType="num">
                                      <p:cBhvr>
                                        <p:cTn id="26" dur="500" fill="hold">
                                          <p:stCondLst>
                                            <p:cond delay="1500"/>
                                          </p:stCondLst>
                                        </p:cTn>
                                        <p:tgtEl>
                                          <p:spTgt spid="132"/>
                                        </p:tgtEl>
                                        <p:attrNameLst>
                                          <p:attrName>ppt_h</p:attrName>
                                        </p:attrNameLst>
                                      </p:cBhvr>
                                      <p:tavLst>
                                        <p:tav tm="0">
                                          <p:val>
                                            <p:strVal val="ppt_h"/>
                                          </p:val>
                                        </p:tav>
                                        <p:tav tm="100000">
                                          <p:val>
                                            <p:fltVal val="0"/>
                                          </p:val>
                                        </p:tav>
                                      </p:tavLst>
                                    </p:anim>
                                    <p:animEffect transition="out" filter="fade">
                                      <p:cBhvr>
                                        <p:cTn id="27" dur="500">
                                          <p:stCondLst>
                                            <p:cond delay="1500"/>
                                          </p:stCondLst>
                                        </p:cTn>
                                        <p:tgtEl>
                                          <p:spTgt spid="132"/>
                                        </p:tgtEl>
                                      </p:cBhvr>
                                    </p:animEffect>
                                    <p:set>
                                      <p:cBhvr>
                                        <p:cTn id="28" dur="1" fill="hold">
                                          <p:stCondLst>
                                            <p:cond delay="1999"/>
                                          </p:stCondLst>
                                        </p:cTn>
                                        <p:tgtEl>
                                          <p:spTgt spid="132"/>
                                        </p:tgtEl>
                                        <p:attrNameLst>
                                          <p:attrName>style.visibility</p:attrName>
                                        </p:attrNameLst>
                                      </p:cBhvr>
                                      <p:to>
                                        <p:strVal val="hidden"/>
                                      </p:to>
                                    </p:set>
                                  </p:childTnLst>
                                </p:cTn>
                              </p:par>
                              <p:par>
                                <p:cTn id="29" presetID="53" presetClass="entr" presetSubtype="16" repeatCount="indefinite" fill="hold" nodeType="withEffect">
                                  <p:stCondLst>
                                    <p:cond delay="2515"/>
                                  </p:stCondLst>
                                  <p:endCondLst>
                                    <p:cond evt="onNext" delay="0">
                                      <p:tgtEl>
                                        <p:sldTgt/>
                                      </p:tgtEl>
                                    </p:cond>
                                  </p:endCondLst>
                                  <p:childTnLst>
                                    <p:set>
                                      <p:cBhvr>
                                        <p:cTn id="30" dur="1" fill="hold">
                                          <p:stCondLst>
                                            <p:cond delay="0"/>
                                          </p:stCondLst>
                                        </p:cTn>
                                        <p:tgtEl>
                                          <p:spTgt spid="129"/>
                                        </p:tgtEl>
                                        <p:attrNameLst>
                                          <p:attrName>style.visibility</p:attrName>
                                        </p:attrNameLst>
                                      </p:cBhvr>
                                      <p:to>
                                        <p:strVal val="visible"/>
                                      </p:to>
                                    </p:set>
                                    <p:anim calcmode="lin" valueType="num">
                                      <p:cBhvr>
                                        <p:cTn id="31" dur="500" fill="hold"/>
                                        <p:tgtEl>
                                          <p:spTgt spid="129"/>
                                        </p:tgtEl>
                                        <p:attrNameLst>
                                          <p:attrName>ppt_w</p:attrName>
                                        </p:attrNameLst>
                                      </p:cBhvr>
                                      <p:tavLst>
                                        <p:tav tm="0">
                                          <p:val>
                                            <p:fltVal val="0"/>
                                          </p:val>
                                        </p:tav>
                                        <p:tav tm="100000">
                                          <p:val>
                                            <p:strVal val="#ppt_w"/>
                                          </p:val>
                                        </p:tav>
                                      </p:tavLst>
                                    </p:anim>
                                    <p:anim calcmode="lin" valueType="num">
                                      <p:cBhvr>
                                        <p:cTn id="32" dur="500" fill="hold"/>
                                        <p:tgtEl>
                                          <p:spTgt spid="129"/>
                                        </p:tgtEl>
                                        <p:attrNameLst>
                                          <p:attrName>ppt_h</p:attrName>
                                        </p:attrNameLst>
                                      </p:cBhvr>
                                      <p:tavLst>
                                        <p:tav tm="0">
                                          <p:val>
                                            <p:fltVal val="0"/>
                                          </p:val>
                                        </p:tav>
                                        <p:tav tm="100000">
                                          <p:val>
                                            <p:strVal val="#ppt_h"/>
                                          </p:val>
                                        </p:tav>
                                      </p:tavLst>
                                    </p:anim>
                                    <p:animEffect transition="in" filter="fade">
                                      <p:cBhvr>
                                        <p:cTn id="33" dur="500"/>
                                        <p:tgtEl>
                                          <p:spTgt spid="129"/>
                                        </p:tgtEl>
                                      </p:cBhvr>
                                    </p:animEffect>
                                    <p:animMotion origin="layout" path="M 4.16667E-6 -2.96296E-6 L 0.11132 -0.10995 " pathEditMode="relative">
                                      <p:cBhvr from="" to="">
                                        <p:cTn id="34" dur="2000" accel="50000" decel="50000" fill="hold">
                                          <p:stCondLst>
                                            <p:cond delay="0"/>
                                          </p:stCondLst>
                                        </p:cTn>
                                        <p:tgtEl>
                                          <p:spTgt spid="129"/>
                                        </p:tgtEl>
                                        <p:attrNameLst>
                                          <p:attrName>ppt_x</p:attrName>
                                          <p:attrName>ppt_y</p:attrName>
                                        </p:attrNameLst>
                                      </p:cBhvr>
                                    </p:animMotion>
                                    <p:anim to="" calcmode="lin" valueType="num">
                                      <p:cBhvr>
                                        <p:cTn id="35" dur="500" fill="hold">
                                          <p:stCondLst>
                                            <p:cond delay="1500"/>
                                          </p:stCondLst>
                                        </p:cTn>
                                        <p:tgtEl>
                                          <p:spTgt spid="129"/>
                                        </p:tgtEl>
                                        <p:attrNameLst>
                                          <p:attrName>ppt_w</p:attrName>
                                        </p:attrNameLst>
                                      </p:cBhvr>
                                      <p:tavLst>
                                        <p:tav tm="0">
                                          <p:val>
                                            <p:strVal val="ppt_w"/>
                                          </p:val>
                                        </p:tav>
                                        <p:tav tm="100000">
                                          <p:val>
                                            <p:fltVal val="0"/>
                                          </p:val>
                                        </p:tav>
                                      </p:tavLst>
                                    </p:anim>
                                    <p:anim to="" calcmode="lin" valueType="num">
                                      <p:cBhvr>
                                        <p:cTn id="36" dur="500" fill="hold">
                                          <p:stCondLst>
                                            <p:cond delay="1500"/>
                                          </p:stCondLst>
                                        </p:cTn>
                                        <p:tgtEl>
                                          <p:spTgt spid="129"/>
                                        </p:tgtEl>
                                        <p:attrNameLst>
                                          <p:attrName>ppt_h</p:attrName>
                                        </p:attrNameLst>
                                      </p:cBhvr>
                                      <p:tavLst>
                                        <p:tav tm="0">
                                          <p:val>
                                            <p:strVal val="ppt_h"/>
                                          </p:val>
                                        </p:tav>
                                        <p:tav tm="100000">
                                          <p:val>
                                            <p:fltVal val="0"/>
                                          </p:val>
                                        </p:tav>
                                      </p:tavLst>
                                    </p:anim>
                                    <p:animEffect transition="out" filter="fade">
                                      <p:cBhvr>
                                        <p:cTn id="37" dur="500">
                                          <p:stCondLst>
                                            <p:cond delay="1500"/>
                                          </p:stCondLst>
                                        </p:cTn>
                                        <p:tgtEl>
                                          <p:spTgt spid="129"/>
                                        </p:tgtEl>
                                      </p:cBhvr>
                                    </p:animEffect>
                                    <p:set>
                                      <p:cBhvr>
                                        <p:cTn id="38" dur="1" fill="hold">
                                          <p:stCondLst>
                                            <p:cond delay="1999"/>
                                          </p:stCondLst>
                                        </p:cTn>
                                        <p:tgtEl>
                                          <p:spTgt spid="129"/>
                                        </p:tgtEl>
                                        <p:attrNameLst>
                                          <p:attrName>style.visibility</p:attrName>
                                        </p:attrNameLst>
                                      </p:cBhvr>
                                      <p:to>
                                        <p:strVal val="hidden"/>
                                      </p:to>
                                    </p:set>
                                  </p:childTnLst>
                                </p:cTn>
                              </p:par>
                              <p:par>
                                <p:cTn id="39" presetID="53" presetClass="entr" presetSubtype="16" repeatCount="indefinite" fill="hold" nodeType="withEffect">
                                  <p:stCondLst>
                                    <p:cond delay="1099"/>
                                  </p:stCondLst>
                                  <p:endCondLst>
                                    <p:cond evt="onNext" delay="0">
                                      <p:tgtEl>
                                        <p:sldTgt/>
                                      </p:tgtEl>
                                    </p:cond>
                                  </p:endCondLst>
                                  <p:childTnLst>
                                    <p:set>
                                      <p:cBhvr>
                                        <p:cTn id="40" dur="1" fill="hold">
                                          <p:stCondLst>
                                            <p:cond delay="0"/>
                                          </p:stCondLst>
                                        </p:cTn>
                                        <p:tgtEl>
                                          <p:spTgt spid="130"/>
                                        </p:tgtEl>
                                        <p:attrNameLst>
                                          <p:attrName>style.visibility</p:attrName>
                                        </p:attrNameLst>
                                      </p:cBhvr>
                                      <p:to>
                                        <p:strVal val="visible"/>
                                      </p:to>
                                    </p:set>
                                    <p:anim calcmode="lin" valueType="num">
                                      <p:cBhvr>
                                        <p:cTn id="41" dur="500" fill="hold"/>
                                        <p:tgtEl>
                                          <p:spTgt spid="130"/>
                                        </p:tgtEl>
                                        <p:attrNameLst>
                                          <p:attrName>ppt_w</p:attrName>
                                        </p:attrNameLst>
                                      </p:cBhvr>
                                      <p:tavLst>
                                        <p:tav tm="0">
                                          <p:val>
                                            <p:fltVal val="0"/>
                                          </p:val>
                                        </p:tav>
                                        <p:tav tm="100000">
                                          <p:val>
                                            <p:strVal val="#ppt_w"/>
                                          </p:val>
                                        </p:tav>
                                      </p:tavLst>
                                    </p:anim>
                                    <p:anim calcmode="lin" valueType="num">
                                      <p:cBhvr>
                                        <p:cTn id="42" dur="500" fill="hold"/>
                                        <p:tgtEl>
                                          <p:spTgt spid="130"/>
                                        </p:tgtEl>
                                        <p:attrNameLst>
                                          <p:attrName>ppt_h</p:attrName>
                                        </p:attrNameLst>
                                      </p:cBhvr>
                                      <p:tavLst>
                                        <p:tav tm="0">
                                          <p:val>
                                            <p:fltVal val="0"/>
                                          </p:val>
                                        </p:tav>
                                        <p:tav tm="100000">
                                          <p:val>
                                            <p:strVal val="#ppt_h"/>
                                          </p:val>
                                        </p:tav>
                                      </p:tavLst>
                                    </p:anim>
                                    <p:animEffect transition="in" filter="fade">
                                      <p:cBhvr>
                                        <p:cTn id="43" dur="500"/>
                                        <p:tgtEl>
                                          <p:spTgt spid="130"/>
                                        </p:tgtEl>
                                      </p:cBhvr>
                                    </p:animEffect>
                                    <p:animMotion origin="layout" path="M 4.16667E-6 -2.96296E-6 L 0.11132 -0.10995 " pathEditMode="relative">
                                      <p:cBhvr from="" to="">
                                        <p:cTn id="44" dur="2000" accel="50000" decel="50000" fill="hold">
                                          <p:stCondLst>
                                            <p:cond delay="0"/>
                                          </p:stCondLst>
                                        </p:cTn>
                                        <p:tgtEl>
                                          <p:spTgt spid="130"/>
                                        </p:tgtEl>
                                        <p:attrNameLst>
                                          <p:attrName>ppt_x</p:attrName>
                                          <p:attrName>ppt_y</p:attrName>
                                        </p:attrNameLst>
                                      </p:cBhvr>
                                    </p:animMotion>
                                    <p:anim to="" calcmode="lin" valueType="num">
                                      <p:cBhvr>
                                        <p:cTn id="45" dur="500" fill="hold">
                                          <p:stCondLst>
                                            <p:cond delay="1500"/>
                                          </p:stCondLst>
                                        </p:cTn>
                                        <p:tgtEl>
                                          <p:spTgt spid="130"/>
                                        </p:tgtEl>
                                        <p:attrNameLst>
                                          <p:attrName>ppt_w</p:attrName>
                                        </p:attrNameLst>
                                      </p:cBhvr>
                                      <p:tavLst>
                                        <p:tav tm="0">
                                          <p:val>
                                            <p:strVal val="ppt_w"/>
                                          </p:val>
                                        </p:tav>
                                        <p:tav tm="100000">
                                          <p:val>
                                            <p:fltVal val="0"/>
                                          </p:val>
                                        </p:tav>
                                      </p:tavLst>
                                    </p:anim>
                                    <p:anim to="" calcmode="lin" valueType="num">
                                      <p:cBhvr>
                                        <p:cTn id="46" dur="500" fill="hold">
                                          <p:stCondLst>
                                            <p:cond delay="1500"/>
                                          </p:stCondLst>
                                        </p:cTn>
                                        <p:tgtEl>
                                          <p:spTgt spid="130"/>
                                        </p:tgtEl>
                                        <p:attrNameLst>
                                          <p:attrName>ppt_h</p:attrName>
                                        </p:attrNameLst>
                                      </p:cBhvr>
                                      <p:tavLst>
                                        <p:tav tm="0">
                                          <p:val>
                                            <p:strVal val="ppt_h"/>
                                          </p:val>
                                        </p:tav>
                                        <p:tav tm="100000">
                                          <p:val>
                                            <p:fltVal val="0"/>
                                          </p:val>
                                        </p:tav>
                                      </p:tavLst>
                                    </p:anim>
                                    <p:animEffect transition="out" filter="fade">
                                      <p:cBhvr>
                                        <p:cTn id="47" dur="500">
                                          <p:stCondLst>
                                            <p:cond delay="1500"/>
                                          </p:stCondLst>
                                        </p:cTn>
                                        <p:tgtEl>
                                          <p:spTgt spid="130"/>
                                        </p:tgtEl>
                                      </p:cBhvr>
                                    </p:animEffect>
                                    <p:set>
                                      <p:cBhvr>
                                        <p:cTn id="48" dur="1" fill="hold">
                                          <p:stCondLst>
                                            <p:cond delay="1999"/>
                                          </p:stCondLst>
                                        </p:cTn>
                                        <p:tgtEl>
                                          <p:spTgt spid="130"/>
                                        </p:tgtEl>
                                        <p:attrNameLst>
                                          <p:attrName>style.visibility</p:attrName>
                                        </p:attrNameLst>
                                      </p:cBhvr>
                                      <p:to>
                                        <p:strVal val="hidden"/>
                                      </p:to>
                                    </p:set>
                                  </p:childTnLst>
                                </p:cTn>
                              </p:par>
                              <p:par>
                                <p:cTn id="49" presetID="53" presetClass="entr" presetSubtype="16" repeatCount="indefinite" fill="hold" nodeType="withEffect">
                                  <p:stCondLst>
                                    <p:cond delay="742"/>
                                  </p:stCondLst>
                                  <p:endCondLst>
                                    <p:cond evt="onNext" delay="0">
                                      <p:tgtEl>
                                        <p:sldTgt/>
                                      </p:tgtEl>
                                    </p:cond>
                                  </p:endCondLst>
                                  <p:childTnLst>
                                    <p:set>
                                      <p:cBhvr>
                                        <p:cTn id="50" dur="1" fill="hold">
                                          <p:stCondLst>
                                            <p:cond delay="0"/>
                                          </p:stCondLst>
                                        </p:cTn>
                                        <p:tgtEl>
                                          <p:spTgt spid="131"/>
                                        </p:tgtEl>
                                        <p:attrNameLst>
                                          <p:attrName>style.visibility</p:attrName>
                                        </p:attrNameLst>
                                      </p:cBhvr>
                                      <p:to>
                                        <p:strVal val="visible"/>
                                      </p:to>
                                    </p:set>
                                    <p:anim calcmode="lin" valueType="num">
                                      <p:cBhvr>
                                        <p:cTn id="51" dur="500" fill="hold"/>
                                        <p:tgtEl>
                                          <p:spTgt spid="131"/>
                                        </p:tgtEl>
                                        <p:attrNameLst>
                                          <p:attrName>ppt_w</p:attrName>
                                        </p:attrNameLst>
                                      </p:cBhvr>
                                      <p:tavLst>
                                        <p:tav tm="0">
                                          <p:val>
                                            <p:fltVal val="0"/>
                                          </p:val>
                                        </p:tav>
                                        <p:tav tm="100000">
                                          <p:val>
                                            <p:strVal val="#ppt_w"/>
                                          </p:val>
                                        </p:tav>
                                      </p:tavLst>
                                    </p:anim>
                                    <p:anim calcmode="lin" valueType="num">
                                      <p:cBhvr>
                                        <p:cTn id="52" dur="500" fill="hold"/>
                                        <p:tgtEl>
                                          <p:spTgt spid="131"/>
                                        </p:tgtEl>
                                        <p:attrNameLst>
                                          <p:attrName>ppt_h</p:attrName>
                                        </p:attrNameLst>
                                      </p:cBhvr>
                                      <p:tavLst>
                                        <p:tav tm="0">
                                          <p:val>
                                            <p:fltVal val="0"/>
                                          </p:val>
                                        </p:tav>
                                        <p:tav tm="100000">
                                          <p:val>
                                            <p:strVal val="#ppt_h"/>
                                          </p:val>
                                        </p:tav>
                                      </p:tavLst>
                                    </p:anim>
                                    <p:animEffect transition="in" filter="fade">
                                      <p:cBhvr>
                                        <p:cTn id="53" dur="500"/>
                                        <p:tgtEl>
                                          <p:spTgt spid="131"/>
                                        </p:tgtEl>
                                      </p:cBhvr>
                                    </p:animEffect>
                                    <p:animMotion origin="layout" path="M 4.16667E-6 -2.96296E-6 L 0.11132 -0.10995 " pathEditMode="relative">
                                      <p:cBhvr from="" to="">
                                        <p:cTn id="54" dur="2000" accel="50000" decel="50000" fill="hold">
                                          <p:stCondLst>
                                            <p:cond delay="0"/>
                                          </p:stCondLst>
                                        </p:cTn>
                                        <p:tgtEl>
                                          <p:spTgt spid="131"/>
                                        </p:tgtEl>
                                        <p:attrNameLst>
                                          <p:attrName>ppt_x</p:attrName>
                                          <p:attrName>ppt_y</p:attrName>
                                        </p:attrNameLst>
                                      </p:cBhvr>
                                    </p:animMotion>
                                    <p:anim to="" calcmode="lin" valueType="num">
                                      <p:cBhvr>
                                        <p:cTn id="55" dur="500" fill="hold">
                                          <p:stCondLst>
                                            <p:cond delay="1500"/>
                                          </p:stCondLst>
                                        </p:cTn>
                                        <p:tgtEl>
                                          <p:spTgt spid="131"/>
                                        </p:tgtEl>
                                        <p:attrNameLst>
                                          <p:attrName>ppt_w</p:attrName>
                                        </p:attrNameLst>
                                      </p:cBhvr>
                                      <p:tavLst>
                                        <p:tav tm="0">
                                          <p:val>
                                            <p:strVal val="ppt_w"/>
                                          </p:val>
                                        </p:tav>
                                        <p:tav tm="100000">
                                          <p:val>
                                            <p:fltVal val="0"/>
                                          </p:val>
                                        </p:tav>
                                      </p:tavLst>
                                    </p:anim>
                                    <p:anim to="" calcmode="lin" valueType="num">
                                      <p:cBhvr>
                                        <p:cTn id="56" dur="500" fill="hold">
                                          <p:stCondLst>
                                            <p:cond delay="1500"/>
                                          </p:stCondLst>
                                        </p:cTn>
                                        <p:tgtEl>
                                          <p:spTgt spid="131"/>
                                        </p:tgtEl>
                                        <p:attrNameLst>
                                          <p:attrName>ppt_h</p:attrName>
                                        </p:attrNameLst>
                                      </p:cBhvr>
                                      <p:tavLst>
                                        <p:tav tm="0">
                                          <p:val>
                                            <p:strVal val="ppt_h"/>
                                          </p:val>
                                        </p:tav>
                                        <p:tav tm="100000">
                                          <p:val>
                                            <p:fltVal val="0"/>
                                          </p:val>
                                        </p:tav>
                                      </p:tavLst>
                                    </p:anim>
                                    <p:animEffect transition="out" filter="fade">
                                      <p:cBhvr>
                                        <p:cTn id="57" dur="500">
                                          <p:stCondLst>
                                            <p:cond delay="1500"/>
                                          </p:stCondLst>
                                        </p:cTn>
                                        <p:tgtEl>
                                          <p:spTgt spid="131"/>
                                        </p:tgtEl>
                                      </p:cBhvr>
                                    </p:animEffect>
                                    <p:set>
                                      <p:cBhvr>
                                        <p:cTn id="58" dur="1" fill="hold">
                                          <p:stCondLst>
                                            <p:cond delay="1999"/>
                                          </p:stCondLst>
                                        </p:cTn>
                                        <p:tgtEl>
                                          <p:spTgt spid="131"/>
                                        </p:tgtEl>
                                        <p:attrNameLst>
                                          <p:attrName>style.visibility</p:attrName>
                                        </p:attrNameLst>
                                      </p:cBhvr>
                                      <p:to>
                                        <p:strVal val="hidden"/>
                                      </p:to>
                                    </p:set>
                                  </p:childTnLst>
                                </p:cTn>
                              </p:par>
                              <p:par>
                                <p:cTn id="59" presetID="53" presetClass="entr" presetSubtype="16" repeatCount="indefinite" fill="hold" nodeType="withEffect">
                                  <p:stCondLst>
                                    <p:cond delay="955"/>
                                  </p:stCondLst>
                                  <p:endCondLst>
                                    <p:cond evt="onNext" delay="0">
                                      <p:tgtEl>
                                        <p:sldTgt/>
                                      </p:tgtEl>
                                    </p:cond>
                                  </p:endCondLst>
                                  <p:childTnLst>
                                    <p:set>
                                      <p:cBhvr>
                                        <p:cTn id="60" dur="1" fill="hold">
                                          <p:stCondLst>
                                            <p:cond delay="0"/>
                                          </p:stCondLst>
                                        </p:cTn>
                                        <p:tgtEl>
                                          <p:spTgt spid="127"/>
                                        </p:tgtEl>
                                        <p:attrNameLst>
                                          <p:attrName>style.visibility</p:attrName>
                                        </p:attrNameLst>
                                      </p:cBhvr>
                                      <p:to>
                                        <p:strVal val="visible"/>
                                      </p:to>
                                    </p:set>
                                    <p:anim calcmode="lin" valueType="num">
                                      <p:cBhvr>
                                        <p:cTn id="61" dur="500" fill="hold"/>
                                        <p:tgtEl>
                                          <p:spTgt spid="127"/>
                                        </p:tgtEl>
                                        <p:attrNameLst>
                                          <p:attrName>ppt_w</p:attrName>
                                        </p:attrNameLst>
                                      </p:cBhvr>
                                      <p:tavLst>
                                        <p:tav tm="0">
                                          <p:val>
                                            <p:fltVal val="0"/>
                                          </p:val>
                                        </p:tav>
                                        <p:tav tm="100000">
                                          <p:val>
                                            <p:strVal val="#ppt_w"/>
                                          </p:val>
                                        </p:tav>
                                      </p:tavLst>
                                    </p:anim>
                                    <p:anim calcmode="lin" valueType="num">
                                      <p:cBhvr>
                                        <p:cTn id="62" dur="500" fill="hold"/>
                                        <p:tgtEl>
                                          <p:spTgt spid="127"/>
                                        </p:tgtEl>
                                        <p:attrNameLst>
                                          <p:attrName>ppt_h</p:attrName>
                                        </p:attrNameLst>
                                      </p:cBhvr>
                                      <p:tavLst>
                                        <p:tav tm="0">
                                          <p:val>
                                            <p:fltVal val="0"/>
                                          </p:val>
                                        </p:tav>
                                        <p:tav tm="100000">
                                          <p:val>
                                            <p:strVal val="#ppt_h"/>
                                          </p:val>
                                        </p:tav>
                                      </p:tavLst>
                                    </p:anim>
                                    <p:animEffect transition="in" filter="fade">
                                      <p:cBhvr>
                                        <p:cTn id="63" dur="500"/>
                                        <p:tgtEl>
                                          <p:spTgt spid="127"/>
                                        </p:tgtEl>
                                      </p:cBhvr>
                                    </p:animEffect>
                                    <p:animMotion origin="layout" path="M 4.16667E-6 -2.96296E-6 L 0.11132 -0.10995 " pathEditMode="relative">
                                      <p:cBhvr from="" to="">
                                        <p:cTn id="64" dur="2000" accel="50000" decel="50000" fill="hold">
                                          <p:stCondLst>
                                            <p:cond delay="0"/>
                                          </p:stCondLst>
                                        </p:cTn>
                                        <p:tgtEl>
                                          <p:spTgt spid="127"/>
                                        </p:tgtEl>
                                        <p:attrNameLst>
                                          <p:attrName>ppt_x</p:attrName>
                                          <p:attrName>ppt_y</p:attrName>
                                        </p:attrNameLst>
                                      </p:cBhvr>
                                    </p:animMotion>
                                    <p:anim to="" calcmode="lin" valueType="num">
                                      <p:cBhvr>
                                        <p:cTn id="65" dur="500" fill="hold">
                                          <p:stCondLst>
                                            <p:cond delay="1500"/>
                                          </p:stCondLst>
                                        </p:cTn>
                                        <p:tgtEl>
                                          <p:spTgt spid="127"/>
                                        </p:tgtEl>
                                        <p:attrNameLst>
                                          <p:attrName>ppt_w</p:attrName>
                                        </p:attrNameLst>
                                      </p:cBhvr>
                                      <p:tavLst>
                                        <p:tav tm="0">
                                          <p:val>
                                            <p:strVal val="ppt_w"/>
                                          </p:val>
                                        </p:tav>
                                        <p:tav tm="100000">
                                          <p:val>
                                            <p:fltVal val="0"/>
                                          </p:val>
                                        </p:tav>
                                      </p:tavLst>
                                    </p:anim>
                                    <p:anim to="" calcmode="lin" valueType="num">
                                      <p:cBhvr>
                                        <p:cTn id="66" dur="500" fill="hold">
                                          <p:stCondLst>
                                            <p:cond delay="1500"/>
                                          </p:stCondLst>
                                        </p:cTn>
                                        <p:tgtEl>
                                          <p:spTgt spid="127"/>
                                        </p:tgtEl>
                                        <p:attrNameLst>
                                          <p:attrName>ppt_h</p:attrName>
                                        </p:attrNameLst>
                                      </p:cBhvr>
                                      <p:tavLst>
                                        <p:tav tm="0">
                                          <p:val>
                                            <p:strVal val="ppt_h"/>
                                          </p:val>
                                        </p:tav>
                                        <p:tav tm="100000">
                                          <p:val>
                                            <p:fltVal val="0"/>
                                          </p:val>
                                        </p:tav>
                                      </p:tavLst>
                                    </p:anim>
                                    <p:animEffect transition="out" filter="fade">
                                      <p:cBhvr>
                                        <p:cTn id="67" dur="500">
                                          <p:stCondLst>
                                            <p:cond delay="1500"/>
                                          </p:stCondLst>
                                        </p:cTn>
                                        <p:tgtEl>
                                          <p:spTgt spid="127"/>
                                        </p:tgtEl>
                                      </p:cBhvr>
                                    </p:animEffect>
                                    <p:set>
                                      <p:cBhvr>
                                        <p:cTn id="68" dur="1" fill="hold">
                                          <p:stCondLst>
                                            <p:cond delay="1999"/>
                                          </p:stCondLst>
                                        </p:cTn>
                                        <p:tgtEl>
                                          <p:spTgt spid="127"/>
                                        </p:tgtEl>
                                        <p:attrNameLst>
                                          <p:attrName>style.visibility</p:attrName>
                                        </p:attrNameLst>
                                      </p:cBhvr>
                                      <p:to>
                                        <p:strVal val="hidden"/>
                                      </p:to>
                                    </p:set>
                                  </p:childTnLst>
                                </p:cTn>
                              </p:par>
                              <p:par>
                                <p:cTn id="69" presetID="53" presetClass="entr" presetSubtype="16" repeatCount="indefinite" fill="hold" nodeType="withEffect">
                                  <p:stCondLst>
                                    <p:cond delay="36"/>
                                  </p:stCondLst>
                                  <p:endCondLst>
                                    <p:cond evt="onNext" delay="0">
                                      <p:tgtEl>
                                        <p:sldTgt/>
                                      </p:tgtEl>
                                    </p:cond>
                                  </p:endCondLst>
                                  <p:childTnLst>
                                    <p:set>
                                      <p:cBhvr>
                                        <p:cTn id="70" dur="1" fill="hold">
                                          <p:stCondLst>
                                            <p:cond delay="0"/>
                                          </p:stCondLst>
                                        </p:cTn>
                                        <p:tgtEl>
                                          <p:spTgt spid="126"/>
                                        </p:tgtEl>
                                        <p:attrNameLst>
                                          <p:attrName>style.visibility</p:attrName>
                                        </p:attrNameLst>
                                      </p:cBhvr>
                                      <p:to>
                                        <p:strVal val="visible"/>
                                      </p:to>
                                    </p:set>
                                    <p:anim calcmode="lin" valueType="num">
                                      <p:cBhvr>
                                        <p:cTn id="71" dur="500" fill="hold"/>
                                        <p:tgtEl>
                                          <p:spTgt spid="126"/>
                                        </p:tgtEl>
                                        <p:attrNameLst>
                                          <p:attrName>ppt_w</p:attrName>
                                        </p:attrNameLst>
                                      </p:cBhvr>
                                      <p:tavLst>
                                        <p:tav tm="0">
                                          <p:val>
                                            <p:fltVal val="0"/>
                                          </p:val>
                                        </p:tav>
                                        <p:tav tm="100000">
                                          <p:val>
                                            <p:strVal val="#ppt_w"/>
                                          </p:val>
                                        </p:tav>
                                      </p:tavLst>
                                    </p:anim>
                                    <p:anim calcmode="lin" valueType="num">
                                      <p:cBhvr>
                                        <p:cTn id="72" dur="500" fill="hold"/>
                                        <p:tgtEl>
                                          <p:spTgt spid="126"/>
                                        </p:tgtEl>
                                        <p:attrNameLst>
                                          <p:attrName>ppt_h</p:attrName>
                                        </p:attrNameLst>
                                      </p:cBhvr>
                                      <p:tavLst>
                                        <p:tav tm="0">
                                          <p:val>
                                            <p:fltVal val="0"/>
                                          </p:val>
                                        </p:tav>
                                        <p:tav tm="100000">
                                          <p:val>
                                            <p:strVal val="#ppt_h"/>
                                          </p:val>
                                        </p:tav>
                                      </p:tavLst>
                                    </p:anim>
                                    <p:animEffect transition="in" filter="fade">
                                      <p:cBhvr>
                                        <p:cTn id="73" dur="500"/>
                                        <p:tgtEl>
                                          <p:spTgt spid="126"/>
                                        </p:tgtEl>
                                      </p:cBhvr>
                                    </p:animEffect>
                                    <p:animMotion origin="layout" path="M 4.16667E-6 -2.96296E-6 L 0.11132 -0.10995 " pathEditMode="relative">
                                      <p:cBhvr from="" to="">
                                        <p:cTn id="74" dur="2000" accel="50000" decel="50000" fill="hold">
                                          <p:stCondLst>
                                            <p:cond delay="0"/>
                                          </p:stCondLst>
                                        </p:cTn>
                                        <p:tgtEl>
                                          <p:spTgt spid="126"/>
                                        </p:tgtEl>
                                        <p:attrNameLst>
                                          <p:attrName>ppt_x</p:attrName>
                                          <p:attrName>ppt_y</p:attrName>
                                        </p:attrNameLst>
                                      </p:cBhvr>
                                    </p:animMotion>
                                    <p:anim to="" calcmode="lin" valueType="num">
                                      <p:cBhvr>
                                        <p:cTn id="75" dur="500" fill="hold">
                                          <p:stCondLst>
                                            <p:cond delay="1500"/>
                                          </p:stCondLst>
                                        </p:cTn>
                                        <p:tgtEl>
                                          <p:spTgt spid="126"/>
                                        </p:tgtEl>
                                        <p:attrNameLst>
                                          <p:attrName>ppt_w</p:attrName>
                                        </p:attrNameLst>
                                      </p:cBhvr>
                                      <p:tavLst>
                                        <p:tav tm="0">
                                          <p:val>
                                            <p:strVal val="ppt_w"/>
                                          </p:val>
                                        </p:tav>
                                        <p:tav tm="100000">
                                          <p:val>
                                            <p:fltVal val="0"/>
                                          </p:val>
                                        </p:tav>
                                      </p:tavLst>
                                    </p:anim>
                                    <p:anim to="" calcmode="lin" valueType="num">
                                      <p:cBhvr>
                                        <p:cTn id="76" dur="500" fill="hold">
                                          <p:stCondLst>
                                            <p:cond delay="1500"/>
                                          </p:stCondLst>
                                        </p:cTn>
                                        <p:tgtEl>
                                          <p:spTgt spid="126"/>
                                        </p:tgtEl>
                                        <p:attrNameLst>
                                          <p:attrName>ppt_h</p:attrName>
                                        </p:attrNameLst>
                                      </p:cBhvr>
                                      <p:tavLst>
                                        <p:tav tm="0">
                                          <p:val>
                                            <p:strVal val="ppt_h"/>
                                          </p:val>
                                        </p:tav>
                                        <p:tav tm="100000">
                                          <p:val>
                                            <p:fltVal val="0"/>
                                          </p:val>
                                        </p:tav>
                                      </p:tavLst>
                                    </p:anim>
                                    <p:animEffect transition="out" filter="fade">
                                      <p:cBhvr>
                                        <p:cTn id="77" dur="500">
                                          <p:stCondLst>
                                            <p:cond delay="1500"/>
                                          </p:stCondLst>
                                        </p:cTn>
                                        <p:tgtEl>
                                          <p:spTgt spid="126"/>
                                        </p:tgtEl>
                                      </p:cBhvr>
                                    </p:animEffect>
                                    <p:set>
                                      <p:cBhvr>
                                        <p:cTn id="78" dur="1" fill="hold">
                                          <p:stCondLst>
                                            <p:cond delay="1999"/>
                                          </p:stCondLst>
                                        </p:cTn>
                                        <p:tgtEl>
                                          <p:spTgt spid="1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9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组合 111">
            <a:extLst>
              <a:ext uri="{FF2B5EF4-FFF2-40B4-BE49-F238E27FC236}">
                <a16:creationId xmlns:a16="http://schemas.microsoft.com/office/drawing/2014/main" id="{542B3E95-89C4-499D-A1C7-AB16A09AAB77}"/>
              </a:ext>
            </a:extLst>
          </p:cNvPr>
          <p:cNvGrpSpPr/>
          <p:nvPr userDrawn="1"/>
        </p:nvGrpSpPr>
        <p:grpSpPr>
          <a:xfrm>
            <a:off x="860868" y="1867401"/>
            <a:ext cx="3449449" cy="3356657"/>
            <a:chOff x="860868" y="1867401"/>
            <a:chExt cx="3449449" cy="3356657"/>
          </a:xfrm>
        </p:grpSpPr>
        <p:sp>
          <p:nvSpPr>
            <p:cNvPr id="113" name="椭圆 112">
              <a:extLst>
                <a:ext uri="{FF2B5EF4-FFF2-40B4-BE49-F238E27FC236}">
                  <a16:creationId xmlns:a16="http://schemas.microsoft.com/office/drawing/2014/main" id="{1D6A3F34-28FB-43FF-9DBF-450C826CF171}"/>
                </a:ext>
              </a:extLst>
            </p:cNvPr>
            <p:cNvSpPr/>
            <p:nvPr/>
          </p:nvSpPr>
          <p:spPr>
            <a:xfrm>
              <a:off x="1243026" y="1867401"/>
              <a:ext cx="3067291" cy="3067291"/>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4" name="椭圆 113">
              <a:extLst>
                <a:ext uri="{FF2B5EF4-FFF2-40B4-BE49-F238E27FC236}">
                  <a16:creationId xmlns:a16="http://schemas.microsoft.com/office/drawing/2014/main" id="{D608C77A-3467-412A-9811-48D23ED0680A}"/>
                </a:ext>
              </a:extLst>
            </p:cNvPr>
            <p:cNvSpPr/>
            <p:nvPr/>
          </p:nvSpPr>
          <p:spPr>
            <a:xfrm>
              <a:off x="1150428" y="2156767"/>
              <a:ext cx="3067291" cy="306729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5" name="椭圆 114">
              <a:extLst>
                <a:ext uri="{FF2B5EF4-FFF2-40B4-BE49-F238E27FC236}">
                  <a16:creationId xmlns:a16="http://schemas.microsoft.com/office/drawing/2014/main" id="{05B381D7-F5DC-4DF8-AFF8-19F94A8ACECA}"/>
                </a:ext>
              </a:extLst>
            </p:cNvPr>
            <p:cNvSpPr/>
            <p:nvPr/>
          </p:nvSpPr>
          <p:spPr>
            <a:xfrm>
              <a:off x="860868" y="1890067"/>
              <a:ext cx="3067291" cy="306729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117" name="图片占位符 116">
            <a:extLst>
              <a:ext uri="{FF2B5EF4-FFF2-40B4-BE49-F238E27FC236}">
                <a16:creationId xmlns:a16="http://schemas.microsoft.com/office/drawing/2014/main" id="{6962482A-6BD9-4BCA-972F-FA6E541E634E}"/>
              </a:ext>
            </a:extLst>
          </p:cNvPr>
          <p:cNvSpPr>
            <a:spLocks noGrp="1"/>
          </p:cNvSpPr>
          <p:nvPr>
            <p:ph type="pic" sz="quarter" idx="10"/>
          </p:nvPr>
        </p:nvSpPr>
        <p:spPr>
          <a:xfrm>
            <a:off x="1027988" y="2053946"/>
            <a:ext cx="3068100" cy="3068100"/>
          </a:xfrm>
          <a:custGeom>
            <a:avLst/>
            <a:gdLst>
              <a:gd name="connsiteX0" fmla="*/ 1534050 w 3068100"/>
              <a:gd name="connsiteY0" fmla="*/ 0 h 3068100"/>
              <a:gd name="connsiteX1" fmla="*/ 3068100 w 3068100"/>
              <a:gd name="connsiteY1" fmla="*/ 1534050 h 3068100"/>
              <a:gd name="connsiteX2" fmla="*/ 1534050 w 3068100"/>
              <a:gd name="connsiteY2" fmla="*/ 3068100 h 3068100"/>
              <a:gd name="connsiteX3" fmla="*/ 0 w 3068100"/>
              <a:gd name="connsiteY3" fmla="*/ 1534050 h 3068100"/>
              <a:gd name="connsiteX4" fmla="*/ 1534050 w 3068100"/>
              <a:gd name="connsiteY4" fmla="*/ 0 h 306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8100" h="3068100">
                <a:moveTo>
                  <a:pt x="1534050" y="0"/>
                </a:moveTo>
                <a:cubicBezTo>
                  <a:pt x="2381282" y="0"/>
                  <a:pt x="3068100" y="686818"/>
                  <a:pt x="3068100" y="1534050"/>
                </a:cubicBezTo>
                <a:cubicBezTo>
                  <a:pt x="3068100" y="2381282"/>
                  <a:pt x="2381282" y="3068100"/>
                  <a:pt x="1534050" y="3068100"/>
                </a:cubicBezTo>
                <a:cubicBezTo>
                  <a:pt x="686818" y="3068100"/>
                  <a:pt x="0" y="2381282"/>
                  <a:pt x="0" y="1534050"/>
                </a:cubicBezTo>
                <a:cubicBezTo>
                  <a:pt x="0" y="686818"/>
                  <a:pt x="686818" y="0"/>
                  <a:pt x="1534050" y="0"/>
                </a:cubicBezTo>
                <a:close/>
              </a:path>
            </a:pathLst>
          </a:custGeom>
          <a:solidFill>
            <a:schemeClr val="accent1">
              <a:lumMod val="20000"/>
              <a:lumOff val="80000"/>
            </a:schemeClr>
          </a:solidFill>
          <a:ln w="38100">
            <a:solidFill>
              <a:schemeClr val="bg1"/>
            </a:solidFill>
          </a:ln>
        </p:spPr>
        <p:txBody>
          <a:bodyPr wrap="square">
            <a:noAutofit/>
          </a:bodyPr>
          <a:lstStyle/>
          <a:p>
            <a:endParaRPr lang="en-US"/>
          </a:p>
        </p:txBody>
      </p:sp>
    </p:spTree>
    <p:extLst>
      <p:ext uri="{BB962C8B-B14F-4D97-AF65-F5344CB8AC3E}">
        <p14:creationId xmlns:p14="http://schemas.microsoft.com/office/powerpoint/2010/main" val="40192269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空白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7431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34F6DD80-1174-419A-9DF0-A80DEC6DC1EB}"/>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02929368"/>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封面2-3">
    <p:spTree>
      <p:nvGrpSpPr>
        <p:cNvPr id="1" name=""/>
        <p:cNvGrpSpPr/>
        <p:nvPr/>
      </p:nvGrpSpPr>
      <p:grpSpPr>
        <a:xfrm>
          <a:off x="0" y="0"/>
          <a:ext cx="0" cy="0"/>
          <a:chOff x="0" y="0"/>
          <a:chExt cx="0" cy="0"/>
        </a:xfrm>
      </p:grpSpPr>
      <p:pic>
        <p:nvPicPr>
          <p:cNvPr id="112" name="图片 111">
            <a:extLst>
              <a:ext uri="{FF2B5EF4-FFF2-40B4-BE49-F238E27FC236}">
                <a16:creationId xmlns:a16="http://schemas.microsoft.com/office/drawing/2014/main" id="{634481CF-548A-49C5-BAFB-7B277B0CDCB1}"/>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rcRect/>
          <a:stretch/>
        </p:blipFill>
        <p:spPr>
          <a:xfrm>
            <a:off x="0" y="-1"/>
            <a:ext cx="12186564" cy="4107180"/>
          </a:xfrm>
          <a:custGeom>
            <a:avLst/>
            <a:gdLst>
              <a:gd name="connsiteX0" fmla="*/ 0 w 12192000"/>
              <a:gd name="connsiteY0" fmla="*/ 0 h 4109012"/>
              <a:gd name="connsiteX1" fmla="*/ 12192000 w 12192000"/>
              <a:gd name="connsiteY1" fmla="*/ 0 h 4109012"/>
              <a:gd name="connsiteX2" fmla="*/ 12192000 w 12192000"/>
              <a:gd name="connsiteY2" fmla="*/ 4109012 h 4109012"/>
              <a:gd name="connsiteX3" fmla="*/ 0 w 12192000"/>
              <a:gd name="connsiteY3" fmla="*/ 4109012 h 4109012"/>
            </a:gdLst>
            <a:ahLst/>
            <a:cxnLst>
              <a:cxn ang="0">
                <a:pos x="connsiteX0" y="connsiteY0"/>
              </a:cxn>
              <a:cxn ang="0">
                <a:pos x="connsiteX1" y="connsiteY1"/>
              </a:cxn>
              <a:cxn ang="0">
                <a:pos x="connsiteX2" y="connsiteY2"/>
              </a:cxn>
              <a:cxn ang="0">
                <a:pos x="connsiteX3" y="connsiteY3"/>
              </a:cxn>
            </a:cxnLst>
            <a:rect l="l" t="t" r="r" b="b"/>
            <a:pathLst>
              <a:path w="12192000" h="4109012">
                <a:moveTo>
                  <a:pt x="0" y="0"/>
                </a:moveTo>
                <a:lnTo>
                  <a:pt x="12192000" y="0"/>
                </a:lnTo>
                <a:lnTo>
                  <a:pt x="12192000" y="4109012"/>
                </a:lnTo>
                <a:lnTo>
                  <a:pt x="0" y="4109012"/>
                </a:lnTo>
                <a:close/>
              </a:path>
            </a:pathLst>
          </a:custGeom>
        </p:spPr>
      </p:pic>
      <p:sp>
        <p:nvSpPr>
          <p:cNvPr id="111" name="矩形: 单圆角 110">
            <a:extLst>
              <a:ext uri="{FF2B5EF4-FFF2-40B4-BE49-F238E27FC236}">
                <a16:creationId xmlns:a16="http://schemas.microsoft.com/office/drawing/2014/main" id="{EAF442DF-F7DD-4876-9392-D355326F67A6}"/>
              </a:ext>
            </a:extLst>
          </p:cNvPr>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a:extLst>
              <a:ext uri="{FF2B5EF4-FFF2-40B4-BE49-F238E27FC236}">
                <a16:creationId xmlns:a16="http://schemas.microsoft.com/office/drawing/2014/main" id="{40D7A070-7AD3-46A0-AD41-94F48E4EE327}"/>
              </a:ext>
            </a:extLst>
          </p:cNvPr>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a:extLst>
              <a:ext uri="{FF2B5EF4-FFF2-40B4-BE49-F238E27FC236}">
                <a16:creationId xmlns:a16="http://schemas.microsoft.com/office/drawing/2014/main" id="{ABEFFFED-3586-4082-A56E-F78581DA1ACB}"/>
              </a:ext>
            </a:extLst>
          </p:cNvPr>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a:extLst>
              <a:ext uri="{FF2B5EF4-FFF2-40B4-BE49-F238E27FC236}">
                <a16:creationId xmlns:a16="http://schemas.microsoft.com/office/drawing/2014/main" id="{E5D5D201-24DF-473B-9E84-E4E6D020883A}"/>
              </a:ext>
            </a:extLst>
          </p:cNvPr>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123">
            <a:extLst>
              <a:ext uri="{FF2B5EF4-FFF2-40B4-BE49-F238E27FC236}">
                <a16:creationId xmlns:a16="http://schemas.microsoft.com/office/drawing/2014/main" id="{9DFDEEF2-8AA0-4A3E-B103-38626154FEC1}"/>
              </a:ext>
            </a:extLst>
          </p:cNvPr>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9" name="内容占位符 4">
            <a:extLst>
              <a:ext uri="{FF2B5EF4-FFF2-40B4-BE49-F238E27FC236}">
                <a16:creationId xmlns:a16="http://schemas.microsoft.com/office/drawing/2014/main" id="{CA52BAEC-F1CF-49F3-9985-901860AA9CF9}"/>
              </a:ext>
            </a:extLst>
          </p:cNvPr>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grpSp>
        <p:nvGrpSpPr>
          <p:cNvPr id="60" name="组合 59">
            <a:extLst>
              <a:ext uri="{FF2B5EF4-FFF2-40B4-BE49-F238E27FC236}">
                <a16:creationId xmlns:a16="http://schemas.microsoft.com/office/drawing/2014/main" id="{DA2E4610-9BAC-4A38-B956-AA3BAC1E0222}"/>
              </a:ext>
            </a:extLst>
          </p:cNvPr>
          <p:cNvGrpSpPr/>
          <p:nvPr userDrawn="1"/>
        </p:nvGrpSpPr>
        <p:grpSpPr>
          <a:xfrm>
            <a:off x="10477913" y="446123"/>
            <a:ext cx="1234662" cy="419641"/>
            <a:chOff x="1398368" y="5051425"/>
            <a:chExt cx="3242941" cy="1102222"/>
          </a:xfrm>
        </p:grpSpPr>
        <p:sp>
          <p:nvSpPr>
            <p:cNvPr id="61" name="Freeform 5">
              <a:extLst>
                <a:ext uri="{FF2B5EF4-FFF2-40B4-BE49-F238E27FC236}">
                  <a16:creationId xmlns:a16="http://schemas.microsoft.com/office/drawing/2014/main" id="{F95CF398-220A-4D06-A175-3707061DE2DD}"/>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
              <a:extLst>
                <a:ext uri="{FF2B5EF4-FFF2-40B4-BE49-F238E27FC236}">
                  <a16:creationId xmlns:a16="http://schemas.microsoft.com/office/drawing/2014/main" id="{0013E14D-5F1E-4036-8B7F-119D6A093005}"/>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
              <a:extLst>
                <a:ext uri="{FF2B5EF4-FFF2-40B4-BE49-F238E27FC236}">
                  <a16:creationId xmlns:a16="http://schemas.microsoft.com/office/drawing/2014/main" id="{2C4920B4-4508-4CE6-A2D9-A0B9A6335B23}"/>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组合 116">
              <a:extLst>
                <a:ext uri="{FF2B5EF4-FFF2-40B4-BE49-F238E27FC236}">
                  <a16:creationId xmlns:a16="http://schemas.microsoft.com/office/drawing/2014/main" id="{91656522-D6E9-4002-8824-1783875CDD64}"/>
                </a:ext>
              </a:extLst>
            </p:cNvPr>
            <p:cNvGrpSpPr/>
            <p:nvPr/>
          </p:nvGrpSpPr>
          <p:grpSpPr>
            <a:xfrm>
              <a:off x="2921957" y="5168150"/>
              <a:ext cx="542765" cy="642593"/>
              <a:chOff x="3102298" y="5183391"/>
              <a:chExt cx="501880" cy="594188"/>
            </a:xfrm>
          </p:grpSpPr>
          <p:sp>
            <p:nvSpPr>
              <p:cNvPr id="161" name="Freeform 6">
                <a:extLst>
                  <a:ext uri="{FF2B5EF4-FFF2-40B4-BE49-F238E27FC236}">
                    <a16:creationId xmlns:a16="http://schemas.microsoft.com/office/drawing/2014/main" id="{1AD42CD9-A06B-4307-A96E-59C801E53D5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0">
                <a:extLst>
                  <a:ext uri="{FF2B5EF4-FFF2-40B4-BE49-F238E27FC236}">
                    <a16:creationId xmlns:a16="http://schemas.microsoft.com/office/drawing/2014/main" id="{8B130D40-4A33-4080-9D61-7AB8CA7315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3">
                <a:extLst>
                  <a:ext uri="{FF2B5EF4-FFF2-40B4-BE49-F238E27FC236}">
                    <a16:creationId xmlns:a16="http://schemas.microsoft.com/office/drawing/2014/main" id="{5ECA1D41-7449-4F6D-A542-6F12D64E153C}"/>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组合 120">
              <a:extLst>
                <a:ext uri="{FF2B5EF4-FFF2-40B4-BE49-F238E27FC236}">
                  <a16:creationId xmlns:a16="http://schemas.microsoft.com/office/drawing/2014/main" id="{AA9420AF-8CB7-4D62-8EFB-35A052D87742}"/>
                </a:ext>
              </a:extLst>
            </p:cNvPr>
            <p:cNvGrpSpPr/>
            <p:nvPr/>
          </p:nvGrpSpPr>
          <p:grpSpPr>
            <a:xfrm>
              <a:off x="4196892" y="5154476"/>
              <a:ext cx="444417" cy="649987"/>
              <a:chOff x="4257853" y="5169716"/>
              <a:chExt cx="410940" cy="601025"/>
            </a:xfrm>
          </p:grpSpPr>
          <p:sp>
            <p:nvSpPr>
              <p:cNvPr id="156" name="Freeform 9">
                <a:extLst>
                  <a:ext uri="{FF2B5EF4-FFF2-40B4-BE49-F238E27FC236}">
                    <a16:creationId xmlns:a16="http://schemas.microsoft.com/office/drawing/2014/main" id="{D4BD301D-29A8-42A7-AC65-C6BBB010F9C2}"/>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1">
                <a:extLst>
                  <a:ext uri="{FF2B5EF4-FFF2-40B4-BE49-F238E27FC236}">
                    <a16:creationId xmlns:a16="http://schemas.microsoft.com/office/drawing/2014/main" id="{FE7DACDA-409B-418D-BBC7-E7882B489698}"/>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2">
                <a:extLst>
                  <a:ext uri="{FF2B5EF4-FFF2-40B4-BE49-F238E27FC236}">
                    <a16:creationId xmlns:a16="http://schemas.microsoft.com/office/drawing/2014/main" id="{724FC37A-638B-4E4B-915B-271402B5F6C3}"/>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4">
                <a:extLst>
                  <a:ext uri="{FF2B5EF4-FFF2-40B4-BE49-F238E27FC236}">
                    <a16:creationId xmlns:a16="http://schemas.microsoft.com/office/drawing/2014/main" id="{63FE2239-B3C7-4E06-99B7-43927840E5D5}"/>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
                <a:extLst>
                  <a:ext uri="{FF2B5EF4-FFF2-40B4-BE49-F238E27FC236}">
                    <a16:creationId xmlns:a16="http://schemas.microsoft.com/office/drawing/2014/main" id="{7D8D2110-3C2C-4CBC-87EA-85421D6393F4}"/>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2" name="Freeform 16">
              <a:extLst>
                <a:ext uri="{FF2B5EF4-FFF2-40B4-BE49-F238E27FC236}">
                  <a16:creationId xmlns:a16="http://schemas.microsoft.com/office/drawing/2014/main" id="{B9F23A47-192D-4E13-AC82-C96A6AF5CAB1}"/>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7">
              <a:extLst>
                <a:ext uri="{FF2B5EF4-FFF2-40B4-BE49-F238E27FC236}">
                  <a16:creationId xmlns:a16="http://schemas.microsoft.com/office/drawing/2014/main" id="{FE1EB311-DD73-437D-B596-410FD82E2407}"/>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18">
              <a:extLst>
                <a:ext uri="{FF2B5EF4-FFF2-40B4-BE49-F238E27FC236}">
                  <a16:creationId xmlns:a16="http://schemas.microsoft.com/office/drawing/2014/main" id="{8D545EB2-275B-4BCA-8BA2-B73176AD0916}"/>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9">
              <a:extLst>
                <a:ext uri="{FF2B5EF4-FFF2-40B4-BE49-F238E27FC236}">
                  <a16:creationId xmlns:a16="http://schemas.microsoft.com/office/drawing/2014/main" id="{E9E3E82C-7EE4-4A5E-922D-9095247C367B}"/>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0">
              <a:extLst>
                <a:ext uri="{FF2B5EF4-FFF2-40B4-BE49-F238E27FC236}">
                  <a16:creationId xmlns:a16="http://schemas.microsoft.com/office/drawing/2014/main" id="{1B422B05-FD3B-4F14-9706-265D744C0B93}"/>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1">
              <a:extLst>
                <a:ext uri="{FF2B5EF4-FFF2-40B4-BE49-F238E27FC236}">
                  <a16:creationId xmlns:a16="http://schemas.microsoft.com/office/drawing/2014/main" id="{6E0FFE3D-BFFE-4978-A329-997F8F378B38}"/>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2">
              <a:extLst>
                <a:ext uri="{FF2B5EF4-FFF2-40B4-BE49-F238E27FC236}">
                  <a16:creationId xmlns:a16="http://schemas.microsoft.com/office/drawing/2014/main" id="{9A38361C-8BDC-4627-AF41-FE7CA8A46B55}"/>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3">
              <a:extLst>
                <a:ext uri="{FF2B5EF4-FFF2-40B4-BE49-F238E27FC236}">
                  <a16:creationId xmlns:a16="http://schemas.microsoft.com/office/drawing/2014/main" id="{75AF39F3-B3A2-4107-83E3-D1901C99D74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4">
              <a:extLst>
                <a:ext uri="{FF2B5EF4-FFF2-40B4-BE49-F238E27FC236}">
                  <a16:creationId xmlns:a16="http://schemas.microsoft.com/office/drawing/2014/main" id="{F6E9551F-3D23-4682-8427-DEA0171C850A}"/>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5">
              <a:extLst>
                <a:ext uri="{FF2B5EF4-FFF2-40B4-BE49-F238E27FC236}">
                  <a16:creationId xmlns:a16="http://schemas.microsoft.com/office/drawing/2014/main" id="{8388614D-543B-464C-B279-0010479EF9A7}"/>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6">
              <a:extLst>
                <a:ext uri="{FF2B5EF4-FFF2-40B4-BE49-F238E27FC236}">
                  <a16:creationId xmlns:a16="http://schemas.microsoft.com/office/drawing/2014/main" id="{17EF59A3-2C40-4CF9-BA45-A571986B89BA}"/>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7">
              <a:extLst>
                <a:ext uri="{FF2B5EF4-FFF2-40B4-BE49-F238E27FC236}">
                  <a16:creationId xmlns:a16="http://schemas.microsoft.com/office/drawing/2014/main" id="{0BD4B2B9-732A-464A-81F7-33BAD17F940D}"/>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8">
              <a:extLst>
                <a:ext uri="{FF2B5EF4-FFF2-40B4-BE49-F238E27FC236}">
                  <a16:creationId xmlns:a16="http://schemas.microsoft.com/office/drawing/2014/main" id="{AF24A50D-F663-4E10-A9DB-E5E239C52F7B}"/>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9">
              <a:extLst>
                <a:ext uri="{FF2B5EF4-FFF2-40B4-BE49-F238E27FC236}">
                  <a16:creationId xmlns:a16="http://schemas.microsoft.com/office/drawing/2014/main" id="{14AF73E2-ACA2-4B5F-AAAF-034275B9BC63}"/>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0">
              <a:extLst>
                <a:ext uri="{FF2B5EF4-FFF2-40B4-BE49-F238E27FC236}">
                  <a16:creationId xmlns:a16="http://schemas.microsoft.com/office/drawing/2014/main" id="{F0F376DC-A254-478A-923D-7B0EB1817C4F}"/>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1">
              <a:extLst>
                <a:ext uri="{FF2B5EF4-FFF2-40B4-BE49-F238E27FC236}">
                  <a16:creationId xmlns:a16="http://schemas.microsoft.com/office/drawing/2014/main" id="{E673B1FA-B155-4875-B9C5-C9149D077A9C}"/>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2">
              <a:extLst>
                <a:ext uri="{FF2B5EF4-FFF2-40B4-BE49-F238E27FC236}">
                  <a16:creationId xmlns:a16="http://schemas.microsoft.com/office/drawing/2014/main" id="{F653CE11-E750-42CD-B076-8F39F3278AE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3">
              <a:extLst>
                <a:ext uri="{FF2B5EF4-FFF2-40B4-BE49-F238E27FC236}">
                  <a16:creationId xmlns:a16="http://schemas.microsoft.com/office/drawing/2014/main" id="{9A4B7ED5-ACBF-4FB4-991B-6D7C5C9201EA}"/>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34">
              <a:extLst>
                <a:ext uri="{FF2B5EF4-FFF2-40B4-BE49-F238E27FC236}">
                  <a16:creationId xmlns:a16="http://schemas.microsoft.com/office/drawing/2014/main" id="{88E69CF0-D9DF-41A7-BD95-11F19094A97B}"/>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5">
              <a:extLst>
                <a:ext uri="{FF2B5EF4-FFF2-40B4-BE49-F238E27FC236}">
                  <a16:creationId xmlns:a16="http://schemas.microsoft.com/office/drawing/2014/main" id="{BC43E8AE-0083-4340-AE5E-8F20D5800A6B}"/>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6">
              <a:extLst>
                <a:ext uri="{FF2B5EF4-FFF2-40B4-BE49-F238E27FC236}">
                  <a16:creationId xmlns:a16="http://schemas.microsoft.com/office/drawing/2014/main" id="{69F9CA36-3B30-4601-9D57-B61CC4E9DBDB}"/>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7">
              <a:extLst>
                <a:ext uri="{FF2B5EF4-FFF2-40B4-BE49-F238E27FC236}">
                  <a16:creationId xmlns:a16="http://schemas.microsoft.com/office/drawing/2014/main" id="{5CD44C6D-3385-4193-A91C-7F1FB7196DFF}"/>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8">
              <a:extLst>
                <a:ext uri="{FF2B5EF4-FFF2-40B4-BE49-F238E27FC236}">
                  <a16:creationId xmlns:a16="http://schemas.microsoft.com/office/drawing/2014/main" id="{B7F17363-2BE0-498C-9F97-05A2C4660A8B}"/>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9">
              <a:extLst>
                <a:ext uri="{FF2B5EF4-FFF2-40B4-BE49-F238E27FC236}">
                  <a16:creationId xmlns:a16="http://schemas.microsoft.com/office/drawing/2014/main" id="{9AF5E138-E7CD-4D6D-9E90-4D8C86746AAD}"/>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0">
              <a:extLst>
                <a:ext uri="{FF2B5EF4-FFF2-40B4-BE49-F238E27FC236}">
                  <a16:creationId xmlns:a16="http://schemas.microsoft.com/office/drawing/2014/main" id="{12CBE9EE-C848-4C5B-B4D7-2AE3789A4E14}"/>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1">
              <a:extLst>
                <a:ext uri="{FF2B5EF4-FFF2-40B4-BE49-F238E27FC236}">
                  <a16:creationId xmlns:a16="http://schemas.microsoft.com/office/drawing/2014/main" id="{91BDD85E-C3FC-4B60-901D-3E144B863E1D}"/>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2">
              <a:extLst>
                <a:ext uri="{FF2B5EF4-FFF2-40B4-BE49-F238E27FC236}">
                  <a16:creationId xmlns:a16="http://schemas.microsoft.com/office/drawing/2014/main" id="{E505D0CA-C4A9-4829-A4D8-6D038DFEE4F6}"/>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3">
              <a:extLst>
                <a:ext uri="{FF2B5EF4-FFF2-40B4-BE49-F238E27FC236}">
                  <a16:creationId xmlns:a16="http://schemas.microsoft.com/office/drawing/2014/main" id="{289CD49A-E284-4406-B5C2-DB3712FA7298}"/>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4">
              <a:extLst>
                <a:ext uri="{FF2B5EF4-FFF2-40B4-BE49-F238E27FC236}">
                  <a16:creationId xmlns:a16="http://schemas.microsoft.com/office/drawing/2014/main" id="{30E9EEA8-B87C-427E-9456-5EAE51AAFC67}"/>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5">
              <a:extLst>
                <a:ext uri="{FF2B5EF4-FFF2-40B4-BE49-F238E27FC236}">
                  <a16:creationId xmlns:a16="http://schemas.microsoft.com/office/drawing/2014/main" id="{A47D0848-2723-46E1-8389-9329CB82BC7A}"/>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6">
              <a:extLst>
                <a:ext uri="{FF2B5EF4-FFF2-40B4-BE49-F238E27FC236}">
                  <a16:creationId xmlns:a16="http://schemas.microsoft.com/office/drawing/2014/main" id="{3450C6CD-2C0A-495E-B766-36616FE6481C}"/>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7">
              <a:extLst>
                <a:ext uri="{FF2B5EF4-FFF2-40B4-BE49-F238E27FC236}">
                  <a16:creationId xmlns:a16="http://schemas.microsoft.com/office/drawing/2014/main" id="{F8913071-682B-4DF3-96AE-0C004DCC71A8}"/>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8">
              <a:extLst>
                <a:ext uri="{FF2B5EF4-FFF2-40B4-BE49-F238E27FC236}">
                  <a16:creationId xmlns:a16="http://schemas.microsoft.com/office/drawing/2014/main" id="{C8E6003D-802D-46C2-9FF3-B5C4980E8F32}"/>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9">
              <a:extLst>
                <a:ext uri="{FF2B5EF4-FFF2-40B4-BE49-F238E27FC236}">
                  <a16:creationId xmlns:a16="http://schemas.microsoft.com/office/drawing/2014/main" id="{755FA02C-529D-4F34-855C-240998D1DDEB}"/>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3" name="直接连接符 62">
            <a:extLst>
              <a:ext uri="{FF2B5EF4-FFF2-40B4-BE49-F238E27FC236}">
                <a16:creationId xmlns:a16="http://schemas.microsoft.com/office/drawing/2014/main" id="{E4356FD8-06BD-4103-989F-1863911BA076}"/>
              </a:ext>
            </a:extLst>
          </p:cNvPr>
          <p:cNvCxnSpPr>
            <a:cxnSpLocks/>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2962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封面3-1">
    <p:spTree>
      <p:nvGrpSpPr>
        <p:cNvPr id="1" name=""/>
        <p:cNvGrpSpPr/>
        <p:nvPr/>
      </p:nvGrpSpPr>
      <p:grpSpPr>
        <a:xfrm>
          <a:off x="0" y="0"/>
          <a:ext cx="0" cy="0"/>
          <a:chOff x="0" y="0"/>
          <a:chExt cx="0" cy="0"/>
        </a:xfrm>
      </p:grpSpPr>
      <p:pic>
        <p:nvPicPr>
          <p:cNvPr id="112" name="图片 111">
            <a:extLst>
              <a:ext uri="{FF2B5EF4-FFF2-40B4-BE49-F238E27FC236}">
                <a16:creationId xmlns:a16="http://schemas.microsoft.com/office/drawing/2014/main" id="{F2D1304D-8D69-406E-8632-D22003A8400B}"/>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colorTemperature colorTemp="5900"/>
                    </a14:imgEffect>
                    <a14:imgEffect>
                      <a14:brightnessContrast bright="5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a:effectLst/>
        </p:spPr>
      </p:pic>
      <p:sp>
        <p:nvSpPr>
          <p:cNvPr id="113" name="矩形 112">
            <a:extLst>
              <a:ext uri="{FF2B5EF4-FFF2-40B4-BE49-F238E27FC236}">
                <a16:creationId xmlns:a16="http://schemas.microsoft.com/office/drawing/2014/main" id="{F5C9D64E-AF75-4DFB-AE55-9CC20BDF2BE9}"/>
              </a:ext>
            </a:extLst>
          </p:cNvPr>
          <p:cNvSpPr/>
          <p:nvPr userDrawn="1"/>
        </p:nvSpPr>
        <p:spPr>
          <a:xfrm>
            <a:off x="1969477" y="0"/>
            <a:ext cx="10222524"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图片 3">
            <a:extLst>
              <a:ext uri="{FF2B5EF4-FFF2-40B4-BE49-F238E27FC236}">
                <a16:creationId xmlns:a16="http://schemas.microsoft.com/office/drawing/2014/main" id="{BBA253DF-B509-4EE6-97B4-DB7218B2C4F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 y="-2"/>
            <a:ext cx="12192002" cy="6858000"/>
          </a:xfrm>
          <a:prstGeom prst="rect">
            <a:avLst/>
          </a:prstGeom>
        </p:spPr>
      </p:pic>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3560323" y="2268637"/>
            <a:ext cx="8152252" cy="687095"/>
          </a:xfrm>
        </p:spPr>
        <p:txBody>
          <a:bodyPr lIns="0" tIns="0" rIns="0" bIns="0" anchor="ctr">
            <a:noAutofit/>
          </a:bodyPr>
          <a:lstStyle>
            <a:lvl1pPr marL="0" algn="l" defTabSz="457200" rtl="0" eaLnBrk="1" latinLnBrk="0" hangingPunct="1">
              <a:lnSpc>
                <a:spcPct val="100000"/>
              </a:lnSpc>
              <a:spcBef>
                <a:spcPts val="0"/>
              </a:spcBef>
              <a:defRPr lang="en-US" sz="4800" b="1" kern="1200" spc="0" dirty="0">
                <a:solidFill>
                  <a:schemeClr val="accent1"/>
                </a:solidFill>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3560323" y="2982132"/>
            <a:ext cx="8152252" cy="400110"/>
          </a:xfrm>
        </p:spPr>
        <p:txBody>
          <a:bodyPr lIns="0" tIns="0" rIns="0" bIns="0" anchor="ctr">
            <a:noAutofit/>
          </a:bodyPr>
          <a:lstStyle>
            <a:lvl1pPr marL="0" indent="0" algn="l" defTabSz="457200" rtl="0" eaLnBrk="1" latinLnBrk="0" hangingPunct="1">
              <a:lnSpc>
                <a:spcPct val="100000"/>
              </a:lnSpc>
              <a:spcBef>
                <a:spcPts val="0"/>
              </a:spcBef>
              <a:buNone/>
              <a:defRPr lang="en-US" sz="16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24" name="内容占位符 123">
            <a:extLst>
              <a:ext uri="{FF2B5EF4-FFF2-40B4-BE49-F238E27FC236}">
                <a16:creationId xmlns:a16="http://schemas.microsoft.com/office/drawing/2014/main" id="{86706487-BF24-4224-A47D-9E1CEDA4525A}"/>
              </a:ext>
            </a:extLst>
          </p:cNvPr>
          <p:cNvSpPr>
            <a:spLocks noGrp="1"/>
          </p:cNvSpPr>
          <p:nvPr>
            <p:ph sz="quarter" idx="12" hasCustomPrompt="1"/>
          </p:nvPr>
        </p:nvSpPr>
        <p:spPr>
          <a:xfrm>
            <a:off x="3578451" y="4244455"/>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5" name="内容占位符 4">
            <a:extLst>
              <a:ext uri="{FF2B5EF4-FFF2-40B4-BE49-F238E27FC236}">
                <a16:creationId xmlns:a16="http://schemas.microsoft.com/office/drawing/2014/main" id="{621C1C06-275B-4702-87F2-67A313DD6796}"/>
              </a:ext>
            </a:extLst>
          </p:cNvPr>
          <p:cNvSpPr>
            <a:spLocks noGrp="1"/>
          </p:cNvSpPr>
          <p:nvPr>
            <p:ph sz="quarter" idx="11" hasCustomPrompt="1"/>
          </p:nvPr>
        </p:nvSpPr>
        <p:spPr>
          <a:xfrm>
            <a:off x="6371527" y="4244455"/>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78" name="直接连接符 177">
            <a:extLst>
              <a:ext uri="{FF2B5EF4-FFF2-40B4-BE49-F238E27FC236}">
                <a16:creationId xmlns:a16="http://schemas.microsoft.com/office/drawing/2014/main" id="{13019B38-2E5B-456D-9510-B12F439AC8F9}"/>
              </a:ext>
            </a:extLst>
          </p:cNvPr>
          <p:cNvCxnSpPr>
            <a:cxnSpLocks/>
          </p:cNvCxnSpPr>
          <p:nvPr/>
        </p:nvCxnSpPr>
        <p:spPr>
          <a:xfrm>
            <a:off x="5971709" y="4305531"/>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9" name="矩形 178">
            <a:extLst>
              <a:ext uri="{FF2B5EF4-FFF2-40B4-BE49-F238E27FC236}">
                <a16:creationId xmlns:a16="http://schemas.microsoft.com/office/drawing/2014/main" id="{AC6138A1-70AD-4A97-88A8-309DB3524A53}"/>
              </a:ext>
            </a:extLst>
          </p:cNvPr>
          <p:cNvSpPr/>
          <p:nvPr userDrawn="1"/>
        </p:nvSpPr>
        <p:spPr>
          <a:xfrm>
            <a:off x="3560322" y="3570676"/>
            <a:ext cx="8631677"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grpSp>
        <p:nvGrpSpPr>
          <p:cNvPr id="63" name="组合 62">
            <a:extLst>
              <a:ext uri="{FF2B5EF4-FFF2-40B4-BE49-F238E27FC236}">
                <a16:creationId xmlns:a16="http://schemas.microsoft.com/office/drawing/2014/main" id="{7BF91281-8FB4-461E-AF7E-F5FAB6CCD422}"/>
              </a:ext>
            </a:extLst>
          </p:cNvPr>
          <p:cNvGrpSpPr/>
          <p:nvPr userDrawn="1"/>
        </p:nvGrpSpPr>
        <p:grpSpPr>
          <a:xfrm>
            <a:off x="10477913" y="446123"/>
            <a:ext cx="1234662" cy="419641"/>
            <a:chOff x="1398368" y="5051425"/>
            <a:chExt cx="3242941" cy="1102222"/>
          </a:xfrm>
        </p:grpSpPr>
        <p:sp>
          <p:nvSpPr>
            <p:cNvPr id="64" name="Freeform 5">
              <a:extLst>
                <a:ext uri="{FF2B5EF4-FFF2-40B4-BE49-F238E27FC236}">
                  <a16:creationId xmlns:a16="http://schemas.microsoft.com/office/drawing/2014/main" id="{1C205A21-BC5D-4B4A-A009-CFED1E3C2EEA}"/>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
              <a:extLst>
                <a:ext uri="{FF2B5EF4-FFF2-40B4-BE49-F238E27FC236}">
                  <a16:creationId xmlns:a16="http://schemas.microsoft.com/office/drawing/2014/main" id="{CCB9322C-CE97-436B-8880-636CCC012A56}"/>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8">
              <a:extLst>
                <a:ext uri="{FF2B5EF4-FFF2-40B4-BE49-F238E27FC236}">
                  <a16:creationId xmlns:a16="http://schemas.microsoft.com/office/drawing/2014/main" id="{FD43AFCB-7E60-4A49-8EC6-CAD6233E1C46}"/>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 name="组合 66">
              <a:extLst>
                <a:ext uri="{FF2B5EF4-FFF2-40B4-BE49-F238E27FC236}">
                  <a16:creationId xmlns:a16="http://schemas.microsoft.com/office/drawing/2014/main" id="{60563A5C-9292-4DAC-B9F2-654B30F7AB19}"/>
                </a:ext>
              </a:extLst>
            </p:cNvPr>
            <p:cNvGrpSpPr/>
            <p:nvPr/>
          </p:nvGrpSpPr>
          <p:grpSpPr>
            <a:xfrm>
              <a:off x="2921957" y="5168150"/>
              <a:ext cx="542765" cy="642593"/>
              <a:chOff x="3102298" y="5183391"/>
              <a:chExt cx="501880" cy="594188"/>
            </a:xfrm>
          </p:grpSpPr>
          <p:sp>
            <p:nvSpPr>
              <p:cNvPr id="108" name="Freeform 6">
                <a:extLst>
                  <a:ext uri="{FF2B5EF4-FFF2-40B4-BE49-F238E27FC236}">
                    <a16:creationId xmlns:a16="http://schemas.microsoft.com/office/drawing/2014/main" id="{6370BBFA-61EC-41CF-973D-03C4FB0F7C9E}"/>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
                <a:extLst>
                  <a:ext uri="{FF2B5EF4-FFF2-40B4-BE49-F238E27FC236}">
                    <a16:creationId xmlns:a16="http://schemas.microsoft.com/office/drawing/2014/main" id="{7AC46B3D-7217-4F57-9A2F-D4919D9EE2AE}"/>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
                <a:extLst>
                  <a:ext uri="{FF2B5EF4-FFF2-40B4-BE49-F238E27FC236}">
                    <a16:creationId xmlns:a16="http://schemas.microsoft.com/office/drawing/2014/main" id="{394BE59D-E5A4-46D3-8DB6-A2A7B3BCFF1D}"/>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组合 67">
              <a:extLst>
                <a:ext uri="{FF2B5EF4-FFF2-40B4-BE49-F238E27FC236}">
                  <a16:creationId xmlns:a16="http://schemas.microsoft.com/office/drawing/2014/main" id="{EB93207B-51C7-46B8-8AC7-C92B0FCCDBB8}"/>
                </a:ext>
              </a:extLst>
            </p:cNvPr>
            <p:cNvGrpSpPr/>
            <p:nvPr/>
          </p:nvGrpSpPr>
          <p:grpSpPr>
            <a:xfrm>
              <a:off x="4196892" y="5154476"/>
              <a:ext cx="444417" cy="649987"/>
              <a:chOff x="4257853" y="5169716"/>
              <a:chExt cx="410940" cy="601025"/>
            </a:xfrm>
          </p:grpSpPr>
          <p:sp>
            <p:nvSpPr>
              <p:cNvPr id="103" name="Freeform 9">
                <a:extLst>
                  <a:ext uri="{FF2B5EF4-FFF2-40B4-BE49-F238E27FC236}">
                    <a16:creationId xmlns:a16="http://schemas.microsoft.com/office/drawing/2014/main" id="{D802F21C-92B8-431D-9F9A-08470E991153}"/>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1">
                <a:extLst>
                  <a:ext uri="{FF2B5EF4-FFF2-40B4-BE49-F238E27FC236}">
                    <a16:creationId xmlns:a16="http://schemas.microsoft.com/office/drawing/2014/main" id="{B47ECF5E-9B12-403B-8018-F47939302FB5}"/>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2">
                <a:extLst>
                  <a:ext uri="{FF2B5EF4-FFF2-40B4-BE49-F238E27FC236}">
                    <a16:creationId xmlns:a16="http://schemas.microsoft.com/office/drawing/2014/main" id="{FD27F183-918C-4DF7-B614-7E90CCECE1D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4">
                <a:extLst>
                  <a:ext uri="{FF2B5EF4-FFF2-40B4-BE49-F238E27FC236}">
                    <a16:creationId xmlns:a16="http://schemas.microsoft.com/office/drawing/2014/main" id="{4FCE094A-F205-403F-931D-23810B44665D}"/>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
                <a:extLst>
                  <a:ext uri="{FF2B5EF4-FFF2-40B4-BE49-F238E27FC236}">
                    <a16:creationId xmlns:a16="http://schemas.microsoft.com/office/drawing/2014/main" id="{53486DA6-BFCE-4232-93E2-27F4ABC3B0D3}"/>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 name="Freeform 16">
              <a:extLst>
                <a:ext uri="{FF2B5EF4-FFF2-40B4-BE49-F238E27FC236}">
                  <a16:creationId xmlns:a16="http://schemas.microsoft.com/office/drawing/2014/main" id="{253F165C-3BBC-4769-B577-1CD342AFE5C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8DBDEC8B-E98E-4F44-80AD-D28A4508BC8E}"/>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18">
              <a:extLst>
                <a:ext uri="{FF2B5EF4-FFF2-40B4-BE49-F238E27FC236}">
                  <a16:creationId xmlns:a16="http://schemas.microsoft.com/office/drawing/2014/main" id="{84894ECC-27CF-4881-B6F1-49F0CF12D97B}"/>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9">
              <a:extLst>
                <a:ext uri="{FF2B5EF4-FFF2-40B4-BE49-F238E27FC236}">
                  <a16:creationId xmlns:a16="http://schemas.microsoft.com/office/drawing/2014/main" id="{94088EA3-D735-4745-B3B3-6A0945C6AEC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0BB42DB7-4A11-4B69-AD29-3754322355F3}"/>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1">
              <a:extLst>
                <a:ext uri="{FF2B5EF4-FFF2-40B4-BE49-F238E27FC236}">
                  <a16:creationId xmlns:a16="http://schemas.microsoft.com/office/drawing/2014/main" id="{FEF398DE-0B20-41EA-B647-FE69325FDFB2}"/>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2">
              <a:extLst>
                <a:ext uri="{FF2B5EF4-FFF2-40B4-BE49-F238E27FC236}">
                  <a16:creationId xmlns:a16="http://schemas.microsoft.com/office/drawing/2014/main" id="{4214EF17-92AF-4306-AB66-02B32907E0EC}"/>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3">
              <a:extLst>
                <a:ext uri="{FF2B5EF4-FFF2-40B4-BE49-F238E27FC236}">
                  <a16:creationId xmlns:a16="http://schemas.microsoft.com/office/drawing/2014/main" id="{4832CF4D-0527-4E92-B250-109AE0D2A37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4">
              <a:extLst>
                <a:ext uri="{FF2B5EF4-FFF2-40B4-BE49-F238E27FC236}">
                  <a16:creationId xmlns:a16="http://schemas.microsoft.com/office/drawing/2014/main" id="{2DE07005-9C56-43D1-9FB8-3F2621032822}"/>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5">
              <a:extLst>
                <a:ext uri="{FF2B5EF4-FFF2-40B4-BE49-F238E27FC236}">
                  <a16:creationId xmlns:a16="http://schemas.microsoft.com/office/drawing/2014/main" id="{1A771D13-9DF4-4285-96CD-B08FC8436D65}"/>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6">
              <a:extLst>
                <a:ext uri="{FF2B5EF4-FFF2-40B4-BE49-F238E27FC236}">
                  <a16:creationId xmlns:a16="http://schemas.microsoft.com/office/drawing/2014/main" id="{91875A32-2DA6-4F7B-867F-2ECA06702DDF}"/>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7">
              <a:extLst>
                <a:ext uri="{FF2B5EF4-FFF2-40B4-BE49-F238E27FC236}">
                  <a16:creationId xmlns:a16="http://schemas.microsoft.com/office/drawing/2014/main" id="{CF705DCB-1578-4923-BF84-33859F8583A8}"/>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8">
              <a:extLst>
                <a:ext uri="{FF2B5EF4-FFF2-40B4-BE49-F238E27FC236}">
                  <a16:creationId xmlns:a16="http://schemas.microsoft.com/office/drawing/2014/main" id="{18A8E6B5-B301-457F-A2D6-2DD48573F67F}"/>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9">
              <a:extLst>
                <a:ext uri="{FF2B5EF4-FFF2-40B4-BE49-F238E27FC236}">
                  <a16:creationId xmlns:a16="http://schemas.microsoft.com/office/drawing/2014/main" id="{4347078D-C2E3-41D7-9D69-EBF6AF566DBA}"/>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0">
              <a:extLst>
                <a:ext uri="{FF2B5EF4-FFF2-40B4-BE49-F238E27FC236}">
                  <a16:creationId xmlns:a16="http://schemas.microsoft.com/office/drawing/2014/main" id="{20AA0984-BE82-4948-A897-F4AAB692412C}"/>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1">
              <a:extLst>
                <a:ext uri="{FF2B5EF4-FFF2-40B4-BE49-F238E27FC236}">
                  <a16:creationId xmlns:a16="http://schemas.microsoft.com/office/drawing/2014/main" id="{CD6737AE-0B0A-483C-80FD-6B70B4DE84C1}"/>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2">
              <a:extLst>
                <a:ext uri="{FF2B5EF4-FFF2-40B4-BE49-F238E27FC236}">
                  <a16:creationId xmlns:a16="http://schemas.microsoft.com/office/drawing/2014/main" id="{8C4B75CE-7BF9-49D7-B908-D49104CC7D9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3">
              <a:extLst>
                <a:ext uri="{FF2B5EF4-FFF2-40B4-BE49-F238E27FC236}">
                  <a16:creationId xmlns:a16="http://schemas.microsoft.com/office/drawing/2014/main" id="{C8DEA7EA-5A14-4777-BCD1-3F10BA51A521}"/>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4">
              <a:extLst>
                <a:ext uri="{FF2B5EF4-FFF2-40B4-BE49-F238E27FC236}">
                  <a16:creationId xmlns:a16="http://schemas.microsoft.com/office/drawing/2014/main" id="{4F286825-4BAF-486B-BB3B-F05B4826DABA}"/>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5">
              <a:extLst>
                <a:ext uri="{FF2B5EF4-FFF2-40B4-BE49-F238E27FC236}">
                  <a16:creationId xmlns:a16="http://schemas.microsoft.com/office/drawing/2014/main" id="{2701932F-03FF-44D5-86FF-C3BF3CC4087D}"/>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6">
              <a:extLst>
                <a:ext uri="{FF2B5EF4-FFF2-40B4-BE49-F238E27FC236}">
                  <a16:creationId xmlns:a16="http://schemas.microsoft.com/office/drawing/2014/main" id="{6F020116-3751-4B4A-B15D-B5103520E299}"/>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7">
              <a:extLst>
                <a:ext uri="{FF2B5EF4-FFF2-40B4-BE49-F238E27FC236}">
                  <a16:creationId xmlns:a16="http://schemas.microsoft.com/office/drawing/2014/main" id="{317F3CAF-126D-42A0-8F91-58F8A8FC3437}"/>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8">
              <a:extLst>
                <a:ext uri="{FF2B5EF4-FFF2-40B4-BE49-F238E27FC236}">
                  <a16:creationId xmlns:a16="http://schemas.microsoft.com/office/drawing/2014/main" id="{21381D19-DB13-441B-9A3A-FBF317C7CF18}"/>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9">
              <a:extLst>
                <a:ext uri="{FF2B5EF4-FFF2-40B4-BE49-F238E27FC236}">
                  <a16:creationId xmlns:a16="http://schemas.microsoft.com/office/drawing/2014/main" id="{8174206A-CCEC-4C02-9262-D7111C46A24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0">
              <a:extLst>
                <a:ext uri="{FF2B5EF4-FFF2-40B4-BE49-F238E27FC236}">
                  <a16:creationId xmlns:a16="http://schemas.microsoft.com/office/drawing/2014/main" id="{54E32FAB-C35E-448A-8757-FA9DF1B17A42}"/>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1">
              <a:extLst>
                <a:ext uri="{FF2B5EF4-FFF2-40B4-BE49-F238E27FC236}">
                  <a16:creationId xmlns:a16="http://schemas.microsoft.com/office/drawing/2014/main" id="{C964460B-B5FF-47D6-8491-AD67734E607C}"/>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2">
              <a:extLst>
                <a:ext uri="{FF2B5EF4-FFF2-40B4-BE49-F238E27FC236}">
                  <a16:creationId xmlns:a16="http://schemas.microsoft.com/office/drawing/2014/main" id="{5E86ED61-085E-4848-84AA-66583BCA8E49}"/>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3">
              <a:extLst>
                <a:ext uri="{FF2B5EF4-FFF2-40B4-BE49-F238E27FC236}">
                  <a16:creationId xmlns:a16="http://schemas.microsoft.com/office/drawing/2014/main" id="{1705AEE3-39A5-42D5-8A5C-2CE422288EDB}"/>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4">
              <a:extLst>
                <a:ext uri="{FF2B5EF4-FFF2-40B4-BE49-F238E27FC236}">
                  <a16:creationId xmlns:a16="http://schemas.microsoft.com/office/drawing/2014/main" id="{D3613CF2-608E-4841-BF96-83C61CAD22AA}"/>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5">
              <a:extLst>
                <a:ext uri="{FF2B5EF4-FFF2-40B4-BE49-F238E27FC236}">
                  <a16:creationId xmlns:a16="http://schemas.microsoft.com/office/drawing/2014/main" id="{A18794A7-78F1-46ED-BC58-6F6FC42FD1B0}"/>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6">
              <a:extLst>
                <a:ext uri="{FF2B5EF4-FFF2-40B4-BE49-F238E27FC236}">
                  <a16:creationId xmlns:a16="http://schemas.microsoft.com/office/drawing/2014/main" id="{B0BF1F43-FE64-4417-9558-242F6C084DE6}"/>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7">
              <a:extLst>
                <a:ext uri="{FF2B5EF4-FFF2-40B4-BE49-F238E27FC236}">
                  <a16:creationId xmlns:a16="http://schemas.microsoft.com/office/drawing/2014/main" id="{F770033D-EB97-412B-B42E-CB0C273217DC}"/>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8">
              <a:extLst>
                <a:ext uri="{FF2B5EF4-FFF2-40B4-BE49-F238E27FC236}">
                  <a16:creationId xmlns:a16="http://schemas.microsoft.com/office/drawing/2014/main" id="{B3EA73B3-BDF9-41C0-AF60-D446A6E1D89D}"/>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9">
              <a:extLst>
                <a:ext uri="{FF2B5EF4-FFF2-40B4-BE49-F238E27FC236}">
                  <a16:creationId xmlns:a16="http://schemas.microsoft.com/office/drawing/2014/main" id="{E715388D-7947-4D9C-BB1C-CAC22A302639}"/>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1" name="组合 110">
            <a:extLst>
              <a:ext uri="{FF2B5EF4-FFF2-40B4-BE49-F238E27FC236}">
                <a16:creationId xmlns:a16="http://schemas.microsoft.com/office/drawing/2014/main" id="{DE3AF6A3-495E-4098-A602-87D7A3B6846A}"/>
              </a:ext>
            </a:extLst>
          </p:cNvPr>
          <p:cNvGrpSpPr/>
          <p:nvPr userDrawn="1"/>
        </p:nvGrpSpPr>
        <p:grpSpPr>
          <a:xfrm>
            <a:off x="6733042" y="0"/>
            <a:ext cx="5458958" cy="6574420"/>
            <a:chOff x="8431598" y="0"/>
            <a:chExt cx="3760402" cy="4528788"/>
          </a:xfrm>
        </p:grpSpPr>
        <p:sp>
          <p:nvSpPr>
            <p:cNvPr id="114" name="任意多边形: 形状 113">
              <a:extLst>
                <a:ext uri="{FF2B5EF4-FFF2-40B4-BE49-F238E27FC236}">
                  <a16:creationId xmlns:a16="http://schemas.microsoft.com/office/drawing/2014/main" id="{41282826-9B5F-4629-849E-31C61AD43F9A}"/>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任意多边形: 形状 114">
              <a:extLst>
                <a:ext uri="{FF2B5EF4-FFF2-40B4-BE49-F238E27FC236}">
                  <a16:creationId xmlns:a16="http://schemas.microsoft.com/office/drawing/2014/main" id="{064930CF-DBCF-4E6A-99C4-94B017EE420D}"/>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6" name="任意多边形: 形状 115">
              <a:extLst>
                <a:ext uri="{FF2B5EF4-FFF2-40B4-BE49-F238E27FC236}">
                  <a16:creationId xmlns:a16="http://schemas.microsoft.com/office/drawing/2014/main" id="{1A3EDA0E-DAC7-4C30-B5AA-EC37E89BE66E}"/>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13298483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封面4-1">
    <p:spTree>
      <p:nvGrpSpPr>
        <p:cNvPr id="1" name=""/>
        <p:cNvGrpSpPr/>
        <p:nvPr/>
      </p:nvGrpSpPr>
      <p:grpSpPr>
        <a:xfrm>
          <a:off x="0" y="0"/>
          <a:ext cx="0" cy="0"/>
          <a:chOff x="0" y="0"/>
          <a:chExt cx="0" cy="0"/>
        </a:xfrm>
      </p:grpSpPr>
      <p:sp>
        <p:nvSpPr>
          <p:cNvPr id="112" name="矩形: 单圆角 111">
            <a:extLst>
              <a:ext uri="{FF2B5EF4-FFF2-40B4-BE49-F238E27FC236}">
                <a16:creationId xmlns:a16="http://schemas.microsoft.com/office/drawing/2014/main" id="{281E559F-1BB1-4EBF-9C9D-0E75A7EB124D}"/>
              </a:ext>
            </a:extLst>
          </p:cNvPr>
          <p:cNvSpPr/>
          <p:nvPr userDrawn="1"/>
        </p:nvSpPr>
        <p:spPr>
          <a:xfrm flipH="1">
            <a:off x="515937" y="1041723"/>
            <a:ext cx="11676059" cy="2932262"/>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标题 1">
            <a:extLst>
              <a:ext uri="{FF2B5EF4-FFF2-40B4-BE49-F238E27FC236}">
                <a16:creationId xmlns:a16="http://schemas.microsoft.com/office/drawing/2014/main" id="{078F703C-78E5-432B-B5C7-AF51BC7B6DD2}"/>
              </a:ext>
            </a:extLst>
          </p:cNvPr>
          <p:cNvSpPr>
            <a:spLocks noGrp="1"/>
          </p:cNvSpPr>
          <p:nvPr>
            <p:ph type="ctrTitle"/>
          </p:nvPr>
        </p:nvSpPr>
        <p:spPr>
          <a:xfrm>
            <a:off x="1001856" y="1247447"/>
            <a:ext cx="9383888" cy="923330"/>
          </a:xfrm>
        </p:spPr>
        <p:txBody>
          <a:bodyPr lIns="0" tIns="0" rIns="0" bIns="0" anchor="ctr">
            <a:noAutofit/>
          </a:bodyPr>
          <a:lstStyle>
            <a:lvl1pPr marL="0" algn="l" defTabSz="457200" rtl="0" eaLnBrk="1" latinLnBrk="0" hangingPunct="1">
              <a:lnSpc>
                <a:spcPct val="100000"/>
              </a:lnSpc>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177" name="副标题 2">
            <a:extLst>
              <a:ext uri="{FF2B5EF4-FFF2-40B4-BE49-F238E27FC236}">
                <a16:creationId xmlns:a16="http://schemas.microsoft.com/office/drawing/2014/main" id="{E2EF41F0-E4CB-4393-9146-8CC2F3B9D3EC}"/>
              </a:ext>
            </a:extLst>
          </p:cNvPr>
          <p:cNvSpPr>
            <a:spLocks noGrp="1"/>
          </p:cNvSpPr>
          <p:nvPr>
            <p:ph type="subTitle" idx="1"/>
          </p:nvPr>
        </p:nvSpPr>
        <p:spPr>
          <a:xfrm>
            <a:off x="1001856" y="2174027"/>
            <a:ext cx="9383888"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8" name="矩形 117">
            <a:extLst>
              <a:ext uri="{FF2B5EF4-FFF2-40B4-BE49-F238E27FC236}">
                <a16:creationId xmlns:a16="http://schemas.microsoft.com/office/drawing/2014/main" id="{845B42A2-4889-46CB-909F-7B364C03672E}"/>
              </a:ext>
            </a:extLst>
          </p:cNvPr>
          <p:cNvSpPr/>
          <p:nvPr userDrawn="1"/>
        </p:nvSpPr>
        <p:spPr>
          <a:xfrm>
            <a:off x="515937" y="3823513"/>
            <a:ext cx="11676063"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69" name="图片 168">
            <a:extLst>
              <a:ext uri="{FF2B5EF4-FFF2-40B4-BE49-F238E27FC236}">
                <a16:creationId xmlns:a16="http://schemas.microsoft.com/office/drawing/2014/main" id="{CF577473-E5F9-47A9-B763-62B79819D36F}"/>
              </a:ext>
            </a:extLst>
          </p:cNvPr>
          <p:cNvPicPr>
            <a:picLocks noChangeAspect="1"/>
          </p:cNvPicPr>
          <p:nvPr userDrawn="1"/>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1527858"/>
            <a:ext cx="740780" cy="5330141"/>
          </a:xfrm>
          <a:prstGeom prst="rect">
            <a:avLst/>
          </a:prstGeom>
        </p:spPr>
      </p:pic>
      <p:pic>
        <p:nvPicPr>
          <p:cNvPr id="170" name="图片 169">
            <a:extLst>
              <a:ext uri="{FF2B5EF4-FFF2-40B4-BE49-F238E27FC236}">
                <a16:creationId xmlns:a16="http://schemas.microsoft.com/office/drawing/2014/main" id="{A723E1B4-671A-41BD-B3A8-419552099CCF}"/>
              </a:ext>
            </a:extLst>
          </p:cNvPr>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717630" y="3796496"/>
            <a:ext cx="3460830" cy="3061503"/>
          </a:xfrm>
          <a:prstGeom prst="rect">
            <a:avLst/>
          </a:prstGeom>
        </p:spPr>
      </p:pic>
      <p:pic>
        <p:nvPicPr>
          <p:cNvPr id="171" name="图片 170">
            <a:extLst>
              <a:ext uri="{FF2B5EF4-FFF2-40B4-BE49-F238E27FC236}">
                <a16:creationId xmlns:a16="http://schemas.microsoft.com/office/drawing/2014/main" id="{FC874BB2-5484-4ED8-82A3-05EA7BE1F47C}"/>
              </a:ext>
            </a:extLst>
          </p:cNvPr>
          <p:cNvPicPr>
            <a:picLocks noChangeAspect="1"/>
          </p:cNvPicPr>
          <p:nvPr userDrawn="1"/>
        </p:nvPicPr>
        <p:blipFill rotWithShape="1">
          <a:blip r:embed="rId4" cstate="email">
            <a:duotone>
              <a:schemeClr val="accent1">
                <a:shade val="45000"/>
                <a:satMod val="135000"/>
              </a:schemeClr>
              <a:prstClr val="white"/>
            </a:duotone>
            <a:extLst>
              <a:ext uri="{28A0092B-C50C-407E-A947-70E740481C1C}">
                <a14:useLocalDpi xmlns:a14="http://schemas.microsoft.com/office/drawing/2010/main"/>
              </a:ext>
            </a:extLst>
          </a:blip>
          <a:srcRect r="-4" b="-2"/>
          <a:stretch/>
        </p:blipFill>
        <p:spPr>
          <a:xfrm>
            <a:off x="9317620" y="3333510"/>
            <a:ext cx="2874380" cy="3524490"/>
          </a:xfrm>
          <a:prstGeom prst="rect">
            <a:avLst/>
          </a:prstGeom>
        </p:spPr>
      </p:pic>
      <p:pic>
        <p:nvPicPr>
          <p:cNvPr id="174" name="图片 173">
            <a:extLst>
              <a:ext uri="{FF2B5EF4-FFF2-40B4-BE49-F238E27FC236}">
                <a16:creationId xmlns:a16="http://schemas.microsoft.com/office/drawing/2014/main" id="{64EF03A9-3C59-4F54-84A8-5E56358A36FB}"/>
              </a:ext>
            </a:extLst>
          </p:cNvPr>
          <p:cNvPicPr>
            <a:picLocks noChangeAspect="1"/>
          </p:cNvPicPr>
          <p:nvPr userDrawn="1"/>
        </p:nvPicPr>
        <p:blipFill rotWithShape="1">
          <a:blip r:embed="rId5" cstate="email">
            <a:duotone>
              <a:schemeClr val="accent1">
                <a:shade val="45000"/>
                <a:satMod val="135000"/>
              </a:schemeClr>
              <a:prstClr val="white"/>
            </a:duotone>
            <a:extLst>
              <a:ext uri="{28A0092B-C50C-407E-A947-70E740481C1C}">
                <a14:useLocalDpi xmlns:a14="http://schemas.microsoft.com/office/drawing/2010/main"/>
              </a:ext>
            </a:extLst>
          </a:blip>
          <a:srcRect b="-2"/>
          <a:stretch/>
        </p:blipFill>
        <p:spPr>
          <a:xfrm>
            <a:off x="4178462" y="2835797"/>
            <a:ext cx="1898248" cy="4022202"/>
          </a:xfrm>
          <a:prstGeom prst="rect">
            <a:avLst/>
          </a:prstGeom>
        </p:spPr>
      </p:pic>
      <p:cxnSp>
        <p:nvCxnSpPr>
          <p:cNvPr id="175" name="直接连接符 174">
            <a:extLst>
              <a:ext uri="{FF2B5EF4-FFF2-40B4-BE49-F238E27FC236}">
                <a16:creationId xmlns:a16="http://schemas.microsoft.com/office/drawing/2014/main" id="{6295E604-6BA0-4A87-88C7-D9AC2AEE175B}"/>
              </a:ext>
            </a:extLst>
          </p:cNvPr>
          <p:cNvCxnSpPr>
            <a:cxnSpLocks/>
          </p:cNvCxnSpPr>
          <p:nvPr userDrawn="1"/>
        </p:nvCxnSpPr>
        <p:spPr>
          <a:xfrm>
            <a:off x="1001856" y="2696901"/>
            <a:ext cx="6301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0" name="内容占位符 123">
            <a:extLst>
              <a:ext uri="{FF2B5EF4-FFF2-40B4-BE49-F238E27FC236}">
                <a16:creationId xmlns:a16="http://schemas.microsoft.com/office/drawing/2014/main" id="{C1585AE2-66F7-4C7A-82EC-5D971E616327}"/>
              </a:ext>
            </a:extLst>
          </p:cNvPr>
          <p:cNvSpPr>
            <a:spLocks noGrp="1"/>
          </p:cNvSpPr>
          <p:nvPr>
            <p:ph sz="quarter" idx="12" hasCustomPrompt="1"/>
          </p:nvPr>
        </p:nvSpPr>
        <p:spPr>
          <a:xfrm>
            <a:off x="1035562" y="315937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bg1"/>
                </a:solidFill>
                <a:latin typeface="+mn-lt"/>
                <a:ea typeface="+mn-ea"/>
                <a:cs typeface="+mn-cs"/>
              </a:defRPr>
            </a:lvl1pPr>
          </a:lstStyle>
          <a:p>
            <a:pPr>
              <a:defRPr/>
            </a:pPr>
            <a:r>
              <a:rPr lang="zh-CN" altLang="en-US" dirty="0"/>
              <a:t>请输入内容</a:t>
            </a:r>
          </a:p>
        </p:txBody>
      </p:sp>
      <p:sp>
        <p:nvSpPr>
          <p:cNvPr id="181" name="内容占位符 4">
            <a:extLst>
              <a:ext uri="{FF2B5EF4-FFF2-40B4-BE49-F238E27FC236}">
                <a16:creationId xmlns:a16="http://schemas.microsoft.com/office/drawing/2014/main" id="{3386D398-42A4-481D-A56F-AED86E6D8569}"/>
              </a:ext>
            </a:extLst>
          </p:cNvPr>
          <p:cNvSpPr>
            <a:spLocks noGrp="1"/>
          </p:cNvSpPr>
          <p:nvPr>
            <p:ph sz="quarter" idx="11" hasCustomPrompt="1"/>
          </p:nvPr>
        </p:nvSpPr>
        <p:spPr>
          <a:xfrm>
            <a:off x="3828638" y="315937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bg1"/>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85" name="直接连接符 184">
            <a:extLst>
              <a:ext uri="{FF2B5EF4-FFF2-40B4-BE49-F238E27FC236}">
                <a16:creationId xmlns:a16="http://schemas.microsoft.com/office/drawing/2014/main" id="{81735DC2-B28D-4E81-8358-A8FFC41984DF}"/>
              </a:ext>
            </a:extLst>
          </p:cNvPr>
          <p:cNvCxnSpPr>
            <a:cxnSpLocks/>
          </p:cNvCxnSpPr>
          <p:nvPr/>
        </p:nvCxnSpPr>
        <p:spPr>
          <a:xfrm>
            <a:off x="3428820" y="3220450"/>
            <a:ext cx="0" cy="26785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72" name="图片 171">
            <a:extLst>
              <a:ext uri="{FF2B5EF4-FFF2-40B4-BE49-F238E27FC236}">
                <a16:creationId xmlns:a16="http://schemas.microsoft.com/office/drawing/2014/main" id="{01C0F8E5-5917-4395-95FB-43F1020E7958}"/>
              </a:ext>
            </a:extLst>
          </p:cNvPr>
          <p:cNvPicPr>
            <a:picLocks noChangeAspect="1"/>
          </p:cNvPicPr>
          <p:nvPr userDrawn="1"/>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a:ext>
            </a:extLst>
          </a:blip>
          <a:srcRect b="-1"/>
          <a:stretch/>
        </p:blipFill>
        <p:spPr>
          <a:xfrm>
            <a:off x="6007261" y="1620456"/>
            <a:ext cx="3368233" cy="5237543"/>
          </a:xfrm>
          <a:prstGeom prst="rect">
            <a:avLst/>
          </a:prstGeom>
        </p:spPr>
      </p:pic>
      <p:grpSp>
        <p:nvGrpSpPr>
          <p:cNvPr id="63" name="组合 62">
            <a:extLst>
              <a:ext uri="{FF2B5EF4-FFF2-40B4-BE49-F238E27FC236}">
                <a16:creationId xmlns:a16="http://schemas.microsoft.com/office/drawing/2014/main" id="{55BA99C8-497E-43B4-9315-7D945CA61C5A}"/>
              </a:ext>
            </a:extLst>
          </p:cNvPr>
          <p:cNvGrpSpPr/>
          <p:nvPr userDrawn="1"/>
        </p:nvGrpSpPr>
        <p:grpSpPr>
          <a:xfrm>
            <a:off x="10477913" y="446123"/>
            <a:ext cx="1234662" cy="419641"/>
            <a:chOff x="1398368" y="5051425"/>
            <a:chExt cx="3242941" cy="1102222"/>
          </a:xfrm>
        </p:grpSpPr>
        <p:sp>
          <p:nvSpPr>
            <p:cNvPr id="64" name="Freeform 5">
              <a:extLst>
                <a:ext uri="{FF2B5EF4-FFF2-40B4-BE49-F238E27FC236}">
                  <a16:creationId xmlns:a16="http://schemas.microsoft.com/office/drawing/2014/main" id="{D8C42AC7-FBF4-4F59-B5AC-0667F88374E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
              <a:extLst>
                <a:ext uri="{FF2B5EF4-FFF2-40B4-BE49-F238E27FC236}">
                  <a16:creationId xmlns:a16="http://schemas.microsoft.com/office/drawing/2014/main" id="{390A5B1C-D966-414F-BF7A-92095075158F}"/>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8">
              <a:extLst>
                <a:ext uri="{FF2B5EF4-FFF2-40B4-BE49-F238E27FC236}">
                  <a16:creationId xmlns:a16="http://schemas.microsoft.com/office/drawing/2014/main" id="{CF441363-B1BE-4674-97F1-FB2F8835A3EF}"/>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 name="组合 66">
              <a:extLst>
                <a:ext uri="{FF2B5EF4-FFF2-40B4-BE49-F238E27FC236}">
                  <a16:creationId xmlns:a16="http://schemas.microsoft.com/office/drawing/2014/main" id="{6CDEC4D5-857D-4317-B857-A26F02B16617}"/>
                </a:ext>
              </a:extLst>
            </p:cNvPr>
            <p:cNvGrpSpPr/>
            <p:nvPr/>
          </p:nvGrpSpPr>
          <p:grpSpPr>
            <a:xfrm>
              <a:off x="2921957" y="5168150"/>
              <a:ext cx="542765" cy="642593"/>
              <a:chOff x="3102298" y="5183391"/>
              <a:chExt cx="501880" cy="594188"/>
            </a:xfrm>
          </p:grpSpPr>
          <p:sp>
            <p:nvSpPr>
              <p:cNvPr id="108" name="Freeform 6">
                <a:extLst>
                  <a:ext uri="{FF2B5EF4-FFF2-40B4-BE49-F238E27FC236}">
                    <a16:creationId xmlns:a16="http://schemas.microsoft.com/office/drawing/2014/main" id="{998992C3-5463-4A64-966A-485458A4FC18}"/>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
                <a:extLst>
                  <a:ext uri="{FF2B5EF4-FFF2-40B4-BE49-F238E27FC236}">
                    <a16:creationId xmlns:a16="http://schemas.microsoft.com/office/drawing/2014/main" id="{E99BD4AD-FFE7-4410-BFC4-4587EF29233F}"/>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
                <a:extLst>
                  <a:ext uri="{FF2B5EF4-FFF2-40B4-BE49-F238E27FC236}">
                    <a16:creationId xmlns:a16="http://schemas.microsoft.com/office/drawing/2014/main" id="{BBD464C1-DC20-4D58-8B4B-B91181082870}"/>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组合 67">
              <a:extLst>
                <a:ext uri="{FF2B5EF4-FFF2-40B4-BE49-F238E27FC236}">
                  <a16:creationId xmlns:a16="http://schemas.microsoft.com/office/drawing/2014/main" id="{F2C1F0AE-A37D-472B-A1F4-AEFAD528A4B2}"/>
                </a:ext>
              </a:extLst>
            </p:cNvPr>
            <p:cNvGrpSpPr/>
            <p:nvPr/>
          </p:nvGrpSpPr>
          <p:grpSpPr>
            <a:xfrm>
              <a:off x="4196892" y="5154476"/>
              <a:ext cx="444417" cy="649987"/>
              <a:chOff x="4257853" y="5169716"/>
              <a:chExt cx="410940" cy="601025"/>
            </a:xfrm>
          </p:grpSpPr>
          <p:sp>
            <p:nvSpPr>
              <p:cNvPr id="103" name="Freeform 9">
                <a:extLst>
                  <a:ext uri="{FF2B5EF4-FFF2-40B4-BE49-F238E27FC236}">
                    <a16:creationId xmlns:a16="http://schemas.microsoft.com/office/drawing/2014/main" id="{AE1D021B-2411-4DBD-B649-5C3E7CB05779}"/>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1">
                <a:extLst>
                  <a:ext uri="{FF2B5EF4-FFF2-40B4-BE49-F238E27FC236}">
                    <a16:creationId xmlns:a16="http://schemas.microsoft.com/office/drawing/2014/main" id="{4DE56842-0899-433A-ACCF-3CC2FF78211A}"/>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2">
                <a:extLst>
                  <a:ext uri="{FF2B5EF4-FFF2-40B4-BE49-F238E27FC236}">
                    <a16:creationId xmlns:a16="http://schemas.microsoft.com/office/drawing/2014/main" id="{6AFC5070-5C0B-40DC-A15F-21989A5FACEC}"/>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4">
                <a:extLst>
                  <a:ext uri="{FF2B5EF4-FFF2-40B4-BE49-F238E27FC236}">
                    <a16:creationId xmlns:a16="http://schemas.microsoft.com/office/drawing/2014/main" id="{A6091A60-E52A-4F87-9FFD-18918D04C7FA}"/>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
                <a:extLst>
                  <a:ext uri="{FF2B5EF4-FFF2-40B4-BE49-F238E27FC236}">
                    <a16:creationId xmlns:a16="http://schemas.microsoft.com/office/drawing/2014/main" id="{DF192140-B9C4-4E8C-8406-4E64F07C086D}"/>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 name="Freeform 16">
              <a:extLst>
                <a:ext uri="{FF2B5EF4-FFF2-40B4-BE49-F238E27FC236}">
                  <a16:creationId xmlns:a16="http://schemas.microsoft.com/office/drawing/2014/main" id="{7EA888A8-3025-4C3F-A095-F87E20F70E8E}"/>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8FC66122-A6EA-4524-9B97-5FD1AF989D97}"/>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18">
              <a:extLst>
                <a:ext uri="{FF2B5EF4-FFF2-40B4-BE49-F238E27FC236}">
                  <a16:creationId xmlns:a16="http://schemas.microsoft.com/office/drawing/2014/main" id="{04426B45-F06E-4401-B6B3-E3DDF77BAACE}"/>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9">
              <a:extLst>
                <a:ext uri="{FF2B5EF4-FFF2-40B4-BE49-F238E27FC236}">
                  <a16:creationId xmlns:a16="http://schemas.microsoft.com/office/drawing/2014/main" id="{BDAF896D-58CC-4828-B0F3-8D63E41EC352}"/>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F6092DD7-09FD-4EF3-95DB-E2246C20A38F}"/>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1">
              <a:extLst>
                <a:ext uri="{FF2B5EF4-FFF2-40B4-BE49-F238E27FC236}">
                  <a16:creationId xmlns:a16="http://schemas.microsoft.com/office/drawing/2014/main" id="{0E1F64A9-7650-49D5-A476-E046F7B3B675}"/>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2">
              <a:extLst>
                <a:ext uri="{FF2B5EF4-FFF2-40B4-BE49-F238E27FC236}">
                  <a16:creationId xmlns:a16="http://schemas.microsoft.com/office/drawing/2014/main" id="{9DB1EA6E-A434-4A98-A2D4-5D4D3D3A853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3">
              <a:extLst>
                <a:ext uri="{FF2B5EF4-FFF2-40B4-BE49-F238E27FC236}">
                  <a16:creationId xmlns:a16="http://schemas.microsoft.com/office/drawing/2014/main" id="{00DCD132-B97E-486B-B437-66B4F01C828E}"/>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4">
              <a:extLst>
                <a:ext uri="{FF2B5EF4-FFF2-40B4-BE49-F238E27FC236}">
                  <a16:creationId xmlns:a16="http://schemas.microsoft.com/office/drawing/2014/main" id="{0186810E-D63A-42F9-95A5-8410426769BC}"/>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5">
              <a:extLst>
                <a:ext uri="{FF2B5EF4-FFF2-40B4-BE49-F238E27FC236}">
                  <a16:creationId xmlns:a16="http://schemas.microsoft.com/office/drawing/2014/main" id="{F14090D4-E13E-4A98-A170-7F708D7D934E}"/>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6">
              <a:extLst>
                <a:ext uri="{FF2B5EF4-FFF2-40B4-BE49-F238E27FC236}">
                  <a16:creationId xmlns:a16="http://schemas.microsoft.com/office/drawing/2014/main" id="{6336AF80-91F6-45BB-98C4-428D92749DAF}"/>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7">
              <a:extLst>
                <a:ext uri="{FF2B5EF4-FFF2-40B4-BE49-F238E27FC236}">
                  <a16:creationId xmlns:a16="http://schemas.microsoft.com/office/drawing/2014/main" id="{06D46C0A-13C5-419B-B452-F74BE16C4F8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8">
              <a:extLst>
                <a:ext uri="{FF2B5EF4-FFF2-40B4-BE49-F238E27FC236}">
                  <a16:creationId xmlns:a16="http://schemas.microsoft.com/office/drawing/2014/main" id="{3C43DA63-36E3-4FEC-B109-8C3E0051629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9">
              <a:extLst>
                <a:ext uri="{FF2B5EF4-FFF2-40B4-BE49-F238E27FC236}">
                  <a16:creationId xmlns:a16="http://schemas.microsoft.com/office/drawing/2014/main" id="{7FA9715F-D994-451E-B03D-5540BAF16111}"/>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0">
              <a:extLst>
                <a:ext uri="{FF2B5EF4-FFF2-40B4-BE49-F238E27FC236}">
                  <a16:creationId xmlns:a16="http://schemas.microsoft.com/office/drawing/2014/main" id="{10F518EC-A28A-4B91-8377-8920FD92DAE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1">
              <a:extLst>
                <a:ext uri="{FF2B5EF4-FFF2-40B4-BE49-F238E27FC236}">
                  <a16:creationId xmlns:a16="http://schemas.microsoft.com/office/drawing/2014/main" id="{BAB6F32E-7D31-4324-AC9C-E97F4CA95CED}"/>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2">
              <a:extLst>
                <a:ext uri="{FF2B5EF4-FFF2-40B4-BE49-F238E27FC236}">
                  <a16:creationId xmlns:a16="http://schemas.microsoft.com/office/drawing/2014/main" id="{34FE3A73-6A9B-4E42-8B8E-BF680DC4CFCC}"/>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3">
              <a:extLst>
                <a:ext uri="{FF2B5EF4-FFF2-40B4-BE49-F238E27FC236}">
                  <a16:creationId xmlns:a16="http://schemas.microsoft.com/office/drawing/2014/main" id="{0B01EBA1-9588-4BE1-AA60-E63085EBF8B7}"/>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4">
              <a:extLst>
                <a:ext uri="{FF2B5EF4-FFF2-40B4-BE49-F238E27FC236}">
                  <a16:creationId xmlns:a16="http://schemas.microsoft.com/office/drawing/2014/main" id="{E4AD221A-7C6F-4BA7-8C0D-CA6D129DB411}"/>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5">
              <a:extLst>
                <a:ext uri="{FF2B5EF4-FFF2-40B4-BE49-F238E27FC236}">
                  <a16:creationId xmlns:a16="http://schemas.microsoft.com/office/drawing/2014/main" id="{E6EFD526-6AF6-406E-ADB8-C0C27E8F6264}"/>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6">
              <a:extLst>
                <a:ext uri="{FF2B5EF4-FFF2-40B4-BE49-F238E27FC236}">
                  <a16:creationId xmlns:a16="http://schemas.microsoft.com/office/drawing/2014/main" id="{6A03FC5B-5608-449E-AACA-74D158672C02}"/>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7">
              <a:extLst>
                <a:ext uri="{FF2B5EF4-FFF2-40B4-BE49-F238E27FC236}">
                  <a16:creationId xmlns:a16="http://schemas.microsoft.com/office/drawing/2014/main" id="{2ACA8DD1-4260-4913-B93E-D5F799152F33}"/>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8">
              <a:extLst>
                <a:ext uri="{FF2B5EF4-FFF2-40B4-BE49-F238E27FC236}">
                  <a16:creationId xmlns:a16="http://schemas.microsoft.com/office/drawing/2014/main" id="{F4EA9D90-BC3F-4FFB-A2E2-C86AAB6B3918}"/>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9">
              <a:extLst>
                <a:ext uri="{FF2B5EF4-FFF2-40B4-BE49-F238E27FC236}">
                  <a16:creationId xmlns:a16="http://schemas.microsoft.com/office/drawing/2014/main" id="{A3D18D48-2409-4C63-836A-8BD7399F496F}"/>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0">
              <a:extLst>
                <a:ext uri="{FF2B5EF4-FFF2-40B4-BE49-F238E27FC236}">
                  <a16:creationId xmlns:a16="http://schemas.microsoft.com/office/drawing/2014/main" id="{59940A29-A304-4D74-B2B8-A01346331B18}"/>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1">
              <a:extLst>
                <a:ext uri="{FF2B5EF4-FFF2-40B4-BE49-F238E27FC236}">
                  <a16:creationId xmlns:a16="http://schemas.microsoft.com/office/drawing/2014/main" id="{34169937-2E29-4CE9-AC42-3FDAD0070E34}"/>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2">
              <a:extLst>
                <a:ext uri="{FF2B5EF4-FFF2-40B4-BE49-F238E27FC236}">
                  <a16:creationId xmlns:a16="http://schemas.microsoft.com/office/drawing/2014/main" id="{BB5BF2F3-F85A-411B-9823-5CAE0A59D6D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3">
              <a:extLst>
                <a:ext uri="{FF2B5EF4-FFF2-40B4-BE49-F238E27FC236}">
                  <a16:creationId xmlns:a16="http://schemas.microsoft.com/office/drawing/2014/main" id="{EC94D8BC-6EE3-4DB5-8CFE-1176F4667C6A}"/>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4">
              <a:extLst>
                <a:ext uri="{FF2B5EF4-FFF2-40B4-BE49-F238E27FC236}">
                  <a16:creationId xmlns:a16="http://schemas.microsoft.com/office/drawing/2014/main" id="{626AD3D0-D616-4909-A0D8-46C31382B31E}"/>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5">
              <a:extLst>
                <a:ext uri="{FF2B5EF4-FFF2-40B4-BE49-F238E27FC236}">
                  <a16:creationId xmlns:a16="http://schemas.microsoft.com/office/drawing/2014/main" id="{11605C43-31B3-439C-B0AA-37452F80A7DC}"/>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6">
              <a:extLst>
                <a:ext uri="{FF2B5EF4-FFF2-40B4-BE49-F238E27FC236}">
                  <a16:creationId xmlns:a16="http://schemas.microsoft.com/office/drawing/2014/main" id="{9E8F68A5-3449-4D7F-9E08-C9A454FB04C3}"/>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7">
              <a:extLst>
                <a:ext uri="{FF2B5EF4-FFF2-40B4-BE49-F238E27FC236}">
                  <a16:creationId xmlns:a16="http://schemas.microsoft.com/office/drawing/2014/main" id="{A65BD44B-A39C-4AB0-99CA-B81DBDBEE853}"/>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8">
              <a:extLst>
                <a:ext uri="{FF2B5EF4-FFF2-40B4-BE49-F238E27FC236}">
                  <a16:creationId xmlns:a16="http://schemas.microsoft.com/office/drawing/2014/main" id="{2877A7AF-938A-49E6-BEB4-EFCF87F4BA72}"/>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9">
              <a:extLst>
                <a:ext uri="{FF2B5EF4-FFF2-40B4-BE49-F238E27FC236}">
                  <a16:creationId xmlns:a16="http://schemas.microsoft.com/office/drawing/2014/main" id="{B0252E36-811D-4313-BB14-7DCB7FC5F032}"/>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66298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目录1-1">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653FD491-2AC0-452A-A77F-E69A0CF72CBA}"/>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4" name="矩形 3">
            <a:extLst>
              <a:ext uri="{FF2B5EF4-FFF2-40B4-BE49-F238E27FC236}">
                <a16:creationId xmlns:a16="http://schemas.microsoft.com/office/drawing/2014/main" id="{850D2224-FE42-43FD-8FB5-58E4389FB759}"/>
              </a:ext>
            </a:extLst>
          </p:cNvPr>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5" name="图片 104">
            <a:extLst>
              <a:ext uri="{FF2B5EF4-FFF2-40B4-BE49-F238E27FC236}">
                <a16:creationId xmlns:a16="http://schemas.microsoft.com/office/drawing/2014/main" id="{4D3BE847-3E2C-460C-B610-30C7A58C9693}"/>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l="1363" r="1363"/>
          <a:stretch/>
        </p:blipFill>
        <p:spPr>
          <a:xfrm>
            <a:off x="515938" y="-1"/>
            <a:ext cx="3060294" cy="6125618"/>
          </a:xfrm>
          <a:custGeom>
            <a:avLst/>
            <a:gdLst>
              <a:gd name="connsiteX0" fmla="*/ 0 w 3230880"/>
              <a:gd name="connsiteY0" fmla="*/ 0 h 6319777"/>
              <a:gd name="connsiteX1" fmla="*/ 3230880 w 3230880"/>
              <a:gd name="connsiteY1" fmla="*/ 0 h 6319777"/>
              <a:gd name="connsiteX2" fmla="*/ 3230880 w 3230880"/>
              <a:gd name="connsiteY2" fmla="*/ 6319777 h 6319777"/>
              <a:gd name="connsiteX3" fmla="*/ 0 w 3230880"/>
              <a:gd name="connsiteY3" fmla="*/ 6319777 h 6319777"/>
            </a:gdLst>
            <a:ahLst/>
            <a:cxnLst>
              <a:cxn ang="0">
                <a:pos x="connsiteX0" y="connsiteY0"/>
              </a:cxn>
              <a:cxn ang="0">
                <a:pos x="connsiteX1" y="connsiteY1"/>
              </a:cxn>
              <a:cxn ang="0">
                <a:pos x="connsiteX2" y="connsiteY2"/>
              </a:cxn>
              <a:cxn ang="0">
                <a:pos x="connsiteX3" y="connsiteY3"/>
              </a:cxn>
            </a:cxnLst>
            <a:rect l="l" t="t" r="r" b="b"/>
            <a:pathLst>
              <a:path w="3230880" h="6319777">
                <a:moveTo>
                  <a:pt x="0" y="0"/>
                </a:moveTo>
                <a:lnTo>
                  <a:pt x="3230880" y="0"/>
                </a:lnTo>
                <a:lnTo>
                  <a:pt x="3230880" y="6319777"/>
                </a:lnTo>
                <a:lnTo>
                  <a:pt x="0" y="6319777"/>
                </a:lnTo>
                <a:close/>
              </a:path>
            </a:pathLst>
          </a:custGeom>
        </p:spPr>
      </p:pic>
      <p:sp>
        <p:nvSpPr>
          <p:cNvPr id="6" name="矩形: 对角圆角 5">
            <a:extLst>
              <a:ext uri="{FF2B5EF4-FFF2-40B4-BE49-F238E27FC236}">
                <a16:creationId xmlns:a16="http://schemas.microsoft.com/office/drawing/2014/main" id="{87C1BAF6-CD80-4476-A97D-B12EB7150263}"/>
              </a:ext>
            </a:extLst>
          </p:cNvPr>
          <p:cNvSpPr/>
          <p:nvPr userDrawn="1"/>
        </p:nvSpPr>
        <p:spPr>
          <a:xfrm>
            <a:off x="679680" y="-1"/>
            <a:ext cx="2732809" cy="6350001"/>
          </a:xfrm>
          <a:prstGeom prst="round2Diag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矩形 7">
            <a:extLst>
              <a:ext uri="{FF2B5EF4-FFF2-40B4-BE49-F238E27FC236}">
                <a16:creationId xmlns:a16="http://schemas.microsoft.com/office/drawing/2014/main" id="{B43E4518-44DF-4BA4-9D8B-AC6D12BEC8E5}"/>
              </a:ext>
            </a:extLst>
          </p:cNvPr>
          <p:cNvSpPr/>
          <p:nvPr userDrawn="1"/>
        </p:nvSpPr>
        <p:spPr>
          <a:xfrm>
            <a:off x="1365365" y="5860471"/>
            <a:ext cx="10826634" cy="8151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userDrawn="1">
            <p:ph type="ctrTitle" hasCustomPrompt="1"/>
          </p:nvPr>
        </p:nvSpPr>
        <p:spPr>
          <a:xfrm>
            <a:off x="1177404" y="2614340"/>
            <a:ext cx="173736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cxnSp>
        <p:nvCxnSpPr>
          <p:cNvPr id="10" name="直接连接符 9">
            <a:extLst>
              <a:ext uri="{FF2B5EF4-FFF2-40B4-BE49-F238E27FC236}">
                <a16:creationId xmlns:a16="http://schemas.microsoft.com/office/drawing/2014/main" id="{BDFE553F-B244-43F9-AB44-84DBC23A7FC0}"/>
              </a:ext>
            </a:extLst>
          </p:cNvPr>
          <p:cNvCxnSpPr>
            <a:cxnSpLocks/>
          </p:cNvCxnSpPr>
          <p:nvPr userDrawn="1"/>
        </p:nvCxnSpPr>
        <p:spPr>
          <a:xfrm>
            <a:off x="1223125" y="3738491"/>
            <a:ext cx="1668778"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B10E1923-A0C3-4446-8C9E-3F1B2A699160}"/>
              </a:ext>
            </a:extLst>
          </p:cNvPr>
          <p:cNvSpPr/>
          <p:nvPr userDrawn="1"/>
        </p:nvSpPr>
        <p:spPr>
          <a:xfrm>
            <a:off x="1223126" y="5860471"/>
            <a:ext cx="2438399" cy="81511"/>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文本框 11">
            <a:extLst>
              <a:ext uri="{FF2B5EF4-FFF2-40B4-BE49-F238E27FC236}">
                <a16:creationId xmlns:a16="http://schemas.microsoft.com/office/drawing/2014/main" id="{4AA8ED3F-0113-44A0-9FA4-8257C7F78CE2}"/>
              </a:ext>
            </a:extLst>
          </p:cNvPr>
          <p:cNvSpPr txBox="1"/>
          <p:nvPr userDrawn="1"/>
        </p:nvSpPr>
        <p:spPr>
          <a:xfrm>
            <a:off x="1223126" y="5532291"/>
            <a:ext cx="6629399" cy="283292"/>
          </a:xfrm>
          <a:prstGeom prst="rect">
            <a:avLst/>
          </a:prstGeom>
          <a:noFill/>
        </p:spPr>
        <p:txBody>
          <a:bodyPr wrap="square" lIns="0" rIns="0" rtlCol="0" anchor="ctr">
            <a:noAutofit/>
          </a:bodyPr>
          <a:lstStyle/>
          <a:p>
            <a:pPr algn="dist"/>
            <a:r>
              <a:rPr lang="en-US" altLang="zh-CN" sz="2000" dirty="0">
                <a:solidFill>
                  <a:schemeClr val="bg1"/>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accent2"/>
                </a:solidFill>
                <a:latin typeface="Impact" panose="020B0806030902050204" pitchFamily="34" charset="0"/>
              </a:rPr>
              <a:t>TENTS</a:t>
            </a:r>
          </a:p>
        </p:txBody>
      </p:sp>
      <p:sp>
        <p:nvSpPr>
          <p:cNvPr id="61" name="文本框 60">
            <a:extLst>
              <a:ext uri="{FF2B5EF4-FFF2-40B4-BE49-F238E27FC236}">
                <a16:creationId xmlns:a16="http://schemas.microsoft.com/office/drawing/2014/main" id="{014BCD07-5892-4118-909D-9B1F9AA1D936}"/>
              </a:ext>
            </a:extLst>
          </p:cNvPr>
          <p:cNvSpPr txBox="1"/>
          <p:nvPr userDrawn="1"/>
        </p:nvSpPr>
        <p:spPr>
          <a:xfrm>
            <a:off x="1063103" y="2412479"/>
            <a:ext cx="196596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cxnSp>
        <p:nvCxnSpPr>
          <p:cNvPr id="62" name="直接连接符 61">
            <a:extLst>
              <a:ext uri="{FF2B5EF4-FFF2-40B4-BE49-F238E27FC236}">
                <a16:creationId xmlns:a16="http://schemas.microsoft.com/office/drawing/2014/main" id="{5A8C2248-7511-45A8-BB6E-7316DC6BC0C5}"/>
              </a:ext>
            </a:extLst>
          </p:cNvPr>
          <p:cNvCxnSpPr>
            <a:cxnSpLocks/>
          </p:cNvCxnSpPr>
          <p:nvPr userDrawn="1"/>
        </p:nvCxnSpPr>
        <p:spPr>
          <a:xfrm>
            <a:off x="1223125" y="3814691"/>
            <a:ext cx="1668778"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60" name="组合 159">
            <a:extLst>
              <a:ext uri="{FF2B5EF4-FFF2-40B4-BE49-F238E27FC236}">
                <a16:creationId xmlns:a16="http://schemas.microsoft.com/office/drawing/2014/main" id="{8B4E7829-0DCF-47B5-A1AB-12C9499E62E4}"/>
              </a:ext>
            </a:extLst>
          </p:cNvPr>
          <p:cNvGrpSpPr/>
          <p:nvPr userDrawn="1"/>
        </p:nvGrpSpPr>
        <p:grpSpPr>
          <a:xfrm>
            <a:off x="10477913" y="446123"/>
            <a:ext cx="1234662" cy="419641"/>
            <a:chOff x="1398368" y="5051425"/>
            <a:chExt cx="3242941" cy="1102222"/>
          </a:xfrm>
        </p:grpSpPr>
        <p:sp>
          <p:nvSpPr>
            <p:cNvPr id="161" name="Freeform 5">
              <a:extLst>
                <a:ext uri="{FF2B5EF4-FFF2-40B4-BE49-F238E27FC236}">
                  <a16:creationId xmlns:a16="http://schemas.microsoft.com/office/drawing/2014/main" id="{A68B6A54-355F-4890-8BCF-38F6E8A801D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
              <a:extLst>
                <a:ext uri="{FF2B5EF4-FFF2-40B4-BE49-F238E27FC236}">
                  <a16:creationId xmlns:a16="http://schemas.microsoft.com/office/drawing/2014/main" id="{1128E89B-6EC9-4D91-B9E6-436A75931CF0}"/>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8">
              <a:extLst>
                <a:ext uri="{FF2B5EF4-FFF2-40B4-BE49-F238E27FC236}">
                  <a16:creationId xmlns:a16="http://schemas.microsoft.com/office/drawing/2014/main" id="{87218A4F-0E8F-4C33-9573-79733321B31D}"/>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4" name="组合 163">
              <a:extLst>
                <a:ext uri="{FF2B5EF4-FFF2-40B4-BE49-F238E27FC236}">
                  <a16:creationId xmlns:a16="http://schemas.microsoft.com/office/drawing/2014/main" id="{4A6F2343-8A34-4720-AB37-64781719391A}"/>
                </a:ext>
              </a:extLst>
            </p:cNvPr>
            <p:cNvGrpSpPr/>
            <p:nvPr/>
          </p:nvGrpSpPr>
          <p:grpSpPr>
            <a:xfrm>
              <a:off x="2921957" y="5168150"/>
              <a:ext cx="542765" cy="642593"/>
              <a:chOff x="3102298" y="5183391"/>
              <a:chExt cx="501880" cy="594188"/>
            </a:xfrm>
          </p:grpSpPr>
          <p:sp>
            <p:nvSpPr>
              <p:cNvPr id="205" name="Freeform 6">
                <a:extLst>
                  <a:ext uri="{FF2B5EF4-FFF2-40B4-BE49-F238E27FC236}">
                    <a16:creationId xmlns:a16="http://schemas.microsoft.com/office/drawing/2014/main" id="{E4215790-3F09-4924-9257-45A7532EAE30}"/>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0">
                <a:extLst>
                  <a:ext uri="{FF2B5EF4-FFF2-40B4-BE49-F238E27FC236}">
                    <a16:creationId xmlns:a16="http://schemas.microsoft.com/office/drawing/2014/main" id="{1D8F24C9-F598-416B-ADDF-8FD669499322}"/>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3">
                <a:extLst>
                  <a:ext uri="{FF2B5EF4-FFF2-40B4-BE49-F238E27FC236}">
                    <a16:creationId xmlns:a16="http://schemas.microsoft.com/office/drawing/2014/main" id="{5614E6AA-9923-409C-8807-8FE907249295}"/>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 name="组合 164">
              <a:extLst>
                <a:ext uri="{FF2B5EF4-FFF2-40B4-BE49-F238E27FC236}">
                  <a16:creationId xmlns:a16="http://schemas.microsoft.com/office/drawing/2014/main" id="{0DE1D053-A45C-4D15-9D10-1DAFEEF9BDE6}"/>
                </a:ext>
              </a:extLst>
            </p:cNvPr>
            <p:cNvGrpSpPr/>
            <p:nvPr/>
          </p:nvGrpSpPr>
          <p:grpSpPr>
            <a:xfrm>
              <a:off x="4196892" y="5154476"/>
              <a:ext cx="444417" cy="649987"/>
              <a:chOff x="4257853" y="5169716"/>
              <a:chExt cx="410940" cy="601025"/>
            </a:xfrm>
          </p:grpSpPr>
          <p:sp>
            <p:nvSpPr>
              <p:cNvPr id="200" name="Freeform 9">
                <a:extLst>
                  <a:ext uri="{FF2B5EF4-FFF2-40B4-BE49-F238E27FC236}">
                    <a16:creationId xmlns:a16="http://schemas.microsoft.com/office/drawing/2014/main" id="{91C3AF4B-2E32-429D-B25A-042880B98453}"/>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1">
                <a:extLst>
                  <a:ext uri="{FF2B5EF4-FFF2-40B4-BE49-F238E27FC236}">
                    <a16:creationId xmlns:a16="http://schemas.microsoft.com/office/drawing/2014/main" id="{E107A670-024B-415A-B5D0-034F223864BB}"/>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2">
                <a:extLst>
                  <a:ext uri="{FF2B5EF4-FFF2-40B4-BE49-F238E27FC236}">
                    <a16:creationId xmlns:a16="http://schemas.microsoft.com/office/drawing/2014/main" id="{5193F325-894D-4313-A16C-4F47AEBE968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4">
                <a:extLst>
                  <a:ext uri="{FF2B5EF4-FFF2-40B4-BE49-F238E27FC236}">
                    <a16:creationId xmlns:a16="http://schemas.microsoft.com/office/drawing/2014/main" id="{4D919A8F-210C-4F42-85BE-3D9E50EAFE51}"/>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5">
                <a:extLst>
                  <a:ext uri="{FF2B5EF4-FFF2-40B4-BE49-F238E27FC236}">
                    <a16:creationId xmlns:a16="http://schemas.microsoft.com/office/drawing/2014/main" id="{407F100B-3B1F-4E9F-8380-1E2A40E9D5F2}"/>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6" name="Freeform 16">
              <a:extLst>
                <a:ext uri="{FF2B5EF4-FFF2-40B4-BE49-F238E27FC236}">
                  <a16:creationId xmlns:a16="http://schemas.microsoft.com/office/drawing/2014/main" id="{B29C1DF8-0D00-493A-A8B5-30EC4D9AF0BB}"/>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7">
              <a:extLst>
                <a:ext uri="{FF2B5EF4-FFF2-40B4-BE49-F238E27FC236}">
                  <a16:creationId xmlns:a16="http://schemas.microsoft.com/office/drawing/2014/main" id="{73D47FDF-25B8-4BE5-AFC6-07BD7CD50547}"/>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8">
              <a:extLst>
                <a:ext uri="{FF2B5EF4-FFF2-40B4-BE49-F238E27FC236}">
                  <a16:creationId xmlns:a16="http://schemas.microsoft.com/office/drawing/2014/main" id="{B90F52EC-9474-4B9B-B750-15993DF958B4}"/>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9">
              <a:extLst>
                <a:ext uri="{FF2B5EF4-FFF2-40B4-BE49-F238E27FC236}">
                  <a16:creationId xmlns:a16="http://schemas.microsoft.com/office/drawing/2014/main" id="{4DBF6C14-03E1-438F-8A5D-A6793C2D248A}"/>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0">
              <a:extLst>
                <a:ext uri="{FF2B5EF4-FFF2-40B4-BE49-F238E27FC236}">
                  <a16:creationId xmlns:a16="http://schemas.microsoft.com/office/drawing/2014/main" id="{EBCBCBCE-B007-483F-88F1-5C0E9C5BC8FB}"/>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1">
              <a:extLst>
                <a:ext uri="{FF2B5EF4-FFF2-40B4-BE49-F238E27FC236}">
                  <a16:creationId xmlns:a16="http://schemas.microsoft.com/office/drawing/2014/main" id="{DDCD85E3-5F8A-48A0-A03B-A90D56A780BB}"/>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2">
              <a:extLst>
                <a:ext uri="{FF2B5EF4-FFF2-40B4-BE49-F238E27FC236}">
                  <a16:creationId xmlns:a16="http://schemas.microsoft.com/office/drawing/2014/main" id="{31A77567-2C94-4D0F-AAFE-A4CAB0E4405D}"/>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3">
              <a:extLst>
                <a:ext uri="{FF2B5EF4-FFF2-40B4-BE49-F238E27FC236}">
                  <a16:creationId xmlns:a16="http://schemas.microsoft.com/office/drawing/2014/main" id="{70AA48EC-4891-4A87-8B30-FE854812E7E8}"/>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4">
              <a:extLst>
                <a:ext uri="{FF2B5EF4-FFF2-40B4-BE49-F238E27FC236}">
                  <a16:creationId xmlns:a16="http://schemas.microsoft.com/office/drawing/2014/main" id="{A807731D-71AE-45E7-854E-FC68599AF96F}"/>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5">
              <a:extLst>
                <a:ext uri="{FF2B5EF4-FFF2-40B4-BE49-F238E27FC236}">
                  <a16:creationId xmlns:a16="http://schemas.microsoft.com/office/drawing/2014/main" id="{8A62B9B7-F471-4133-9695-6A83293F5703}"/>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6">
              <a:extLst>
                <a:ext uri="{FF2B5EF4-FFF2-40B4-BE49-F238E27FC236}">
                  <a16:creationId xmlns:a16="http://schemas.microsoft.com/office/drawing/2014/main" id="{BAC68DFC-3C52-48FA-A47E-5EDFAF455E58}"/>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7">
              <a:extLst>
                <a:ext uri="{FF2B5EF4-FFF2-40B4-BE49-F238E27FC236}">
                  <a16:creationId xmlns:a16="http://schemas.microsoft.com/office/drawing/2014/main" id="{903A6D13-DF51-40B5-A906-F46305677719}"/>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8">
              <a:extLst>
                <a:ext uri="{FF2B5EF4-FFF2-40B4-BE49-F238E27FC236}">
                  <a16:creationId xmlns:a16="http://schemas.microsoft.com/office/drawing/2014/main" id="{7BE0A86A-2C54-4613-9CAE-CA7B8E5EDED0}"/>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9">
              <a:extLst>
                <a:ext uri="{FF2B5EF4-FFF2-40B4-BE49-F238E27FC236}">
                  <a16:creationId xmlns:a16="http://schemas.microsoft.com/office/drawing/2014/main" id="{4C9089E0-62E0-4D59-BF08-DA8ABE721E27}"/>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0">
              <a:extLst>
                <a:ext uri="{FF2B5EF4-FFF2-40B4-BE49-F238E27FC236}">
                  <a16:creationId xmlns:a16="http://schemas.microsoft.com/office/drawing/2014/main" id="{630BE8ED-EFDD-4106-9169-E8C9366B6AA2}"/>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1">
              <a:extLst>
                <a:ext uri="{FF2B5EF4-FFF2-40B4-BE49-F238E27FC236}">
                  <a16:creationId xmlns:a16="http://schemas.microsoft.com/office/drawing/2014/main" id="{AB7E6546-CB20-446C-B7F9-CB31733F518D}"/>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2">
              <a:extLst>
                <a:ext uri="{FF2B5EF4-FFF2-40B4-BE49-F238E27FC236}">
                  <a16:creationId xmlns:a16="http://schemas.microsoft.com/office/drawing/2014/main" id="{0F9DD96F-343D-45F2-821A-878A2506212E}"/>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3">
              <a:extLst>
                <a:ext uri="{FF2B5EF4-FFF2-40B4-BE49-F238E27FC236}">
                  <a16:creationId xmlns:a16="http://schemas.microsoft.com/office/drawing/2014/main" id="{5C16E4E1-D4FA-4B56-B54F-D39E66FACAC8}"/>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4">
              <a:extLst>
                <a:ext uri="{FF2B5EF4-FFF2-40B4-BE49-F238E27FC236}">
                  <a16:creationId xmlns:a16="http://schemas.microsoft.com/office/drawing/2014/main" id="{730DF3B4-C8C7-4D5D-B3C0-48A0DC1CAE2F}"/>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5">
              <a:extLst>
                <a:ext uri="{FF2B5EF4-FFF2-40B4-BE49-F238E27FC236}">
                  <a16:creationId xmlns:a16="http://schemas.microsoft.com/office/drawing/2014/main" id="{C914EDD6-4EC5-4876-AD61-7A69A45CC187}"/>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6">
              <a:extLst>
                <a:ext uri="{FF2B5EF4-FFF2-40B4-BE49-F238E27FC236}">
                  <a16:creationId xmlns:a16="http://schemas.microsoft.com/office/drawing/2014/main" id="{80C7CC6C-017F-412F-8B25-519DEEF926F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7">
              <a:extLst>
                <a:ext uri="{FF2B5EF4-FFF2-40B4-BE49-F238E27FC236}">
                  <a16:creationId xmlns:a16="http://schemas.microsoft.com/office/drawing/2014/main" id="{E94B63AB-0A58-4CCE-86F6-64C839E3784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8">
              <a:extLst>
                <a:ext uri="{FF2B5EF4-FFF2-40B4-BE49-F238E27FC236}">
                  <a16:creationId xmlns:a16="http://schemas.microsoft.com/office/drawing/2014/main" id="{3B447A63-8C4A-4CB9-910E-CDF481EEF87E}"/>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9">
              <a:extLst>
                <a:ext uri="{FF2B5EF4-FFF2-40B4-BE49-F238E27FC236}">
                  <a16:creationId xmlns:a16="http://schemas.microsoft.com/office/drawing/2014/main" id="{948EA15D-40AB-47A3-BD74-14A5223D57F5}"/>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0">
              <a:extLst>
                <a:ext uri="{FF2B5EF4-FFF2-40B4-BE49-F238E27FC236}">
                  <a16:creationId xmlns:a16="http://schemas.microsoft.com/office/drawing/2014/main" id="{93EEB519-F7A5-4390-BCC4-27E2AD7E36D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1">
              <a:extLst>
                <a:ext uri="{FF2B5EF4-FFF2-40B4-BE49-F238E27FC236}">
                  <a16:creationId xmlns:a16="http://schemas.microsoft.com/office/drawing/2014/main" id="{C3608A0F-1F75-4A86-979A-CCB0A54E5655}"/>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2">
              <a:extLst>
                <a:ext uri="{FF2B5EF4-FFF2-40B4-BE49-F238E27FC236}">
                  <a16:creationId xmlns:a16="http://schemas.microsoft.com/office/drawing/2014/main" id="{4C4C1B36-D2FE-48E8-BCEC-49EAE743BF0F}"/>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3">
              <a:extLst>
                <a:ext uri="{FF2B5EF4-FFF2-40B4-BE49-F238E27FC236}">
                  <a16:creationId xmlns:a16="http://schemas.microsoft.com/office/drawing/2014/main" id="{5887D954-6E06-4D35-9886-AC070490D28C}"/>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4">
              <a:extLst>
                <a:ext uri="{FF2B5EF4-FFF2-40B4-BE49-F238E27FC236}">
                  <a16:creationId xmlns:a16="http://schemas.microsoft.com/office/drawing/2014/main" id="{0FDAA75B-F182-4F28-977F-99B7FB37FB1C}"/>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5">
              <a:extLst>
                <a:ext uri="{FF2B5EF4-FFF2-40B4-BE49-F238E27FC236}">
                  <a16:creationId xmlns:a16="http://schemas.microsoft.com/office/drawing/2014/main" id="{8E2CFBAC-D9B4-4650-ACA3-2680452DA145}"/>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46">
              <a:extLst>
                <a:ext uri="{FF2B5EF4-FFF2-40B4-BE49-F238E27FC236}">
                  <a16:creationId xmlns:a16="http://schemas.microsoft.com/office/drawing/2014/main" id="{A3800EE1-60DD-4A5B-9B16-439E9BF3087F}"/>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7">
              <a:extLst>
                <a:ext uri="{FF2B5EF4-FFF2-40B4-BE49-F238E27FC236}">
                  <a16:creationId xmlns:a16="http://schemas.microsoft.com/office/drawing/2014/main" id="{AF5D9E63-6DC6-40AA-9F43-36784BFCA9C4}"/>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8">
              <a:extLst>
                <a:ext uri="{FF2B5EF4-FFF2-40B4-BE49-F238E27FC236}">
                  <a16:creationId xmlns:a16="http://schemas.microsoft.com/office/drawing/2014/main" id="{850B73A5-538E-47CA-BDC2-D1A489973660}"/>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9">
              <a:extLst>
                <a:ext uri="{FF2B5EF4-FFF2-40B4-BE49-F238E27FC236}">
                  <a16:creationId xmlns:a16="http://schemas.microsoft.com/office/drawing/2014/main" id="{38C82AFF-B058-460D-87B5-EA0BC36EF04E}"/>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4" name="矩形: 对角圆角 63">
            <a:extLst>
              <a:ext uri="{FF2B5EF4-FFF2-40B4-BE49-F238E27FC236}">
                <a16:creationId xmlns:a16="http://schemas.microsoft.com/office/drawing/2014/main" id="{017EC888-1B08-419D-8FF5-AC2ADC75A9F0}"/>
              </a:ext>
            </a:extLst>
          </p:cNvPr>
          <p:cNvSpPr/>
          <p:nvPr/>
        </p:nvSpPr>
        <p:spPr>
          <a:xfrm>
            <a:off x="4026405"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 name="文本占位符 6">
            <a:extLst>
              <a:ext uri="{FF2B5EF4-FFF2-40B4-BE49-F238E27FC236}">
                <a16:creationId xmlns:a16="http://schemas.microsoft.com/office/drawing/2014/main" id="{6DBEBD04-7261-4462-8BA5-3212F5F5307E}"/>
              </a:ext>
            </a:extLst>
          </p:cNvPr>
          <p:cNvSpPr>
            <a:spLocks noGrp="1"/>
          </p:cNvSpPr>
          <p:nvPr>
            <p:ph type="body" sz="quarter" idx="10"/>
          </p:nvPr>
        </p:nvSpPr>
        <p:spPr>
          <a:xfrm>
            <a:off x="4829476"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a:extLst>
              <a:ext uri="{FF2B5EF4-FFF2-40B4-BE49-F238E27FC236}">
                <a16:creationId xmlns:a16="http://schemas.microsoft.com/office/drawing/2014/main" id="{67F8D024-38D3-46ED-A55E-5EAD7FAE8D58}"/>
              </a:ext>
            </a:extLst>
          </p:cNvPr>
          <p:cNvSpPr>
            <a:spLocks noGrp="1"/>
          </p:cNvSpPr>
          <p:nvPr>
            <p:ph type="body" sz="quarter" idx="11"/>
          </p:nvPr>
        </p:nvSpPr>
        <p:spPr>
          <a:xfrm>
            <a:off x="4829476"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a:extLst>
              <a:ext uri="{FF2B5EF4-FFF2-40B4-BE49-F238E27FC236}">
                <a16:creationId xmlns:a16="http://schemas.microsoft.com/office/drawing/2014/main" id="{E1F59F76-EAFA-4867-A5F2-5EEB277E1716}"/>
              </a:ext>
            </a:extLst>
          </p:cNvPr>
          <p:cNvSpPr>
            <a:spLocks noGrp="1"/>
          </p:cNvSpPr>
          <p:nvPr>
            <p:ph type="body" sz="quarter" idx="12" hasCustomPrompt="1"/>
          </p:nvPr>
        </p:nvSpPr>
        <p:spPr>
          <a:xfrm>
            <a:off x="3992304" y="13586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7" name="直接连接符 66">
            <a:extLst>
              <a:ext uri="{FF2B5EF4-FFF2-40B4-BE49-F238E27FC236}">
                <a16:creationId xmlns:a16="http://schemas.microsoft.com/office/drawing/2014/main" id="{2F648B2D-C42B-4263-918E-808C24059630}"/>
              </a:ext>
            </a:extLst>
          </p:cNvPr>
          <p:cNvCxnSpPr/>
          <p:nvPr/>
        </p:nvCxnSpPr>
        <p:spPr>
          <a:xfrm>
            <a:off x="4829476"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矩形: 对角圆角 99">
            <a:extLst>
              <a:ext uri="{FF2B5EF4-FFF2-40B4-BE49-F238E27FC236}">
                <a16:creationId xmlns:a16="http://schemas.microsoft.com/office/drawing/2014/main" id="{D34ED4AF-0CEA-4701-A551-B7A3200DB502}"/>
              </a:ext>
            </a:extLst>
          </p:cNvPr>
          <p:cNvSpPr/>
          <p:nvPr userDrawn="1"/>
        </p:nvSpPr>
        <p:spPr>
          <a:xfrm>
            <a:off x="4026405"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1" name="文本占位符 6">
            <a:extLst>
              <a:ext uri="{FF2B5EF4-FFF2-40B4-BE49-F238E27FC236}">
                <a16:creationId xmlns:a16="http://schemas.microsoft.com/office/drawing/2014/main" id="{C4C11485-7693-4FB7-977E-DA51B1E82B86}"/>
              </a:ext>
            </a:extLst>
          </p:cNvPr>
          <p:cNvSpPr>
            <a:spLocks noGrp="1"/>
          </p:cNvSpPr>
          <p:nvPr>
            <p:ph type="body" sz="quarter" idx="13"/>
          </p:nvPr>
        </p:nvSpPr>
        <p:spPr>
          <a:xfrm>
            <a:off x="4829476"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2" name="文本占位符 6">
            <a:extLst>
              <a:ext uri="{FF2B5EF4-FFF2-40B4-BE49-F238E27FC236}">
                <a16:creationId xmlns:a16="http://schemas.microsoft.com/office/drawing/2014/main" id="{820063A4-CDA1-4722-98D3-27AB131CC053}"/>
              </a:ext>
            </a:extLst>
          </p:cNvPr>
          <p:cNvSpPr>
            <a:spLocks noGrp="1"/>
          </p:cNvSpPr>
          <p:nvPr>
            <p:ph type="body" sz="quarter" idx="14"/>
          </p:nvPr>
        </p:nvSpPr>
        <p:spPr>
          <a:xfrm>
            <a:off x="4829476"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3" name="文本占位符 6">
            <a:extLst>
              <a:ext uri="{FF2B5EF4-FFF2-40B4-BE49-F238E27FC236}">
                <a16:creationId xmlns:a16="http://schemas.microsoft.com/office/drawing/2014/main" id="{62F04932-DBA2-42F8-B7F2-1D6D71B2D396}"/>
              </a:ext>
            </a:extLst>
          </p:cNvPr>
          <p:cNvSpPr>
            <a:spLocks noGrp="1"/>
          </p:cNvSpPr>
          <p:nvPr>
            <p:ph type="body" sz="quarter" idx="15" hasCustomPrompt="1"/>
          </p:nvPr>
        </p:nvSpPr>
        <p:spPr>
          <a:xfrm>
            <a:off x="3954633" y="27013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04" name="直接连接符 103">
            <a:extLst>
              <a:ext uri="{FF2B5EF4-FFF2-40B4-BE49-F238E27FC236}">
                <a16:creationId xmlns:a16="http://schemas.microsoft.com/office/drawing/2014/main" id="{91646922-E18D-4BA4-BB63-1572DEF8A000}"/>
              </a:ext>
            </a:extLst>
          </p:cNvPr>
          <p:cNvCxnSpPr/>
          <p:nvPr userDrawn="1"/>
        </p:nvCxnSpPr>
        <p:spPr>
          <a:xfrm>
            <a:off x="4829476"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6" name="矩形: 对角圆角 105">
            <a:extLst>
              <a:ext uri="{FF2B5EF4-FFF2-40B4-BE49-F238E27FC236}">
                <a16:creationId xmlns:a16="http://schemas.microsoft.com/office/drawing/2014/main" id="{6EB1ECD3-645D-4E65-A448-DD3745F2F7A9}"/>
              </a:ext>
            </a:extLst>
          </p:cNvPr>
          <p:cNvSpPr/>
          <p:nvPr userDrawn="1"/>
        </p:nvSpPr>
        <p:spPr>
          <a:xfrm>
            <a:off x="4026405"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7" name="文本占位符 6">
            <a:extLst>
              <a:ext uri="{FF2B5EF4-FFF2-40B4-BE49-F238E27FC236}">
                <a16:creationId xmlns:a16="http://schemas.microsoft.com/office/drawing/2014/main" id="{E13DF381-6895-4E29-85DB-068048B50625}"/>
              </a:ext>
            </a:extLst>
          </p:cNvPr>
          <p:cNvSpPr>
            <a:spLocks noGrp="1"/>
          </p:cNvSpPr>
          <p:nvPr>
            <p:ph type="body" sz="quarter" idx="16"/>
          </p:nvPr>
        </p:nvSpPr>
        <p:spPr>
          <a:xfrm>
            <a:off x="4829476"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8" name="文本占位符 6">
            <a:extLst>
              <a:ext uri="{FF2B5EF4-FFF2-40B4-BE49-F238E27FC236}">
                <a16:creationId xmlns:a16="http://schemas.microsoft.com/office/drawing/2014/main" id="{13F49DA5-179F-4765-B2FB-9E40F4235F4D}"/>
              </a:ext>
            </a:extLst>
          </p:cNvPr>
          <p:cNvSpPr>
            <a:spLocks noGrp="1"/>
          </p:cNvSpPr>
          <p:nvPr>
            <p:ph type="body" sz="quarter" idx="17"/>
          </p:nvPr>
        </p:nvSpPr>
        <p:spPr>
          <a:xfrm>
            <a:off x="4829476"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9" name="文本占位符 6">
            <a:extLst>
              <a:ext uri="{FF2B5EF4-FFF2-40B4-BE49-F238E27FC236}">
                <a16:creationId xmlns:a16="http://schemas.microsoft.com/office/drawing/2014/main" id="{C6640CEE-D780-4E71-B6FE-6920A8CAA97C}"/>
              </a:ext>
            </a:extLst>
          </p:cNvPr>
          <p:cNvSpPr>
            <a:spLocks noGrp="1"/>
          </p:cNvSpPr>
          <p:nvPr>
            <p:ph type="body" sz="quarter" idx="18" hasCustomPrompt="1"/>
          </p:nvPr>
        </p:nvSpPr>
        <p:spPr>
          <a:xfrm>
            <a:off x="3945817" y="40439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10" name="直接连接符 109">
            <a:extLst>
              <a:ext uri="{FF2B5EF4-FFF2-40B4-BE49-F238E27FC236}">
                <a16:creationId xmlns:a16="http://schemas.microsoft.com/office/drawing/2014/main" id="{A14F1407-55D2-4C41-A21B-E8DEE7FA0758}"/>
              </a:ext>
            </a:extLst>
          </p:cNvPr>
          <p:cNvCxnSpPr/>
          <p:nvPr userDrawn="1"/>
        </p:nvCxnSpPr>
        <p:spPr>
          <a:xfrm>
            <a:off x="4829476"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1" name="矩形: 对角圆角 110">
            <a:extLst>
              <a:ext uri="{FF2B5EF4-FFF2-40B4-BE49-F238E27FC236}">
                <a16:creationId xmlns:a16="http://schemas.microsoft.com/office/drawing/2014/main" id="{EB5B0D8E-7584-4772-B3B0-0801E2631A72}"/>
              </a:ext>
            </a:extLst>
          </p:cNvPr>
          <p:cNvSpPr/>
          <p:nvPr userDrawn="1"/>
        </p:nvSpPr>
        <p:spPr>
          <a:xfrm>
            <a:off x="8224506"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2" name="文本占位符 6">
            <a:extLst>
              <a:ext uri="{FF2B5EF4-FFF2-40B4-BE49-F238E27FC236}">
                <a16:creationId xmlns:a16="http://schemas.microsoft.com/office/drawing/2014/main" id="{3C8EF4F2-618A-4097-86E0-A3F80DFD8B72}"/>
              </a:ext>
            </a:extLst>
          </p:cNvPr>
          <p:cNvSpPr>
            <a:spLocks noGrp="1"/>
          </p:cNvSpPr>
          <p:nvPr>
            <p:ph type="body" sz="quarter" idx="19"/>
          </p:nvPr>
        </p:nvSpPr>
        <p:spPr>
          <a:xfrm>
            <a:off x="9027577"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3" name="文本占位符 6">
            <a:extLst>
              <a:ext uri="{FF2B5EF4-FFF2-40B4-BE49-F238E27FC236}">
                <a16:creationId xmlns:a16="http://schemas.microsoft.com/office/drawing/2014/main" id="{EF1E3635-E47D-4C88-A48C-3C8B817A76E0}"/>
              </a:ext>
            </a:extLst>
          </p:cNvPr>
          <p:cNvSpPr>
            <a:spLocks noGrp="1"/>
          </p:cNvSpPr>
          <p:nvPr>
            <p:ph type="body" sz="quarter" idx="20"/>
          </p:nvPr>
        </p:nvSpPr>
        <p:spPr>
          <a:xfrm>
            <a:off x="9027577"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4" name="文本占位符 6">
            <a:extLst>
              <a:ext uri="{FF2B5EF4-FFF2-40B4-BE49-F238E27FC236}">
                <a16:creationId xmlns:a16="http://schemas.microsoft.com/office/drawing/2014/main" id="{BA89C28E-219D-4EE7-8814-6188E1FC76E6}"/>
              </a:ext>
            </a:extLst>
          </p:cNvPr>
          <p:cNvSpPr>
            <a:spLocks noGrp="1"/>
          </p:cNvSpPr>
          <p:nvPr>
            <p:ph type="body" sz="quarter" idx="21" hasCustomPrompt="1"/>
          </p:nvPr>
        </p:nvSpPr>
        <p:spPr>
          <a:xfrm>
            <a:off x="8153536" y="13586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15" name="直接连接符 114">
            <a:extLst>
              <a:ext uri="{FF2B5EF4-FFF2-40B4-BE49-F238E27FC236}">
                <a16:creationId xmlns:a16="http://schemas.microsoft.com/office/drawing/2014/main" id="{D33979DD-A8FF-44C3-B04E-CCCE0D23D25B}"/>
              </a:ext>
            </a:extLst>
          </p:cNvPr>
          <p:cNvCxnSpPr/>
          <p:nvPr userDrawn="1"/>
        </p:nvCxnSpPr>
        <p:spPr>
          <a:xfrm>
            <a:off x="9027577"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6" name="矩形: 对角圆角 115">
            <a:extLst>
              <a:ext uri="{FF2B5EF4-FFF2-40B4-BE49-F238E27FC236}">
                <a16:creationId xmlns:a16="http://schemas.microsoft.com/office/drawing/2014/main" id="{01D125E1-67B0-4F55-9CCF-C1C7BF76F53F}"/>
              </a:ext>
            </a:extLst>
          </p:cNvPr>
          <p:cNvSpPr/>
          <p:nvPr userDrawn="1"/>
        </p:nvSpPr>
        <p:spPr>
          <a:xfrm>
            <a:off x="8224506"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文本占位符 6">
            <a:extLst>
              <a:ext uri="{FF2B5EF4-FFF2-40B4-BE49-F238E27FC236}">
                <a16:creationId xmlns:a16="http://schemas.microsoft.com/office/drawing/2014/main" id="{AE674B68-5030-4BEF-975C-433F331567F9}"/>
              </a:ext>
            </a:extLst>
          </p:cNvPr>
          <p:cNvSpPr>
            <a:spLocks noGrp="1"/>
          </p:cNvSpPr>
          <p:nvPr>
            <p:ph type="body" sz="quarter" idx="22"/>
          </p:nvPr>
        </p:nvSpPr>
        <p:spPr>
          <a:xfrm>
            <a:off x="9027577"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8" name="文本占位符 6">
            <a:extLst>
              <a:ext uri="{FF2B5EF4-FFF2-40B4-BE49-F238E27FC236}">
                <a16:creationId xmlns:a16="http://schemas.microsoft.com/office/drawing/2014/main" id="{40E6D92D-C3D4-44CC-AB97-65E8A2A02C98}"/>
              </a:ext>
            </a:extLst>
          </p:cNvPr>
          <p:cNvSpPr>
            <a:spLocks noGrp="1"/>
          </p:cNvSpPr>
          <p:nvPr>
            <p:ph type="body" sz="quarter" idx="23"/>
          </p:nvPr>
        </p:nvSpPr>
        <p:spPr>
          <a:xfrm>
            <a:off x="9027577"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9" name="文本占位符 6">
            <a:extLst>
              <a:ext uri="{FF2B5EF4-FFF2-40B4-BE49-F238E27FC236}">
                <a16:creationId xmlns:a16="http://schemas.microsoft.com/office/drawing/2014/main" id="{6FC6D5CB-D936-49C0-8092-65457ADF17D9}"/>
              </a:ext>
            </a:extLst>
          </p:cNvPr>
          <p:cNvSpPr>
            <a:spLocks noGrp="1"/>
          </p:cNvSpPr>
          <p:nvPr>
            <p:ph type="body" sz="quarter" idx="24" hasCustomPrompt="1"/>
          </p:nvPr>
        </p:nvSpPr>
        <p:spPr>
          <a:xfrm>
            <a:off x="8142315" y="27013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20" name="直接连接符 119">
            <a:extLst>
              <a:ext uri="{FF2B5EF4-FFF2-40B4-BE49-F238E27FC236}">
                <a16:creationId xmlns:a16="http://schemas.microsoft.com/office/drawing/2014/main" id="{272B64A1-2013-412A-B958-BB008638AC48}"/>
              </a:ext>
            </a:extLst>
          </p:cNvPr>
          <p:cNvCxnSpPr/>
          <p:nvPr userDrawn="1"/>
        </p:nvCxnSpPr>
        <p:spPr>
          <a:xfrm>
            <a:off x="9027577"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1" name="矩形: 对角圆角 120">
            <a:extLst>
              <a:ext uri="{FF2B5EF4-FFF2-40B4-BE49-F238E27FC236}">
                <a16:creationId xmlns:a16="http://schemas.microsoft.com/office/drawing/2014/main" id="{776A91F9-66B2-4539-A725-3C51B9B480AD}"/>
              </a:ext>
            </a:extLst>
          </p:cNvPr>
          <p:cNvSpPr/>
          <p:nvPr userDrawn="1"/>
        </p:nvSpPr>
        <p:spPr>
          <a:xfrm>
            <a:off x="8224506"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文本占位符 6">
            <a:extLst>
              <a:ext uri="{FF2B5EF4-FFF2-40B4-BE49-F238E27FC236}">
                <a16:creationId xmlns:a16="http://schemas.microsoft.com/office/drawing/2014/main" id="{D5256942-D190-4241-B9B7-7EA2926AE84E}"/>
              </a:ext>
            </a:extLst>
          </p:cNvPr>
          <p:cNvSpPr>
            <a:spLocks noGrp="1"/>
          </p:cNvSpPr>
          <p:nvPr>
            <p:ph type="body" sz="quarter" idx="25"/>
          </p:nvPr>
        </p:nvSpPr>
        <p:spPr>
          <a:xfrm>
            <a:off x="9027577"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3" name="文本占位符 6">
            <a:extLst>
              <a:ext uri="{FF2B5EF4-FFF2-40B4-BE49-F238E27FC236}">
                <a16:creationId xmlns:a16="http://schemas.microsoft.com/office/drawing/2014/main" id="{6B67EA4D-907C-4A5C-AEC6-56B00158C98F}"/>
              </a:ext>
            </a:extLst>
          </p:cNvPr>
          <p:cNvSpPr>
            <a:spLocks noGrp="1"/>
          </p:cNvSpPr>
          <p:nvPr>
            <p:ph type="body" sz="quarter" idx="26"/>
          </p:nvPr>
        </p:nvSpPr>
        <p:spPr>
          <a:xfrm>
            <a:off x="9027577"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4" name="文本占位符 6">
            <a:extLst>
              <a:ext uri="{FF2B5EF4-FFF2-40B4-BE49-F238E27FC236}">
                <a16:creationId xmlns:a16="http://schemas.microsoft.com/office/drawing/2014/main" id="{5B5542B2-C1AA-4156-A03B-0B9373ACB499}"/>
              </a:ext>
            </a:extLst>
          </p:cNvPr>
          <p:cNvSpPr>
            <a:spLocks noGrp="1"/>
          </p:cNvSpPr>
          <p:nvPr>
            <p:ph type="body" sz="quarter" idx="27" hasCustomPrompt="1"/>
          </p:nvPr>
        </p:nvSpPr>
        <p:spPr>
          <a:xfrm>
            <a:off x="8140712" y="40439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125" name="直接连接符 124">
            <a:extLst>
              <a:ext uri="{FF2B5EF4-FFF2-40B4-BE49-F238E27FC236}">
                <a16:creationId xmlns:a16="http://schemas.microsoft.com/office/drawing/2014/main" id="{ECF8C261-A37B-49E5-B9AE-A2E498F5A455}"/>
              </a:ext>
            </a:extLst>
          </p:cNvPr>
          <p:cNvCxnSpPr/>
          <p:nvPr userDrawn="1"/>
        </p:nvCxnSpPr>
        <p:spPr>
          <a:xfrm>
            <a:off x="9027577"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9602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目录2-1">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B8850783-F01C-4BB5-93FB-B7428E3120C0}"/>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r="-28665"/>
          <a:stretch/>
        </p:blipFill>
        <p:spPr>
          <a:xfrm>
            <a:off x="0" y="0"/>
            <a:ext cx="10287000" cy="6858000"/>
          </a:xfrm>
          <a:prstGeom prst="rect">
            <a:avLst/>
          </a:prstGeom>
        </p:spPr>
      </p:pic>
      <p:sp>
        <p:nvSpPr>
          <p:cNvPr id="3" name="矩形 2">
            <a:extLst>
              <a:ext uri="{FF2B5EF4-FFF2-40B4-BE49-F238E27FC236}">
                <a16:creationId xmlns:a16="http://schemas.microsoft.com/office/drawing/2014/main" id="{477E5AE2-2F16-4C77-B571-6C04E74C9CF0}"/>
              </a:ext>
            </a:extLst>
          </p:cNvPr>
          <p:cNvSpPr/>
          <p:nvPr userDrawn="1"/>
        </p:nvSpPr>
        <p:spPr>
          <a:xfrm>
            <a:off x="2395959" y="0"/>
            <a:ext cx="9796041"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矩形 3">
            <a:extLst>
              <a:ext uri="{FF2B5EF4-FFF2-40B4-BE49-F238E27FC236}">
                <a16:creationId xmlns:a16="http://schemas.microsoft.com/office/drawing/2014/main" id="{8475633C-A98C-4DA3-A7C3-1B03B24837E9}"/>
              </a:ext>
            </a:extLst>
          </p:cNvPr>
          <p:cNvSpPr/>
          <p:nvPr userDrawn="1"/>
        </p:nvSpPr>
        <p:spPr>
          <a:xfrm>
            <a:off x="3945817" y="6424560"/>
            <a:ext cx="8246182" cy="50613"/>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文本框 94">
            <a:extLst>
              <a:ext uri="{FF2B5EF4-FFF2-40B4-BE49-F238E27FC236}">
                <a16:creationId xmlns:a16="http://schemas.microsoft.com/office/drawing/2014/main" id="{B00C7880-1BE7-4199-93A4-337D5126405A}"/>
              </a:ext>
            </a:extLst>
          </p:cNvPr>
          <p:cNvSpPr txBox="1"/>
          <p:nvPr userDrawn="1"/>
        </p:nvSpPr>
        <p:spPr>
          <a:xfrm>
            <a:off x="5568738" y="1097451"/>
            <a:ext cx="4583313" cy="548469"/>
          </a:xfrm>
          <a:prstGeom prst="rect">
            <a:avLst/>
          </a:prstGeom>
          <a:noFill/>
        </p:spPr>
        <p:txBody>
          <a:bodyPr wrap="square" lIns="0" rIns="0" rtlCol="0" anchor="ctr">
            <a:noAutofit/>
          </a:bodyPr>
          <a:lstStyle/>
          <a:p>
            <a:pPr algn="dist"/>
            <a:r>
              <a:rPr lang="en-US" altLang="zh-CN" sz="4400" dirty="0">
                <a:ln>
                  <a:noFill/>
                </a:ln>
                <a:solidFill>
                  <a:schemeClr val="bg1">
                    <a:lumMod val="95000"/>
                  </a:schemeClr>
                </a:solidFill>
                <a:latin typeface="Impact" panose="020B0806030902050204" pitchFamily="34" charset="0"/>
              </a:rPr>
              <a:t>CONTENTS</a:t>
            </a:r>
          </a:p>
        </p:txBody>
      </p:sp>
      <p:sp>
        <p:nvSpPr>
          <p:cNvPr id="99" name="标题 1">
            <a:extLst>
              <a:ext uri="{FF2B5EF4-FFF2-40B4-BE49-F238E27FC236}">
                <a16:creationId xmlns:a16="http://schemas.microsoft.com/office/drawing/2014/main" id="{17D4067B-69D2-4AE7-BE53-6F8DD529DDE0}"/>
              </a:ext>
            </a:extLst>
          </p:cNvPr>
          <p:cNvSpPr>
            <a:spLocks noGrp="1"/>
          </p:cNvSpPr>
          <p:nvPr>
            <p:ph type="ctrTitle" hasCustomPrompt="1"/>
          </p:nvPr>
        </p:nvSpPr>
        <p:spPr>
          <a:xfrm>
            <a:off x="3992304" y="740780"/>
            <a:ext cx="1748739" cy="877847"/>
          </a:xfrm>
        </p:spPr>
        <p:txBody>
          <a:bodyPr lIns="0" tIns="0" rIns="0" bIns="0" anchor="ctr">
            <a:noAutofit/>
          </a:bodyPr>
          <a:lstStyle>
            <a:lvl1pPr marL="0" algn="dist" defTabSz="457200" rtl="0" eaLnBrk="1" latinLnBrk="0" hangingPunct="1">
              <a:lnSpc>
                <a:spcPct val="100000"/>
              </a:lnSpc>
              <a:defRPr lang="en-US" sz="6000" b="1" kern="1200" spc="600" dirty="0">
                <a:solidFill>
                  <a:schemeClr val="accent1"/>
                </a:solidFill>
                <a:latin typeface="+mn-lt"/>
                <a:ea typeface="+mn-ea"/>
                <a:cs typeface="+mn-cs"/>
              </a:defRPr>
            </a:lvl1pPr>
          </a:lstStyle>
          <a:p>
            <a:r>
              <a:rPr lang="zh-CN" altLang="en-US" dirty="0"/>
              <a:t>目录</a:t>
            </a:r>
            <a:endParaRPr lang="en-US" dirty="0"/>
          </a:p>
        </p:txBody>
      </p:sp>
      <p:cxnSp>
        <p:nvCxnSpPr>
          <p:cNvPr id="97" name="直接连接符 96">
            <a:extLst>
              <a:ext uri="{FF2B5EF4-FFF2-40B4-BE49-F238E27FC236}">
                <a16:creationId xmlns:a16="http://schemas.microsoft.com/office/drawing/2014/main" id="{2C528B14-A503-4B80-9934-D51E6BCBDD83}"/>
              </a:ext>
            </a:extLst>
          </p:cNvPr>
          <p:cNvCxnSpPr>
            <a:cxnSpLocks/>
          </p:cNvCxnSpPr>
          <p:nvPr userDrawn="1"/>
        </p:nvCxnSpPr>
        <p:spPr>
          <a:xfrm>
            <a:off x="3992304" y="1652733"/>
            <a:ext cx="1748739" cy="0"/>
          </a:xfrm>
          <a:prstGeom prst="line">
            <a:avLst/>
          </a:prstGeom>
          <a:ln w="28575">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98" name="直接连接符 97">
            <a:extLst>
              <a:ext uri="{FF2B5EF4-FFF2-40B4-BE49-F238E27FC236}">
                <a16:creationId xmlns:a16="http://schemas.microsoft.com/office/drawing/2014/main" id="{61882547-26F1-4535-B229-DDC79C5AF148}"/>
              </a:ext>
            </a:extLst>
          </p:cNvPr>
          <p:cNvCxnSpPr>
            <a:cxnSpLocks/>
          </p:cNvCxnSpPr>
          <p:nvPr userDrawn="1"/>
        </p:nvCxnSpPr>
        <p:spPr>
          <a:xfrm>
            <a:off x="3992304" y="1728933"/>
            <a:ext cx="1748739" cy="0"/>
          </a:xfrm>
          <a:prstGeom prst="line">
            <a:avLst/>
          </a:prstGeom>
          <a:ln w="6350">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157" name="组合 156">
            <a:extLst>
              <a:ext uri="{FF2B5EF4-FFF2-40B4-BE49-F238E27FC236}">
                <a16:creationId xmlns:a16="http://schemas.microsoft.com/office/drawing/2014/main" id="{D5CBC854-720D-4B0F-A042-31962634E431}"/>
              </a:ext>
            </a:extLst>
          </p:cNvPr>
          <p:cNvGrpSpPr/>
          <p:nvPr userDrawn="1"/>
        </p:nvGrpSpPr>
        <p:grpSpPr>
          <a:xfrm>
            <a:off x="10477913" y="446123"/>
            <a:ext cx="1234662" cy="419641"/>
            <a:chOff x="1398368" y="5051425"/>
            <a:chExt cx="3242941" cy="1102222"/>
          </a:xfrm>
        </p:grpSpPr>
        <p:sp>
          <p:nvSpPr>
            <p:cNvPr id="158" name="Freeform 5">
              <a:extLst>
                <a:ext uri="{FF2B5EF4-FFF2-40B4-BE49-F238E27FC236}">
                  <a16:creationId xmlns:a16="http://schemas.microsoft.com/office/drawing/2014/main" id="{EB0BE4A6-C34A-4C77-8638-DFBEBD227F76}"/>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
              <a:extLst>
                <a:ext uri="{FF2B5EF4-FFF2-40B4-BE49-F238E27FC236}">
                  <a16:creationId xmlns:a16="http://schemas.microsoft.com/office/drawing/2014/main" id="{EF5055BE-7AD3-466B-9D8C-29A831E48B7E}"/>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8">
              <a:extLst>
                <a:ext uri="{FF2B5EF4-FFF2-40B4-BE49-F238E27FC236}">
                  <a16:creationId xmlns:a16="http://schemas.microsoft.com/office/drawing/2014/main" id="{26B4B71E-81D6-44F0-B9AB-6F9FA14F8101}"/>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1" name="组合 160">
              <a:extLst>
                <a:ext uri="{FF2B5EF4-FFF2-40B4-BE49-F238E27FC236}">
                  <a16:creationId xmlns:a16="http://schemas.microsoft.com/office/drawing/2014/main" id="{BFF88E71-32E9-4032-B14D-63E9AB1DFC32}"/>
                </a:ext>
              </a:extLst>
            </p:cNvPr>
            <p:cNvGrpSpPr/>
            <p:nvPr/>
          </p:nvGrpSpPr>
          <p:grpSpPr>
            <a:xfrm>
              <a:off x="2921957" y="5168150"/>
              <a:ext cx="542765" cy="642593"/>
              <a:chOff x="3102298" y="5183391"/>
              <a:chExt cx="501880" cy="594188"/>
            </a:xfrm>
          </p:grpSpPr>
          <p:sp>
            <p:nvSpPr>
              <p:cNvPr id="202" name="Freeform 6">
                <a:extLst>
                  <a:ext uri="{FF2B5EF4-FFF2-40B4-BE49-F238E27FC236}">
                    <a16:creationId xmlns:a16="http://schemas.microsoft.com/office/drawing/2014/main" id="{5C5835F6-6A1A-4936-B4A8-AD91956CAA66}"/>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0">
                <a:extLst>
                  <a:ext uri="{FF2B5EF4-FFF2-40B4-BE49-F238E27FC236}">
                    <a16:creationId xmlns:a16="http://schemas.microsoft.com/office/drawing/2014/main" id="{655DAE01-CBF9-499F-9AFB-7500A55777A3}"/>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3">
                <a:extLst>
                  <a:ext uri="{FF2B5EF4-FFF2-40B4-BE49-F238E27FC236}">
                    <a16:creationId xmlns:a16="http://schemas.microsoft.com/office/drawing/2014/main" id="{0AC60BB9-27B9-412A-AACC-3689B1B64C07}"/>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2" name="组合 161">
              <a:extLst>
                <a:ext uri="{FF2B5EF4-FFF2-40B4-BE49-F238E27FC236}">
                  <a16:creationId xmlns:a16="http://schemas.microsoft.com/office/drawing/2014/main" id="{C9D3C137-E575-49CB-ACEC-B2F50D5E982A}"/>
                </a:ext>
              </a:extLst>
            </p:cNvPr>
            <p:cNvGrpSpPr/>
            <p:nvPr/>
          </p:nvGrpSpPr>
          <p:grpSpPr>
            <a:xfrm>
              <a:off x="4196892" y="5154476"/>
              <a:ext cx="444417" cy="649987"/>
              <a:chOff x="4257853" y="5169716"/>
              <a:chExt cx="410940" cy="601025"/>
            </a:xfrm>
          </p:grpSpPr>
          <p:sp>
            <p:nvSpPr>
              <p:cNvPr id="197" name="Freeform 9">
                <a:extLst>
                  <a:ext uri="{FF2B5EF4-FFF2-40B4-BE49-F238E27FC236}">
                    <a16:creationId xmlns:a16="http://schemas.microsoft.com/office/drawing/2014/main" id="{DD7DDE3B-DC1C-4183-9DF2-7AB0CE1FCC22}"/>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1">
                <a:extLst>
                  <a:ext uri="{FF2B5EF4-FFF2-40B4-BE49-F238E27FC236}">
                    <a16:creationId xmlns:a16="http://schemas.microsoft.com/office/drawing/2014/main" id="{F721A37D-325F-4734-BE1E-3BE4F2914EAA}"/>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2">
                <a:extLst>
                  <a:ext uri="{FF2B5EF4-FFF2-40B4-BE49-F238E27FC236}">
                    <a16:creationId xmlns:a16="http://schemas.microsoft.com/office/drawing/2014/main" id="{F5D4FC7A-CCB7-4EFF-B362-9E10DED49DB9}"/>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4">
                <a:extLst>
                  <a:ext uri="{FF2B5EF4-FFF2-40B4-BE49-F238E27FC236}">
                    <a16:creationId xmlns:a16="http://schemas.microsoft.com/office/drawing/2014/main" id="{C6C461C4-A272-469A-BE40-65F3ED1E8420}"/>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5">
                <a:extLst>
                  <a:ext uri="{FF2B5EF4-FFF2-40B4-BE49-F238E27FC236}">
                    <a16:creationId xmlns:a16="http://schemas.microsoft.com/office/drawing/2014/main" id="{E47DBC5F-384A-42E4-A95C-D884AA7F90C7}"/>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 name="Freeform 16">
              <a:extLst>
                <a:ext uri="{FF2B5EF4-FFF2-40B4-BE49-F238E27FC236}">
                  <a16:creationId xmlns:a16="http://schemas.microsoft.com/office/drawing/2014/main" id="{D21C5F48-D9DF-4D25-8520-B6377833791F}"/>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7">
              <a:extLst>
                <a:ext uri="{FF2B5EF4-FFF2-40B4-BE49-F238E27FC236}">
                  <a16:creationId xmlns:a16="http://schemas.microsoft.com/office/drawing/2014/main" id="{A9BFD480-B708-4A4F-8AB9-52C549BFFA42}"/>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18">
              <a:extLst>
                <a:ext uri="{FF2B5EF4-FFF2-40B4-BE49-F238E27FC236}">
                  <a16:creationId xmlns:a16="http://schemas.microsoft.com/office/drawing/2014/main" id="{1093A01C-5A0C-4A1B-9FA0-EBF1695D82B9}"/>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9">
              <a:extLst>
                <a:ext uri="{FF2B5EF4-FFF2-40B4-BE49-F238E27FC236}">
                  <a16:creationId xmlns:a16="http://schemas.microsoft.com/office/drawing/2014/main" id="{7F1ACC7D-28C1-4D34-A6B5-B36970B56D4B}"/>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0">
              <a:extLst>
                <a:ext uri="{FF2B5EF4-FFF2-40B4-BE49-F238E27FC236}">
                  <a16:creationId xmlns:a16="http://schemas.microsoft.com/office/drawing/2014/main" id="{E4F9A090-3458-4B63-A689-6D60D9A433AC}"/>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1">
              <a:extLst>
                <a:ext uri="{FF2B5EF4-FFF2-40B4-BE49-F238E27FC236}">
                  <a16:creationId xmlns:a16="http://schemas.microsoft.com/office/drawing/2014/main" id="{9F83C823-A380-4008-A48B-2D03038FE3F5}"/>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2">
              <a:extLst>
                <a:ext uri="{FF2B5EF4-FFF2-40B4-BE49-F238E27FC236}">
                  <a16:creationId xmlns:a16="http://schemas.microsoft.com/office/drawing/2014/main" id="{E9BD2A30-DCA6-41F7-9EFE-B9FFE518A2C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3">
              <a:extLst>
                <a:ext uri="{FF2B5EF4-FFF2-40B4-BE49-F238E27FC236}">
                  <a16:creationId xmlns:a16="http://schemas.microsoft.com/office/drawing/2014/main" id="{330FDF73-5626-496B-B4F6-6CB73180A7A4}"/>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4">
              <a:extLst>
                <a:ext uri="{FF2B5EF4-FFF2-40B4-BE49-F238E27FC236}">
                  <a16:creationId xmlns:a16="http://schemas.microsoft.com/office/drawing/2014/main" id="{33ED98B7-B5E8-4834-990B-57E67ADFB38A}"/>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5">
              <a:extLst>
                <a:ext uri="{FF2B5EF4-FFF2-40B4-BE49-F238E27FC236}">
                  <a16:creationId xmlns:a16="http://schemas.microsoft.com/office/drawing/2014/main" id="{3B649EA0-F140-46EB-B4F9-1833AA9C8F06}"/>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6">
              <a:extLst>
                <a:ext uri="{FF2B5EF4-FFF2-40B4-BE49-F238E27FC236}">
                  <a16:creationId xmlns:a16="http://schemas.microsoft.com/office/drawing/2014/main" id="{E4A7E72C-22A1-412D-9A41-C51E499200F4}"/>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7">
              <a:extLst>
                <a:ext uri="{FF2B5EF4-FFF2-40B4-BE49-F238E27FC236}">
                  <a16:creationId xmlns:a16="http://schemas.microsoft.com/office/drawing/2014/main" id="{39A4D933-39AE-4B1C-8A96-C4B855625530}"/>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8">
              <a:extLst>
                <a:ext uri="{FF2B5EF4-FFF2-40B4-BE49-F238E27FC236}">
                  <a16:creationId xmlns:a16="http://schemas.microsoft.com/office/drawing/2014/main" id="{74B9A56A-BCB1-4FBB-B341-22A9532DE1F8}"/>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9">
              <a:extLst>
                <a:ext uri="{FF2B5EF4-FFF2-40B4-BE49-F238E27FC236}">
                  <a16:creationId xmlns:a16="http://schemas.microsoft.com/office/drawing/2014/main" id="{4FDD4711-511E-4D8D-8E4E-0A95C0B044C1}"/>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0">
              <a:extLst>
                <a:ext uri="{FF2B5EF4-FFF2-40B4-BE49-F238E27FC236}">
                  <a16:creationId xmlns:a16="http://schemas.microsoft.com/office/drawing/2014/main" id="{9460F289-BE7F-4E10-ADED-9FC6B12744ED}"/>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1">
              <a:extLst>
                <a:ext uri="{FF2B5EF4-FFF2-40B4-BE49-F238E27FC236}">
                  <a16:creationId xmlns:a16="http://schemas.microsoft.com/office/drawing/2014/main" id="{D4987225-99D6-4B77-9E0B-6DFD4E8978CC}"/>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2">
              <a:extLst>
                <a:ext uri="{FF2B5EF4-FFF2-40B4-BE49-F238E27FC236}">
                  <a16:creationId xmlns:a16="http://schemas.microsoft.com/office/drawing/2014/main" id="{0F9A82D3-D7F1-40DC-9312-D91043BAEAF4}"/>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3">
              <a:extLst>
                <a:ext uri="{FF2B5EF4-FFF2-40B4-BE49-F238E27FC236}">
                  <a16:creationId xmlns:a16="http://schemas.microsoft.com/office/drawing/2014/main" id="{8CD93656-E33B-410A-A52E-5EB5E248A3F6}"/>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4">
              <a:extLst>
                <a:ext uri="{FF2B5EF4-FFF2-40B4-BE49-F238E27FC236}">
                  <a16:creationId xmlns:a16="http://schemas.microsoft.com/office/drawing/2014/main" id="{33B63704-7DCF-4407-8DA6-F8187DBA6533}"/>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5">
              <a:extLst>
                <a:ext uri="{FF2B5EF4-FFF2-40B4-BE49-F238E27FC236}">
                  <a16:creationId xmlns:a16="http://schemas.microsoft.com/office/drawing/2014/main" id="{66DE23EA-AA29-4FD0-B0BF-2905FB23CD73}"/>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6">
              <a:extLst>
                <a:ext uri="{FF2B5EF4-FFF2-40B4-BE49-F238E27FC236}">
                  <a16:creationId xmlns:a16="http://schemas.microsoft.com/office/drawing/2014/main" id="{478FD7A1-C2E0-4E27-973B-87DFC377291C}"/>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7">
              <a:extLst>
                <a:ext uri="{FF2B5EF4-FFF2-40B4-BE49-F238E27FC236}">
                  <a16:creationId xmlns:a16="http://schemas.microsoft.com/office/drawing/2014/main" id="{9E790A91-2B36-4F77-BB0A-3A04A6E80EA6}"/>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8">
              <a:extLst>
                <a:ext uri="{FF2B5EF4-FFF2-40B4-BE49-F238E27FC236}">
                  <a16:creationId xmlns:a16="http://schemas.microsoft.com/office/drawing/2014/main" id="{DEC72DFF-A033-4CC0-9451-E5FD56E01ECE}"/>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9">
              <a:extLst>
                <a:ext uri="{FF2B5EF4-FFF2-40B4-BE49-F238E27FC236}">
                  <a16:creationId xmlns:a16="http://schemas.microsoft.com/office/drawing/2014/main" id="{9D7B1A11-2B10-469B-9F0D-B01CEE8EF153}"/>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0">
              <a:extLst>
                <a:ext uri="{FF2B5EF4-FFF2-40B4-BE49-F238E27FC236}">
                  <a16:creationId xmlns:a16="http://schemas.microsoft.com/office/drawing/2014/main" id="{EE33D262-A828-4A35-B073-31E0D4122414}"/>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1">
              <a:extLst>
                <a:ext uri="{FF2B5EF4-FFF2-40B4-BE49-F238E27FC236}">
                  <a16:creationId xmlns:a16="http://schemas.microsoft.com/office/drawing/2014/main" id="{C3B4762E-4B3D-4D55-82AD-887F17D5404D}"/>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2">
              <a:extLst>
                <a:ext uri="{FF2B5EF4-FFF2-40B4-BE49-F238E27FC236}">
                  <a16:creationId xmlns:a16="http://schemas.microsoft.com/office/drawing/2014/main" id="{E087758D-061F-4B19-9A95-81178E947E47}"/>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3">
              <a:extLst>
                <a:ext uri="{FF2B5EF4-FFF2-40B4-BE49-F238E27FC236}">
                  <a16:creationId xmlns:a16="http://schemas.microsoft.com/office/drawing/2014/main" id="{F31B3208-6080-4E4B-BA27-B28B339E120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4">
              <a:extLst>
                <a:ext uri="{FF2B5EF4-FFF2-40B4-BE49-F238E27FC236}">
                  <a16:creationId xmlns:a16="http://schemas.microsoft.com/office/drawing/2014/main" id="{E35ED9D0-4540-4BF8-94B1-6610B75AACF8}"/>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5">
              <a:extLst>
                <a:ext uri="{FF2B5EF4-FFF2-40B4-BE49-F238E27FC236}">
                  <a16:creationId xmlns:a16="http://schemas.microsoft.com/office/drawing/2014/main" id="{D88CB339-8F83-4BAE-A69C-1541333047CF}"/>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6">
              <a:extLst>
                <a:ext uri="{FF2B5EF4-FFF2-40B4-BE49-F238E27FC236}">
                  <a16:creationId xmlns:a16="http://schemas.microsoft.com/office/drawing/2014/main" id="{99BEA8B9-28E0-4CC7-AEF1-8EA9818B3738}"/>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7">
              <a:extLst>
                <a:ext uri="{FF2B5EF4-FFF2-40B4-BE49-F238E27FC236}">
                  <a16:creationId xmlns:a16="http://schemas.microsoft.com/office/drawing/2014/main" id="{11D5B774-78AD-4050-93BC-64277A7802EE}"/>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8">
              <a:extLst>
                <a:ext uri="{FF2B5EF4-FFF2-40B4-BE49-F238E27FC236}">
                  <a16:creationId xmlns:a16="http://schemas.microsoft.com/office/drawing/2014/main" id="{A9A87FBE-EBCF-4F46-A268-83395C9BFC22}"/>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49">
              <a:extLst>
                <a:ext uri="{FF2B5EF4-FFF2-40B4-BE49-F238E27FC236}">
                  <a16:creationId xmlns:a16="http://schemas.microsoft.com/office/drawing/2014/main" id="{99BFA3DE-401C-49F8-9AB5-8B290EB6C4DC}"/>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矩形: 对角圆角 56">
            <a:extLst>
              <a:ext uri="{FF2B5EF4-FFF2-40B4-BE49-F238E27FC236}">
                <a16:creationId xmlns:a16="http://schemas.microsoft.com/office/drawing/2014/main" id="{58BF2A5D-5456-4907-99EF-2F06F6A13E27}"/>
              </a:ext>
            </a:extLst>
          </p:cNvPr>
          <p:cNvSpPr/>
          <p:nvPr userDrawn="1"/>
        </p:nvSpPr>
        <p:spPr>
          <a:xfrm>
            <a:off x="4026405"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58" name="文本占位符 6">
            <a:extLst>
              <a:ext uri="{FF2B5EF4-FFF2-40B4-BE49-F238E27FC236}">
                <a16:creationId xmlns:a16="http://schemas.microsoft.com/office/drawing/2014/main" id="{0981507F-6C7F-446E-BF0E-80243BF1E54D}"/>
              </a:ext>
            </a:extLst>
          </p:cNvPr>
          <p:cNvSpPr>
            <a:spLocks noGrp="1"/>
          </p:cNvSpPr>
          <p:nvPr>
            <p:ph type="body" sz="quarter" idx="10"/>
          </p:nvPr>
        </p:nvSpPr>
        <p:spPr>
          <a:xfrm>
            <a:off x="4829476"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59" name="文本占位符 6">
            <a:extLst>
              <a:ext uri="{FF2B5EF4-FFF2-40B4-BE49-F238E27FC236}">
                <a16:creationId xmlns:a16="http://schemas.microsoft.com/office/drawing/2014/main" id="{4CEF31D9-66B0-49E5-B25D-4F3A73237915}"/>
              </a:ext>
            </a:extLst>
          </p:cNvPr>
          <p:cNvSpPr>
            <a:spLocks noGrp="1"/>
          </p:cNvSpPr>
          <p:nvPr>
            <p:ph type="body" sz="quarter" idx="11"/>
          </p:nvPr>
        </p:nvSpPr>
        <p:spPr>
          <a:xfrm>
            <a:off x="4829476"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0" name="文本占位符 6">
            <a:extLst>
              <a:ext uri="{FF2B5EF4-FFF2-40B4-BE49-F238E27FC236}">
                <a16:creationId xmlns:a16="http://schemas.microsoft.com/office/drawing/2014/main" id="{A99F8321-9CC6-4ECC-B2F6-46544C75313D}"/>
              </a:ext>
            </a:extLst>
          </p:cNvPr>
          <p:cNvSpPr>
            <a:spLocks noGrp="1"/>
          </p:cNvSpPr>
          <p:nvPr>
            <p:ph type="body" sz="quarter" idx="12" hasCustomPrompt="1"/>
          </p:nvPr>
        </p:nvSpPr>
        <p:spPr>
          <a:xfrm>
            <a:off x="3992304" y="22730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1" name="直接连接符 60">
            <a:extLst>
              <a:ext uri="{FF2B5EF4-FFF2-40B4-BE49-F238E27FC236}">
                <a16:creationId xmlns:a16="http://schemas.microsoft.com/office/drawing/2014/main" id="{B78FE770-5E93-40B9-AD10-D2E155CF93E4}"/>
              </a:ext>
            </a:extLst>
          </p:cNvPr>
          <p:cNvCxnSpPr/>
          <p:nvPr userDrawn="1"/>
        </p:nvCxnSpPr>
        <p:spPr>
          <a:xfrm>
            <a:off x="4829476"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2" name="矩形: 对角圆角 61">
            <a:extLst>
              <a:ext uri="{FF2B5EF4-FFF2-40B4-BE49-F238E27FC236}">
                <a16:creationId xmlns:a16="http://schemas.microsoft.com/office/drawing/2014/main" id="{91149B00-A078-47BA-81F3-FA5E29129A3F}"/>
              </a:ext>
            </a:extLst>
          </p:cNvPr>
          <p:cNvSpPr/>
          <p:nvPr userDrawn="1"/>
        </p:nvSpPr>
        <p:spPr>
          <a:xfrm>
            <a:off x="4026405"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3" name="文本占位符 6">
            <a:extLst>
              <a:ext uri="{FF2B5EF4-FFF2-40B4-BE49-F238E27FC236}">
                <a16:creationId xmlns:a16="http://schemas.microsoft.com/office/drawing/2014/main" id="{2C49C8D8-9D9F-47B3-B7F8-0A47D11A7AD0}"/>
              </a:ext>
            </a:extLst>
          </p:cNvPr>
          <p:cNvSpPr>
            <a:spLocks noGrp="1"/>
          </p:cNvSpPr>
          <p:nvPr>
            <p:ph type="body" sz="quarter" idx="13"/>
          </p:nvPr>
        </p:nvSpPr>
        <p:spPr>
          <a:xfrm>
            <a:off x="4829476"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4" name="文本占位符 6">
            <a:extLst>
              <a:ext uri="{FF2B5EF4-FFF2-40B4-BE49-F238E27FC236}">
                <a16:creationId xmlns:a16="http://schemas.microsoft.com/office/drawing/2014/main" id="{4BE0BD41-74C9-4427-80AE-8227E5B96CA3}"/>
              </a:ext>
            </a:extLst>
          </p:cNvPr>
          <p:cNvSpPr>
            <a:spLocks noGrp="1"/>
          </p:cNvSpPr>
          <p:nvPr>
            <p:ph type="body" sz="quarter" idx="14"/>
          </p:nvPr>
        </p:nvSpPr>
        <p:spPr>
          <a:xfrm>
            <a:off x="4829476"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5" name="文本占位符 6">
            <a:extLst>
              <a:ext uri="{FF2B5EF4-FFF2-40B4-BE49-F238E27FC236}">
                <a16:creationId xmlns:a16="http://schemas.microsoft.com/office/drawing/2014/main" id="{CE0D1BB1-8167-4DB2-8BAC-B828B7FDB09F}"/>
              </a:ext>
            </a:extLst>
          </p:cNvPr>
          <p:cNvSpPr>
            <a:spLocks noGrp="1"/>
          </p:cNvSpPr>
          <p:nvPr>
            <p:ph type="body" sz="quarter" idx="15" hasCustomPrompt="1"/>
          </p:nvPr>
        </p:nvSpPr>
        <p:spPr>
          <a:xfrm>
            <a:off x="3954633" y="36157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66" name="直接连接符 65">
            <a:extLst>
              <a:ext uri="{FF2B5EF4-FFF2-40B4-BE49-F238E27FC236}">
                <a16:creationId xmlns:a16="http://schemas.microsoft.com/office/drawing/2014/main" id="{7457BD7A-8CA9-4A33-8D2B-AD60D466185E}"/>
              </a:ext>
            </a:extLst>
          </p:cNvPr>
          <p:cNvCxnSpPr/>
          <p:nvPr userDrawn="1"/>
        </p:nvCxnSpPr>
        <p:spPr>
          <a:xfrm>
            <a:off x="4829476"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7" name="矩形: 对角圆角 66">
            <a:extLst>
              <a:ext uri="{FF2B5EF4-FFF2-40B4-BE49-F238E27FC236}">
                <a16:creationId xmlns:a16="http://schemas.microsoft.com/office/drawing/2014/main" id="{365B4767-4F71-4B68-AA69-6BFEA81A6BEF}"/>
              </a:ext>
            </a:extLst>
          </p:cNvPr>
          <p:cNvSpPr/>
          <p:nvPr userDrawn="1"/>
        </p:nvSpPr>
        <p:spPr>
          <a:xfrm>
            <a:off x="4026405"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8" name="文本占位符 6">
            <a:extLst>
              <a:ext uri="{FF2B5EF4-FFF2-40B4-BE49-F238E27FC236}">
                <a16:creationId xmlns:a16="http://schemas.microsoft.com/office/drawing/2014/main" id="{0F6BDBFE-68DE-4FF2-87DF-EFC754A2728D}"/>
              </a:ext>
            </a:extLst>
          </p:cNvPr>
          <p:cNvSpPr>
            <a:spLocks noGrp="1"/>
          </p:cNvSpPr>
          <p:nvPr>
            <p:ph type="body" sz="quarter" idx="16"/>
          </p:nvPr>
        </p:nvSpPr>
        <p:spPr>
          <a:xfrm>
            <a:off x="4829476"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9" name="文本占位符 6">
            <a:extLst>
              <a:ext uri="{FF2B5EF4-FFF2-40B4-BE49-F238E27FC236}">
                <a16:creationId xmlns:a16="http://schemas.microsoft.com/office/drawing/2014/main" id="{05E46D11-0B9F-4243-B076-5B17D1045824}"/>
              </a:ext>
            </a:extLst>
          </p:cNvPr>
          <p:cNvSpPr>
            <a:spLocks noGrp="1"/>
          </p:cNvSpPr>
          <p:nvPr>
            <p:ph type="body" sz="quarter" idx="17"/>
          </p:nvPr>
        </p:nvSpPr>
        <p:spPr>
          <a:xfrm>
            <a:off x="4829476"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0" name="文本占位符 6">
            <a:extLst>
              <a:ext uri="{FF2B5EF4-FFF2-40B4-BE49-F238E27FC236}">
                <a16:creationId xmlns:a16="http://schemas.microsoft.com/office/drawing/2014/main" id="{D3DC59A3-96BF-437E-B2E1-EF70A29070C0}"/>
              </a:ext>
            </a:extLst>
          </p:cNvPr>
          <p:cNvSpPr>
            <a:spLocks noGrp="1"/>
          </p:cNvSpPr>
          <p:nvPr>
            <p:ph type="body" sz="quarter" idx="18" hasCustomPrompt="1"/>
          </p:nvPr>
        </p:nvSpPr>
        <p:spPr>
          <a:xfrm>
            <a:off x="3945817" y="49583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71" name="直接连接符 70">
            <a:extLst>
              <a:ext uri="{FF2B5EF4-FFF2-40B4-BE49-F238E27FC236}">
                <a16:creationId xmlns:a16="http://schemas.microsoft.com/office/drawing/2014/main" id="{9CDAA622-0584-4123-A29A-236B5CDC58C6}"/>
              </a:ext>
            </a:extLst>
          </p:cNvPr>
          <p:cNvCxnSpPr/>
          <p:nvPr userDrawn="1"/>
        </p:nvCxnSpPr>
        <p:spPr>
          <a:xfrm>
            <a:off x="4829476"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矩形: 对角圆角 71">
            <a:extLst>
              <a:ext uri="{FF2B5EF4-FFF2-40B4-BE49-F238E27FC236}">
                <a16:creationId xmlns:a16="http://schemas.microsoft.com/office/drawing/2014/main" id="{B2BB2056-58FD-4C56-944A-A2498C8BA482}"/>
              </a:ext>
            </a:extLst>
          </p:cNvPr>
          <p:cNvSpPr/>
          <p:nvPr userDrawn="1"/>
        </p:nvSpPr>
        <p:spPr>
          <a:xfrm>
            <a:off x="8224506"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3" name="文本占位符 6">
            <a:extLst>
              <a:ext uri="{FF2B5EF4-FFF2-40B4-BE49-F238E27FC236}">
                <a16:creationId xmlns:a16="http://schemas.microsoft.com/office/drawing/2014/main" id="{62A42ADE-A41A-472E-BFD7-12D2143F85CE}"/>
              </a:ext>
            </a:extLst>
          </p:cNvPr>
          <p:cNvSpPr>
            <a:spLocks noGrp="1"/>
          </p:cNvSpPr>
          <p:nvPr>
            <p:ph type="body" sz="quarter" idx="19"/>
          </p:nvPr>
        </p:nvSpPr>
        <p:spPr>
          <a:xfrm>
            <a:off x="9027577"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4" name="文本占位符 6">
            <a:extLst>
              <a:ext uri="{FF2B5EF4-FFF2-40B4-BE49-F238E27FC236}">
                <a16:creationId xmlns:a16="http://schemas.microsoft.com/office/drawing/2014/main" id="{32B54B0B-B748-4661-9FFB-32FEEA8FDEB6}"/>
              </a:ext>
            </a:extLst>
          </p:cNvPr>
          <p:cNvSpPr>
            <a:spLocks noGrp="1"/>
          </p:cNvSpPr>
          <p:nvPr>
            <p:ph type="body" sz="quarter" idx="20"/>
          </p:nvPr>
        </p:nvSpPr>
        <p:spPr>
          <a:xfrm>
            <a:off x="9027577"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5" name="文本占位符 6">
            <a:extLst>
              <a:ext uri="{FF2B5EF4-FFF2-40B4-BE49-F238E27FC236}">
                <a16:creationId xmlns:a16="http://schemas.microsoft.com/office/drawing/2014/main" id="{4E817E85-B3FF-4B7D-BDE3-CB58EE4607D2}"/>
              </a:ext>
            </a:extLst>
          </p:cNvPr>
          <p:cNvSpPr>
            <a:spLocks noGrp="1"/>
          </p:cNvSpPr>
          <p:nvPr>
            <p:ph type="body" sz="quarter" idx="21" hasCustomPrompt="1"/>
          </p:nvPr>
        </p:nvSpPr>
        <p:spPr>
          <a:xfrm>
            <a:off x="8153536"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76" name="直接连接符 75">
            <a:extLst>
              <a:ext uri="{FF2B5EF4-FFF2-40B4-BE49-F238E27FC236}">
                <a16:creationId xmlns:a16="http://schemas.microsoft.com/office/drawing/2014/main" id="{9AF45128-2E83-482D-82FB-E6757A4856F9}"/>
              </a:ext>
            </a:extLst>
          </p:cNvPr>
          <p:cNvCxnSpPr/>
          <p:nvPr userDrawn="1"/>
        </p:nvCxnSpPr>
        <p:spPr>
          <a:xfrm>
            <a:off x="9027577"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7" name="矩形: 对角圆角 76">
            <a:extLst>
              <a:ext uri="{FF2B5EF4-FFF2-40B4-BE49-F238E27FC236}">
                <a16:creationId xmlns:a16="http://schemas.microsoft.com/office/drawing/2014/main" id="{925295E8-EADC-492C-AEA1-5CC17348C759}"/>
              </a:ext>
            </a:extLst>
          </p:cNvPr>
          <p:cNvSpPr/>
          <p:nvPr userDrawn="1"/>
        </p:nvSpPr>
        <p:spPr>
          <a:xfrm>
            <a:off x="8224506"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8" name="文本占位符 6">
            <a:extLst>
              <a:ext uri="{FF2B5EF4-FFF2-40B4-BE49-F238E27FC236}">
                <a16:creationId xmlns:a16="http://schemas.microsoft.com/office/drawing/2014/main" id="{66A2D640-588C-487C-9DDE-1D36E1AD2704}"/>
              </a:ext>
            </a:extLst>
          </p:cNvPr>
          <p:cNvSpPr>
            <a:spLocks noGrp="1"/>
          </p:cNvSpPr>
          <p:nvPr>
            <p:ph type="body" sz="quarter" idx="22"/>
          </p:nvPr>
        </p:nvSpPr>
        <p:spPr>
          <a:xfrm>
            <a:off x="9027577"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9" name="文本占位符 6">
            <a:extLst>
              <a:ext uri="{FF2B5EF4-FFF2-40B4-BE49-F238E27FC236}">
                <a16:creationId xmlns:a16="http://schemas.microsoft.com/office/drawing/2014/main" id="{CB252D05-1101-4180-A1E2-CDBE3A900B68}"/>
              </a:ext>
            </a:extLst>
          </p:cNvPr>
          <p:cNvSpPr>
            <a:spLocks noGrp="1"/>
          </p:cNvSpPr>
          <p:nvPr>
            <p:ph type="body" sz="quarter" idx="23"/>
          </p:nvPr>
        </p:nvSpPr>
        <p:spPr>
          <a:xfrm>
            <a:off x="9027577"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0" name="文本占位符 6">
            <a:extLst>
              <a:ext uri="{FF2B5EF4-FFF2-40B4-BE49-F238E27FC236}">
                <a16:creationId xmlns:a16="http://schemas.microsoft.com/office/drawing/2014/main" id="{2E0FF1FC-E735-4A45-8089-369C9C990802}"/>
              </a:ext>
            </a:extLst>
          </p:cNvPr>
          <p:cNvSpPr>
            <a:spLocks noGrp="1"/>
          </p:cNvSpPr>
          <p:nvPr>
            <p:ph type="body" sz="quarter" idx="24" hasCustomPrompt="1"/>
          </p:nvPr>
        </p:nvSpPr>
        <p:spPr>
          <a:xfrm>
            <a:off x="8142315" y="36157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81" name="直接连接符 80">
            <a:extLst>
              <a:ext uri="{FF2B5EF4-FFF2-40B4-BE49-F238E27FC236}">
                <a16:creationId xmlns:a16="http://schemas.microsoft.com/office/drawing/2014/main" id="{B86FC4F8-FB16-4701-95AF-BEFF5C57F79C}"/>
              </a:ext>
            </a:extLst>
          </p:cNvPr>
          <p:cNvCxnSpPr/>
          <p:nvPr userDrawn="1"/>
        </p:nvCxnSpPr>
        <p:spPr>
          <a:xfrm>
            <a:off x="9027577"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2" name="矩形: 对角圆角 81">
            <a:extLst>
              <a:ext uri="{FF2B5EF4-FFF2-40B4-BE49-F238E27FC236}">
                <a16:creationId xmlns:a16="http://schemas.microsoft.com/office/drawing/2014/main" id="{D651E5AE-54DF-430E-A2E4-01A2081F3A04}"/>
              </a:ext>
            </a:extLst>
          </p:cNvPr>
          <p:cNvSpPr/>
          <p:nvPr userDrawn="1"/>
        </p:nvSpPr>
        <p:spPr>
          <a:xfrm>
            <a:off x="8224506"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3" name="文本占位符 6">
            <a:extLst>
              <a:ext uri="{FF2B5EF4-FFF2-40B4-BE49-F238E27FC236}">
                <a16:creationId xmlns:a16="http://schemas.microsoft.com/office/drawing/2014/main" id="{D086C426-F2E0-4CA6-BC1E-55306B13876A}"/>
              </a:ext>
            </a:extLst>
          </p:cNvPr>
          <p:cNvSpPr>
            <a:spLocks noGrp="1"/>
          </p:cNvSpPr>
          <p:nvPr>
            <p:ph type="body" sz="quarter" idx="25"/>
          </p:nvPr>
        </p:nvSpPr>
        <p:spPr>
          <a:xfrm>
            <a:off x="9027577"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4" name="文本占位符 6">
            <a:extLst>
              <a:ext uri="{FF2B5EF4-FFF2-40B4-BE49-F238E27FC236}">
                <a16:creationId xmlns:a16="http://schemas.microsoft.com/office/drawing/2014/main" id="{E99FC829-F958-492E-97B8-AE34F471E383}"/>
              </a:ext>
            </a:extLst>
          </p:cNvPr>
          <p:cNvSpPr>
            <a:spLocks noGrp="1"/>
          </p:cNvSpPr>
          <p:nvPr>
            <p:ph type="body" sz="quarter" idx="26"/>
          </p:nvPr>
        </p:nvSpPr>
        <p:spPr>
          <a:xfrm>
            <a:off x="9027577"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5" name="文本占位符 6">
            <a:extLst>
              <a:ext uri="{FF2B5EF4-FFF2-40B4-BE49-F238E27FC236}">
                <a16:creationId xmlns:a16="http://schemas.microsoft.com/office/drawing/2014/main" id="{4DC0945A-3691-4B14-89A3-61A43F304272}"/>
              </a:ext>
            </a:extLst>
          </p:cNvPr>
          <p:cNvSpPr>
            <a:spLocks noGrp="1"/>
          </p:cNvSpPr>
          <p:nvPr>
            <p:ph type="body" sz="quarter" idx="27" hasCustomPrompt="1"/>
          </p:nvPr>
        </p:nvSpPr>
        <p:spPr>
          <a:xfrm>
            <a:off x="8140712" y="49583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86" name="直接连接符 85">
            <a:extLst>
              <a:ext uri="{FF2B5EF4-FFF2-40B4-BE49-F238E27FC236}">
                <a16:creationId xmlns:a16="http://schemas.microsoft.com/office/drawing/2014/main" id="{BB8293C0-099E-475E-8E1C-DC4C1B7E44E7}"/>
              </a:ext>
            </a:extLst>
          </p:cNvPr>
          <p:cNvCxnSpPr/>
          <p:nvPr userDrawn="1"/>
        </p:nvCxnSpPr>
        <p:spPr>
          <a:xfrm>
            <a:off x="9027577"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6291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9EA6E698-19E7-4662-97BB-23FA2B73C099}"/>
              </a:ext>
            </a:extLst>
          </p:cNvPr>
          <p:cNvSpPr/>
          <p:nvPr userDrawn="1"/>
        </p:nvSpPr>
        <p:spPr>
          <a:xfrm>
            <a:off x="0" y="0"/>
            <a:ext cx="12192000" cy="6858000"/>
          </a:xfrm>
          <a:prstGeom prst="rect">
            <a:avLst/>
          </a:prstGeom>
          <a:pattFill prst="ltUpDiag">
            <a:fgClr>
              <a:schemeClr val="bg1">
                <a:lumMod val="9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文本占位符 2">
            <a:extLst>
              <a:ext uri="{FF2B5EF4-FFF2-40B4-BE49-F238E27FC236}">
                <a16:creationId xmlns:a16="http://schemas.microsoft.com/office/drawing/2014/main" id="{7C6C99B6-D2B3-48ED-AC0D-7EED11751830}"/>
              </a:ext>
            </a:extLst>
          </p:cNvPr>
          <p:cNvSpPr>
            <a:spLocks noGrp="1"/>
          </p:cNvSpPr>
          <p:nvPr>
            <p:ph type="body" idx="1"/>
          </p:nvPr>
        </p:nvSpPr>
        <p:spPr>
          <a:xfrm>
            <a:off x="518809" y="1196975"/>
            <a:ext cx="11185511" cy="4921723"/>
          </a:xfrm>
          <a:prstGeom prst="rect">
            <a:avLst/>
          </a:prstGeom>
        </p:spPr>
        <p:txBody>
          <a:bodyPr vert="horz" lIns="91440" tIns="45720" rIns="91440" bIns="45720" rtlCol="0">
            <a:no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2" name="标题占位符 1">
            <a:extLst>
              <a:ext uri="{FF2B5EF4-FFF2-40B4-BE49-F238E27FC236}">
                <a16:creationId xmlns:a16="http://schemas.microsoft.com/office/drawing/2014/main" id="{DB6365A1-5323-4635-8875-19543A2BD2A8}"/>
              </a:ext>
            </a:extLst>
          </p:cNvPr>
          <p:cNvSpPr>
            <a:spLocks noGrp="1"/>
          </p:cNvSpPr>
          <p:nvPr>
            <p:ph type="title"/>
          </p:nvPr>
        </p:nvSpPr>
        <p:spPr>
          <a:xfrm>
            <a:off x="518809" y="365126"/>
            <a:ext cx="11185511" cy="578454"/>
          </a:xfrm>
          <a:prstGeom prst="rect">
            <a:avLst/>
          </a:prstGeom>
        </p:spPr>
        <p:txBody>
          <a:bodyPr vert="horz" lIns="0" tIns="0" rIns="0" bIns="0" rtlCol="0" anchor="ctr">
            <a:noAutofit/>
          </a:bodyPr>
          <a:lstStyle/>
          <a:p>
            <a:r>
              <a:rPr lang="zh-CN" altLang="en-US" dirty="0"/>
              <a:t>单击此处编辑母版标题样式</a:t>
            </a:r>
            <a:endParaRPr lang="en-US" dirty="0"/>
          </a:p>
        </p:txBody>
      </p:sp>
      <p:sp>
        <p:nvSpPr>
          <p:cNvPr id="4" name="日期占位符 3">
            <a:extLst>
              <a:ext uri="{FF2B5EF4-FFF2-40B4-BE49-F238E27FC236}">
                <a16:creationId xmlns:a16="http://schemas.microsoft.com/office/drawing/2014/main" id="{0E7AD38D-3CC4-4015-8BCF-24E1D95F8693}"/>
              </a:ext>
            </a:extLst>
          </p:cNvPr>
          <p:cNvSpPr>
            <a:spLocks noGrp="1"/>
          </p:cNvSpPr>
          <p:nvPr>
            <p:ph type="dt" sz="half" idx="2"/>
          </p:nvPr>
        </p:nvSpPr>
        <p:spPr>
          <a:xfrm>
            <a:off x="518809"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Arial"/>
              <a:ea typeface="微软雅黑"/>
              <a:cs typeface="+mn-cs"/>
            </a:endParaRPr>
          </a:p>
        </p:txBody>
      </p:sp>
      <p:sp>
        <p:nvSpPr>
          <p:cNvPr id="6" name="灯片编号占位符 5">
            <a:extLst>
              <a:ext uri="{FF2B5EF4-FFF2-40B4-BE49-F238E27FC236}">
                <a16:creationId xmlns:a16="http://schemas.microsoft.com/office/drawing/2014/main" id="{47947CC3-0340-41AD-A642-DBEC7E6B3363}"/>
              </a:ext>
            </a:extLst>
          </p:cNvPr>
          <p:cNvSpPr>
            <a:spLocks noGrp="1"/>
          </p:cNvSpPr>
          <p:nvPr>
            <p:ph type="sldNum" sz="quarter" idx="4"/>
          </p:nvPr>
        </p:nvSpPr>
        <p:spPr>
          <a:xfrm>
            <a:off x="5913768" y="6356350"/>
            <a:ext cx="39559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sp>
        <p:nvSpPr>
          <p:cNvPr id="5" name="页脚占位符 4">
            <a:extLst>
              <a:ext uri="{FF2B5EF4-FFF2-40B4-BE49-F238E27FC236}">
                <a16:creationId xmlns:a16="http://schemas.microsoft.com/office/drawing/2014/main" id="{E028C8CB-3B79-4E86-B07A-382671EF6D49}"/>
              </a:ext>
            </a:extLst>
          </p:cNvPr>
          <p:cNvSpPr>
            <a:spLocks noGrp="1"/>
          </p:cNvSpPr>
          <p:nvPr>
            <p:ph type="ftr" sz="quarter" idx="3"/>
          </p:nvPr>
        </p:nvSpPr>
        <p:spPr>
          <a:xfrm>
            <a:off x="8961120" y="6356350"/>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Arial"/>
              <a:ea typeface="微软雅黑"/>
              <a:cs typeface="+mn-cs"/>
            </a:endParaRPr>
          </a:p>
        </p:txBody>
      </p:sp>
    </p:spTree>
    <p:extLst>
      <p:ext uri="{BB962C8B-B14F-4D97-AF65-F5344CB8AC3E}">
        <p14:creationId xmlns:p14="http://schemas.microsoft.com/office/powerpoint/2010/main" val="105989019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697" r:id="rId3"/>
    <p:sldLayoutId id="2147483704" r:id="rId4"/>
    <p:sldLayoutId id="2147483705" r:id="rId5"/>
    <p:sldLayoutId id="2147483706" r:id="rId6"/>
    <p:sldLayoutId id="2147483710" r:id="rId7"/>
    <p:sldLayoutId id="2147483711" r:id="rId8"/>
    <p:sldLayoutId id="2147483702"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2" r:id="rId19"/>
    <p:sldLayoutId id="2147483721" r:id="rId20"/>
    <p:sldLayoutId id="2147483723" r:id="rId21"/>
    <p:sldLayoutId id="2147483703" r:id="rId22"/>
    <p:sldLayoutId id="2147483728" r:id="rId23"/>
    <p:sldLayoutId id="2147483729" r:id="rId24"/>
    <p:sldLayoutId id="2147483747" r:id="rId25"/>
    <p:sldLayoutId id="2147483730" r:id="rId26"/>
    <p:sldLayoutId id="2147483731" r:id="rId27"/>
    <p:sldLayoutId id="2147483732" r:id="rId28"/>
    <p:sldLayoutId id="2147483748"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01" r:id="rId44"/>
    <p:sldLayoutId id="2147483749" r:id="rId45"/>
  </p:sldLayoutIdLst>
  <p:hf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2" pos="325" userDrawn="1">
          <p15:clr>
            <a:srgbClr val="F26B43"/>
          </p15:clr>
        </p15:guide>
        <p15:guide id="3" pos="7378" userDrawn="1">
          <p15:clr>
            <a:srgbClr val="F26B43"/>
          </p15:clr>
        </p15:guide>
        <p15:guide id="4" orient="horz" pos="595" userDrawn="1">
          <p15:clr>
            <a:srgbClr val="F26B43"/>
          </p15:clr>
        </p15:guide>
        <p15:guide id="5" orient="horz" pos="754" userDrawn="1">
          <p15:clr>
            <a:srgbClr val="F26B43"/>
          </p15:clr>
        </p15:guide>
        <p15:guide id="6" orient="horz" pos="386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slideLayout" Target="../slideLayouts/slideLayout28.xml"/><Relationship Id="rId1" Type="http://schemas.openxmlformats.org/officeDocument/2006/relationships/tags" Target="../tags/tag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5.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slideLayout" Target="../slideLayouts/slideLayout30.xml"/><Relationship Id="rId1" Type="http://schemas.openxmlformats.org/officeDocument/2006/relationships/tags" Target="../tags/tag14.xml"/><Relationship Id="rId4" Type="http://schemas.openxmlformats.org/officeDocument/2006/relationships/image" Target="../media/image53.jp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15.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slideLayout" Target="../slideLayouts/slideLayout32.xml"/><Relationship Id="rId1" Type="http://schemas.openxmlformats.org/officeDocument/2006/relationships/tags" Target="../tags/tag16.xml"/></Relationships>
</file>

<file path=ppt/slides/_rels/slide41.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slideLayout" Target="../slideLayouts/slideLayout33.xml"/><Relationship Id="rId1" Type="http://schemas.openxmlformats.org/officeDocument/2006/relationships/tags" Target="../tags/tag17.xml"/><Relationship Id="rId6" Type="http://schemas.openxmlformats.org/officeDocument/2006/relationships/image" Target="../media/image58.jpg"/><Relationship Id="rId5" Type="http://schemas.openxmlformats.org/officeDocument/2006/relationships/image" Target="../media/image57.jpg"/><Relationship Id="rId4" Type="http://schemas.openxmlformats.org/officeDocument/2006/relationships/image" Target="../media/image56.jp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3" Type="http://schemas.openxmlformats.org/officeDocument/2006/relationships/image" Target="../media/image61.jpg"/><Relationship Id="rId7" Type="http://schemas.openxmlformats.org/officeDocument/2006/relationships/image" Target="../media/image65.jpg"/><Relationship Id="rId2" Type="http://schemas.openxmlformats.org/officeDocument/2006/relationships/image" Target="../media/image60.jpg"/><Relationship Id="rId1" Type="http://schemas.openxmlformats.org/officeDocument/2006/relationships/slideLayout" Target="../slideLayouts/slideLayout35.xml"/><Relationship Id="rId6" Type="http://schemas.openxmlformats.org/officeDocument/2006/relationships/image" Target="../media/image64.jpg"/><Relationship Id="rId5" Type="http://schemas.openxmlformats.org/officeDocument/2006/relationships/image" Target="../media/image63.jpg"/><Relationship Id="rId4" Type="http://schemas.openxmlformats.org/officeDocument/2006/relationships/image" Target="../media/image62.jpg"/></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3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slideLayout" Target="../slideLayouts/slideLayout40.xml"/><Relationship Id="rId1" Type="http://schemas.openxmlformats.org/officeDocument/2006/relationships/tags" Target="../tags/tag18.xml"/></Relationships>
</file>

<file path=ppt/slides/_rels/slide55.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slideLayout" Target="../slideLayouts/slideLayout41.xml"/><Relationship Id="rId1" Type="http://schemas.openxmlformats.org/officeDocument/2006/relationships/tags" Target="../tags/tag1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74.jpg"/><Relationship Id="rId4" Type="http://schemas.openxmlformats.org/officeDocument/2006/relationships/image" Target="../media/image73.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20.xml"/></Relationships>
</file>

<file path=ppt/slides/_rels/slide67.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44.xml"/></Relationships>
</file>

<file path=ppt/slides/_rels/slide68.xml.rels><?xml version="1.0" encoding="UTF-8" standalone="yes"?>
<Relationships xmlns="http://schemas.openxmlformats.org/package/2006/relationships"><Relationship Id="rId2" Type="http://schemas.openxmlformats.org/officeDocument/2006/relationships/image" Target="../media/image77.gif"/><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2" Type="http://schemas.openxmlformats.org/officeDocument/2006/relationships/image" Target="../media/image78.gif"/><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79.gif"/><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2" Type="http://schemas.openxmlformats.org/officeDocument/2006/relationships/image" Target="../media/image80.gif"/><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2.xml"/><Relationship Id="rId4" Type="http://schemas.openxmlformats.org/officeDocument/2006/relationships/image" Target="../media/image83.png"/></Relationships>
</file>

<file path=ppt/slides/_rels/slide73.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4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22.xml"/><Relationship Id="rId5" Type="http://schemas.openxmlformats.org/officeDocument/2006/relationships/image" Target="../media/image87.jpeg"/><Relationship Id="rId4" Type="http://schemas.openxmlformats.org/officeDocument/2006/relationships/image" Target="../media/image86.jpeg"/></Relationships>
</file>

<file path=ppt/slides/_rels/slide79.xml.rels><?xml version="1.0" encoding="UTF-8" standalone="yes"?>
<Relationships xmlns="http://schemas.openxmlformats.org/package/2006/relationships"><Relationship Id="rId8" Type="http://schemas.openxmlformats.org/officeDocument/2006/relationships/image" Target="../media/image94.jpeg"/><Relationship Id="rId13" Type="http://schemas.openxmlformats.org/officeDocument/2006/relationships/image" Target="../media/image99.jpeg"/><Relationship Id="rId18" Type="http://schemas.openxmlformats.org/officeDocument/2006/relationships/image" Target="../media/image104.jpeg"/><Relationship Id="rId3" Type="http://schemas.openxmlformats.org/officeDocument/2006/relationships/image" Target="../media/image89.jpeg"/><Relationship Id="rId21" Type="http://schemas.openxmlformats.org/officeDocument/2006/relationships/image" Target="../media/image107.jpeg"/><Relationship Id="rId7" Type="http://schemas.openxmlformats.org/officeDocument/2006/relationships/image" Target="../media/image93.jpeg"/><Relationship Id="rId12" Type="http://schemas.openxmlformats.org/officeDocument/2006/relationships/image" Target="../media/image98.jpeg"/><Relationship Id="rId17" Type="http://schemas.openxmlformats.org/officeDocument/2006/relationships/image" Target="../media/image103.jpeg"/><Relationship Id="rId25" Type="http://schemas.openxmlformats.org/officeDocument/2006/relationships/image" Target="../media/image111.jpeg"/><Relationship Id="rId2" Type="http://schemas.openxmlformats.org/officeDocument/2006/relationships/image" Target="../media/image88.jpeg"/><Relationship Id="rId16" Type="http://schemas.openxmlformats.org/officeDocument/2006/relationships/image" Target="../media/image102.jpeg"/><Relationship Id="rId20" Type="http://schemas.openxmlformats.org/officeDocument/2006/relationships/image" Target="../media/image106.jpeg"/><Relationship Id="rId1" Type="http://schemas.openxmlformats.org/officeDocument/2006/relationships/slideLayout" Target="../slideLayouts/slideLayout22.xml"/><Relationship Id="rId6" Type="http://schemas.openxmlformats.org/officeDocument/2006/relationships/image" Target="../media/image92.jpeg"/><Relationship Id="rId11" Type="http://schemas.openxmlformats.org/officeDocument/2006/relationships/image" Target="../media/image97.jpeg"/><Relationship Id="rId24" Type="http://schemas.openxmlformats.org/officeDocument/2006/relationships/image" Target="../media/image110.jpeg"/><Relationship Id="rId5" Type="http://schemas.openxmlformats.org/officeDocument/2006/relationships/image" Target="../media/image91.jpeg"/><Relationship Id="rId15" Type="http://schemas.openxmlformats.org/officeDocument/2006/relationships/image" Target="../media/image101.jpeg"/><Relationship Id="rId23" Type="http://schemas.openxmlformats.org/officeDocument/2006/relationships/image" Target="../media/image109.jpeg"/><Relationship Id="rId10" Type="http://schemas.openxmlformats.org/officeDocument/2006/relationships/image" Target="../media/image96.jpeg"/><Relationship Id="rId19" Type="http://schemas.openxmlformats.org/officeDocument/2006/relationships/image" Target="../media/image105.jpeg"/><Relationship Id="rId4" Type="http://schemas.openxmlformats.org/officeDocument/2006/relationships/image" Target="../media/image90.jpeg"/><Relationship Id="rId9" Type="http://schemas.openxmlformats.org/officeDocument/2006/relationships/image" Target="../media/image95.jpeg"/><Relationship Id="rId14" Type="http://schemas.openxmlformats.org/officeDocument/2006/relationships/image" Target="../media/image100.jpeg"/><Relationship Id="rId22" Type="http://schemas.openxmlformats.org/officeDocument/2006/relationships/image" Target="../media/image108.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4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2.pn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1.png"/><Relationship Id="rId2" Type="http://schemas.openxmlformats.org/officeDocument/2006/relationships/image" Target="../media/image112.png"/><Relationship Id="rId1" Type="http://schemas.openxmlformats.org/officeDocument/2006/relationships/slideLayout" Target="../slideLayouts/slideLayout22.xml"/><Relationship Id="rId6" Type="http://schemas.openxmlformats.org/officeDocument/2006/relationships/image" Target="../media/image116.png"/><Relationship Id="rId11" Type="http://schemas.openxmlformats.org/officeDocument/2006/relationships/image" Target="../media/image36.png"/><Relationship Id="rId5" Type="http://schemas.openxmlformats.org/officeDocument/2006/relationships/image" Target="../media/image115.png"/><Relationship Id="rId15" Type="http://schemas.openxmlformats.org/officeDocument/2006/relationships/image" Target="../media/image124.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3.png"/></Relationships>
</file>

<file path=ppt/slides/_rels/slide8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2.xml"/><Relationship Id="rId5" Type="http://schemas.openxmlformats.org/officeDocument/2006/relationships/image" Target="../media/image128.png"/><Relationship Id="rId4" Type="http://schemas.openxmlformats.org/officeDocument/2006/relationships/image" Target="../media/image127.png"/></Relationships>
</file>

<file path=ppt/slides/_rels/slide86.xml.rels><?xml version="1.0" encoding="UTF-8" standalone="yes"?>
<Relationships xmlns="http://schemas.openxmlformats.org/package/2006/relationships"><Relationship Id="rId8" Type="http://schemas.openxmlformats.org/officeDocument/2006/relationships/hyperlink" Target="https://www.pexels.com/zh-cn/" TargetMode="External"/><Relationship Id="rId3" Type="http://schemas.openxmlformats.org/officeDocument/2006/relationships/image" Target="../media/image130.jpeg"/><Relationship Id="rId7" Type="http://schemas.openxmlformats.org/officeDocument/2006/relationships/hyperlink" Target="http://699pic.com/" TargetMode="External"/><Relationship Id="rId2" Type="http://schemas.openxmlformats.org/officeDocument/2006/relationships/image" Target="../media/image129.png"/><Relationship Id="rId1" Type="http://schemas.openxmlformats.org/officeDocument/2006/relationships/slideLayout" Target="../slideLayouts/slideLayout22.xml"/><Relationship Id="rId6" Type="http://schemas.openxmlformats.org/officeDocument/2006/relationships/image" Target="../media/image133.svg"/><Relationship Id="rId5" Type="http://schemas.openxmlformats.org/officeDocument/2006/relationships/image" Target="../media/image132.png"/><Relationship Id="rId4" Type="http://schemas.openxmlformats.org/officeDocument/2006/relationships/image" Target="../media/image131.png"/></Relationships>
</file>

<file path=ppt/slides/_rels/slide87.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image" Target="../media/image134.png"/><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slideLayout" Target="../slideLayouts/slideLayout22.xml"/><Relationship Id="rId5" Type="http://schemas.openxmlformats.org/officeDocument/2006/relationships/image" Target="../media/image139.jpeg"/><Relationship Id="rId4" Type="http://schemas.openxmlformats.org/officeDocument/2006/relationships/image" Target="../media/image138.jpeg"/></Relationships>
</file>

<file path=ppt/slides/_rels/slide89.xml.rels><?xml version="1.0" encoding="UTF-8" standalone="yes"?>
<Relationships xmlns="http://schemas.openxmlformats.org/package/2006/relationships"><Relationship Id="rId2" Type="http://schemas.openxmlformats.org/officeDocument/2006/relationships/image" Target="../media/image140.jpeg"/><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44.xml"/></Relationships>
</file>

<file path=ppt/slides/_rels/slide9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92.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4ED309B3-5184-4B4B-B2A1-446B217C78DA}"/>
              </a:ext>
            </a:extLst>
          </p:cNvPr>
          <p:cNvSpPr txBox="1"/>
          <p:nvPr/>
        </p:nvSpPr>
        <p:spPr>
          <a:xfrm>
            <a:off x="2062480" y="5743642"/>
            <a:ext cx="3291840"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prstClr val="black">
                    <a:lumMod val="75000"/>
                    <a:lumOff val="25000"/>
                  </a:prstClr>
                </a:solidFill>
                <a:effectLst/>
                <a:uLnTx/>
                <a:uFillTx/>
                <a:latin typeface="黑体" panose="02010609060101010101" pitchFamily="49" charset="-122"/>
                <a:ea typeface="黑体" panose="02010609060101010101" pitchFamily="49" charset="-122"/>
                <a:cs typeface="+mn-cs"/>
              </a:rPr>
              <a:t>林利蒙</a:t>
            </a:r>
          </a:p>
        </p:txBody>
      </p:sp>
      <p:sp>
        <p:nvSpPr>
          <p:cNvPr id="4" name="文本框 3">
            <a:extLst>
              <a:ext uri="{FF2B5EF4-FFF2-40B4-BE49-F238E27FC236}">
                <a16:creationId xmlns:a16="http://schemas.microsoft.com/office/drawing/2014/main" id="{5528DBAA-C4D2-45A7-BBAE-23E238B0E822}"/>
              </a:ext>
            </a:extLst>
          </p:cNvPr>
          <p:cNvSpPr txBox="1"/>
          <p:nvPr/>
        </p:nvSpPr>
        <p:spPr>
          <a:xfrm>
            <a:off x="7894320" y="5743642"/>
            <a:ext cx="3291840" cy="400110"/>
          </a:xfrm>
          <a:prstGeom prst="rect">
            <a:avLst/>
          </a:prstGeom>
          <a:noFill/>
        </p:spPr>
        <p:txBody>
          <a:bodyPr wrap="square" rtlCol="0">
            <a:spAutoFit/>
          </a:bodyPr>
          <a:lstStyle>
            <a:defPPr>
              <a:defRPr lang="en-US"/>
            </a:defPPr>
            <a:lvl1pPr>
              <a:defRPr sz="2000">
                <a:solidFill>
                  <a:schemeClr val="tx1">
                    <a:lumMod val="75000"/>
                    <a:lumOff val="25000"/>
                  </a:schemeClr>
                </a:solidFill>
                <a:latin typeface="微软雅黑" panose="020B0503020204020204" pitchFamily="34" charset="-122"/>
                <a:ea typeface="微软雅黑" panose="020B0503020204020204" pitchFamily="34" charset="-122"/>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prstClr val="black">
                    <a:lumMod val="75000"/>
                    <a:lumOff val="25000"/>
                  </a:prstClr>
                </a:solidFill>
                <a:effectLst/>
                <a:uLnTx/>
                <a:uFillTx/>
                <a:latin typeface="黑体" panose="02010609060101010101" pitchFamily="49" charset="-122"/>
                <a:ea typeface="黑体" panose="02010609060101010101" pitchFamily="49" charset="-122"/>
                <a:cs typeface="+mn-cs"/>
              </a:rPr>
              <a:t>上海大学</a:t>
            </a:r>
          </a:p>
        </p:txBody>
      </p:sp>
    </p:spTree>
    <p:extLst>
      <p:ext uri="{BB962C8B-B14F-4D97-AF65-F5344CB8AC3E}">
        <p14:creationId xmlns:p14="http://schemas.microsoft.com/office/powerpoint/2010/main" val="297771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8E65FBF-A9AB-4AF4-AA2F-EBA290719D5F}"/>
              </a:ext>
            </a:extLst>
          </p:cNvPr>
          <p:cNvSpPr>
            <a:spLocks noGrp="1"/>
          </p:cNvSpPr>
          <p:nvPr>
            <p:ph type="ctrTitle"/>
          </p:nvPr>
        </p:nvSpPr>
        <p:spPr/>
        <p:txBody>
          <a:bodyPr/>
          <a:lstStyle/>
          <a:p>
            <a:r>
              <a:rPr lang="zh-CN" altLang="en-US" dirty="0"/>
              <a:t>目录</a:t>
            </a:r>
            <a:endParaRPr lang="en-US" dirty="0"/>
          </a:p>
        </p:txBody>
      </p:sp>
      <p:sp>
        <p:nvSpPr>
          <p:cNvPr id="3" name="文本占位符 2">
            <a:extLst>
              <a:ext uri="{FF2B5EF4-FFF2-40B4-BE49-F238E27FC236}">
                <a16:creationId xmlns:a16="http://schemas.microsoft.com/office/drawing/2014/main" id="{8FAFF192-01A4-4D6A-AD46-76C4D81F90B0}"/>
              </a:ext>
            </a:extLst>
          </p:cNvPr>
          <p:cNvSpPr>
            <a:spLocks noGrp="1"/>
          </p:cNvSpPr>
          <p:nvPr>
            <p:ph type="body" sz="quarter" idx="10"/>
          </p:nvPr>
        </p:nvSpPr>
        <p:spPr/>
        <p:txBody>
          <a:bodyPr/>
          <a:lstStyle/>
          <a:p>
            <a:pPr algn="dist"/>
            <a:r>
              <a:rPr lang="zh-CN" altLang="en-US" dirty="0">
                <a:solidFill>
                  <a:schemeClr val="tx1">
                    <a:lumMod val="85000"/>
                    <a:lumOff val="15000"/>
                  </a:schemeClr>
                </a:solidFill>
                <a:cs typeface="+mn-ea"/>
                <a:sym typeface="+mn-lt"/>
              </a:rPr>
              <a:t>请输入您的标题</a:t>
            </a:r>
          </a:p>
        </p:txBody>
      </p:sp>
      <p:sp>
        <p:nvSpPr>
          <p:cNvPr id="4" name="文本占位符 3">
            <a:extLst>
              <a:ext uri="{FF2B5EF4-FFF2-40B4-BE49-F238E27FC236}">
                <a16:creationId xmlns:a16="http://schemas.microsoft.com/office/drawing/2014/main" id="{823BC824-EDC1-4ECE-98CA-F2C734BF4752}"/>
              </a:ext>
            </a:extLst>
          </p:cNvPr>
          <p:cNvSpPr>
            <a:spLocks noGrp="1"/>
          </p:cNvSpPr>
          <p:nvPr>
            <p:ph type="body" sz="quarter" idx="11"/>
          </p:nvPr>
        </p:nvSpPr>
        <p:spPr/>
        <p:txBody>
          <a:bodyPr/>
          <a:lstStyle/>
          <a:p>
            <a:pPr algn="dist"/>
            <a:r>
              <a:rPr lang="en-US"/>
              <a:t>Please Enter Your Title Here</a:t>
            </a:r>
            <a:endParaRPr lang="en-US" dirty="0"/>
          </a:p>
        </p:txBody>
      </p:sp>
      <p:sp>
        <p:nvSpPr>
          <p:cNvPr id="5" name="文本占位符 4">
            <a:extLst>
              <a:ext uri="{FF2B5EF4-FFF2-40B4-BE49-F238E27FC236}">
                <a16:creationId xmlns:a16="http://schemas.microsoft.com/office/drawing/2014/main" id="{C9C51AFC-CB56-4D42-A230-E270FDDC71C5}"/>
              </a:ext>
            </a:extLst>
          </p:cNvPr>
          <p:cNvSpPr>
            <a:spLocks noGrp="1"/>
          </p:cNvSpPr>
          <p:nvPr>
            <p:ph type="body" sz="quarter" idx="12"/>
          </p:nvPr>
        </p:nvSpPr>
        <p:spPr>
          <a:xfrm>
            <a:off x="3992304" y="1358654"/>
            <a:ext cx="748923" cy="830997"/>
          </a:xfrm>
        </p:spPr>
        <p:txBody>
          <a:bodyPr/>
          <a:lstStyle/>
          <a:p>
            <a:r>
              <a:rPr lang="en-US" altLang="zh-CN" dirty="0"/>
              <a:t>01</a:t>
            </a:r>
            <a:endParaRPr lang="en-US" dirty="0"/>
          </a:p>
        </p:txBody>
      </p:sp>
      <p:sp>
        <p:nvSpPr>
          <p:cNvPr id="6" name="文本占位符 5">
            <a:extLst>
              <a:ext uri="{FF2B5EF4-FFF2-40B4-BE49-F238E27FC236}">
                <a16:creationId xmlns:a16="http://schemas.microsoft.com/office/drawing/2014/main" id="{148F37B3-BE4D-4940-A766-1ED165FD0B85}"/>
              </a:ext>
            </a:extLst>
          </p:cNvPr>
          <p:cNvSpPr>
            <a:spLocks noGrp="1"/>
          </p:cNvSpPr>
          <p:nvPr>
            <p:ph type="body" sz="quarter" idx="13"/>
          </p:nvPr>
        </p:nvSpPr>
        <p:spPr/>
        <p:txBody>
          <a:bodyPr/>
          <a:lstStyle/>
          <a:p>
            <a:pPr algn="dist"/>
            <a:r>
              <a:rPr lang="zh-CN" altLang="en-US"/>
              <a:t>请输入您的标题</a:t>
            </a:r>
            <a:endParaRPr lang="en-US" dirty="0"/>
          </a:p>
        </p:txBody>
      </p:sp>
      <p:sp>
        <p:nvSpPr>
          <p:cNvPr id="7" name="文本占位符 6">
            <a:extLst>
              <a:ext uri="{FF2B5EF4-FFF2-40B4-BE49-F238E27FC236}">
                <a16:creationId xmlns:a16="http://schemas.microsoft.com/office/drawing/2014/main" id="{0C4476C7-6E0C-4859-92D3-84657187D243}"/>
              </a:ext>
            </a:extLst>
          </p:cNvPr>
          <p:cNvSpPr>
            <a:spLocks noGrp="1"/>
          </p:cNvSpPr>
          <p:nvPr>
            <p:ph type="body" sz="quarter" idx="14"/>
          </p:nvPr>
        </p:nvSpPr>
        <p:spPr/>
        <p:txBody>
          <a:bodyPr/>
          <a:lstStyle/>
          <a:p>
            <a:pPr algn="dist"/>
            <a:r>
              <a:rPr lang="en-US"/>
              <a:t>Please Enter Your Title Here</a:t>
            </a:r>
          </a:p>
        </p:txBody>
      </p:sp>
      <p:sp>
        <p:nvSpPr>
          <p:cNvPr id="8" name="文本占位符 7">
            <a:extLst>
              <a:ext uri="{FF2B5EF4-FFF2-40B4-BE49-F238E27FC236}">
                <a16:creationId xmlns:a16="http://schemas.microsoft.com/office/drawing/2014/main" id="{8E88FD76-201C-4EF6-89F7-09AE6B94F842}"/>
              </a:ext>
            </a:extLst>
          </p:cNvPr>
          <p:cNvSpPr>
            <a:spLocks noGrp="1"/>
          </p:cNvSpPr>
          <p:nvPr>
            <p:ph type="body" sz="quarter" idx="15"/>
          </p:nvPr>
        </p:nvSpPr>
        <p:spPr>
          <a:xfrm>
            <a:off x="3954633" y="2701317"/>
            <a:ext cx="824265" cy="830997"/>
          </a:xfrm>
        </p:spPr>
        <p:txBody>
          <a:bodyPr/>
          <a:lstStyle/>
          <a:p>
            <a:r>
              <a:rPr lang="en-US" altLang="zh-CN" dirty="0"/>
              <a:t>02</a:t>
            </a:r>
            <a:endParaRPr lang="en-US" dirty="0"/>
          </a:p>
        </p:txBody>
      </p:sp>
      <p:sp>
        <p:nvSpPr>
          <p:cNvPr id="9" name="文本占位符 8">
            <a:extLst>
              <a:ext uri="{FF2B5EF4-FFF2-40B4-BE49-F238E27FC236}">
                <a16:creationId xmlns:a16="http://schemas.microsoft.com/office/drawing/2014/main" id="{771E2057-25D9-43A9-B70E-07851880E60C}"/>
              </a:ext>
            </a:extLst>
          </p:cNvPr>
          <p:cNvSpPr>
            <a:spLocks noGrp="1"/>
          </p:cNvSpPr>
          <p:nvPr>
            <p:ph type="body" sz="quarter" idx="16"/>
          </p:nvPr>
        </p:nvSpPr>
        <p:spPr/>
        <p:txBody>
          <a:bodyPr/>
          <a:lstStyle/>
          <a:p>
            <a:pPr algn="dist"/>
            <a:r>
              <a:rPr lang="zh-CN" altLang="en-US"/>
              <a:t>请输入您的标题</a:t>
            </a:r>
            <a:endParaRPr lang="en-US"/>
          </a:p>
        </p:txBody>
      </p:sp>
      <p:sp>
        <p:nvSpPr>
          <p:cNvPr id="10" name="文本占位符 9">
            <a:extLst>
              <a:ext uri="{FF2B5EF4-FFF2-40B4-BE49-F238E27FC236}">
                <a16:creationId xmlns:a16="http://schemas.microsoft.com/office/drawing/2014/main" id="{14205375-5C7C-4C3A-B3FB-CE3E5EA8D4CB}"/>
              </a:ext>
            </a:extLst>
          </p:cNvPr>
          <p:cNvSpPr>
            <a:spLocks noGrp="1"/>
          </p:cNvSpPr>
          <p:nvPr>
            <p:ph type="body" sz="quarter" idx="17"/>
          </p:nvPr>
        </p:nvSpPr>
        <p:spPr/>
        <p:txBody>
          <a:bodyPr/>
          <a:lstStyle/>
          <a:p>
            <a:pPr algn="dist"/>
            <a:r>
              <a:rPr lang="en-US"/>
              <a:t>Please Enter Your Title Here</a:t>
            </a:r>
          </a:p>
        </p:txBody>
      </p:sp>
      <p:sp>
        <p:nvSpPr>
          <p:cNvPr id="11" name="文本占位符 10">
            <a:extLst>
              <a:ext uri="{FF2B5EF4-FFF2-40B4-BE49-F238E27FC236}">
                <a16:creationId xmlns:a16="http://schemas.microsoft.com/office/drawing/2014/main" id="{743FAD00-A310-4C0A-8468-BCB6D63A757D}"/>
              </a:ext>
            </a:extLst>
          </p:cNvPr>
          <p:cNvSpPr>
            <a:spLocks noGrp="1"/>
          </p:cNvSpPr>
          <p:nvPr>
            <p:ph type="body" sz="quarter" idx="18"/>
          </p:nvPr>
        </p:nvSpPr>
        <p:spPr>
          <a:xfrm>
            <a:off x="3945817" y="4043980"/>
            <a:ext cx="841897" cy="830997"/>
          </a:xfrm>
        </p:spPr>
        <p:txBody>
          <a:bodyPr/>
          <a:lstStyle/>
          <a:p>
            <a:r>
              <a:rPr lang="en-US" altLang="zh-CN" dirty="0"/>
              <a:t>03</a:t>
            </a:r>
            <a:endParaRPr lang="en-US" dirty="0"/>
          </a:p>
        </p:txBody>
      </p:sp>
      <p:sp>
        <p:nvSpPr>
          <p:cNvPr id="12" name="文本占位符 11">
            <a:extLst>
              <a:ext uri="{FF2B5EF4-FFF2-40B4-BE49-F238E27FC236}">
                <a16:creationId xmlns:a16="http://schemas.microsoft.com/office/drawing/2014/main" id="{35D7C850-E088-43FC-BB99-3579DAA6D0E5}"/>
              </a:ext>
            </a:extLst>
          </p:cNvPr>
          <p:cNvSpPr>
            <a:spLocks noGrp="1"/>
          </p:cNvSpPr>
          <p:nvPr>
            <p:ph type="body" sz="quarter" idx="19"/>
          </p:nvPr>
        </p:nvSpPr>
        <p:spPr/>
        <p:txBody>
          <a:bodyPr/>
          <a:lstStyle/>
          <a:p>
            <a:pPr algn="dist"/>
            <a:r>
              <a:rPr lang="zh-CN" altLang="en-US"/>
              <a:t>请输入您的标题</a:t>
            </a:r>
            <a:endParaRPr lang="en-US"/>
          </a:p>
        </p:txBody>
      </p:sp>
      <p:sp>
        <p:nvSpPr>
          <p:cNvPr id="13" name="文本占位符 12">
            <a:extLst>
              <a:ext uri="{FF2B5EF4-FFF2-40B4-BE49-F238E27FC236}">
                <a16:creationId xmlns:a16="http://schemas.microsoft.com/office/drawing/2014/main" id="{32CB4443-63FF-454E-8881-9B6AB4C2C7B4}"/>
              </a:ext>
            </a:extLst>
          </p:cNvPr>
          <p:cNvSpPr>
            <a:spLocks noGrp="1"/>
          </p:cNvSpPr>
          <p:nvPr>
            <p:ph type="body" sz="quarter" idx="20"/>
          </p:nvPr>
        </p:nvSpPr>
        <p:spPr/>
        <p:txBody>
          <a:bodyPr/>
          <a:lstStyle/>
          <a:p>
            <a:pPr algn="dist"/>
            <a:r>
              <a:rPr lang="en-US"/>
              <a:t>Please Enter Your Title Here</a:t>
            </a:r>
          </a:p>
        </p:txBody>
      </p:sp>
      <p:sp>
        <p:nvSpPr>
          <p:cNvPr id="14" name="文本占位符 13">
            <a:extLst>
              <a:ext uri="{FF2B5EF4-FFF2-40B4-BE49-F238E27FC236}">
                <a16:creationId xmlns:a16="http://schemas.microsoft.com/office/drawing/2014/main" id="{2C4FD204-6BA5-4BDA-813C-7E2DF9CBF721}"/>
              </a:ext>
            </a:extLst>
          </p:cNvPr>
          <p:cNvSpPr>
            <a:spLocks noGrp="1"/>
          </p:cNvSpPr>
          <p:nvPr>
            <p:ph type="body" sz="quarter" idx="21"/>
          </p:nvPr>
        </p:nvSpPr>
        <p:spPr>
          <a:xfrm>
            <a:off x="8153536" y="1358654"/>
            <a:ext cx="822661" cy="830997"/>
          </a:xfrm>
        </p:spPr>
        <p:txBody>
          <a:bodyPr/>
          <a:lstStyle/>
          <a:p>
            <a:r>
              <a:rPr lang="en-US" altLang="zh-CN" dirty="0"/>
              <a:t>04</a:t>
            </a:r>
            <a:endParaRPr lang="en-US" dirty="0"/>
          </a:p>
        </p:txBody>
      </p:sp>
      <p:sp>
        <p:nvSpPr>
          <p:cNvPr id="15" name="文本占位符 14">
            <a:extLst>
              <a:ext uri="{FF2B5EF4-FFF2-40B4-BE49-F238E27FC236}">
                <a16:creationId xmlns:a16="http://schemas.microsoft.com/office/drawing/2014/main" id="{D0C12B4A-A575-49D8-9670-47295977A91D}"/>
              </a:ext>
            </a:extLst>
          </p:cNvPr>
          <p:cNvSpPr>
            <a:spLocks noGrp="1"/>
          </p:cNvSpPr>
          <p:nvPr>
            <p:ph type="body" sz="quarter" idx="22"/>
          </p:nvPr>
        </p:nvSpPr>
        <p:spPr/>
        <p:txBody>
          <a:bodyPr/>
          <a:lstStyle/>
          <a:p>
            <a:pPr algn="dist"/>
            <a:r>
              <a:rPr lang="zh-CN" altLang="en-US"/>
              <a:t>请输入您的标题</a:t>
            </a:r>
            <a:endParaRPr lang="en-US"/>
          </a:p>
        </p:txBody>
      </p:sp>
      <p:sp>
        <p:nvSpPr>
          <p:cNvPr id="16" name="文本占位符 15">
            <a:extLst>
              <a:ext uri="{FF2B5EF4-FFF2-40B4-BE49-F238E27FC236}">
                <a16:creationId xmlns:a16="http://schemas.microsoft.com/office/drawing/2014/main" id="{4ED706EF-5751-4DB7-9D56-ADB0679CCC4F}"/>
              </a:ext>
            </a:extLst>
          </p:cNvPr>
          <p:cNvSpPr>
            <a:spLocks noGrp="1"/>
          </p:cNvSpPr>
          <p:nvPr>
            <p:ph type="body" sz="quarter" idx="23"/>
          </p:nvPr>
        </p:nvSpPr>
        <p:spPr/>
        <p:txBody>
          <a:bodyPr/>
          <a:lstStyle/>
          <a:p>
            <a:pPr algn="dist"/>
            <a:r>
              <a:rPr lang="en-US"/>
              <a:t>Please Enter Your Title Here</a:t>
            </a:r>
          </a:p>
        </p:txBody>
      </p:sp>
      <p:sp>
        <p:nvSpPr>
          <p:cNvPr id="17" name="文本占位符 16">
            <a:extLst>
              <a:ext uri="{FF2B5EF4-FFF2-40B4-BE49-F238E27FC236}">
                <a16:creationId xmlns:a16="http://schemas.microsoft.com/office/drawing/2014/main" id="{69539153-8FA2-4A7A-A260-09846ADEA90E}"/>
              </a:ext>
            </a:extLst>
          </p:cNvPr>
          <p:cNvSpPr>
            <a:spLocks noGrp="1"/>
          </p:cNvSpPr>
          <p:nvPr>
            <p:ph type="body" sz="quarter" idx="24"/>
          </p:nvPr>
        </p:nvSpPr>
        <p:spPr>
          <a:xfrm>
            <a:off x="8142315" y="2701317"/>
            <a:ext cx="845103" cy="830997"/>
          </a:xfrm>
        </p:spPr>
        <p:txBody>
          <a:bodyPr/>
          <a:lstStyle/>
          <a:p>
            <a:r>
              <a:rPr lang="en-US" altLang="zh-CN" dirty="0"/>
              <a:t>05</a:t>
            </a:r>
            <a:endParaRPr lang="en-US" dirty="0"/>
          </a:p>
        </p:txBody>
      </p:sp>
      <p:sp>
        <p:nvSpPr>
          <p:cNvPr id="18" name="文本占位符 17">
            <a:extLst>
              <a:ext uri="{FF2B5EF4-FFF2-40B4-BE49-F238E27FC236}">
                <a16:creationId xmlns:a16="http://schemas.microsoft.com/office/drawing/2014/main" id="{AA785D47-07D2-4EF5-B322-1E4A71DBB990}"/>
              </a:ext>
            </a:extLst>
          </p:cNvPr>
          <p:cNvSpPr>
            <a:spLocks noGrp="1"/>
          </p:cNvSpPr>
          <p:nvPr>
            <p:ph type="body" sz="quarter" idx="25"/>
          </p:nvPr>
        </p:nvSpPr>
        <p:spPr/>
        <p:txBody>
          <a:bodyPr/>
          <a:lstStyle/>
          <a:p>
            <a:pPr algn="dist"/>
            <a:r>
              <a:rPr lang="zh-CN" altLang="en-US"/>
              <a:t>请输入您的标题</a:t>
            </a:r>
            <a:endParaRPr lang="en-US"/>
          </a:p>
        </p:txBody>
      </p:sp>
      <p:sp>
        <p:nvSpPr>
          <p:cNvPr id="19" name="文本占位符 18">
            <a:extLst>
              <a:ext uri="{FF2B5EF4-FFF2-40B4-BE49-F238E27FC236}">
                <a16:creationId xmlns:a16="http://schemas.microsoft.com/office/drawing/2014/main" id="{0498867B-E6FC-4BEF-B4E5-D2EF58277684}"/>
              </a:ext>
            </a:extLst>
          </p:cNvPr>
          <p:cNvSpPr>
            <a:spLocks noGrp="1"/>
          </p:cNvSpPr>
          <p:nvPr>
            <p:ph type="body" sz="quarter" idx="26"/>
          </p:nvPr>
        </p:nvSpPr>
        <p:spPr/>
        <p:txBody>
          <a:bodyPr/>
          <a:lstStyle/>
          <a:p>
            <a:pPr algn="dist"/>
            <a:r>
              <a:rPr lang="en-US"/>
              <a:t>Please Enter Your Title Here</a:t>
            </a:r>
          </a:p>
        </p:txBody>
      </p:sp>
      <p:sp>
        <p:nvSpPr>
          <p:cNvPr id="20" name="文本占位符 19">
            <a:extLst>
              <a:ext uri="{FF2B5EF4-FFF2-40B4-BE49-F238E27FC236}">
                <a16:creationId xmlns:a16="http://schemas.microsoft.com/office/drawing/2014/main" id="{3499EADB-9C85-4F53-9868-207CE65BD4A4}"/>
              </a:ext>
            </a:extLst>
          </p:cNvPr>
          <p:cNvSpPr>
            <a:spLocks noGrp="1"/>
          </p:cNvSpPr>
          <p:nvPr>
            <p:ph type="body" sz="quarter" idx="27"/>
          </p:nvPr>
        </p:nvSpPr>
        <p:spPr>
          <a:xfrm>
            <a:off x="8140712" y="4043980"/>
            <a:ext cx="848309" cy="830997"/>
          </a:xfrm>
        </p:spPr>
        <p:txBody>
          <a:bodyPr/>
          <a:lstStyle/>
          <a:p>
            <a:r>
              <a:rPr lang="en-US" altLang="zh-CN" dirty="0"/>
              <a:t>06</a:t>
            </a:r>
            <a:endParaRPr lang="en-US" dirty="0"/>
          </a:p>
        </p:txBody>
      </p:sp>
      <p:grpSp>
        <p:nvGrpSpPr>
          <p:cNvPr id="21" name="组合 20">
            <a:extLst>
              <a:ext uri="{FF2B5EF4-FFF2-40B4-BE49-F238E27FC236}">
                <a16:creationId xmlns:a16="http://schemas.microsoft.com/office/drawing/2014/main" id="{F06606DC-94E0-4C62-A5CB-85A2B226FEA6}"/>
              </a:ext>
            </a:extLst>
          </p:cNvPr>
          <p:cNvGrpSpPr/>
          <p:nvPr/>
        </p:nvGrpSpPr>
        <p:grpSpPr>
          <a:xfrm>
            <a:off x="0" y="-715587"/>
            <a:ext cx="676656" cy="602672"/>
            <a:chOff x="0" y="6950133"/>
            <a:chExt cx="676656" cy="602672"/>
          </a:xfrm>
        </p:grpSpPr>
        <p:sp>
          <p:nvSpPr>
            <p:cNvPr id="22" name="矩形 21">
              <a:extLst>
                <a:ext uri="{FF2B5EF4-FFF2-40B4-BE49-F238E27FC236}">
                  <a16:creationId xmlns:a16="http://schemas.microsoft.com/office/drawing/2014/main" id="{A0CE55D5-E2CF-4D1D-8D12-DCC9445B568E}"/>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23" name="组合 22">
              <a:extLst>
                <a:ext uri="{FF2B5EF4-FFF2-40B4-BE49-F238E27FC236}">
                  <a16:creationId xmlns:a16="http://schemas.microsoft.com/office/drawing/2014/main" id="{413751F7-7BA5-4233-B185-E3BD8031D9F2}"/>
                </a:ext>
              </a:extLst>
            </p:cNvPr>
            <p:cNvGrpSpPr/>
            <p:nvPr/>
          </p:nvGrpSpPr>
          <p:grpSpPr>
            <a:xfrm>
              <a:off x="47544" y="7038552"/>
              <a:ext cx="581568" cy="425834"/>
              <a:chOff x="84575" y="6977592"/>
              <a:chExt cx="581568" cy="425834"/>
            </a:xfrm>
          </p:grpSpPr>
          <p:grpSp>
            <p:nvGrpSpPr>
              <p:cNvPr id="24" name="组合 23">
                <a:extLst>
                  <a:ext uri="{FF2B5EF4-FFF2-40B4-BE49-F238E27FC236}">
                    <a16:creationId xmlns:a16="http://schemas.microsoft.com/office/drawing/2014/main" id="{EA3A029B-17CE-49D9-B047-3C7C33AE4935}"/>
                  </a:ext>
                </a:extLst>
              </p:cNvPr>
              <p:cNvGrpSpPr/>
              <p:nvPr/>
            </p:nvGrpSpPr>
            <p:grpSpPr>
              <a:xfrm>
                <a:off x="84575" y="6979654"/>
                <a:ext cx="317380" cy="421711"/>
                <a:chOff x="14690033" y="2185397"/>
                <a:chExt cx="583830" cy="775754"/>
              </a:xfrm>
            </p:grpSpPr>
            <p:sp>
              <p:nvSpPr>
                <p:cNvPr id="26" name="iŝļíḑe">
                  <a:extLst>
                    <a:ext uri="{FF2B5EF4-FFF2-40B4-BE49-F238E27FC236}">
                      <a16:creationId xmlns:a16="http://schemas.microsoft.com/office/drawing/2014/main" id="{9D8B25AE-35AE-4530-B90A-34629165B6B5}"/>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şḷíḍé">
                  <a:extLst>
                    <a:ext uri="{FF2B5EF4-FFF2-40B4-BE49-F238E27FC236}">
                      <a16:creationId xmlns:a16="http://schemas.microsoft.com/office/drawing/2014/main" id="{BDD32528-BB7F-4333-84E9-B565D0F2ACCB}"/>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Sľïḓe">
                  <a:extLst>
                    <a:ext uri="{FF2B5EF4-FFF2-40B4-BE49-F238E27FC236}">
                      <a16:creationId xmlns:a16="http://schemas.microsoft.com/office/drawing/2014/main" id="{51D6FAF3-430C-4977-94E7-BC781CABF32A}"/>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sḻídê">
                  <a:extLst>
                    <a:ext uri="{FF2B5EF4-FFF2-40B4-BE49-F238E27FC236}">
                      <a16:creationId xmlns:a16="http://schemas.microsoft.com/office/drawing/2014/main" id="{42D8B97D-62A1-4679-A49A-5F9366452F55}"/>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S1íḋè">
                  <a:extLst>
                    <a:ext uri="{FF2B5EF4-FFF2-40B4-BE49-F238E27FC236}">
                      <a16:creationId xmlns:a16="http://schemas.microsoft.com/office/drawing/2014/main" id="{67C1FE19-EB11-4D69-94F4-4B4D33626B47}"/>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şļíde">
                  <a:extLst>
                    <a:ext uri="{FF2B5EF4-FFF2-40B4-BE49-F238E27FC236}">
                      <a16:creationId xmlns:a16="http://schemas.microsoft.com/office/drawing/2014/main" id="{C006C446-E457-4E3C-8B15-44D5E8B300E4}"/>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5" name="文本框 24">
                <a:extLst>
                  <a:ext uri="{FF2B5EF4-FFF2-40B4-BE49-F238E27FC236}">
                    <a16:creationId xmlns:a16="http://schemas.microsoft.com/office/drawing/2014/main" id="{69A9D029-1B03-4586-8A51-9F35CBA8DCF7}"/>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2" name="矩形 31">
            <a:extLst>
              <a:ext uri="{FF2B5EF4-FFF2-40B4-BE49-F238E27FC236}">
                <a16:creationId xmlns:a16="http://schemas.microsoft.com/office/drawing/2014/main" id="{2E2369D0-2978-4A0C-8A77-1FC58CF58A5C}"/>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目录</a:t>
            </a:r>
            <a:r>
              <a:rPr lang="en-US" altLang="zh-CN" spc="100" dirty="0">
                <a:solidFill>
                  <a:schemeClr val="tx1">
                    <a:lumMod val="65000"/>
                    <a:lumOff val="35000"/>
                  </a:schemeClr>
                </a:solidFill>
              </a:rPr>
              <a:t>2-1】</a:t>
            </a:r>
          </a:p>
        </p:txBody>
      </p:sp>
    </p:spTree>
    <p:extLst>
      <p:ext uri="{BB962C8B-B14F-4D97-AF65-F5344CB8AC3E}">
        <p14:creationId xmlns:p14="http://schemas.microsoft.com/office/powerpoint/2010/main" val="17218836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标题 20">
            <a:extLst>
              <a:ext uri="{FF2B5EF4-FFF2-40B4-BE49-F238E27FC236}">
                <a16:creationId xmlns:a16="http://schemas.microsoft.com/office/drawing/2014/main" id="{F70A002D-E025-4F2F-9CCA-D17D255A140C}"/>
              </a:ext>
            </a:extLst>
          </p:cNvPr>
          <p:cNvSpPr>
            <a:spLocks noGrp="1"/>
          </p:cNvSpPr>
          <p:nvPr>
            <p:ph type="ctrTitle"/>
          </p:nvPr>
        </p:nvSpPr>
        <p:spPr/>
        <p:txBody>
          <a:bodyPr/>
          <a:lstStyle/>
          <a:p>
            <a:r>
              <a:rPr lang="zh-CN" altLang="en-US" dirty="0"/>
              <a:t>目录</a:t>
            </a:r>
            <a:endParaRPr lang="en-US" dirty="0"/>
          </a:p>
        </p:txBody>
      </p:sp>
      <p:sp>
        <p:nvSpPr>
          <p:cNvPr id="3" name="文本占位符 2">
            <a:extLst>
              <a:ext uri="{FF2B5EF4-FFF2-40B4-BE49-F238E27FC236}">
                <a16:creationId xmlns:a16="http://schemas.microsoft.com/office/drawing/2014/main" id="{8FAFF192-01A4-4D6A-AD46-76C4D81F90B0}"/>
              </a:ext>
            </a:extLst>
          </p:cNvPr>
          <p:cNvSpPr>
            <a:spLocks noGrp="1"/>
          </p:cNvSpPr>
          <p:nvPr>
            <p:ph type="body" sz="quarter" idx="10"/>
          </p:nvPr>
        </p:nvSpPr>
        <p:spPr/>
        <p:txBody>
          <a:bodyPr/>
          <a:lstStyle/>
          <a:p>
            <a:pPr algn="dist"/>
            <a:r>
              <a:rPr lang="zh-CN" altLang="en-US" dirty="0">
                <a:solidFill>
                  <a:schemeClr val="tx1">
                    <a:lumMod val="85000"/>
                    <a:lumOff val="15000"/>
                  </a:schemeClr>
                </a:solidFill>
                <a:cs typeface="+mn-ea"/>
                <a:sym typeface="+mn-lt"/>
              </a:rPr>
              <a:t>请输入您的标题</a:t>
            </a:r>
          </a:p>
        </p:txBody>
      </p:sp>
      <p:sp>
        <p:nvSpPr>
          <p:cNvPr id="4" name="文本占位符 3">
            <a:extLst>
              <a:ext uri="{FF2B5EF4-FFF2-40B4-BE49-F238E27FC236}">
                <a16:creationId xmlns:a16="http://schemas.microsoft.com/office/drawing/2014/main" id="{823BC824-EDC1-4ECE-98CA-F2C734BF4752}"/>
              </a:ext>
            </a:extLst>
          </p:cNvPr>
          <p:cNvSpPr>
            <a:spLocks noGrp="1"/>
          </p:cNvSpPr>
          <p:nvPr>
            <p:ph type="body" sz="quarter" idx="11"/>
          </p:nvPr>
        </p:nvSpPr>
        <p:spPr/>
        <p:txBody>
          <a:bodyPr/>
          <a:lstStyle/>
          <a:p>
            <a:pPr algn="dist"/>
            <a:r>
              <a:rPr lang="en-US"/>
              <a:t>Please Enter Your Title Here</a:t>
            </a:r>
            <a:endParaRPr lang="en-US" dirty="0"/>
          </a:p>
        </p:txBody>
      </p:sp>
      <p:sp>
        <p:nvSpPr>
          <p:cNvPr id="5" name="文本占位符 4">
            <a:extLst>
              <a:ext uri="{FF2B5EF4-FFF2-40B4-BE49-F238E27FC236}">
                <a16:creationId xmlns:a16="http://schemas.microsoft.com/office/drawing/2014/main" id="{C9C51AFC-CB56-4D42-A230-E270FDDC71C5}"/>
              </a:ext>
            </a:extLst>
          </p:cNvPr>
          <p:cNvSpPr>
            <a:spLocks noGrp="1"/>
          </p:cNvSpPr>
          <p:nvPr>
            <p:ph type="body" sz="quarter" idx="12"/>
          </p:nvPr>
        </p:nvSpPr>
        <p:spPr/>
        <p:txBody>
          <a:bodyPr/>
          <a:lstStyle/>
          <a:p>
            <a:r>
              <a:rPr lang="en-US" altLang="zh-CN" dirty="0"/>
              <a:t>01</a:t>
            </a:r>
            <a:endParaRPr lang="en-US" dirty="0"/>
          </a:p>
        </p:txBody>
      </p:sp>
      <p:sp>
        <p:nvSpPr>
          <p:cNvPr id="6" name="文本占位符 5">
            <a:extLst>
              <a:ext uri="{FF2B5EF4-FFF2-40B4-BE49-F238E27FC236}">
                <a16:creationId xmlns:a16="http://schemas.microsoft.com/office/drawing/2014/main" id="{148F37B3-BE4D-4940-A766-1ED165FD0B85}"/>
              </a:ext>
            </a:extLst>
          </p:cNvPr>
          <p:cNvSpPr>
            <a:spLocks noGrp="1"/>
          </p:cNvSpPr>
          <p:nvPr>
            <p:ph type="body" sz="quarter" idx="13"/>
          </p:nvPr>
        </p:nvSpPr>
        <p:spPr/>
        <p:txBody>
          <a:bodyPr/>
          <a:lstStyle/>
          <a:p>
            <a:pPr algn="dist"/>
            <a:r>
              <a:rPr lang="zh-CN" altLang="en-US"/>
              <a:t>请输入您的标题</a:t>
            </a:r>
            <a:endParaRPr lang="en-US" dirty="0"/>
          </a:p>
        </p:txBody>
      </p:sp>
      <p:sp>
        <p:nvSpPr>
          <p:cNvPr id="7" name="文本占位符 6">
            <a:extLst>
              <a:ext uri="{FF2B5EF4-FFF2-40B4-BE49-F238E27FC236}">
                <a16:creationId xmlns:a16="http://schemas.microsoft.com/office/drawing/2014/main" id="{0C4476C7-6E0C-4859-92D3-84657187D243}"/>
              </a:ext>
            </a:extLst>
          </p:cNvPr>
          <p:cNvSpPr>
            <a:spLocks noGrp="1"/>
          </p:cNvSpPr>
          <p:nvPr>
            <p:ph type="body" sz="quarter" idx="14"/>
          </p:nvPr>
        </p:nvSpPr>
        <p:spPr/>
        <p:txBody>
          <a:bodyPr/>
          <a:lstStyle/>
          <a:p>
            <a:pPr algn="dist"/>
            <a:r>
              <a:rPr lang="en-US"/>
              <a:t>Please Enter Your Title Here</a:t>
            </a:r>
          </a:p>
        </p:txBody>
      </p:sp>
      <p:sp>
        <p:nvSpPr>
          <p:cNvPr id="8" name="文本占位符 7">
            <a:extLst>
              <a:ext uri="{FF2B5EF4-FFF2-40B4-BE49-F238E27FC236}">
                <a16:creationId xmlns:a16="http://schemas.microsoft.com/office/drawing/2014/main" id="{8E88FD76-201C-4EF6-89F7-09AE6B94F842}"/>
              </a:ext>
            </a:extLst>
          </p:cNvPr>
          <p:cNvSpPr>
            <a:spLocks noGrp="1"/>
          </p:cNvSpPr>
          <p:nvPr>
            <p:ph type="body" sz="quarter" idx="15"/>
          </p:nvPr>
        </p:nvSpPr>
        <p:spPr/>
        <p:txBody>
          <a:bodyPr/>
          <a:lstStyle/>
          <a:p>
            <a:r>
              <a:rPr lang="en-US" altLang="zh-CN" dirty="0"/>
              <a:t>02</a:t>
            </a:r>
            <a:endParaRPr lang="en-US" dirty="0"/>
          </a:p>
        </p:txBody>
      </p:sp>
      <p:sp>
        <p:nvSpPr>
          <p:cNvPr id="9" name="文本占位符 8">
            <a:extLst>
              <a:ext uri="{FF2B5EF4-FFF2-40B4-BE49-F238E27FC236}">
                <a16:creationId xmlns:a16="http://schemas.microsoft.com/office/drawing/2014/main" id="{771E2057-25D9-43A9-B70E-07851880E60C}"/>
              </a:ext>
            </a:extLst>
          </p:cNvPr>
          <p:cNvSpPr>
            <a:spLocks noGrp="1"/>
          </p:cNvSpPr>
          <p:nvPr>
            <p:ph type="body" sz="quarter" idx="16"/>
          </p:nvPr>
        </p:nvSpPr>
        <p:spPr/>
        <p:txBody>
          <a:bodyPr/>
          <a:lstStyle/>
          <a:p>
            <a:pPr algn="dist"/>
            <a:r>
              <a:rPr lang="zh-CN" altLang="en-US"/>
              <a:t>请输入您的标题</a:t>
            </a:r>
            <a:endParaRPr lang="en-US"/>
          </a:p>
        </p:txBody>
      </p:sp>
      <p:sp>
        <p:nvSpPr>
          <p:cNvPr id="10" name="文本占位符 9">
            <a:extLst>
              <a:ext uri="{FF2B5EF4-FFF2-40B4-BE49-F238E27FC236}">
                <a16:creationId xmlns:a16="http://schemas.microsoft.com/office/drawing/2014/main" id="{14205375-5C7C-4C3A-B3FB-CE3E5EA8D4CB}"/>
              </a:ext>
            </a:extLst>
          </p:cNvPr>
          <p:cNvSpPr>
            <a:spLocks noGrp="1"/>
          </p:cNvSpPr>
          <p:nvPr>
            <p:ph type="body" sz="quarter" idx="17"/>
          </p:nvPr>
        </p:nvSpPr>
        <p:spPr/>
        <p:txBody>
          <a:bodyPr/>
          <a:lstStyle/>
          <a:p>
            <a:pPr algn="dist"/>
            <a:r>
              <a:rPr lang="en-US"/>
              <a:t>Please Enter Your Title Here</a:t>
            </a:r>
          </a:p>
        </p:txBody>
      </p:sp>
      <p:sp>
        <p:nvSpPr>
          <p:cNvPr id="11" name="文本占位符 10">
            <a:extLst>
              <a:ext uri="{FF2B5EF4-FFF2-40B4-BE49-F238E27FC236}">
                <a16:creationId xmlns:a16="http://schemas.microsoft.com/office/drawing/2014/main" id="{743FAD00-A310-4C0A-8468-BCB6D63A757D}"/>
              </a:ext>
            </a:extLst>
          </p:cNvPr>
          <p:cNvSpPr>
            <a:spLocks noGrp="1"/>
          </p:cNvSpPr>
          <p:nvPr>
            <p:ph type="body" sz="quarter" idx="18"/>
          </p:nvPr>
        </p:nvSpPr>
        <p:spPr/>
        <p:txBody>
          <a:bodyPr/>
          <a:lstStyle/>
          <a:p>
            <a:r>
              <a:rPr lang="en-US" altLang="zh-CN" dirty="0"/>
              <a:t>03</a:t>
            </a:r>
            <a:endParaRPr lang="en-US" dirty="0"/>
          </a:p>
        </p:txBody>
      </p:sp>
      <p:sp>
        <p:nvSpPr>
          <p:cNvPr id="12" name="文本占位符 11">
            <a:extLst>
              <a:ext uri="{FF2B5EF4-FFF2-40B4-BE49-F238E27FC236}">
                <a16:creationId xmlns:a16="http://schemas.microsoft.com/office/drawing/2014/main" id="{35D7C850-E088-43FC-BB99-3579DAA6D0E5}"/>
              </a:ext>
            </a:extLst>
          </p:cNvPr>
          <p:cNvSpPr>
            <a:spLocks noGrp="1"/>
          </p:cNvSpPr>
          <p:nvPr>
            <p:ph type="body" sz="quarter" idx="19"/>
          </p:nvPr>
        </p:nvSpPr>
        <p:spPr/>
        <p:txBody>
          <a:bodyPr/>
          <a:lstStyle/>
          <a:p>
            <a:pPr algn="dist"/>
            <a:r>
              <a:rPr lang="zh-CN" altLang="en-US"/>
              <a:t>请输入您的标题</a:t>
            </a:r>
            <a:endParaRPr lang="en-US"/>
          </a:p>
        </p:txBody>
      </p:sp>
      <p:sp>
        <p:nvSpPr>
          <p:cNvPr id="13" name="文本占位符 12">
            <a:extLst>
              <a:ext uri="{FF2B5EF4-FFF2-40B4-BE49-F238E27FC236}">
                <a16:creationId xmlns:a16="http://schemas.microsoft.com/office/drawing/2014/main" id="{32CB4443-63FF-454E-8881-9B6AB4C2C7B4}"/>
              </a:ext>
            </a:extLst>
          </p:cNvPr>
          <p:cNvSpPr>
            <a:spLocks noGrp="1"/>
          </p:cNvSpPr>
          <p:nvPr>
            <p:ph type="body" sz="quarter" idx="20"/>
          </p:nvPr>
        </p:nvSpPr>
        <p:spPr/>
        <p:txBody>
          <a:bodyPr/>
          <a:lstStyle/>
          <a:p>
            <a:pPr algn="dist"/>
            <a:r>
              <a:rPr lang="en-US"/>
              <a:t>Please Enter Your Title Here</a:t>
            </a:r>
          </a:p>
        </p:txBody>
      </p:sp>
      <p:sp>
        <p:nvSpPr>
          <p:cNvPr id="14" name="文本占位符 13">
            <a:extLst>
              <a:ext uri="{FF2B5EF4-FFF2-40B4-BE49-F238E27FC236}">
                <a16:creationId xmlns:a16="http://schemas.microsoft.com/office/drawing/2014/main" id="{2C4FD204-6BA5-4BDA-813C-7E2DF9CBF721}"/>
              </a:ext>
            </a:extLst>
          </p:cNvPr>
          <p:cNvSpPr>
            <a:spLocks noGrp="1"/>
          </p:cNvSpPr>
          <p:nvPr>
            <p:ph type="body" sz="quarter" idx="21"/>
          </p:nvPr>
        </p:nvSpPr>
        <p:spPr/>
        <p:txBody>
          <a:bodyPr/>
          <a:lstStyle/>
          <a:p>
            <a:r>
              <a:rPr lang="en-US" altLang="zh-CN" dirty="0"/>
              <a:t>04</a:t>
            </a:r>
            <a:endParaRPr lang="en-US" dirty="0"/>
          </a:p>
        </p:txBody>
      </p:sp>
      <p:sp>
        <p:nvSpPr>
          <p:cNvPr id="15" name="文本占位符 14">
            <a:extLst>
              <a:ext uri="{FF2B5EF4-FFF2-40B4-BE49-F238E27FC236}">
                <a16:creationId xmlns:a16="http://schemas.microsoft.com/office/drawing/2014/main" id="{D0C12B4A-A575-49D8-9670-47295977A91D}"/>
              </a:ext>
            </a:extLst>
          </p:cNvPr>
          <p:cNvSpPr>
            <a:spLocks noGrp="1"/>
          </p:cNvSpPr>
          <p:nvPr>
            <p:ph type="body" sz="quarter" idx="22"/>
          </p:nvPr>
        </p:nvSpPr>
        <p:spPr/>
        <p:txBody>
          <a:bodyPr/>
          <a:lstStyle/>
          <a:p>
            <a:pPr algn="dist"/>
            <a:r>
              <a:rPr lang="zh-CN" altLang="en-US"/>
              <a:t>请输入您的标题</a:t>
            </a:r>
            <a:endParaRPr lang="en-US"/>
          </a:p>
        </p:txBody>
      </p:sp>
      <p:sp>
        <p:nvSpPr>
          <p:cNvPr id="16" name="文本占位符 15">
            <a:extLst>
              <a:ext uri="{FF2B5EF4-FFF2-40B4-BE49-F238E27FC236}">
                <a16:creationId xmlns:a16="http://schemas.microsoft.com/office/drawing/2014/main" id="{4ED706EF-5751-4DB7-9D56-ADB0679CCC4F}"/>
              </a:ext>
            </a:extLst>
          </p:cNvPr>
          <p:cNvSpPr>
            <a:spLocks noGrp="1"/>
          </p:cNvSpPr>
          <p:nvPr>
            <p:ph type="body" sz="quarter" idx="23"/>
          </p:nvPr>
        </p:nvSpPr>
        <p:spPr/>
        <p:txBody>
          <a:bodyPr/>
          <a:lstStyle/>
          <a:p>
            <a:pPr algn="dist"/>
            <a:r>
              <a:rPr lang="en-US"/>
              <a:t>Please Enter Your Title Here</a:t>
            </a:r>
          </a:p>
        </p:txBody>
      </p:sp>
      <p:sp>
        <p:nvSpPr>
          <p:cNvPr id="17" name="文本占位符 16">
            <a:extLst>
              <a:ext uri="{FF2B5EF4-FFF2-40B4-BE49-F238E27FC236}">
                <a16:creationId xmlns:a16="http://schemas.microsoft.com/office/drawing/2014/main" id="{69539153-8FA2-4A7A-A260-09846ADEA90E}"/>
              </a:ext>
            </a:extLst>
          </p:cNvPr>
          <p:cNvSpPr>
            <a:spLocks noGrp="1"/>
          </p:cNvSpPr>
          <p:nvPr>
            <p:ph type="body" sz="quarter" idx="24"/>
          </p:nvPr>
        </p:nvSpPr>
        <p:spPr/>
        <p:txBody>
          <a:bodyPr/>
          <a:lstStyle/>
          <a:p>
            <a:r>
              <a:rPr lang="en-US" altLang="zh-CN" dirty="0"/>
              <a:t>05</a:t>
            </a:r>
            <a:endParaRPr lang="en-US" dirty="0"/>
          </a:p>
        </p:txBody>
      </p:sp>
      <p:sp>
        <p:nvSpPr>
          <p:cNvPr id="18" name="文本占位符 17">
            <a:extLst>
              <a:ext uri="{FF2B5EF4-FFF2-40B4-BE49-F238E27FC236}">
                <a16:creationId xmlns:a16="http://schemas.microsoft.com/office/drawing/2014/main" id="{AA785D47-07D2-4EF5-B322-1E4A71DBB990}"/>
              </a:ext>
            </a:extLst>
          </p:cNvPr>
          <p:cNvSpPr>
            <a:spLocks noGrp="1"/>
          </p:cNvSpPr>
          <p:nvPr>
            <p:ph type="body" sz="quarter" idx="25"/>
          </p:nvPr>
        </p:nvSpPr>
        <p:spPr/>
        <p:txBody>
          <a:bodyPr/>
          <a:lstStyle/>
          <a:p>
            <a:pPr algn="dist"/>
            <a:r>
              <a:rPr lang="zh-CN" altLang="en-US"/>
              <a:t>请输入您的标题</a:t>
            </a:r>
            <a:endParaRPr lang="en-US"/>
          </a:p>
        </p:txBody>
      </p:sp>
      <p:sp>
        <p:nvSpPr>
          <p:cNvPr id="19" name="文本占位符 18">
            <a:extLst>
              <a:ext uri="{FF2B5EF4-FFF2-40B4-BE49-F238E27FC236}">
                <a16:creationId xmlns:a16="http://schemas.microsoft.com/office/drawing/2014/main" id="{0498867B-E6FC-4BEF-B4E5-D2EF58277684}"/>
              </a:ext>
            </a:extLst>
          </p:cNvPr>
          <p:cNvSpPr>
            <a:spLocks noGrp="1"/>
          </p:cNvSpPr>
          <p:nvPr>
            <p:ph type="body" sz="quarter" idx="26"/>
          </p:nvPr>
        </p:nvSpPr>
        <p:spPr/>
        <p:txBody>
          <a:bodyPr/>
          <a:lstStyle/>
          <a:p>
            <a:pPr algn="dist"/>
            <a:r>
              <a:rPr lang="en-US"/>
              <a:t>Please Enter Your Title Here</a:t>
            </a:r>
          </a:p>
        </p:txBody>
      </p:sp>
      <p:sp>
        <p:nvSpPr>
          <p:cNvPr id="20" name="文本占位符 19">
            <a:extLst>
              <a:ext uri="{FF2B5EF4-FFF2-40B4-BE49-F238E27FC236}">
                <a16:creationId xmlns:a16="http://schemas.microsoft.com/office/drawing/2014/main" id="{3499EADB-9C85-4F53-9868-207CE65BD4A4}"/>
              </a:ext>
            </a:extLst>
          </p:cNvPr>
          <p:cNvSpPr>
            <a:spLocks noGrp="1"/>
          </p:cNvSpPr>
          <p:nvPr>
            <p:ph type="body" sz="quarter" idx="27"/>
          </p:nvPr>
        </p:nvSpPr>
        <p:spPr/>
        <p:txBody>
          <a:bodyPr/>
          <a:lstStyle/>
          <a:p>
            <a:r>
              <a:rPr lang="en-US" altLang="zh-CN" dirty="0"/>
              <a:t>06</a:t>
            </a:r>
            <a:endParaRPr lang="en-US" dirty="0"/>
          </a:p>
        </p:txBody>
      </p:sp>
      <p:grpSp>
        <p:nvGrpSpPr>
          <p:cNvPr id="22" name="组合 21">
            <a:extLst>
              <a:ext uri="{FF2B5EF4-FFF2-40B4-BE49-F238E27FC236}">
                <a16:creationId xmlns:a16="http://schemas.microsoft.com/office/drawing/2014/main" id="{FA9C7A0B-12CB-4DFD-A6FE-FE146559CF7B}"/>
              </a:ext>
            </a:extLst>
          </p:cNvPr>
          <p:cNvGrpSpPr/>
          <p:nvPr/>
        </p:nvGrpSpPr>
        <p:grpSpPr>
          <a:xfrm>
            <a:off x="0" y="-715587"/>
            <a:ext cx="676656" cy="602672"/>
            <a:chOff x="0" y="6950133"/>
            <a:chExt cx="676656" cy="602672"/>
          </a:xfrm>
        </p:grpSpPr>
        <p:sp>
          <p:nvSpPr>
            <p:cNvPr id="23" name="矩形 22">
              <a:extLst>
                <a:ext uri="{FF2B5EF4-FFF2-40B4-BE49-F238E27FC236}">
                  <a16:creationId xmlns:a16="http://schemas.microsoft.com/office/drawing/2014/main" id="{814D8501-95F2-4F5E-86FD-75FE611571E7}"/>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24" name="组合 23">
              <a:extLst>
                <a:ext uri="{FF2B5EF4-FFF2-40B4-BE49-F238E27FC236}">
                  <a16:creationId xmlns:a16="http://schemas.microsoft.com/office/drawing/2014/main" id="{345B4CED-CCD1-4462-A371-471B7065A593}"/>
                </a:ext>
              </a:extLst>
            </p:cNvPr>
            <p:cNvGrpSpPr/>
            <p:nvPr/>
          </p:nvGrpSpPr>
          <p:grpSpPr>
            <a:xfrm>
              <a:off x="47544" y="7038552"/>
              <a:ext cx="581568" cy="425834"/>
              <a:chOff x="84575" y="6977592"/>
              <a:chExt cx="581568" cy="425834"/>
            </a:xfrm>
          </p:grpSpPr>
          <p:grpSp>
            <p:nvGrpSpPr>
              <p:cNvPr id="25" name="组合 24">
                <a:extLst>
                  <a:ext uri="{FF2B5EF4-FFF2-40B4-BE49-F238E27FC236}">
                    <a16:creationId xmlns:a16="http://schemas.microsoft.com/office/drawing/2014/main" id="{AEF6576C-D2C7-438C-AD4E-34D67E85B05B}"/>
                  </a:ext>
                </a:extLst>
              </p:cNvPr>
              <p:cNvGrpSpPr/>
              <p:nvPr/>
            </p:nvGrpSpPr>
            <p:grpSpPr>
              <a:xfrm>
                <a:off x="84575" y="6979654"/>
                <a:ext cx="317380" cy="421711"/>
                <a:chOff x="14690033" y="2185397"/>
                <a:chExt cx="583830" cy="775754"/>
              </a:xfrm>
            </p:grpSpPr>
            <p:sp>
              <p:nvSpPr>
                <p:cNvPr id="27" name="iŝļíḑe">
                  <a:extLst>
                    <a:ext uri="{FF2B5EF4-FFF2-40B4-BE49-F238E27FC236}">
                      <a16:creationId xmlns:a16="http://schemas.microsoft.com/office/drawing/2014/main" id="{64E38A03-D3CD-4C70-9880-533197F987BB}"/>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şḷíḍé">
                  <a:extLst>
                    <a:ext uri="{FF2B5EF4-FFF2-40B4-BE49-F238E27FC236}">
                      <a16:creationId xmlns:a16="http://schemas.microsoft.com/office/drawing/2014/main" id="{93D3DE52-5CD5-491D-9C9E-53E9270A0BF7}"/>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Sľïḓe">
                  <a:extLst>
                    <a:ext uri="{FF2B5EF4-FFF2-40B4-BE49-F238E27FC236}">
                      <a16:creationId xmlns:a16="http://schemas.microsoft.com/office/drawing/2014/main" id="{64D14345-8B5E-42E3-A0C8-0179AF584617}"/>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sḻídê">
                  <a:extLst>
                    <a:ext uri="{FF2B5EF4-FFF2-40B4-BE49-F238E27FC236}">
                      <a16:creationId xmlns:a16="http://schemas.microsoft.com/office/drawing/2014/main" id="{FF2DAE99-1F06-4F46-920E-D90C534EF697}"/>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îS1íḋè">
                  <a:extLst>
                    <a:ext uri="{FF2B5EF4-FFF2-40B4-BE49-F238E27FC236}">
                      <a16:creationId xmlns:a16="http://schemas.microsoft.com/office/drawing/2014/main" id="{AC8B3043-9BFB-4BA2-B3C2-648427724EE6}"/>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íşļíde">
                  <a:extLst>
                    <a:ext uri="{FF2B5EF4-FFF2-40B4-BE49-F238E27FC236}">
                      <a16:creationId xmlns:a16="http://schemas.microsoft.com/office/drawing/2014/main" id="{4DCD65E4-274D-4D70-92D9-0C112D55CE42}"/>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6" name="文本框 25">
                <a:extLst>
                  <a:ext uri="{FF2B5EF4-FFF2-40B4-BE49-F238E27FC236}">
                    <a16:creationId xmlns:a16="http://schemas.microsoft.com/office/drawing/2014/main" id="{724AAE9C-89C5-4D0B-9AA6-7D5D2CC575C4}"/>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3" name="矩形 32">
            <a:extLst>
              <a:ext uri="{FF2B5EF4-FFF2-40B4-BE49-F238E27FC236}">
                <a16:creationId xmlns:a16="http://schemas.microsoft.com/office/drawing/2014/main" id="{280F4720-AFAE-45E0-9E4A-F9955309C78E}"/>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目录</a:t>
            </a:r>
            <a:r>
              <a:rPr lang="en-US" altLang="zh-CN" spc="100" dirty="0">
                <a:solidFill>
                  <a:schemeClr val="tx1">
                    <a:lumMod val="65000"/>
                    <a:lumOff val="35000"/>
                  </a:schemeClr>
                </a:solidFill>
              </a:rPr>
              <a:t>1-1】</a:t>
            </a:r>
          </a:p>
        </p:txBody>
      </p:sp>
    </p:spTree>
    <p:extLst>
      <p:ext uri="{BB962C8B-B14F-4D97-AF65-F5344CB8AC3E}">
        <p14:creationId xmlns:p14="http://schemas.microsoft.com/office/powerpoint/2010/main" val="41651243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C802BB3-C997-4AEB-ACEE-821803344850}"/>
              </a:ext>
            </a:extLst>
          </p:cNvPr>
          <p:cNvSpPr>
            <a:spLocks noGrp="1"/>
          </p:cNvSpPr>
          <p:nvPr>
            <p:ph type="ctrTitle"/>
          </p:nvPr>
        </p:nvSpPr>
        <p:spPr/>
        <p:txBody>
          <a:bodyPr/>
          <a:lstStyle/>
          <a:p>
            <a:r>
              <a:rPr lang="zh-CN" altLang="en-US" dirty="0">
                <a:cs typeface="+mn-ea"/>
                <a:sym typeface="+mn-lt"/>
              </a:rPr>
              <a:t>目录</a:t>
            </a:r>
            <a:endParaRPr lang="en-US" dirty="0">
              <a:cs typeface="+mn-ea"/>
              <a:sym typeface="+mn-lt"/>
            </a:endParaRPr>
          </a:p>
        </p:txBody>
      </p:sp>
      <p:sp>
        <p:nvSpPr>
          <p:cNvPr id="3" name="文本占位符 2">
            <a:extLst>
              <a:ext uri="{FF2B5EF4-FFF2-40B4-BE49-F238E27FC236}">
                <a16:creationId xmlns:a16="http://schemas.microsoft.com/office/drawing/2014/main" id="{2BB19688-D16D-496D-94F6-06A462BE6167}"/>
              </a:ext>
            </a:extLst>
          </p:cNvPr>
          <p:cNvSpPr>
            <a:spLocks noGrp="1"/>
          </p:cNvSpPr>
          <p:nvPr>
            <p:ph type="body" sz="quarter" idx="10"/>
          </p:nvPr>
        </p:nvSpPr>
        <p:spPr/>
        <p:txBody>
          <a:bodyPr/>
          <a:lstStyle/>
          <a:p>
            <a:pPr algn="dist"/>
            <a:r>
              <a:rPr lang="zh-CN" altLang="en-US"/>
              <a:t>请输入您的标题</a:t>
            </a:r>
            <a:endParaRPr lang="en-US" dirty="0"/>
          </a:p>
        </p:txBody>
      </p:sp>
      <p:sp>
        <p:nvSpPr>
          <p:cNvPr id="4" name="文本占位符 3">
            <a:extLst>
              <a:ext uri="{FF2B5EF4-FFF2-40B4-BE49-F238E27FC236}">
                <a16:creationId xmlns:a16="http://schemas.microsoft.com/office/drawing/2014/main" id="{820336A6-72B2-4972-8C06-841A611DE46E}"/>
              </a:ext>
            </a:extLst>
          </p:cNvPr>
          <p:cNvSpPr>
            <a:spLocks noGrp="1"/>
          </p:cNvSpPr>
          <p:nvPr>
            <p:ph type="body" sz="quarter" idx="11"/>
          </p:nvPr>
        </p:nvSpPr>
        <p:spPr/>
        <p:txBody>
          <a:bodyPr/>
          <a:lstStyle/>
          <a:p>
            <a:pPr algn="dist"/>
            <a:r>
              <a:rPr lang="en-US"/>
              <a:t>Please Enter Your Title Here</a:t>
            </a:r>
            <a:endParaRPr lang="en-US" dirty="0"/>
          </a:p>
        </p:txBody>
      </p:sp>
      <p:sp>
        <p:nvSpPr>
          <p:cNvPr id="5" name="文本占位符 4">
            <a:extLst>
              <a:ext uri="{FF2B5EF4-FFF2-40B4-BE49-F238E27FC236}">
                <a16:creationId xmlns:a16="http://schemas.microsoft.com/office/drawing/2014/main" id="{19A0095D-6495-41E6-9B3C-9D3E24C1136F}"/>
              </a:ext>
            </a:extLst>
          </p:cNvPr>
          <p:cNvSpPr>
            <a:spLocks noGrp="1"/>
          </p:cNvSpPr>
          <p:nvPr>
            <p:ph type="body" sz="quarter" idx="12"/>
          </p:nvPr>
        </p:nvSpPr>
        <p:spPr/>
        <p:txBody>
          <a:bodyPr/>
          <a:lstStyle/>
          <a:p>
            <a:r>
              <a:rPr lang="en-US" altLang="zh-CN" dirty="0"/>
              <a:t>01</a:t>
            </a:r>
            <a:endParaRPr lang="en-US" dirty="0"/>
          </a:p>
        </p:txBody>
      </p:sp>
      <p:sp>
        <p:nvSpPr>
          <p:cNvPr id="6" name="文本占位符 5">
            <a:extLst>
              <a:ext uri="{FF2B5EF4-FFF2-40B4-BE49-F238E27FC236}">
                <a16:creationId xmlns:a16="http://schemas.microsoft.com/office/drawing/2014/main" id="{6F1AC2D5-76F8-45C8-A78D-54CDC048B027}"/>
              </a:ext>
            </a:extLst>
          </p:cNvPr>
          <p:cNvSpPr>
            <a:spLocks noGrp="1"/>
          </p:cNvSpPr>
          <p:nvPr>
            <p:ph type="body" sz="quarter" idx="13"/>
          </p:nvPr>
        </p:nvSpPr>
        <p:spPr/>
        <p:txBody>
          <a:bodyPr/>
          <a:lstStyle/>
          <a:p>
            <a:pPr algn="dist"/>
            <a:r>
              <a:rPr lang="zh-CN" altLang="en-US"/>
              <a:t>请输入您的标题</a:t>
            </a:r>
            <a:endParaRPr lang="en-US"/>
          </a:p>
        </p:txBody>
      </p:sp>
      <p:sp>
        <p:nvSpPr>
          <p:cNvPr id="7" name="文本占位符 6">
            <a:extLst>
              <a:ext uri="{FF2B5EF4-FFF2-40B4-BE49-F238E27FC236}">
                <a16:creationId xmlns:a16="http://schemas.microsoft.com/office/drawing/2014/main" id="{321A0E54-88FD-40B9-91FE-36F6B77915A2}"/>
              </a:ext>
            </a:extLst>
          </p:cNvPr>
          <p:cNvSpPr>
            <a:spLocks noGrp="1"/>
          </p:cNvSpPr>
          <p:nvPr>
            <p:ph type="body" sz="quarter" idx="14"/>
          </p:nvPr>
        </p:nvSpPr>
        <p:spPr/>
        <p:txBody>
          <a:bodyPr/>
          <a:lstStyle/>
          <a:p>
            <a:pPr algn="dist"/>
            <a:r>
              <a:rPr lang="en-US"/>
              <a:t>Please Enter Your Title Here</a:t>
            </a:r>
          </a:p>
        </p:txBody>
      </p:sp>
      <p:sp>
        <p:nvSpPr>
          <p:cNvPr id="8" name="文本占位符 7">
            <a:extLst>
              <a:ext uri="{FF2B5EF4-FFF2-40B4-BE49-F238E27FC236}">
                <a16:creationId xmlns:a16="http://schemas.microsoft.com/office/drawing/2014/main" id="{6222FD85-8B0D-4B5A-9CBA-46F5246F482D}"/>
              </a:ext>
            </a:extLst>
          </p:cNvPr>
          <p:cNvSpPr>
            <a:spLocks noGrp="1"/>
          </p:cNvSpPr>
          <p:nvPr>
            <p:ph type="body" sz="quarter" idx="15"/>
          </p:nvPr>
        </p:nvSpPr>
        <p:spPr/>
        <p:txBody>
          <a:bodyPr/>
          <a:lstStyle/>
          <a:p>
            <a:r>
              <a:rPr lang="en-US" altLang="zh-CN" dirty="0"/>
              <a:t>02</a:t>
            </a:r>
            <a:endParaRPr lang="en-US" dirty="0"/>
          </a:p>
        </p:txBody>
      </p:sp>
      <p:sp>
        <p:nvSpPr>
          <p:cNvPr id="9" name="文本占位符 8">
            <a:extLst>
              <a:ext uri="{FF2B5EF4-FFF2-40B4-BE49-F238E27FC236}">
                <a16:creationId xmlns:a16="http://schemas.microsoft.com/office/drawing/2014/main" id="{6C274F61-379D-4120-8722-48695EB5D685}"/>
              </a:ext>
            </a:extLst>
          </p:cNvPr>
          <p:cNvSpPr>
            <a:spLocks noGrp="1"/>
          </p:cNvSpPr>
          <p:nvPr>
            <p:ph type="body" sz="quarter" idx="19"/>
          </p:nvPr>
        </p:nvSpPr>
        <p:spPr/>
        <p:txBody>
          <a:bodyPr/>
          <a:lstStyle/>
          <a:p>
            <a:pPr algn="dist"/>
            <a:r>
              <a:rPr lang="zh-CN" altLang="en-US"/>
              <a:t>请输入您的标题</a:t>
            </a:r>
            <a:endParaRPr lang="en-US"/>
          </a:p>
        </p:txBody>
      </p:sp>
      <p:sp>
        <p:nvSpPr>
          <p:cNvPr id="10" name="文本占位符 9">
            <a:extLst>
              <a:ext uri="{FF2B5EF4-FFF2-40B4-BE49-F238E27FC236}">
                <a16:creationId xmlns:a16="http://schemas.microsoft.com/office/drawing/2014/main" id="{91C74080-CD30-4341-AC51-5D4A5592960F}"/>
              </a:ext>
            </a:extLst>
          </p:cNvPr>
          <p:cNvSpPr>
            <a:spLocks noGrp="1"/>
          </p:cNvSpPr>
          <p:nvPr>
            <p:ph type="body" sz="quarter" idx="20"/>
          </p:nvPr>
        </p:nvSpPr>
        <p:spPr/>
        <p:txBody>
          <a:bodyPr/>
          <a:lstStyle/>
          <a:p>
            <a:pPr algn="dist"/>
            <a:r>
              <a:rPr lang="en-US"/>
              <a:t>Please Enter Your Title Here</a:t>
            </a:r>
          </a:p>
        </p:txBody>
      </p:sp>
      <p:sp>
        <p:nvSpPr>
          <p:cNvPr id="11" name="文本占位符 10">
            <a:extLst>
              <a:ext uri="{FF2B5EF4-FFF2-40B4-BE49-F238E27FC236}">
                <a16:creationId xmlns:a16="http://schemas.microsoft.com/office/drawing/2014/main" id="{D12B9438-17E1-4718-98B4-A8078DF28AE2}"/>
              </a:ext>
            </a:extLst>
          </p:cNvPr>
          <p:cNvSpPr>
            <a:spLocks noGrp="1"/>
          </p:cNvSpPr>
          <p:nvPr>
            <p:ph type="body" sz="quarter" idx="21"/>
          </p:nvPr>
        </p:nvSpPr>
        <p:spPr/>
        <p:txBody>
          <a:bodyPr/>
          <a:lstStyle/>
          <a:p>
            <a:r>
              <a:rPr lang="en-US" altLang="zh-CN" dirty="0"/>
              <a:t>03</a:t>
            </a:r>
            <a:endParaRPr lang="en-US" dirty="0"/>
          </a:p>
        </p:txBody>
      </p:sp>
      <p:sp>
        <p:nvSpPr>
          <p:cNvPr id="12" name="文本占位符 11">
            <a:extLst>
              <a:ext uri="{FF2B5EF4-FFF2-40B4-BE49-F238E27FC236}">
                <a16:creationId xmlns:a16="http://schemas.microsoft.com/office/drawing/2014/main" id="{91515C71-4CD5-4291-886E-7D1A8E5DFFCB}"/>
              </a:ext>
            </a:extLst>
          </p:cNvPr>
          <p:cNvSpPr>
            <a:spLocks noGrp="1"/>
          </p:cNvSpPr>
          <p:nvPr>
            <p:ph type="body" sz="quarter" idx="22"/>
          </p:nvPr>
        </p:nvSpPr>
        <p:spPr/>
        <p:txBody>
          <a:bodyPr/>
          <a:lstStyle/>
          <a:p>
            <a:pPr algn="dist"/>
            <a:r>
              <a:rPr lang="zh-CN" altLang="en-US"/>
              <a:t>请输入您的标题</a:t>
            </a:r>
            <a:endParaRPr lang="en-US"/>
          </a:p>
        </p:txBody>
      </p:sp>
      <p:sp>
        <p:nvSpPr>
          <p:cNvPr id="13" name="文本占位符 12">
            <a:extLst>
              <a:ext uri="{FF2B5EF4-FFF2-40B4-BE49-F238E27FC236}">
                <a16:creationId xmlns:a16="http://schemas.microsoft.com/office/drawing/2014/main" id="{BE7263C5-D317-414E-91F7-43BCE42A4E9C}"/>
              </a:ext>
            </a:extLst>
          </p:cNvPr>
          <p:cNvSpPr>
            <a:spLocks noGrp="1"/>
          </p:cNvSpPr>
          <p:nvPr>
            <p:ph type="body" sz="quarter" idx="23"/>
          </p:nvPr>
        </p:nvSpPr>
        <p:spPr/>
        <p:txBody>
          <a:bodyPr/>
          <a:lstStyle/>
          <a:p>
            <a:pPr algn="dist"/>
            <a:r>
              <a:rPr lang="en-US"/>
              <a:t>Please Enter Your Title Here</a:t>
            </a:r>
          </a:p>
        </p:txBody>
      </p:sp>
      <p:sp>
        <p:nvSpPr>
          <p:cNvPr id="14" name="文本占位符 13">
            <a:extLst>
              <a:ext uri="{FF2B5EF4-FFF2-40B4-BE49-F238E27FC236}">
                <a16:creationId xmlns:a16="http://schemas.microsoft.com/office/drawing/2014/main" id="{03C754F6-D3DA-4BAC-A2AE-0FFCDB0F31C0}"/>
              </a:ext>
            </a:extLst>
          </p:cNvPr>
          <p:cNvSpPr>
            <a:spLocks noGrp="1"/>
          </p:cNvSpPr>
          <p:nvPr>
            <p:ph type="body" sz="quarter" idx="24"/>
          </p:nvPr>
        </p:nvSpPr>
        <p:spPr/>
        <p:txBody>
          <a:bodyPr/>
          <a:lstStyle/>
          <a:p>
            <a:r>
              <a:rPr lang="en-US" altLang="zh-CN" dirty="0"/>
              <a:t>04</a:t>
            </a:r>
            <a:endParaRPr lang="en-US" dirty="0"/>
          </a:p>
        </p:txBody>
      </p:sp>
      <p:grpSp>
        <p:nvGrpSpPr>
          <p:cNvPr id="15" name="组合 14">
            <a:extLst>
              <a:ext uri="{FF2B5EF4-FFF2-40B4-BE49-F238E27FC236}">
                <a16:creationId xmlns:a16="http://schemas.microsoft.com/office/drawing/2014/main" id="{86E1D8CB-1388-49AB-83AF-9425CEFB56FC}"/>
              </a:ext>
            </a:extLst>
          </p:cNvPr>
          <p:cNvGrpSpPr/>
          <p:nvPr/>
        </p:nvGrpSpPr>
        <p:grpSpPr>
          <a:xfrm>
            <a:off x="0" y="-715587"/>
            <a:ext cx="676656" cy="602672"/>
            <a:chOff x="0" y="6950133"/>
            <a:chExt cx="676656" cy="602672"/>
          </a:xfrm>
        </p:grpSpPr>
        <p:sp>
          <p:nvSpPr>
            <p:cNvPr id="16" name="矩形 15">
              <a:extLst>
                <a:ext uri="{FF2B5EF4-FFF2-40B4-BE49-F238E27FC236}">
                  <a16:creationId xmlns:a16="http://schemas.microsoft.com/office/drawing/2014/main" id="{2DB0BAA7-003C-49CD-9DF6-828F6DCD6692}"/>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7" name="组合 16">
              <a:extLst>
                <a:ext uri="{FF2B5EF4-FFF2-40B4-BE49-F238E27FC236}">
                  <a16:creationId xmlns:a16="http://schemas.microsoft.com/office/drawing/2014/main" id="{0AA3F6E3-B0DF-4D69-A5D0-9B5C413AD74E}"/>
                </a:ext>
              </a:extLst>
            </p:cNvPr>
            <p:cNvGrpSpPr/>
            <p:nvPr/>
          </p:nvGrpSpPr>
          <p:grpSpPr>
            <a:xfrm>
              <a:off x="47544" y="7038552"/>
              <a:ext cx="581568" cy="425834"/>
              <a:chOff x="84575" y="6977592"/>
              <a:chExt cx="581568" cy="425834"/>
            </a:xfrm>
          </p:grpSpPr>
          <p:grpSp>
            <p:nvGrpSpPr>
              <p:cNvPr id="18" name="组合 17">
                <a:extLst>
                  <a:ext uri="{FF2B5EF4-FFF2-40B4-BE49-F238E27FC236}">
                    <a16:creationId xmlns:a16="http://schemas.microsoft.com/office/drawing/2014/main" id="{4064EEEA-9767-499C-B9D9-03E5B068E000}"/>
                  </a:ext>
                </a:extLst>
              </p:cNvPr>
              <p:cNvGrpSpPr/>
              <p:nvPr/>
            </p:nvGrpSpPr>
            <p:grpSpPr>
              <a:xfrm>
                <a:off x="84575" y="6979654"/>
                <a:ext cx="317380" cy="421711"/>
                <a:chOff x="14690033" y="2185397"/>
                <a:chExt cx="583830" cy="775754"/>
              </a:xfrm>
            </p:grpSpPr>
            <p:sp>
              <p:nvSpPr>
                <p:cNvPr id="20" name="iŝļíḑe">
                  <a:extLst>
                    <a:ext uri="{FF2B5EF4-FFF2-40B4-BE49-F238E27FC236}">
                      <a16:creationId xmlns:a16="http://schemas.microsoft.com/office/drawing/2014/main" id="{F5CDACBE-D60B-42A2-B0ED-A55E68616A8B}"/>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şḷíḍé">
                  <a:extLst>
                    <a:ext uri="{FF2B5EF4-FFF2-40B4-BE49-F238E27FC236}">
                      <a16:creationId xmlns:a16="http://schemas.microsoft.com/office/drawing/2014/main" id="{89AEE084-46F3-4756-A681-016145D5E100}"/>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Sľïḓe">
                  <a:extLst>
                    <a:ext uri="{FF2B5EF4-FFF2-40B4-BE49-F238E27FC236}">
                      <a16:creationId xmlns:a16="http://schemas.microsoft.com/office/drawing/2014/main" id="{8CCED709-A5CB-4220-BAB8-F114A7D71D58}"/>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ïsḻídê">
                  <a:extLst>
                    <a:ext uri="{FF2B5EF4-FFF2-40B4-BE49-F238E27FC236}">
                      <a16:creationId xmlns:a16="http://schemas.microsoft.com/office/drawing/2014/main" id="{6F9451F8-60CE-4285-8C91-D133A8E701AC}"/>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S1íḋè">
                  <a:extLst>
                    <a:ext uri="{FF2B5EF4-FFF2-40B4-BE49-F238E27FC236}">
                      <a16:creationId xmlns:a16="http://schemas.microsoft.com/office/drawing/2014/main" id="{94219EDC-185C-44A2-8419-E818E7D5E69B}"/>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şļíde">
                  <a:extLst>
                    <a:ext uri="{FF2B5EF4-FFF2-40B4-BE49-F238E27FC236}">
                      <a16:creationId xmlns:a16="http://schemas.microsoft.com/office/drawing/2014/main" id="{F2B4A6E1-B353-41FF-A8A5-B292A8F988D4}"/>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9" name="文本框 18">
                <a:extLst>
                  <a:ext uri="{FF2B5EF4-FFF2-40B4-BE49-F238E27FC236}">
                    <a16:creationId xmlns:a16="http://schemas.microsoft.com/office/drawing/2014/main" id="{2975DABD-A6BE-4B54-91B3-E9557C795B5E}"/>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6" name="矩形 25">
            <a:extLst>
              <a:ext uri="{FF2B5EF4-FFF2-40B4-BE49-F238E27FC236}">
                <a16:creationId xmlns:a16="http://schemas.microsoft.com/office/drawing/2014/main" id="{720F68F1-F5CA-4DF1-8791-CADBD26FF776}"/>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目录</a:t>
            </a:r>
            <a:r>
              <a:rPr lang="en-US" altLang="zh-CN" spc="100" dirty="0">
                <a:solidFill>
                  <a:schemeClr val="tx1">
                    <a:lumMod val="65000"/>
                    <a:lumOff val="35000"/>
                  </a:schemeClr>
                </a:solidFill>
              </a:rPr>
              <a:t>4-1】</a:t>
            </a:r>
          </a:p>
        </p:txBody>
      </p:sp>
    </p:spTree>
    <p:extLst>
      <p:ext uri="{BB962C8B-B14F-4D97-AF65-F5344CB8AC3E}">
        <p14:creationId xmlns:p14="http://schemas.microsoft.com/office/powerpoint/2010/main" val="1180460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C802BB3-C997-4AEB-ACEE-821803344850}"/>
              </a:ext>
            </a:extLst>
          </p:cNvPr>
          <p:cNvSpPr>
            <a:spLocks noGrp="1"/>
          </p:cNvSpPr>
          <p:nvPr>
            <p:ph type="ctrTitle"/>
          </p:nvPr>
        </p:nvSpPr>
        <p:spPr/>
        <p:txBody>
          <a:bodyPr/>
          <a:lstStyle/>
          <a:p>
            <a:r>
              <a:rPr lang="zh-CN" altLang="en-US" dirty="0">
                <a:cs typeface="+mn-ea"/>
                <a:sym typeface="+mn-lt"/>
              </a:rPr>
              <a:t>目录</a:t>
            </a:r>
            <a:endParaRPr lang="en-US" dirty="0">
              <a:cs typeface="+mn-ea"/>
              <a:sym typeface="+mn-lt"/>
            </a:endParaRPr>
          </a:p>
        </p:txBody>
      </p:sp>
      <p:sp>
        <p:nvSpPr>
          <p:cNvPr id="3" name="文本占位符 2">
            <a:extLst>
              <a:ext uri="{FF2B5EF4-FFF2-40B4-BE49-F238E27FC236}">
                <a16:creationId xmlns:a16="http://schemas.microsoft.com/office/drawing/2014/main" id="{2BB19688-D16D-496D-94F6-06A462BE6167}"/>
              </a:ext>
            </a:extLst>
          </p:cNvPr>
          <p:cNvSpPr>
            <a:spLocks noGrp="1"/>
          </p:cNvSpPr>
          <p:nvPr>
            <p:ph type="body" sz="quarter" idx="10"/>
          </p:nvPr>
        </p:nvSpPr>
        <p:spPr/>
        <p:txBody>
          <a:bodyPr/>
          <a:lstStyle/>
          <a:p>
            <a:pPr algn="dist"/>
            <a:r>
              <a:rPr lang="zh-CN" altLang="en-US"/>
              <a:t>请输入您的标题</a:t>
            </a:r>
            <a:endParaRPr lang="en-US" dirty="0"/>
          </a:p>
        </p:txBody>
      </p:sp>
      <p:sp>
        <p:nvSpPr>
          <p:cNvPr id="4" name="文本占位符 3">
            <a:extLst>
              <a:ext uri="{FF2B5EF4-FFF2-40B4-BE49-F238E27FC236}">
                <a16:creationId xmlns:a16="http://schemas.microsoft.com/office/drawing/2014/main" id="{820336A6-72B2-4972-8C06-841A611DE46E}"/>
              </a:ext>
            </a:extLst>
          </p:cNvPr>
          <p:cNvSpPr>
            <a:spLocks noGrp="1"/>
          </p:cNvSpPr>
          <p:nvPr>
            <p:ph type="body" sz="quarter" idx="11"/>
          </p:nvPr>
        </p:nvSpPr>
        <p:spPr/>
        <p:txBody>
          <a:bodyPr/>
          <a:lstStyle/>
          <a:p>
            <a:pPr algn="dist"/>
            <a:r>
              <a:rPr lang="en-US"/>
              <a:t>Please Enter Your Title Here</a:t>
            </a:r>
            <a:endParaRPr lang="en-US" dirty="0"/>
          </a:p>
        </p:txBody>
      </p:sp>
      <p:sp>
        <p:nvSpPr>
          <p:cNvPr id="5" name="文本占位符 4">
            <a:extLst>
              <a:ext uri="{FF2B5EF4-FFF2-40B4-BE49-F238E27FC236}">
                <a16:creationId xmlns:a16="http://schemas.microsoft.com/office/drawing/2014/main" id="{19A0095D-6495-41E6-9B3C-9D3E24C1136F}"/>
              </a:ext>
            </a:extLst>
          </p:cNvPr>
          <p:cNvSpPr>
            <a:spLocks noGrp="1"/>
          </p:cNvSpPr>
          <p:nvPr>
            <p:ph type="body" sz="quarter" idx="12"/>
          </p:nvPr>
        </p:nvSpPr>
        <p:spPr/>
        <p:txBody>
          <a:bodyPr/>
          <a:lstStyle/>
          <a:p>
            <a:r>
              <a:rPr lang="en-US" altLang="zh-CN" dirty="0"/>
              <a:t>01</a:t>
            </a:r>
            <a:endParaRPr lang="en-US" dirty="0"/>
          </a:p>
        </p:txBody>
      </p:sp>
      <p:sp>
        <p:nvSpPr>
          <p:cNvPr id="6" name="文本占位符 5">
            <a:extLst>
              <a:ext uri="{FF2B5EF4-FFF2-40B4-BE49-F238E27FC236}">
                <a16:creationId xmlns:a16="http://schemas.microsoft.com/office/drawing/2014/main" id="{6F1AC2D5-76F8-45C8-A78D-54CDC048B027}"/>
              </a:ext>
            </a:extLst>
          </p:cNvPr>
          <p:cNvSpPr>
            <a:spLocks noGrp="1"/>
          </p:cNvSpPr>
          <p:nvPr>
            <p:ph type="body" sz="quarter" idx="13"/>
          </p:nvPr>
        </p:nvSpPr>
        <p:spPr/>
        <p:txBody>
          <a:bodyPr/>
          <a:lstStyle/>
          <a:p>
            <a:pPr algn="dist"/>
            <a:r>
              <a:rPr lang="zh-CN" altLang="en-US"/>
              <a:t>请输入您的标题</a:t>
            </a:r>
            <a:endParaRPr lang="en-US"/>
          </a:p>
        </p:txBody>
      </p:sp>
      <p:sp>
        <p:nvSpPr>
          <p:cNvPr id="7" name="文本占位符 6">
            <a:extLst>
              <a:ext uri="{FF2B5EF4-FFF2-40B4-BE49-F238E27FC236}">
                <a16:creationId xmlns:a16="http://schemas.microsoft.com/office/drawing/2014/main" id="{321A0E54-88FD-40B9-91FE-36F6B77915A2}"/>
              </a:ext>
            </a:extLst>
          </p:cNvPr>
          <p:cNvSpPr>
            <a:spLocks noGrp="1"/>
          </p:cNvSpPr>
          <p:nvPr>
            <p:ph type="body" sz="quarter" idx="14"/>
          </p:nvPr>
        </p:nvSpPr>
        <p:spPr/>
        <p:txBody>
          <a:bodyPr/>
          <a:lstStyle/>
          <a:p>
            <a:pPr algn="dist"/>
            <a:r>
              <a:rPr lang="en-US"/>
              <a:t>Please Enter Your Title Here</a:t>
            </a:r>
          </a:p>
        </p:txBody>
      </p:sp>
      <p:sp>
        <p:nvSpPr>
          <p:cNvPr id="8" name="文本占位符 7">
            <a:extLst>
              <a:ext uri="{FF2B5EF4-FFF2-40B4-BE49-F238E27FC236}">
                <a16:creationId xmlns:a16="http://schemas.microsoft.com/office/drawing/2014/main" id="{6222FD85-8B0D-4B5A-9CBA-46F5246F482D}"/>
              </a:ext>
            </a:extLst>
          </p:cNvPr>
          <p:cNvSpPr>
            <a:spLocks noGrp="1"/>
          </p:cNvSpPr>
          <p:nvPr>
            <p:ph type="body" sz="quarter" idx="15"/>
          </p:nvPr>
        </p:nvSpPr>
        <p:spPr/>
        <p:txBody>
          <a:bodyPr/>
          <a:lstStyle/>
          <a:p>
            <a:r>
              <a:rPr lang="en-US" altLang="zh-CN" dirty="0"/>
              <a:t>02</a:t>
            </a:r>
            <a:endParaRPr lang="en-US" dirty="0"/>
          </a:p>
        </p:txBody>
      </p:sp>
      <p:sp>
        <p:nvSpPr>
          <p:cNvPr id="9" name="文本占位符 8">
            <a:extLst>
              <a:ext uri="{FF2B5EF4-FFF2-40B4-BE49-F238E27FC236}">
                <a16:creationId xmlns:a16="http://schemas.microsoft.com/office/drawing/2014/main" id="{6C274F61-379D-4120-8722-48695EB5D685}"/>
              </a:ext>
            </a:extLst>
          </p:cNvPr>
          <p:cNvSpPr>
            <a:spLocks noGrp="1"/>
          </p:cNvSpPr>
          <p:nvPr>
            <p:ph type="body" sz="quarter" idx="19"/>
          </p:nvPr>
        </p:nvSpPr>
        <p:spPr/>
        <p:txBody>
          <a:bodyPr/>
          <a:lstStyle/>
          <a:p>
            <a:pPr algn="dist"/>
            <a:r>
              <a:rPr lang="zh-CN" altLang="en-US"/>
              <a:t>请输入您的标题</a:t>
            </a:r>
            <a:endParaRPr lang="en-US"/>
          </a:p>
        </p:txBody>
      </p:sp>
      <p:sp>
        <p:nvSpPr>
          <p:cNvPr id="10" name="文本占位符 9">
            <a:extLst>
              <a:ext uri="{FF2B5EF4-FFF2-40B4-BE49-F238E27FC236}">
                <a16:creationId xmlns:a16="http://schemas.microsoft.com/office/drawing/2014/main" id="{91C74080-CD30-4341-AC51-5D4A5592960F}"/>
              </a:ext>
            </a:extLst>
          </p:cNvPr>
          <p:cNvSpPr>
            <a:spLocks noGrp="1"/>
          </p:cNvSpPr>
          <p:nvPr>
            <p:ph type="body" sz="quarter" idx="20"/>
          </p:nvPr>
        </p:nvSpPr>
        <p:spPr/>
        <p:txBody>
          <a:bodyPr/>
          <a:lstStyle/>
          <a:p>
            <a:pPr algn="dist"/>
            <a:r>
              <a:rPr lang="en-US"/>
              <a:t>Please Enter Your Title Here</a:t>
            </a:r>
          </a:p>
        </p:txBody>
      </p:sp>
      <p:sp>
        <p:nvSpPr>
          <p:cNvPr id="11" name="文本占位符 10">
            <a:extLst>
              <a:ext uri="{FF2B5EF4-FFF2-40B4-BE49-F238E27FC236}">
                <a16:creationId xmlns:a16="http://schemas.microsoft.com/office/drawing/2014/main" id="{D12B9438-17E1-4718-98B4-A8078DF28AE2}"/>
              </a:ext>
            </a:extLst>
          </p:cNvPr>
          <p:cNvSpPr>
            <a:spLocks noGrp="1"/>
          </p:cNvSpPr>
          <p:nvPr>
            <p:ph type="body" sz="quarter" idx="21"/>
          </p:nvPr>
        </p:nvSpPr>
        <p:spPr/>
        <p:txBody>
          <a:bodyPr/>
          <a:lstStyle/>
          <a:p>
            <a:r>
              <a:rPr lang="en-US" altLang="zh-CN" dirty="0"/>
              <a:t>03</a:t>
            </a:r>
            <a:endParaRPr lang="en-US" dirty="0"/>
          </a:p>
        </p:txBody>
      </p:sp>
      <p:sp>
        <p:nvSpPr>
          <p:cNvPr id="12" name="文本占位符 11">
            <a:extLst>
              <a:ext uri="{FF2B5EF4-FFF2-40B4-BE49-F238E27FC236}">
                <a16:creationId xmlns:a16="http://schemas.microsoft.com/office/drawing/2014/main" id="{91515C71-4CD5-4291-886E-7D1A8E5DFFCB}"/>
              </a:ext>
            </a:extLst>
          </p:cNvPr>
          <p:cNvSpPr>
            <a:spLocks noGrp="1"/>
          </p:cNvSpPr>
          <p:nvPr>
            <p:ph type="body" sz="quarter" idx="22"/>
          </p:nvPr>
        </p:nvSpPr>
        <p:spPr/>
        <p:txBody>
          <a:bodyPr/>
          <a:lstStyle/>
          <a:p>
            <a:pPr algn="dist"/>
            <a:r>
              <a:rPr lang="zh-CN" altLang="en-US"/>
              <a:t>请输入您的标题</a:t>
            </a:r>
            <a:endParaRPr lang="en-US"/>
          </a:p>
        </p:txBody>
      </p:sp>
      <p:sp>
        <p:nvSpPr>
          <p:cNvPr id="13" name="文本占位符 12">
            <a:extLst>
              <a:ext uri="{FF2B5EF4-FFF2-40B4-BE49-F238E27FC236}">
                <a16:creationId xmlns:a16="http://schemas.microsoft.com/office/drawing/2014/main" id="{BE7263C5-D317-414E-91F7-43BCE42A4E9C}"/>
              </a:ext>
            </a:extLst>
          </p:cNvPr>
          <p:cNvSpPr>
            <a:spLocks noGrp="1"/>
          </p:cNvSpPr>
          <p:nvPr>
            <p:ph type="body" sz="quarter" idx="23"/>
          </p:nvPr>
        </p:nvSpPr>
        <p:spPr/>
        <p:txBody>
          <a:bodyPr/>
          <a:lstStyle/>
          <a:p>
            <a:pPr algn="dist"/>
            <a:r>
              <a:rPr lang="en-US"/>
              <a:t>Please Enter Your Title Here</a:t>
            </a:r>
          </a:p>
        </p:txBody>
      </p:sp>
      <p:sp>
        <p:nvSpPr>
          <p:cNvPr id="14" name="文本占位符 13">
            <a:extLst>
              <a:ext uri="{FF2B5EF4-FFF2-40B4-BE49-F238E27FC236}">
                <a16:creationId xmlns:a16="http://schemas.microsoft.com/office/drawing/2014/main" id="{03C754F6-D3DA-4BAC-A2AE-0FFCDB0F31C0}"/>
              </a:ext>
            </a:extLst>
          </p:cNvPr>
          <p:cNvSpPr>
            <a:spLocks noGrp="1"/>
          </p:cNvSpPr>
          <p:nvPr>
            <p:ph type="body" sz="quarter" idx="24"/>
          </p:nvPr>
        </p:nvSpPr>
        <p:spPr/>
        <p:txBody>
          <a:bodyPr/>
          <a:lstStyle/>
          <a:p>
            <a:r>
              <a:rPr lang="en-US" altLang="zh-CN" dirty="0"/>
              <a:t>04</a:t>
            </a:r>
            <a:endParaRPr lang="en-US" dirty="0"/>
          </a:p>
        </p:txBody>
      </p:sp>
      <p:grpSp>
        <p:nvGrpSpPr>
          <p:cNvPr id="15" name="组合 14">
            <a:extLst>
              <a:ext uri="{FF2B5EF4-FFF2-40B4-BE49-F238E27FC236}">
                <a16:creationId xmlns:a16="http://schemas.microsoft.com/office/drawing/2014/main" id="{EA1DB8A3-E5A4-47E2-876B-602D34F26C0E}"/>
              </a:ext>
            </a:extLst>
          </p:cNvPr>
          <p:cNvGrpSpPr/>
          <p:nvPr/>
        </p:nvGrpSpPr>
        <p:grpSpPr>
          <a:xfrm>
            <a:off x="0" y="-715587"/>
            <a:ext cx="676656" cy="602672"/>
            <a:chOff x="0" y="6950133"/>
            <a:chExt cx="676656" cy="602672"/>
          </a:xfrm>
        </p:grpSpPr>
        <p:sp>
          <p:nvSpPr>
            <p:cNvPr id="16" name="矩形 15">
              <a:extLst>
                <a:ext uri="{FF2B5EF4-FFF2-40B4-BE49-F238E27FC236}">
                  <a16:creationId xmlns:a16="http://schemas.microsoft.com/office/drawing/2014/main" id="{411417BC-EA84-44C6-8777-2A0F16AE85CD}"/>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7" name="组合 16">
              <a:extLst>
                <a:ext uri="{FF2B5EF4-FFF2-40B4-BE49-F238E27FC236}">
                  <a16:creationId xmlns:a16="http://schemas.microsoft.com/office/drawing/2014/main" id="{7487183B-110B-406D-BD7C-2F638D3C1CE6}"/>
                </a:ext>
              </a:extLst>
            </p:cNvPr>
            <p:cNvGrpSpPr/>
            <p:nvPr/>
          </p:nvGrpSpPr>
          <p:grpSpPr>
            <a:xfrm>
              <a:off x="47544" y="7038552"/>
              <a:ext cx="581568" cy="425834"/>
              <a:chOff x="84575" y="6977592"/>
              <a:chExt cx="581568" cy="425834"/>
            </a:xfrm>
          </p:grpSpPr>
          <p:grpSp>
            <p:nvGrpSpPr>
              <p:cNvPr id="18" name="组合 17">
                <a:extLst>
                  <a:ext uri="{FF2B5EF4-FFF2-40B4-BE49-F238E27FC236}">
                    <a16:creationId xmlns:a16="http://schemas.microsoft.com/office/drawing/2014/main" id="{936C9366-10AE-4363-A2FC-15EFDBE69286}"/>
                  </a:ext>
                </a:extLst>
              </p:cNvPr>
              <p:cNvGrpSpPr/>
              <p:nvPr/>
            </p:nvGrpSpPr>
            <p:grpSpPr>
              <a:xfrm>
                <a:off x="84575" y="6979654"/>
                <a:ext cx="317380" cy="421711"/>
                <a:chOff x="14690033" y="2185397"/>
                <a:chExt cx="583830" cy="775754"/>
              </a:xfrm>
            </p:grpSpPr>
            <p:sp>
              <p:nvSpPr>
                <p:cNvPr id="20" name="iŝļíḑe">
                  <a:extLst>
                    <a:ext uri="{FF2B5EF4-FFF2-40B4-BE49-F238E27FC236}">
                      <a16:creationId xmlns:a16="http://schemas.microsoft.com/office/drawing/2014/main" id="{8DA1DAF9-A96D-4B42-B798-8AD5FF4C3397}"/>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şḷíḍé">
                  <a:extLst>
                    <a:ext uri="{FF2B5EF4-FFF2-40B4-BE49-F238E27FC236}">
                      <a16:creationId xmlns:a16="http://schemas.microsoft.com/office/drawing/2014/main" id="{3C994677-0CF6-48E5-A2A7-44B4AD65B796}"/>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Sľïḓe">
                  <a:extLst>
                    <a:ext uri="{FF2B5EF4-FFF2-40B4-BE49-F238E27FC236}">
                      <a16:creationId xmlns:a16="http://schemas.microsoft.com/office/drawing/2014/main" id="{986FA215-074A-4B78-9A29-02B407D4B7C3}"/>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ïsḻídê">
                  <a:extLst>
                    <a:ext uri="{FF2B5EF4-FFF2-40B4-BE49-F238E27FC236}">
                      <a16:creationId xmlns:a16="http://schemas.microsoft.com/office/drawing/2014/main" id="{C23D396D-D3BD-444C-8FBE-9B91023A1800}"/>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S1íḋè">
                  <a:extLst>
                    <a:ext uri="{FF2B5EF4-FFF2-40B4-BE49-F238E27FC236}">
                      <a16:creationId xmlns:a16="http://schemas.microsoft.com/office/drawing/2014/main" id="{6496C6BE-7B18-406D-8AE4-BF12B35EA0D3}"/>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şļíde">
                  <a:extLst>
                    <a:ext uri="{FF2B5EF4-FFF2-40B4-BE49-F238E27FC236}">
                      <a16:creationId xmlns:a16="http://schemas.microsoft.com/office/drawing/2014/main" id="{E53AC656-CE2D-41A2-9E7E-5A958FD0E5E7}"/>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9" name="文本框 18">
                <a:extLst>
                  <a:ext uri="{FF2B5EF4-FFF2-40B4-BE49-F238E27FC236}">
                    <a16:creationId xmlns:a16="http://schemas.microsoft.com/office/drawing/2014/main" id="{5182FA75-BAD9-4775-8D4A-11367FE3B6FF}"/>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6" name="矩形 25">
            <a:extLst>
              <a:ext uri="{FF2B5EF4-FFF2-40B4-BE49-F238E27FC236}">
                <a16:creationId xmlns:a16="http://schemas.microsoft.com/office/drawing/2014/main" id="{F22FBAC8-A0A8-4346-BD38-5EDFA8A0FC65}"/>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目录</a:t>
            </a:r>
            <a:r>
              <a:rPr lang="en-US" altLang="zh-CN" spc="100" dirty="0">
                <a:solidFill>
                  <a:schemeClr val="tx1">
                    <a:lumMod val="65000"/>
                    <a:lumOff val="35000"/>
                  </a:schemeClr>
                </a:solidFill>
              </a:rPr>
              <a:t>3-1】</a:t>
            </a:r>
          </a:p>
        </p:txBody>
      </p:sp>
    </p:spTree>
    <p:extLst>
      <p:ext uri="{BB962C8B-B14F-4D97-AF65-F5344CB8AC3E}">
        <p14:creationId xmlns:p14="http://schemas.microsoft.com/office/powerpoint/2010/main" val="11356382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EAD680A-B2F9-4B03-96EA-BC86EAF9F134}"/>
              </a:ext>
            </a:extLst>
          </p:cNvPr>
          <p:cNvSpPr>
            <a:spLocks noGrp="1"/>
          </p:cNvSpPr>
          <p:nvPr>
            <p:ph type="ctrTitle"/>
          </p:nvPr>
        </p:nvSpPr>
        <p:spPr/>
        <p:txBody>
          <a:bodyPr/>
          <a:lstStyle/>
          <a:p>
            <a:r>
              <a:rPr lang="zh-CN" altLang="en-US" dirty="0"/>
              <a:t>目录</a:t>
            </a:r>
            <a:endParaRPr lang="en-US" dirty="0"/>
          </a:p>
        </p:txBody>
      </p:sp>
      <p:sp>
        <p:nvSpPr>
          <p:cNvPr id="3" name="文本占位符 2">
            <a:extLst>
              <a:ext uri="{FF2B5EF4-FFF2-40B4-BE49-F238E27FC236}">
                <a16:creationId xmlns:a16="http://schemas.microsoft.com/office/drawing/2014/main" id="{56236D3C-FB20-4363-968B-938E7BF49E4D}"/>
              </a:ext>
            </a:extLst>
          </p:cNvPr>
          <p:cNvSpPr>
            <a:spLocks noGrp="1"/>
          </p:cNvSpPr>
          <p:nvPr>
            <p:ph type="body" sz="quarter" idx="10"/>
          </p:nvPr>
        </p:nvSpPr>
        <p:spPr/>
        <p:txBody>
          <a:bodyPr/>
          <a:lstStyle/>
          <a:p>
            <a:pPr algn="dist"/>
            <a:r>
              <a:rPr lang="zh-CN" altLang="en-US"/>
              <a:t>请输入您的标题</a:t>
            </a:r>
            <a:endParaRPr lang="en-US"/>
          </a:p>
        </p:txBody>
      </p:sp>
      <p:sp>
        <p:nvSpPr>
          <p:cNvPr id="4" name="文本占位符 3">
            <a:extLst>
              <a:ext uri="{FF2B5EF4-FFF2-40B4-BE49-F238E27FC236}">
                <a16:creationId xmlns:a16="http://schemas.microsoft.com/office/drawing/2014/main" id="{DBBA9743-6773-49BE-A425-8BD0B742A2C8}"/>
              </a:ext>
            </a:extLst>
          </p:cNvPr>
          <p:cNvSpPr>
            <a:spLocks noGrp="1"/>
          </p:cNvSpPr>
          <p:nvPr>
            <p:ph type="body" sz="quarter" idx="11"/>
          </p:nvPr>
        </p:nvSpPr>
        <p:spPr/>
        <p:txBody>
          <a:bodyPr/>
          <a:lstStyle/>
          <a:p>
            <a:pPr algn="dist"/>
            <a:r>
              <a:rPr lang="en-US"/>
              <a:t>Please Enter Your Title Here</a:t>
            </a:r>
            <a:endParaRPr lang="en-US" dirty="0"/>
          </a:p>
        </p:txBody>
      </p:sp>
      <p:sp>
        <p:nvSpPr>
          <p:cNvPr id="5" name="文本占位符 4">
            <a:extLst>
              <a:ext uri="{FF2B5EF4-FFF2-40B4-BE49-F238E27FC236}">
                <a16:creationId xmlns:a16="http://schemas.microsoft.com/office/drawing/2014/main" id="{A2007CC8-2E7C-48BE-BDCA-058DE8BE745B}"/>
              </a:ext>
            </a:extLst>
          </p:cNvPr>
          <p:cNvSpPr>
            <a:spLocks noGrp="1"/>
          </p:cNvSpPr>
          <p:nvPr>
            <p:ph type="body" sz="quarter" idx="12"/>
          </p:nvPr>
        </p:nvSpPr>
        <p:spPr>
          <a:xfrm>
            <a:off x="634815" y="4124128"/>
            <a:ext cx="748923" cy="830997"/>
          </a:xfrm>
        </p:spPr>
        <p:txBody>
          <a:bodyPr/>
          <a:lstStyle/>
          <a:p>
            <a:r>
              <a:rPr lang="en-US" dirty="0"/>
              <a:t>01</a:t>
            </a:r>
          </a:p>
        </p:txBody>
      </p:sp>
      <p:sp>
        <p:nvSpPr>
          <p:cNvPr id="6" name="文本占位符 5">
            <a:extLst>
              <a:ext uri="{FF2B5EF4-FFF2-40B4-BE49-F238E27FC236}">
                <a16:creationId xmlns:a16="http://schemas.microsoft.com/office/drawing/2014/main" id="{5701AEC2-E4A5-455C-98C6-21AC9097FE0A}"/>
              </a:ext>
            </a:extLst>
          </p:cNvPr>
          <p:cNvSpPr>
            <a:spLocks noGrp="1"/>
          </p:cNvSpPr>
          <p:nvPr>
            <p:ph type="body" sz="quarter" idx="13"/>
          </p:nvPr>
        </p:nvSpPr>
        <p:spPr/>
        <p:txBody>
          <a:bodyPr/>
          <a:lstStyle/>
          <a:p>
            <a:pPr algn="dist"/>
            <a:r>
              <a:rPr lang="zh-CN" altLang="en-US"/>
              <a:t>请输入您的标题</a:t>
            </a:r>
            <a:endParaRPr lang="en-US" dirty="0"/>
          </a:p>
        </p:txBody>
      </p:sp>
      <p:sp>
        <p:nvSpPr>
          <p:cNvPr id="7" name="文本占位符 6">
            <a:extLst>
              <a:ext uri="{FF2B5EF4-FFF2-40B4-BE49-F238E27FC236}">
                <a16:creationId xmlns:a16="http://schemas.microsoft.com/office/drawing/2014/main" id="{D91ACD22-6182-4481-B295-0152595A3155}"/>
              </a:ext>
            </a:extLst>
          </p:cNvPr>
          <p:cNvSpPr>
            <a:spLocks noGrp="1"/>
          </p:cNvSpPr>
          <p:nvPr>
            <p:ph type="body" sz="quarter" idx="14"/>
          </p:nvPr>
        </p:nvSpPr>
        <p:spPr/>
        <p:txBody>
          <a:bodyPr/>
          <a:lstStyle/>
          <a:p>
            <a:pPr algn="dist"/>
            <a:r>
              <a:rPr lang="en-US"/>
              <a:t>Please Enter Your Title Here</a:t>
            </a:r>
          </a:p>
        </p:txBody>
      </p:sp>
      <p:sp>
        <p:nvSpPr>
          <p:cNvPr id="8" name="文本占位符 7">
            <a:extLst>
              <a:ext uri="{FF2B5EF4-FFF2-40B4-BE49-F238E27FC236}">
                <a16:creationId xmlns:a16="http://schemas.microsoft.com/office/drawing/2014/main" id="{CE3FAC0F-CA33-461D-BB9A-AA33FB8F462A}"/>
              </a:ext>
            </a:extLst>
          </p:cNvPr>
          <p:cNvSpPr>
            <a:spLocks noGrp="1"/>
          </p:cNvSpPr>
          <p:nvPr>
            <p:ph type="body" sz="quarter" idx="15"/>
          </p:nvPr>
        </p:nvSpPr>
        <p:spPr>
          <a:xfrm>
            <a:off x="1516234" y="2279287"/>
            <a:ext cx="824265" cy="830997"/>
          </a:xfrm>
        </p:spPr>
        <p:txBody>
          <a:bodyPr/>
          <a:lstStyle/>
          <a:p>
            <a:r>
              <a:rPr lang="en-US" dirty="0"/>
              <a:t>02</a:t>
            </a:r>
          </a:p>
        </p:txBody>
      </p:sp>
      <p:sp>
        <p:nvSpPr>
          <p:cNvPr id="9" name="文本占位符 8">
            <a:extLst>
              <a:ext uri="{FF2B5EF4-FFF2-40B4-BE49-F238E27FC236}">
                <a16:creationId xmlns:a16="http://schemas.microsoft.com/office/drawing/2014/main" id="{66E0C436-DC11-4D8A-BEDF-F6AC1BB70BDE}"/>
              </a:ext>
            </a:extLst>
          </p:cNvPr>
          <p:cNvSpPr>
            <a:spLocks noGrp="1"/>
          </p:cNvSpPr>
          <p:nvPr>
            <p:ph type="body" sz="quarter" idx="16"/>
          </p:nvPr>
        </p:nvSpPr>
        <p:spPr/>
        <p:txBody>
          <a:bodyPr/>
          <a:lstStyle/>
          <a:p>
            <a:pPr algn="dist"/>
            <a:r>
              <a:rPr lang="zh-CN" altLang="en-US"/>
              <a:t>请输入您的标题</a:t>
            </a:r>
            <a:endParaRPr lang="en-US"/>
          </a:p>
        </p:txBody>
      </p:sp>
      <p:sp>
        <p:nvSpPr>
          <p:cNvPr id="10" name="文本占位符 9">
            <a:extLst>
              <a:ext uri="{FF2B5EF4-FFF2-40B4-BE49-F238E27FC236}">
                <a16:creationId xmlns:a16="http://schemas.microsoft.com/office/drawing/2014/main" id="{8EC6ED99-F79B-4114-97CD-9ECF1EF5BF57}"/>
              </a:ext>
            </a:extLst>
          </p:cNvPr>
          <p:cNvSpPr>
            <a:spLocks noGrp="1"/>
          </p:cNvSpPr>
          <p:nvPr>
            <p:ph type="body" sz="quarter" idx="17"/>
          </p:nvPr>
        </p:nvSpPr>
        <p:spPr/>
        <p:txBody>
          <a:bodyPr/>
          <a:lstStyle/>
          <a:p>
            <a:pPr algn="dist"/>
            <a:r>
              <a:rPr lang="en-US"/>
              <a:t>Please Enter Your Title Here</a:t>
            </a:r>
          </a:p>
        </p:txBody>
      </p:sp>
      <p:sp>
        <p:nvSpPr>
          <p:cNvPr id="11" name="文本占位符 10">
            <a:extLst>
              <a:ext uri="{FF2B5EF4-FFF2-40B4-BE49-F238E27FC236}">
                <a16:creationId xmlns:a16="http://schemas.microsoft.com/office/drawing/2014/main" id="{E5CECB1F-6E94-4B3E-8F1E-E440C1C6B734}"/>
              </a:ext>
            </a:extLst>
          </p:cNvPr>
          <p:cNvSpPr>
            <a:spLocks noGrp="1"/>
          </p:cNvSpPr>
          <p:nvPr>
            <p:ph type="body" sz="quarter" idx="18"/>
          </p:nvPr>
        </p:nvSpPr>
        <p:spPr>
          <a:xfrm>
            <a:off x="4227171" y="799831"/>
            <a:ext cx="841897" cy="830997"/>
          </a:xfrm>
        </p:spPr>
        <p:txBody>
          <a:bodyPr/>
          <a:lstStyle/>
          <a:p>
            <a:r>
              <a:rPr lang="en-US" dirty="0"/>
              <a:t>03</a:t>
            </a:r>
          </a:p>
        </p:txBody>
      </p:sp>
      <p:sp>
        <p:nvSpPr>
          <p:cNvPr id="12" name="文本占位符 11">
            <a:extLst>
              <a:ext uri="{FF2B5EF4-FFF2-40B4-BE49-F238E27FC236}">
                <a16:creationId xmlns:a16="http://schemas.microsoft.com/office/drawing/2014/main" id="{A4FB559C-5345-45A4-AB5B-3C7AFD02215D}"/>
              </a:ext>
            </a:extLst>
          </p:cNvPr>
          <p:cNvSpPr>
            <a:spLocks noGrp="1"/>
          </p:cNvSpPr>
          <p:nvPr>
            <p:ph type="body" sz="quarter" idx="19"/>
          </p:nvPr>
        </p:nvSpPr>
        <p:spPr/>
        <p:txBody>
          <a:bodyPr/>
          <a:lstStyle/>
          <a:p>
            <a:pPr algn="dist"/>
            <a:r>
              <a:rPr lang="zh-CN" altLang="en-US"/>
              <a:t>请输入您的标题</a:t>
            </a:r>
            <a:endParaRPr lang="en-US"/>
          </a:p>
        </p:txBody>
      </p:sp>
      <p:sp>
        <p:nvSpPr>
          <p:cNvPr id="13" name="文本占位符 12">
            <a:extLst>
              <a:ext uri="{FF2B5EF4-FFF2-40B4-BE49-F238E27FC236}">
                <a16:creationId xmlns:a16="http://schemas.microsoft.com/office/drawing/2014/main" id="{F215DF72-7BA7-48DE-BC4E-26EC5D21649A}"/>
              </a:ext>
            </a:extLst>
          </p:cNvPr>
          <p:cNvSpPr>
            <a:spLocks noGrp="1"/>
          </p:cNvSpPr>
          <p:nvPr>
            <p:ph type="body" sz="quarter" idx="20"/>
          </p:nvPr>
        </p:nvSpPr>
        <p:spPr/>
        <p:txBody>
          <a:bodyPr/>
          <a:lstStyle/>
          <a:p>
            <a:pPr algn="dist"/>
            <a:r>
              <a:rPr lang="en-US"/>
              <a:t>Please Enter Your Title Here</a:t>
            </a:r>
          </a:p>
        </p:txBody>
      </p:sp>
      <p:sp>
        <p:nvSpPr>
          <p:cNvPr id="14" name="文本占位符 13">
            <a:extLst>
              <a:ext uri="{FF2B5EF4-FFF2-40B4-BE49-F238E27FC236}">
                <a16:creationId xmlns:a16="http://schemas.microsoft.com/office/drawing/2014/main" id="{43D6988B-CECA-4C10-BE73-E7EED3E70ECD}"/>
              </a:ext>
            </a:extLst>
          </p:cNvPr>
          <p:cNvSpPr>
            <a:spLocks noGrp="1"/>
          </p:cNvSpPr>
          <p:nvPr>
            <p:ph type="body" sz="quarter" idx="21"/>
          </p:nvPr>
        </p:nvSpPr>
        <p:spPr>
          <a:xfrm>
            <a:off x="6957782" y="2273054"/>
            <a:ext cx="822661" cy="830997"/>
          </a:xfrm>
        </p:spPr>
        <p:txBody>
          <a:bodyPr/>
          <a:lstStyle/>
          <a:p>
            <a:r>
              <a:rPr lang="en-US" dirty="0"/>
              <a:t>04</a:t>
            </a:r>
          </a:p>
        </p:txBody>
      </p:sp>
      <p:sp>
        <p:nvSpPr>
          <p:cNvPr id="15" name="文本占位符 14">
            <a:extLst>
              <a:ext uri="{FF2B5EF4-FFF2-40B4-BE49-F238E27FC236}">
                <a16:creationId xmlns:a16="http://schemas.microsoft.com/office/drawing/2014/main" id="{B77106A7-F999-4480-9F69-71F4DBE1CB01}"/>
              </a:ext>
            </a:extLst>
          </p:cNvPr>
          <p:cNvSpPr>
            <a:spLocks noGrp="1"/>
          </p:cNvSpPr>
          <p:nvPr>
            <p:ph type="body" sz="quarter" idx="22"/>
          </p:nvPr>
        </p:nvSpPr>
        <p:spPr/>
        <p:txBody>
          <a:bodyPr/>
          <a:lstStyle/>
          <a:p>
            <a:pPr algn="dist"/>
            <a:r>
              <a:rPr lang="zh-CN" altLang="en-US" dirty="0"/>
              <a:t>请输入您的标题</a:t>
            </a:r>
            <a:endParaRPr lang="en-US" dirty="0"/>
          </a:p>
        </p:txBody>
      </p:sp>
      <p:sp>
        <p:nvSpPr>
          <p:cNvPr id="16" name="文本占位符 15">
            <a:extLst>
              <a:ext uri="{FF2B5EF4-FFF2-40B4-BE49-F238E27FC236}">
                <a16:creationId xmlns:a16="http://schemas.microsoft.com/office/drawing/2014/main" id="{695E3D29-7B2B-4701-8DD2-8038C72CB47A}"/>
              </a:ext>
            </a:extLst>
          </p:cNvPr>
          <p:cNvSpPr>
            <a:spLocks noGrp="1"/>
          </p:cNvSpPr>
          <p:nvPr>
            <p:ph type="body" sz="quarter" idx="23"/>
          </p:nvPr>
        </p:nvSpPr>
        <p:spPr/>
        <p:txBody>
          <a:bodyPr/>
          <a:lstStyle/>
          <a:p>
            <a:pPr algn="dist"/>
            <a:r>
              <a:rPr lang="en-US"/>
              <a:t>Please Enter Your Title Here</a:t>
            </a:r>
          </a:p>
        </p:txBody>
      </p:sp>
      <p:sp>
        <p:nvSpPr>
          <p:cNvPr id="17" name="文本占位符 16">
            <a:extLst>
              <a:ext uri="{FF2B5EF4-FFF2-40B4-BE49-F238E27FC236}">
                <a16:creationId xmlns:a16="http://schemas.microsoft.com/office/drawing/2014/main" id="{FB3E66B6-EA24-4DE6-B10A-10C5F7392822}"/>
              </a:ext>
            </a:extLst>
          </p:cNvPr>
          <p:cNvSpPr>
            <a:spLocks noGrp="1"/>
          </p:cNvSpPr>
          <p:nvPr>
            <p:ph type="body" sz="quarter" idx="24"/>
          </p:nvPr>
        </p:nvSpPr>
        <p:spPr>
          <a:xfrm>
            <a:off x="8118869" y="4154979"/>
            <a:ext cx="845103" cy="830997"/>
          </a:xfrm>
        </p:spPr>
        <p:txBody>
          <a:bodyPr/>
          <a:lstStyle/>
          <a:p>
            <a:r>
              <a:rPr lang="en-US" dirty="0"/>
              <a:t>05</a:t>
            </a:r>
          </a:p>
        </p:txBody>
      </p:sp>
    </p:spTree>
    <p:extLst>
      <p:ext uri="{BB962C8B-B14F-4D97-AF65-F5344CB8AC3E}">
        <p14:creationId xmlns:p14="http://schemas.microsoft.com/office/powerpoint/2010/main" val="2269909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副标题 11">
            <a:extLst>
              <a:ext uri="{FF2B5EF4-FFF2-40B4-BE49-F238E27FC236}">
                <a16:creationId xmlns:a16="http://schemas.microsoft.com/office/drawing/2014/main" id="{A028CEB3-681D-439F-8198-611ACE9EA677}"/>
              </a:ext>
            </a:extLst>
          </p:cNvPr>
          <p:cNvSpPr>
            <a:spLocks noGrp="1"/>
          </p:cNvSpPr>
          <p:nvPr>
            <p:ph type="subTitle" idx="1"/>
          </p:nvPr>
        </p:nvSpPr>
        <p:spPr/>
        <p:txBody>
          <a:bodyPr/>
          <a:lstStyle/>
          <a:p>
            <a:r>
              <a:rPr lang="en-US" altLang="zh-CN" spc="0" dirty="0">
                <a:cs typeface="+mn-ea"/>
                <a:sym typeface="+mn-lt"/>
              </a:rPr>
              <a:t>RESEARCH BACKGROUND AND CURRENT SITUATION</a:t>
            </a:r>
          </a:p>
        </p:txBody>
      </p:sp>
      <p:sp>
        <p:nvSpPr>
          <p:cNvPr id="11" name="标题 10">
            <a:extLst>
              <a:ext uri="{FF2B5EF4-FFF2-40B4-BE49-F238E27FC236}">
                <a16:creationId xmlns:a16="http://schemas.microsoft.com/office/drawing/2014/main" id="{00C52452-9357-4DD5-A572-E282928AC659}"/>
              </a:ext>
            </a:extLst>
          </p:cNvPr>
          <p:cNvSpPr>
            <a:spLocks noGrp="1"/>
          </p:cNvSpPr>
          <p:nvPr>
            <p:ph type="ctrTitle"/>
          </p:nvPr>
        </p:nvSpPr>
        <p:spPr/>
        <p:txBody>
          <a:bodyPr/>
          <a:lstStyle/>
          <a:p>
            <a:r>
              <a:rPr lang="zh-CN" altLang="en-US" dirty="0">
                <a:cs typeface="+mn-ea"/>
                <a:sym typeface="+mn-lt"/>
              </a:rPr>
              <a:t>研究背景与现状</a:t>
            </a:r>
            <a:endParaRPr lang="en-US" dirty="0">
              <a:cs typeface="+mn-ea"/>
              <a:sym typeface="+mn-lt"/>
            </a:endParaRPr>
          </a:p>
        </p:txBody>
      </p:sp>
      <p:sp>
        <p:nvSpPr>
          <p:cNvPr id="13" name="文本占位符 12">
            <a:extLst>
              <a:ext uri="{FF2B5EF4-FFF2-40B4-BE49-F238E27FC236}">
                <a16:creationId xmlns:a16="http://schemas.microsoft.com/office/drawing/2014/main" id="{E09DA41F-82A2-4554-98CF-E5181494BB12}"/>
              </a:ext>
            </a:extLst>
          </p:cNvPr>
          <p:cNvSpPr>
            <a:spLocks noGrp="1"/>
          </p:cNvSpPr>
          <p:nvPr>
            <p:ph type="body" sz="quarter" idx="12"/>
          </p:nvPr>
        </p:nvSpPr>
        <p:spPr/>
        <p:txBody>
          <a:bodyPr/>
          <a:lstStyle/>
          <a:p>
            <a:pPr indent="0">
              <a:buNone/>
            </a:pPr>
            <a:r>
              <a:rPr lang="en-US" altLang="zh-CN" dirty="0">
                <a:cs typeface="+mn-ea"/>
                <a:sym typeface="+mn-lt"/>
              </a:rPr>
              <a:t>01</a:t>
            </a:r>
            <a:endParaRPr lang="en-US" dirty="0">
              <a:cs typeface="+mn-ea"/>
              <a:sym typeface="+mn-lt"/>
            </a:endParaRPr>
          </a:p>
        </p:txBody>
      </p:sp>
      <p:grpSp>
        <p:nvGrpSpPr>
          <p:cNvPr id="5" name="组合 4">
            <a:extLst>
              <a:ext uri="{FF2B5EF4-FFF2-40B4-BE49-F238E27FC236}">
                <a16:creationId xmlns:a16="http://schemas.microsoft.com/office/drawing/2014/main" id="{92285EE4-A064-4399-90EB-067403CADC47}"/>
              </a:ext>
            </a:extLst>
          </p:cNvPr>
          <p:cNvGrpSpPr/>
          <p:nvPr/>
        </p:nvGrpSpPr>
        <p:grpSpPr>
          <a:xfrm>
            <a:off x="0" y="-715587"/>
            <a:ext cx="676656" cy="602672"/>
            <a:chOff x="0" y="6950133"/>
            <a:chExt cx="676656" cy="602672"/>
          </a:xfrm>
        </p:grpSpPr>
        <p:sp>
          <p:nvSpPr>
            <p:cNvPr id="6" name="矩形 5">
              <a:extLst>
                <a:ext uri="{FF2B5EF4-FFF2-40B4-BE49-F238E27FC236}">
                  <a16:creationId xmlns:a16="http://schemas.microsoft.com/office/drawing/2014/main" id="{956CA06B-06E4-4F89-8FE2-A44EF4DA9B2B}"/>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7" name="组合 6">
              <a:extLst>
                <a:ext uri="{FF2B5EF4-FFF2-40B4-BE49-F238E27FC236}">
                  <a16:creationId xmlns:a16="http://schemas.microsoft.com/office/drawing/2014/main" id="{C636EEAC-4887-40D0-B831-CF894086F881}"/>
                </a:ext>
              </a:extLst>
            </p:cNvPr>
            <p:cNvGrpSpPr/>
            <p:nvPr/>
          </p:nvGrpSpPr>
          <p:grpSpPr>
            <a:xfrm>
              <a:off x="47544" y="7038552"/>
              <a:ext cx="581568" cy="425834"/>
              <a:chOff x="84575" y="6977592"/>
              <a:chExt cx="581568" cy="425834"/>
            </a:xfrm>
          </p:grpSpPr>
          <p:grpSp>
            <p:nvGrpSpPr>
              <p:cNvPr id="8" name="组合 7">
                <a:extLst>
                  <a:ext uri="{FF2B5EF4-FFF2-40B4-BE49-F238E27FC236}">
                    <a16:creationId xmlns:a16="http://schemas.microsoft.com/office/drawing/2014/main" id="{9EB883EF-FC29-4973-A0B1-40EBFF83BA1F}"/>
                  </a:ext>
                </a:extLst>
              </p:cNvPr>
              <p:cNvGrpSpPr/>
              <p:nvPr/>
            </p:nvGrpSpPr>
            <p:grpSpPr>
              <a:xfrm>
                <a:off x="84575" y="6979654"/>
                <a:ext cx="317380" cy="421711"/>
                <a:chOff x="14690033" y="2185397"/>
                <a:chExt cx="583830" cy="775754"/>
              </a:xfrm>
            </p:grpSpPr>
            <p:sp>
              <p:nvSpPr>
                <p:cNvPr id="10" name="iŝļíḑe">
                  <a:extLst>
                    <a:ext uri="{FF2B5EF4-FFF2-40B4-BE49-F238E27FC236}">
                      <a16:creationId xmlns:a16="http://schemas.microsoft.com/office/drawing/2014/main" id="{54DC0BE1-9DC6-48B5-851A-70185F7A3084}"/>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şḷíḍé">
                  <a:extLst>
                    <a:ext uri="{FF2B5EF4-FFF2-40B4-BE49-F238E27FC236}">
                      <a16:creationId xmlns:a16="http://schemas.microsoft.com/office/drawing/2014/main" id="{6300E27B-233B-4DC3-8B31-BAC92E57B3F8}"/>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ľïḓe">
                  <a:extLst>
                    <a:ext uri="{FF2B5EF4-FFF2-40B4-BE49-F238E27FC236}">
                      <a16:creationId xmlns:a16="http://schemas.microsoft.com/office/drawing/2014/main" id="{5B26EC4D-D9AD-4A5C-B020-9EB24F438E6A}"/>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ídê">
                  <a:extLst>
                    <a:ext uri="{FF2B5EF4-FFF2-40B4-BE49-F238E27FC236}">
                      <a16:creationId xmlns:a16="http://schemas.microsoft.com/office/drawing/2014/main" id="{3F14B47E-1405-452A-853A-4C4FFA0AF80C}"/>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îS1íḋè">
                  <a:extLst>
                    <a:ext uri="{FF2B5EF4-FFF2-40B4-BE49-F238E27FC236}">
                      <a16:creationId xmlns:a16="http://schemas.microsoft.com/office/drawing/2014/main" id="{8C938BAE-F9EF-4A0E-ADE0-0D05410747AC}"/>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şļíde">
                  <a:extLst>
                    <a:ext uri="{FF2B5EF4-FFF2-40B4-BE49-F238E27FC236}">
                      <a16:creationId xmlns:a16="http://schemas.microsoft.com/office/drawing/2014/main" id="{403DB91B-341A-4AA4-B2EA-BCC3CF9D8CCB}"/>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 name="文本框 8">
                <a:extLst>
                  <a:ext uri="{FF2B5EF4-FFF2-40B4-BE49-F238E27FC236}">
                    <a16:creationId xmlns:a16="http://schemas.microsoft.com/office/drawing/2014/main" id="{F7DFAB25-E939-4760-86A9-7941B3870F66}"/>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a:extLst>
              <a:ext uri="{FF2B5EF4-FFF2-40B4-BE49-F238E27FC236}">
                <a16:creationId xmlns:a16="http://schemas.microsoft.com/office/drawing/2014/main" id="{23595ED8-D5C8-4F53-A9FB-BAB397A7FA7C}"/>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1979009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5">
            <a:extLst>
              <a:ext uri="{FF2B5EF4-FFF2-40B4-BE49-F238E27FC236}">
                <a16:creationId xmlns:a16="http://schemas.microsoft.com/office/drawing/2014/main" id="{4215C868-8EBA-48B3-8EEB-53DA5354CC9D}"/>
              </a:ext>
            </a:extLst>
          </p:cNvPr>
          <p:cNvSpPr>
            <a:spLocks noGrp="1"/>
          </p:cNvSpPr>
          <p:nvPr>
            <p:ph type="subTitle" idx="1"/>
          </p:nvPr>
        </p:nvSpPr>
        <p:spPr/>
        <p:txBody>
          <a:bodyPr/>
          <a:lstStyle/>
          <a:p>
            <a:r>
              <a:rPr lang="en-US" altLang="zh-CN" spc="0" dirty="0">
                <a:cs typeface="+mn-ea"/>
                <a:sym typeface="+mn-lt"/>
              </a:rPr>
              <a:t>RESEARCH BACKGROUND AND CURRENT SITUATION</a:t>
            </a:r>
          </a:p>
        </p:txBody>
      </p:sp>
      <p:sp>
        <p:nvSpPr>
          <p:cNvPr id="2" name="标题 1">
            <a:extLst>
              <a:ext uri="{FF2B5EF4-FFF2-40B4-BE49-F238E27FC236}">
                <a16:creationId xmlns:a16="http://schemas.microsoft.com/office/drawing/2014/main" id="{3E1267DB-E63C-4CE5-9302-F51CE2F29DA9}"/>
              </a:ext>
            </a:extLst>
          </p:cNvPr>
          <p:cNvSpPr>
            <a:spLocks noGrp="1"/>
          </p:cNvSpPr>
          <p:nvPr>
            <p:ph type="ctrTitle"/>
          </p:nvPr>
        </p:nvSpPr>
        <p:spPr/>
        <p:txBody>
          <a:bodyPr/>
          <a:lstStyle/>
          <a:p>
            <a:r>
              <a:rPr lang="zh-CN" altLang="en-US" dirty="0">
                <a:cs typeface="+mn-ea"/>
                <a:sym typeface="+mn-lt"/>
              </a:rPr>
              <a:t>研究背景与现状</a:t>
            </a:r>
            <a:endParaRPr lang="en-US" dirty="0">
              <a:cs typeface="+mn-ea"/>
              <a:sym typeface="+mn-lt"/>
            </a:endParaRPr>
          </a:p>
        </p:txBody>
      </p:sp>
      <p:sp>
        <p:nvSpPr>
          <p:cNvPr id="8" name="文本占位符 7">
            <a:extLst>
              <a:ext uri="{FF2B5EF4-FFF2-40B4-BE49-F238E27FC236}">
                <a16:creationId xmlns:a16="http://schemas.microsoft.com/office/drawing/2014/main" id="{24F668AD-0B9F-4B5E-927E-412FE777B0B3}"/>
              </a:ext>
            </a:extLst>
          </p:cNvPr>
          <p:cNvSpPr>
            <a:spLocks noGrp="1"/>
          </p:cNvSpPr>
          <p:nvPr>
            <p:ph type="body" sz="quarter" idx="12"/>
          </p:nvPr>
        </p:nvSpPr>
        <p:spPr/>
        <p:txBody>
          <a:bodyPr/>
          <a:lstStyle/>
          <a:p>
            <a:pPr indent="0">
              <a:buNone/>
            </a:pPr>
            <a:r>
              <a:rPr lang="en-US" altLang="zh-CN" dirty="0">
                <a:cs typeface="+mn-ea"/>
                <a:sym typeface="+mn-lt"/>
              </a:rPr>
              <a:t>01</a:t>
            </a:r>
            <a:endParaRPr lang="en-US" dirty="0">
              <a:cs typeface="+mn-ea"/>
              <a:sym typeface="+mn-lt"/>
            </a:endParaRPr>
          </a:p>
        </p:txBody>
      </p:sp>
      <p:grpSp>
        <p:nvGrpSpPr>
          <p:cNvPr id="5" name="组合 4">
            <a:extLst>
              <a:ext uri="{FF2B5EF4-FFF2-40B4-BE49-F238E27FC236}">
                <a16:creationId xmlns:a16="http://schemas.microsoft.com/office/drawing/2014/main" id="{F18EC153-373A-4CE0-8980-C62F24E2E3B9}"/>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A48921DC-BF70-4393-BAE5-140C00119FD5}"/>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9" name="组合 8">
              <a:extLst>
                <a:ext uri="{FF2B5EF4-FFF2-40B4-BE49-F238E27FC236}">
                  <a16:creationId xmlns:a16="http://schemas.microsoft.com/office/drawing/2014/main" id="{8F9A7FF8-7C04-4ACE-81B3-5DE2BE68BE33}"/>
                </a:ext>
              </a:extLst>
            </p:cNvPr>
            <p:cNvGrpSpPr/>
            <p:nvPr/>
          </p:nvGrpSpPr>
          <p:grpSpPr>
            <a:xfrm>
              <a:off x="47544" y="7038552"/>
              <a:ext cx="581568" cy="425834"/>
              <a:chOff x="84575" y="6977592"/>
              <a:chExt cx="581568" cy="425834"/>
            </a:xfrm>
          </p:grpSpPr>
          <p:grpSp>
            <p:nvGrpSpPr>
              <p:cNvPr id="10" name="组合 9">
                <a:extLst>
                  <a:ext uri="{FF2B5EF4-FFF2-40B4-BE49-F238E27FC236}">
                    <a16:creationId xmlns:a16="http://schemas.microsoft.com/office/drawing/2014/main" id="{6EB56024-2788-4B78-9865-A30DA4B58943}"/>
                  </a:ext>
                </a:extLst>
              </p:cNvPr>
              <p:cNvGrpSpPr/>
              <p:nvPr/>
            </p:nvGrpSpPr>
            <p:grpSpPr>
              <a:xfrm>
                <a:off x="84575" y="6979654"/>
                <a:ext cx="317380" cy="421711"/>
                <a:chOff x="14690033" y="2185397"/>
                <a:chExt cx="583830" cy="775754"/>
              </a:xfrm>
            </p:grpSpPr>
            <p:sp>
              <p:nvSpPr>
                <p:cNvPr id="12" name="iŝļíḑe">
                  <a:extLst>
                    <a:ext uri="{FF2B5EF4-FFF2-40B4-BE49-F238E27FC236}">
                      <a16:creationId xmlns:a16="http://schemas.microsoft.com/office/drawing/2014/main" id="{EBF4B06F-934F-4723-8D40-E8A77C980848}"/>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şḷíḍé">
                  <a:extLst>
                    <a:ext uri="{FF2B5EF4-FFF2-40B4-BE49-F238E27FC236}">
                      <a16:creationId xmlns:a16="http://schemas.microsoft.com/office/drawing/2014/main" id="{878BC62F-1873-4BA1-A59E-EA16A09E60A6}"/>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ľïḓe">
                  <a:extLst>
                    <a:ext uri="{FF2B5EF4-FFF2-40B4-BE49-F238E27FC236}">
                      <a16:creationId xmlns:a16="http://schemas.microsoft.com/office/drawing/2014/main" id="{E44E982B-F661-4251-8DD9-B3AFD03F1260}"/>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ḻídê">
                  <a:extLst>
                    <a:ext uri="{FF2B5EF4-FFF2-40B4-BE49-F238E27FC236}">
                      <a16:creationId xmlns:a16="http://schemas.microsoft.com/office/drawing/2014/main" id="{977DB07C-2415-4D2B-BC7B-E0ABD278EA62}"/>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S1íḋè">
                  <a:extLst>
                    <a:ext uri="{FF2B5EF4-FFF2-40B4-BE49-F238E27FC236}">
                      <a16:creationId xmlns:a16="http://schemas.microsoft.com/office/drawing/2014/main" id="{7D337F10-2EE8-46D7-800A-6C4BDC14A50D}"/>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şļíde">
                  <a:extLst>
                    <a:ext uri="{FF2B5EF4-FFF2-40B4-BE49-F238E27FC236}">
                      <a16:creationId xmlns:a16="http://schemas.microsoft.com/office/drawing/2014/main" id="{764877AA-1C86-43FC-88EF-F1F139E5A0D8}"/>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1" name="文本框 10">
                <a:extLst>
                  <a:ext uri="{FF2B5EF4-FFF2-40B4-BE49-F238E27FC236}">
                    <a16:creationId xmlns:a16="http://schemas.microsoft.com/office/drawing/2014/main" id="{779A9376-412D-4416-A163-76DD42562FDB}"/>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8" name="矩形 17">
            <a:extLst>
              <a:ext uri="{FF2B5EF4-FFF2-40B4-BE49-F238E27FC236}">
                <a16:creationId xmlns:a16="http://schemas.microsoft.com/office/drawing/2014/main" id="{07E89550-9EE8-4F24-A468-F75CCB013FD9}"/>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32138804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a:extLst>
              <a:ext uri="{FF2B5EF4-FFF2-40B4-BE49-F238E27FC236}">
                <a16:creationId xmlns:a16="http://schemas.microsoft.com/office/drawing/2014/main" id="{5556B804-E6AC-46A2-B3C1-EC49D645570F}"/>
              </a:ext>
            </a:extLst>
          </p:cNvPr>
          <p:cNvSpPr>
            <a:spLocks noGrp="1"/>
          </p:cNvSpPr>
          <p:nvPr>
            <p:ph type="body" sz="quarter" idx="12"/>
          </p:nvPr>
        </p:nvSpPr>
        <p:spPr/>
        <p:txBody>
          <a:bodyPr/>
          <a:lstStyle/>
          <a:p>
            <a:r>
              <a:rPr lang="en-US" dirty="0">
                <a:cs typeface="+mn-ea"/>
                <a:sym typeface="+mn-lt"/>
              </a:rPr>
              <a:t>01</a:t>
            </a:r>
          </a:p>
        </p:txBody>
      </p:sp>
      <p:sp>
        <p:nvSpPr>
          <p:cNvPr id="8" name="标题 7">
            <a:extLst>
              <a:ext uri="{FF2B5EF4-FFF2-40B4-BE49-F238E27FC236}">
                <a16:creationId xmlns:a16="http://schemas.microsoft.com/office/drawing/2014/main" id="{952203E2-18CF-4D3F-A3A0-93FFDA9CFABB}"/>
              </a:ext>
            </a:extLst>
          </p:cNvPr>
          <p:cNvSpPr>
            <a:spLocks noGrp="1"/>
          </p:cNvSpPr>
          <p:nvPr>
            <p:ph type="ctrTitle"/>
          </p:nvPr>
        </p:nvSpPr>
        <p:spPr/>
        <p:txBody>
          <a:bodyPr/>
          <a:lstStyle/>
          <a:p>
            <a:r>
              <a:rPr lang="zh-CN" altLang="en-US" dirty="0">
                <a:cs typeface="+mn-ea"/>
                <a:sym typeface="+mn-lt"/>
              </a:rPr>
              <a:t>研究背景与现状</a:t>
            </a:r>
            <a:endParaRPr lang="en-US" dirty="0">
              <a:cs typeface="+mn-ea"/>
              <a:sym typeface="+mn-lt"/>
            </a:endParaRPr>
          </a:p>
        </p:txBody>
      </p:sp>
      <p:sp>
        <p:nvSpPr>
          <p:cNvPr id="3" name="副标题 2">
            <a:extLst>
              <a:ext uri="{FF2B5EF4-FFF2-40B4-BE49-F238E27FC236}">
                <a16:creationId xmlns:a16="http://schemas.microsoft.com/office/drawing/2014/main" id="{8B167E66-23F3-429D-A8F3-CD106020B241}"/>
              </a:ext>
            </a:extLst>
          </p:cNvPr>
          <p:cNvSpPr>
            <a:spLocks noGrp="1"/>
          </p:cNvSpPr>
          <p:nvPr>
            <p:ph type="subTitle" idx="1"/>
          </p:nvPr>
        </p:nvSpPr>
        <p:spPr/>
        <p:txBody>
          <a:bodyPr>
            <a:normAutofit/>
          </a:bodyPr>
          <a:lstStyle/>
          <a:p>
            <a:pPr algn="ctr"/>
            <a:r>
              <a:rPr lang="en-US" altLang="zh-CN" spc="0" dirty="0">
                <a:cs typeface="+mn-ea"/>
                <a:sym typeface="+mn-lt"/>
              </a:rPr>
              <a:t>RESEARCH BACKGROUND AND CURRENT SITUATION</a:t>
            </a:r>
          </a:p>
        </p:txBody>
      </p:sp>
      <p:grpSp>
        <p:nvGrpSpPr>
          <p:cNvPr id="5" name="组合 4">
            <a:extLst>
              <a:ext uri="{FF2B5EF4-FFF2-40B4-BE49-F238E27FC236}">
                <a16:creationId xmlns:a16="http://schemas.microsoft.com/office/drawing/2014/main" id="{FC404D21-90F0-4E5C-A2BE-AC7AC0ECCAC9}"/>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E19F0840-57B6-483A-B547-7F2D7A7424C0}"/>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9" name="组合 8">
              <a:extLst>
                <a:ext uri="{FF2B5EF4-FFF2-40B4-BE49-F238E27FC236}">
                  <a16:creationId xmlns:a16="http://schemas.microsoft.com/office/drawing/2014/main" id="{7C84460F-C7C1-42A2-8580-63ACC7C8952F}"/>
                </a:ext>
              </a:extLst>
            </p:cNvPr>
            <p:cNvGrpSpPr/>
            <p:nvPr/>
          </p:nvGrpSpPr>
          <p:grpSpPr>
            <a:xfrm>
              <a:off x="47544" y="7038552"/>
              <a:ext cx="581568" cy="425834"/>
              <a:chOff x="84575" y="6977592"/>
              <a:chExt cx="581568" cy="425834"/>
            </a:xfrm>
          </p:grpSpPr>
          <p:grpSp>
            <p:nvGrpSpPr>
              <p:cNvPr id="10" name="组合 9">
                <a:extLst>
                  <a:ext uri="{FF2B5EF4-FFF2-40B4-BE49-F238E27FC236}">
                    <a16:creationId xmlns:a16="http://schemas.microsoft.com/office/drawing/2014/main" id="{39954294-146B-43A9-BFC6-BBAC5079A736}"/>
                  </a:ext>
                </a:extLst>
              </p:cNvPr>
              <p:cNvGrpSpPr/>
              <p:nvPr/>
            </p:nvGrpSpPr>
            <p:grpSpPr>
              <a:xfrm>
                <a:off x="84575" y="6979654"/>
                <a:ext cx="317380" cy="421711"/>
                <a:chOff x="14690033" y="2185397"/>
                <a:chExt cx="583830" cy="775754"/>
              </a:xfrm>
            </p:grpSpPr>
            <p:sp>
              <p:nvSpPr>
                <p:cNvPr id="12" name="iŝļíḑe">
                  <a:extLst>
                    <a:ext uri="{FF2B5EF4-FFF2-40B4-BE49-F238E27FC236}">
                      <a16:creationId xmlns:a16="http://schemas.microsoft.com/office/drawing/2014/main" id="{D4AAB0B2-40C5-4C35-BB6D-3542FB07021E}"/>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şḷíḍé">
                  <a:extLst>
                    <a:ext uri="{FF2B5EF4-FFF2-40B4-BE49-F238E27FC236}">
                      <a16:creationId xmlns:a16="http://schemas.microsoft.com/office/drawing/2014/main" id="{4DB27870-20C1-4FFD-9047-A810EB6F7C16}"/>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ľïḓe">
                  <a:extLst>
                    <a:ext uri="{FF2B5EF4-FFF2-40B4-BE49-F238E27FC236}">
                      <a16:creationId xmlns:a16="http://schemas.microsoft.com/office/drawing/2014/main" id="{E442D788-49D0-48B7-9C8C-C4107D5C935B}"/>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ḻídê">
                  <a:extLst>
                    <a:ext uri="{FF2B5EF4-FFF2-40B4-BE49-F238E27FC236}">
                      <a16:creationId xmlns:a16="http://schemas.microsoft.com/office/drawing/2014/main" id="{DF99EEF0-A369-46F6-AAB3-486AEF83F27B}"/>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S1íḋè">
                  <a:extLst>
                    <a:ext uri="{FF2B5EF4-FFF2-40B4-BE49-F238E27FC236}">
                      <a16:creationId xmlns:a16="http://schemas.microsoft.com/office/drawing/2014/main" id="{31E0DC91-516F-4773-8D00-6E0CB81FDABE}"/>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şļíde">
                  <a:extLst>
                    <a:ext uri="{FF2B5EF4-FFF2-40B4-BE49-F238E27FC236}">
                      <a16:creationId xmlns:a16="http://schemas.microsoft.com/office/drawing/2014/main" id="{E2B41516-FF85-4730-B8FC-FC210E9C0A8F}"/>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1" name="文本框 10">
                <a:extLst>
                  <a:ext uri="{FF2B5EF4-FFF2-40B4-BE49-F238E27FC236}">
                    <a16:creationId xmlns:a16="http://schemas.microsoft.com/office/drawing/2014/main" id="{CFE4CB62-74F6-4380-B0F5-2F97379D4BEC}"/>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8" name="矩形 17">
            <a:extLst>
              <a:ext uri="{FF2B5EF4-FFF2-40B4-BE49-F238E27FC236}">
                <a16:creationId xmlns:a16="http://schemas.microsoft.com/office/drawing/2014/main" id="{15618305-7A7C-40C1-AE4C-E4F34BB22F72}"/>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3399558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副标题 2">
            <a:extLst>
              <a:ext uri="{FF2B5EF4-FFF2-40B4-BE49-F238E27FC236}">
                <a16:creationId xmlns:a16="http://schemas.microsoft.com/office/drawing/2014/main" id="{5C603245-0DE8-45FF-8773-30767A411576}"/>
              </a:ext>
            </a:extLst>
          </p:cNvPr>
          <p:cNvSpPr>
            <a:spLocks noGrp="1"/>
          </p:cNvSpPr>
          <p:nvPr>
            <p:ph type="subTitle" idx="1"/>
          </p:nvPr>
        </p:nvSpPr>
        <p:spPr>
          <a:xfrm>
            <a:off x="2719980" y="4202383"/>
            <a:ext cx="6515918" cy="331948"/>
          </a:xfrm>
        </p:spPr>
        <p:txBody>
          <a:bodyPr/>
          <a:lstStyle/>
          <a:p>
            <a:r>
              <a:rPr lang="en-US" altLang="zh-CN" spc="0" dirty="0">
                <a:cs typeface="+mn-ea"/>
                <a:sym typeface="+mn-lt"/>
              </a:rPr>
              <a:t>RESEARCH BACKGROUND AND CURRENT SITUATION</a:t>
            </a:r>
          </a:p>
        </p:txBody>
      </p:sp>
      <p:sp>
        <p:nvSpPr>
          <p:cNvPr id="2" name="标题 1">
            <a:extLst>
              <a:ext uri="{FF2B5EF4-FFF2-40B4-BE49-F238E27FC236}">
                <a16:creationId xmlns:a16="http://schemas.microsoft.com/office/drawing/2014/main" id="{912ABC7E-5FB8-41E1-97F0-44BCB4AA18C2}"/>
              </a:ext>
            </a:extLst>
          </p:cNvPr>
          <p:cNvSpPr>
            <a:spLocks noGrp="1"/>
          </p:cNvSpPr>
          <p:nvPr>
            <p:ph type="ctrTitle"/>
          </p:nvPr>
        </p:nvSpPr>
        <p:spPr/>
        <p:txBody>
          <a:bodyPr/>
          <a:lstStyle/>
          <a:p>
            <a:r>
              <a:rPr lang="zh-CN" altLang="en-US" dirty="0">
                <a:cs typeface="+mn-ea"/>
                <a:sym typeface="+mn-lt"/>
              </a:rPr>
              <a:t>研究背景与现状</a:t>
            </a:r>
            <a:endParaRPr lang="en-US" dirty="0">
              <a:cs typeface="+mn-ea"/>
              <a:sym typeface="+mn-lt"/>
            </a:endParaRPr>
          </a:p>
        </p:txBody>
      </p:sp>
      <p:sp>
        <p:nvSpPr>
          <p:cNvPr id="4" name="文本占位符 3">
            <a:extLst>
              <a:ext uri="{FF2B5EF4-FFF2-40B4-BE49-F238E27FC236}">
                <a16:creationId xmlns:a16="http://schemas.microsoft.com/office/drawing/2014/main" id="{DACF6F10-242F-40C5-8F73-786F5AEBD42C}"/>
              </a:ext>
            </a:extLst>
          </p:cNvPr>
          <p:cNvSpPr>
            <a:spLocks noGrp="1"/>
          </p:cNvSpPr>
          <p:nvPr>
            <p:ph type="body" sz="quarter" idx="13"/>
          </p:nvPr>
        </p:nvSpPr>
        <p:spPr/>
        <p:txBody>
          <a:bodyPr/>
          <a:lstStyle/>
          <a:p>
            <a:pPr indent="0">
              <a:buNone/>
            </a:pPr>
            <a:r>
              <a:rPr lang="en-US" dirty="0">
                <a:cs typeface="+mn-ea"/>
                <a:sym typeface="+mn-lt"/>
              </a:rPr>
              <a:t>01</a:t>
            </a:r>
          </a:p>
        </p:txBody>
      </p:sp>
      <p:grpSp>
        <p:nvGrpSpPr>
          <p:cNvPr id="5" name="组合 4">
            <a:extLst>
              <a:ext uri="{FF2B5EF4-FFF2-40B4-BE49-F238E27FC236}">
                <a16:creationId xmlns:a16="http://schemas.microsoft.com/office/drawing/2014/main" id="{9EE2C7C0-5799-409B-BF73-F359E3BC7DC0}"/>
              </a:ext>
            </a:extLst>
          </p:cNvPr>
          <p:cNvGrpSpPr/>
          <p:nvPr/>
        </p:nvGrpSpPr>
        <p:grpSpPr>
          <a:xfrm>
            <a:off x="0" y="-715587"/>
            <a:ext cx="676656" cy="602672"/>
            <a:chOff x="0" y="6950133"/>
            <a:chExt cx="676656" cy="602672"/>
          </a:xfrm>
        </p:grpSpPr>
        <p:sp>
          <p:nvSpPr>
            <p:cNvPr id="6" name="矩形 5">
              <a:extLst>
                <a:ext uri="{FF2B5EF4-FFF2-40B4-BE49-F238E27FC236}">
                  <a16:creationId xmlns:a16="http://schemas.microsoft.com/office/drawing/2014/main" id="{4C5CB7BE-07B7-4CDF-97C8-C8D5E25BE2AF}"/>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7" name="组合 6">
              <a:extLst>
                <a:ext uri="{FF2B5EF4-FFF2-40B4-BE49-F238E27FC236}">
                  <a16:creationId xmlns:a16="http://schemas.microsoft.com/office/drawing/2014/main" id="{7A001ED3-69BC-4F54-8392-FA584102B151}"/>
                </a:ext>
              </a:extLst>
            </p:cNvPr>
            <p:cNvGrpSpPr/>
            <p:nvPr/>
          </p:nvGrpSpPr>
          <p:grpSpPr>
            <a:xfrm>
              <a:off x="47544" y="7038552"/>
              <a:ext cx="581568" cy="425834"/>
              <a:chOff x="84575" y="6977592"/>
              <a:chExt cx="581568" cy="425834"/>
            </a:xfrm>
          </p:grpSpPr>
          <p:grpSp>
            <p:nvGrpSpPr>
              <p:cNvPr id="8" name="组合 7">
                <a:extLst>
                  <a:ext uri="{FF2B5EF4-FFF2-40B4-BE49-F238E27FC236}">
                    <a16:creationId xmlns:a16="http://schemas.microsoft.com/office/drawing/2014/main" id="{79F119D3-125C-4D3B-A73B-A23A4256BB26}"/>
                  </a:ext>
                </a:extLst>
              </p:cNvPr>
              <p:cNvGrpSpPr/>
              <p:nvPr/>
            </p:nvGrpSpPr>
            <p:grpSpPr>
              <a:xfrm>
                <a:off x="84575" y="6979654"/>
                <a:ext cx="317380" cy="421711"/>
                <a:chOff x="14690033" y="2185397"/>
                <a:chExt cx="583830" cy="775754"/>
              </a:xfrm>
            </p:grpSpPr>
            <p:sp>
              <p:nvSpPr>
                <p:cNvPr id="10" name="iŝļíḑe">
                  <a:extLst>
                    <a:ext uri="{FF2B5EF4-FFF2-40B4-BE49-F238E27FC236}">
                      <a16:creationId xmlns:a16="http://schemas.microsoft.com/office/drawing/2014/main" id="{539D247A-3AAC-40D6-BBA1-5EF938ECB75D}"/>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şḷíḍé">
                  <a:extLst>
                    <a:ext uri="{FF2B5EF4-FFF2-40B4-BE49-F238E27FC236}">
                      <a16:creationId xmlns:a16="http://schemas.microsoft.com/office/drawing/2014/main" id="{CB939505-D940-46DD-B17B-820DA3760C67}"/>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Sľïḓe">
                  <a:extLst>
                    <a:ext uri="{FF2B5EF4-FFF2-40B4-BE49-F238E27FC236}">
                      <a16:creationId xmlns:a16="http://schemas.microsoft.com/office/drawing/2014/main" id="{B93170A6-2D16-43C8-B735-1ED1BA124694}"/>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ḻídê">
                  <a:extLst>
                    <a:ext uri="{FF2B5EF4-FFF2-40B4-BE49-F238E27FC236}">
                      <a16:creationId xmlns:a16="http://schemas.microsoft.com/office/drawing/2014/main" id="{FB5C8422-0FE4-43AC-A1D1-12E5A74B6683}"/>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S1íḋè">
                  <a:extLst>
                    <a:ext uri="{FF2B5EF4-FFF2-40B4-BE49-F238E27FC236}">
                      <a16:creationId xmlns:a16="http://schemas.microsoft.com/office/drawing/2014/main" id="{2F41A563-DB76-4B5D-B745-955869482974}"/>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íşļíde">
                  <a:extLst>
                    <a:ext uri="{FF2B5EF4-FFF2-40B4-BE49-F238E27FC236}">
                      <a16:creationId xmlns:a16="http://schemas.microsoft.com/office/drawing/2014/main" id="{122BE6A8-7E78-4498-98E4-74548B4A7980}"/>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 name="文本框 8">
                <a:extLst>
                  <a:ext uri="{FF2B5EF4-FFF2-40B4-BE49-F238E27FC236}">
                    <a16:creationId xmlns:a16="http://schemas.microsoft.com/office/drawing/2014/main" id="{8A35EF91-5AB6-4FBB-9E3D-8911B158C370}"/>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6" name="矩形 15">
            <a:extLst>
              <a:ext uri="{FF2B5EF4-FFF2-40B4-BE49-F238E27FC236}">
                <a16:creationId xmlns:a16="http://schemas.microsoft.com/office/drawing/2014/main" id="{74D28FF8-92F5-4419-9966-695E9359006C}"/>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6906993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a:extLst>
              <a:ext uri="{FF2B5EF4-FFF2-40B4-BE49-F238E27FC236}">
                <a16:creationId xmlns:a16="http://schemas.microsoft.com/office/drawing/2014/main" id="{68C3A003-85C5-43AA-8F84-43E793C0C8B7}"/>
              </a:ext>
            </a:extLst>
          </p:cNvPr>
          <p:cNvSpPr>
            <a:spLocks noGrp="1"/>
          </p:cNvSpPr>
          <p:nvPr>
            <p:ph type="subTitle" idx="1"/>
          </p:nvPr>
        </p:nvSpPr>
        <p:spPr/>
        <p:txBody>
          <a:bodyPr/>
          <a:lstStyle/>
          <a:p>
            <a:r>
              <a:rPr lang="en-US" altLang="zh-CN" dirty="0">
                <a:cs typeface="+mn-ea"/>
                <a:sym typeface="+mn-lt"/>
              </a:rPr>
              <a:t>RESEARCH BACKGROUND AND CURRENT SITUATION</a:t>
            </a:r>
          </a:p>
        </p:txBody>
      </p:sp>
      <p:sp>
        <p:nvSpPr>
          <p:cNvPr id="6" name="标题 5">
            <a:extLst>
              <a:ext uri="{FF2B5EF4-FFF2-40B4-BE49-F238E27FC236}">
                <a16:creationId xmlns:a16="http://schemas.microsoft.com/office/drawing/2014/main" id="{BB75BF13-98E3-4ADD-AC2A-6E8926FEF93D}"/>
              </a:ext>
            </a:extLst>
          </p:cNvPr>
          <p:cNvSpPr>
            <a:spLocks noGrp="1"/>
          </p:cNvSpPr>
          <p:nvPr>
            <p:ph type="ctrTitle"/>
          </p:nvPr>
        </p:nvSpPr>
        <p:spPr/>
        <p:txBody>
          <a:bodyPr/>
          <a:lstStyle/>
          <a:p>
            <a:r>
              <a:rPr lang="zh-CN" altLang="en-US" dirty="0">
                <a:cs typeface="+mn-ea"/>
                <a:sym typeface="+mn-lt"/>
              </a:rPr>
              <a:t>研究背景与现状</a:t>
            </a:r>
            <a:endParaRPr lang="en-US" dirty="0">
              <a:cs typeface="+mn-ea"/>
              <a:sym typeface="+mn-lt"/>
            </a:endParaRPr>
          </a:p>
        </p:txBody>
      </p:sp>
      <p:sp>
        <p:nvSpPr>
          <p:cNvPr id="9" name="文本占位符 8">
            <a:extLst>
              <a:ext uri="{FF2B5EF4-FFF2-40B4-BE49-F238E27FC236}">
                <a16:creationId xmlns:a16="http://schemas.microsoft.com/office/drawing/2014/main" id="{F17A26B9-BC55-4BC6-B6CC-D9E29DC06D29}"/>
              </a:ext>
            </a:extLst>
          </p:cNvPr>
          <p:cNvSpPr>
            <a:spLocks noGrp="1"/>
          </p:cNvSpPr>
          <p:nvPr>
            <p:ph type="body" sz="quarter" idx="12"/>
          </p:nvPr>
        </p:nvSpPr>
        <p:spPr/>
        <p:txBody>
          <a:bodyPr/>
          <a:lstStyle/>
          <a:p>
            <a:pPr marL="0" indent="0">
              <a:buNone/>
            </a:pPr>
            <a:r>
              <a:rPr lang="en-US" altLang="zh-CN" dirty="0">
                <a:cs typeface="+mn-ea"/>
                <a:sym typeface="+mn-lt"/>
              </a:rPr>
              <a:t>01</a:t>
            </a:r>
            <a:endParaRPr lang="en-US" dirty="0">
              <a:cs typeface="+mn-ea"/>
              <a:sym typeface="+mn-lt"/>
            </a:endParaRPr>
          </a:p>
        </p:txBody>
      </p:sp>
      <p:grpSp>
        <p:nvGrpSpPr>
          <p:cNvPr id="5" name="组合 4">
            <a:extLst>
              <a:ext uri="{FF2B5EF4-FFF2-40B4-BE49-F238E27FC236}">
                <a16:creationId xmlns:a16="http://schemas.microsoft.com/office/drawing/2014/main" id="{5FA16CF3-E604-44CC-989D-EC2DE17D9902}"/>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51B89066-268B-4B49-8BA7-896DEC3562FF}"/>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0" name="组合 9">
              <a:extLst>
                <a:ext uri="{FF2B5EF4-FFF2-40B4-BE49-F238E27FC236}">
                  <a16:creationId xmlns:a16="http://schemas.microsoft.com/office/drawing/2014/main" id="{4BA4F0DA-4AA0-411A-B757-91EDEDD7B3D0}"/>
                </a:ext>
              </a:extLst>
            </p:cNvPr>
            <p:cNvGrpSpPr/>
            <p:nvPr/>
          </p:nvGrpSpPr>
          <p:grpSpPr>
            <a:xfrm>
              <a:off x="47544" y="7038552"/>
              <a:ext cx="581568" cy="425834"/>
              <a:chOff x="84575" y="6977592"/>
              <a:chExt cx="581568" cy="425834"/>
            </a:xfrm>
          </p:grpSpPr>
          <p:grpSp>
            <p:nvGrpSpPr>
              <p:cNvPr id="11" name="组合 10">
                <a:extLst>
                  <a:ext uri="{FF2B5EF4-FFF2-40B4-BE49-F238E27FC236}">
                    <a16:creationId xmlns:a16="http://schemas.microsoft.com/office/drawing/2014/main" id="{C160D78B-E905-4B49-B386-F5F8D712A58D}"/>
                  </a:ext>
                </a:extLst>
              </p:cNvPr>
              <p:cNvGrpSpPr/>
              <p:nvPr/>
            </p:nvGrpSpPr>
            <p:grpSpPr>
              <a:xfrm>
                <a:off x="84575" y="6979654"/>
                <a:ext cx="317380" cy="421711"/>
                <a:chOff x="14690033" y="2185397"/>
                <a:chExt cx="583830" cy="775754"/>
              </a:xfrm>
            </p:grpSpPr>
            <p:sp>
              <p:nvSpPr>
                <p:cNvPr id="13" name="iŝļíḑe">
                  <a:extLst>
                    <a:ext uri="{FF2B5EF4-FFF2-40B4-BE49-F238E27FC236}">
                      <a16:creationId xmlns:a16="http://schemas.microsoft.com/office/drawing/2014/main" id="{02129F8B-93CB-49E0-BBBB-487DB1E848FE}"/>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şḷíḍé">
                  <a:extLst>
                    <a:ext uri="{FF2B5EF4-FFF2-40B4-BE49-F238E27FC236}">
                      <a16:creationId xmlns:a16="http://schemas.microsoft.com/office/drawing/2014/main" id="{4CD26CA2-BC43-42EE-8701-324C71CC4E48}"/>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ľïḓe">
                  <a:extLst>
                    <a:ext uri="{FF2B5EF4-FFF2-40B4-BE49-F238E27FC236}">
                      <a16:creationId xmlns:a16="http://schemas.microsoft.com/office/drawing/2014/main" id="{45FA0DA9-9F5B-494B-885B-A23DC87D9036}"/>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ídê">
                  <a:extLst>
                    <a:ext uri="{FF2B5EF4-FFF2-40B4-BE49-F238E27FC236}">
                      <a16:creationId xmlns:a16="http://schemas.microsoft.com/office/drawing/2014/main" id="{8623C790-8699-4389-A021-E2CCA040983C}"/>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îS1íḋè">
                  <a:extLst>
                    <a:ext uri="{FF2B5EF4-FFF2-40B4-BE49-F238E27FC236}">
                      <a16:creationId xmlns:a16="http://schemas.microsoft.com/office/drawing/2014/main" id="{A5F5EC5D-FC81-450E-8579-D3828B09EAC8}"/>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şļíde">
                  <a:extLst>
                    <a:ext uri="{FF2B5EF4-FFF2-40B4-BE49-F238E27FC236}">
                      <a16:creationId xmlns:a16="http://schemas.microsoft.com/office/drawing/2014/main" id="{EA6086F5-FB4A-460D-8B06-DA3B274D861C}"/>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2" name="文本框 11">
                <a:extLst>
                  <a:ext uri="{FF2B5EF4-FFF2-40B4-BE49-F238E27FC236}">
                    <a16:creationId xmlns:a16="http://schemas.microsoft.com/office/drawing/2014/main" id="{AF9F3A58-1510-4CF6-8C69-EEAF2CD73A24}"/>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a:extLst>
              <a:ext uri="{FF2B5EF4-FFF2-40B4-BE49-F238E27FC236}">
                <a16:creationId xmlns:a16="http://schemas.microsoft.com/office/drawing/2014/main" id="{E11FE427-9971-417D-AF9F-C7B1A497F337}"/>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29457844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a:blip r:embed="rId3"/>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2149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A1741A7-099B-4C48-85F5-19DF019FEE53}"/>
              </a:ext>
            </a:extLst>
          </p:cNvPr>
          <p:cNvSpPr>
            <a:spLocks noGrp="1"/>
          </p:cNvSpPr>
          <p:nvPr>
            <p:ph type="title"/>
          </p:nvPr>
        </p:nvSpPr>
        <p:spPr/>
        <p:txBody>
          <a:bodyPr/>
          <a:lstStyle/>
          <a:p>
            <a:r>
              <a:rPr lang="zh-CN" altLang="en-US" dirty="0">
                <a:latin typeface="+mn-lt"/>
                <a:ea typeface="+mn-ea"/>
                <a:cs typeface="+mn-ea"/>
                <a:sym typeface="+mn-lt"/>
              </a:rPr>
              <a:t>模板使用序言</a:t>
            </a:r>
            <a:endParaRPr lang="en-US" dirty="0">
              <a:latin typeface="+mn-lt"/>
              <a:ea typeface="+mn-ea"/>
              <a:cs typeface="+mn-ea"/>
              <a:sym typeface="+mn-lt"/>
            </a:endParaRPr>
          </a:p>
        </p:txBody>
      </p:sp>
      <p:sp>
        <p:nvSpPr>
          <p:cNvPr id="3" name="平行四边形 2">
            <a:extLst>
              <a:ext uri="{FF2B5EF4-FFF2-40B4-BE49-F238E27FC236}">
                <a16:creationId xmlns:a16="http://schemas.microsoft.com/office/drawing/2014/main" id="{D6678B08-7F49-425E-A794-7783C3E4F1BA}"/>
              </a:ext>
            </a:extLst>
          </p:cNvPr>
          <p:cNvSpPr/>
          <p:nvPr/>
        </p:nvSpPr>
        <p:spPr>
          <a:xfrm>
            <a:off x="8123340" y="2782782"/>
            <a:ext cx="1590124" cy="88477"/>
          </a:xfrm>
          <a:prstGeom prst="parallelogram">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sp>
        <p:nvSpPr>
          <p:cNvPr id="8" name="平行四边形 7">
            <a:extLst>
              <a:ext uri="{FF2B5EF4-FFF2-40B4-BE49-F238E27FC236}">
                <a16:creationId xmlns:a16="http://schemas.microsoft.com/office/drawing/2014/main" id="{88FED376-5F8A-4D74-8FC2-F44DE6D842AE}"/>
              </a:ext>
            </a:extLst>
          </p:cNvPr>
          <p:cNvSpPr/>
          <p:nvPr/>
        </p:nvSpPr>
        <p:spPr>
          <a:xfrm>
            <a:off x="6919380" y="3387992"/>
            <a:ext cx="1590124" cy="88477"/>
          </a:xfrm>
          <a:prstGeom prst="parallelogram">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sp>
        <p:nvSpPr>
          <p:cNvPr id="2" name="矩形 1">
            <a:extLst>
              <a:ext uri="{FF2B5EF4-FFF2-40B4-BE49-F238E27FC236}">
                <a16:creationId xmlns:a16="http://schemas.microsoft.com/office/drawing/2014/main" id="{1A3062EF-A89A-4C92-AA00-642DF8EA311F}"/>
              </a:ext>
            </a:extLst>
          </p:cNvPr>
          <p:cNvSpPr/>
          <p:nvPr/>
        </p:nvSpPr>
        <p:spPr>
          <a:xfrm>
            <a:off x="1342390" y="1196974"/>
            <a:ext cx="3148445" cy="5050481"/>
          </a:xfrm>
          <a:prstGeom prst="rect">
            <a:avLst/>
          </a:prstGeom>
          <a:blipFill dpi="0" rotWithShape="1">
            <a:blip r:embed="rId2">
              <a:alphaModFix amt="80000"/>
            </a:blip>
            <a:srcRect/>
            <a:stretch>
              <a:fillRect l="-21378" t="-8210" r="-2706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sp>
        <p:nvSpPr>
          <p:cNvPr id="6" name="文本框 5">
            <a:extLst>
              <a:ext uri="{FF2B5EF4-FFF2-40B4-BE49-F238E27FC236}">
                <a16:creationId xmlns:a16="http://schemas.microsoft.com/office/drawing/2014/main" id="{8B70A6AA-03C1-42D4-89DC-A622319DF232}"/>
              </a:ext>
            </a:extLst>
          </p:cNvPr>
          <p:cNvSpPr txBox="1"/>
          <p:nvPr/>
        </p:nvSpPr>
        <p:spPr>
          <a:xfrm>
            <a:off x="5668011" y="2372700"/>
            <a:ext cx="5181599" cy="1965666"/>
          </a:xfrm>
          <a:prstGeom prst="rect">
            <a:avLst/>
          </a:prstGeom>
          <a:noFill/>
        </p:spPr>
        <p:txBody>
          <a:bodyPr wrap="square" lIns="0" tIns="0" rIns="0" bIns="0" rtlCol="0" anchor="ctr">
            <a:spAutoFit/>
          </a:bodyPr>
          <a:lstStyle/>
          <a:p>
            <a:pPr algn="l">
              <a:lnSpc>
                <a:spcPct val="120000"/>
              </a:lnSpc>
            </a:pPr>
            <a:r>
              <a:rPr lang="zh-CN" altLang="en-US" sz="3200" b="1" dirty="0">
                <a:solidFill>
                  <a:schemeClr val="accent1"/>
                </a:solidFill>
                <a:cs typeface="+mn-ea"/>
                <a:sym typeface="+mn-lt"/>
              </a:rPr>
              <a:t>模板除了外在形式美观之外</a:t>
            </a:r>
            <a:endParaRPr lang="en-US" altLang="zh-CN" sz="3200" b="1" dirty="0">
              <a:solidFill>
                <a:schemeClr val="accent1"/>
              </a:solidFill>
              <a:cs typeface="+mn-ea"/>
              <a:sym typeface="+mn-lt"/>
            </a:endParaRPr>
          </a:p>
          <a:p>
            <a:pPr algn="l">
              <a:lnSpc>
                <a:spcPct val="120000"/>
              </a:lnSpc>
              <a:spcAft>
                <a:spcPts val="600"/>
              </a:spcAft>
            </a:pPr>
            <a:r>
              <a:rPr lang="zh-CN" altLang="en-US" sz="3200" b="1" dirty="0">
                <a:solidFill>
                  <a:schemeClr val="accent1"/>
                </a:solidFill>
                <a:cs typeface="+mn-ea"/>
                <a:sym typeface="+mn-lt"/>
              </a:rPr>
              <a:t>内在的逻辑架构同样重要</a:t>
            </a:r>
            <a:endParaRPr lang="en-US" altLang="zh-CN" sz="3200" b="1" dirty="0">
              <a:solidFill>
                <a:schemeClr val="accent1"/>
              </a:solidFill>
              <a:cs typeface="+mn-ea"/>
              <a:sym typeface="+mn-lt"/>
            </a:endParaRPr>
          </a:p>
          <a:p>
            <a:pPr algn="l">
              <a:lnSpc>
                <a:spcPct val="120000"/>
              </a:lnSpc>
            </a:pPr>
            <a:r>
              <a:rPr lang="zh-CN" altLang="en-US" sz="2000" dirty="0">
                <a:solidFill>
                  <a:schemeClr val="bg1">
                    <a:lumMod val="50000"/>
                  </a:schemeClr>
                </a:solidFill>
                <a:cs typeface="+mn-ea"/>
                <a:sym typeface="+mn-lt"/>
              </a:rPr>
              <a:t>所以此次模板制作我结合了自己毕业答辩时的逻辑架构，给你形式与逻辑的双重保驾护航</a:t>
            </a:r>
            <a:endParaRPr lang="en-US" sz="2000" dirty="0">
              <a:solidFill>
                <a:schemeClr val="bg1">
                  <a:lumMod val="50000"/>
                </a:schemeClr>
              </a:solidFill>
              <a:cs typeface="+mn-ea"/>
              <a:sym typeface="+mn-lt"/>
            </a:endParaRPr>
          </a:p>
        </p:txBody>
      </p:sp>
      <p:sp>
        <p:nvSpPr>
          <p:cNvPr id="7" name="文本框 6">
            <a:extLst>
              <a:ext uri="{FF2B5EF4-FFF2-40B4-BE49-F238E27FC236}">
                <a16:creationId xmlns:a16="http://schemas.microsoft.com/office/drawing/2014/main" id="{645E9492-654E-4F6F-BDF1-3357A4AB4D68}"/>
              </a:ext>
            </a:extLst>
          </p:cNvPr>
          <p:cNvSpPr txBox="1"/>
          <p:nvPr/>
        </p:nvSpPr>
        <p:spPr>
          <a:xfrm>
            <a:off x="9002950" y="4851107"/>
            <a:ext cx="1846659" cy="246221"/>
          </a:xfrm>
          <a:prstGeom prst="rect">
            <a:avLst/>
          </a:prstGeom>
          <a:noFill/>
        </p:spPr>
        <p:txBody>
          <a:bodyPr wrap="none" lIns="0" tIns="0" rIns="0" bIns="0" rtlCol="0" anchor="ctr">
            <a:spAutoFit/>
          </a:bodyPr>
          <a:lstStyle/>
          <a:p>
            <a:pPr algn="r"/>
            <a:r>
              <a:rPr lang="en-US" altLang="zh-CN" sz="1600" dirty="0">
                <a:solidFill>
                  <a:schemeClr val="bg1">
                    <a:lumMod val="50000"/>
                  </a:schemeClr>
                </a:solidFill>
                <a:cs typeface="+mn-ea"/>
                <a:sym typeface="+mn-lt"/>
              </a:rPr>
              <a:t>——</a:t>
            </a:r>
            <a:r>
              <a:rPr lang="zh-CN" altLang="en-US" sz="1600" dirty="0">
                <a:solidFill>
                  <a:schemeClr val="bg1">
                    <a:lumMod val="50000"/>
                  </a:schemeClr>
                </a:solidFill>
                <a:cs typeface="+mn-ea"/>
                <a:sym typeface="+mn-lt"/>
              </a:rPr>
              <a:t>模板作者林利蒙</a:t>
            </a:r>
            <a:endParaRPr lang="en-US" sz="1600" dirty="0">
              <a:solidFill>
                <a:schemeClr val="bg1">
                  <a:lumMod val="50000"/>
                </a:schemeClr>
              </a:solidFill>
              <a:cs typeface="+mn-ea"/>
              <a:sym typeface="+mn-lt"/>
            </a:endParaRPr>
          </a:p>
        </p:txBody>
      </p:sp>
      <p:sp>
        <p:nvSpPr>
          <p:cNvPr id="11" name="文本框 10">
            <a:extLst>
              <a:ext uri="{FF2B5EF4-FFF2-40B4-BE49-F238E27FC236}">
                <a16:creationId xmlns:a16="http://schemas.microsoft.com/office/drawing/2014/main" id="{61555155-316A-4EBF-9271-CCB7F4FC8619}"/>
              </a:ext>
            </a:extLst>
          </p:cNvPr>
          <p:cNvSpPr txBox="1"/>
          <p:nvPr/>
        </p:nvSpPr>
        <p:spPr>
          <a:xfrm>
            <a:off x="5676323" y="1837702"/>
            <a:ext cx="486059" cy="382309"/>
          </a:xfrm>
          <a:custGeom>
            <a:avLst/>
            <a:gdLst/>
            <a:ahLst/>
            <a:cxnLst/>
            <a:rect l="l" t="t" r="r" b="b"/>
            <a:pathLst>
              <a:path w="316371" h="248841">
                <a:moveTo>
                  <a:pt x="293861" y="0"/>
                </a:moveTo>
                <a:lnTo>
                  <a:pt x="316371" y="47476"/>
                </a:lnTo>
                <a:cubicBezTo>
                  <a:pt x="293452" y="55116"/>
                  <a:pt x="277012" y="65757"/>
                  <a:pt x="267053" y="79400"/>
                </a:cubicBezTo>
                <a:cubicBezTo>
                  <a:pt x="257094" y="93043"/>
                  <a:pt x="251842" y="111187"/>
                  <a:pt x="251296" y="133834"/>
                </a:cubicBezTo>
                <a:lnTo>
                  <a:pt x="306958" y="133834"/>
                </a:lnTo>
                <a:lnTo>
                  <a:pt x="306958" y="248841"/>
                </a:lnTo>
                <a:lnTo>
                  <a:pt x="191951" y="248841"/>
                </a:lnTo>
                <a:lnTo>
                  <a:pt x="191951" y="166576"/>
                </a:lnTo>
                <a:cubicBezTo>
                  <a:pt x="191951" y="133015"/>
                  <a:pt x="194884" y="106685"/>
                  <a:pt x="200750" y="87585"/>
                </a:cubicBezTo>
                <a:cubicBezTo>
                  <a:pt x="206617" y="68486"/>
                  <a:pt x="217531" y="51296"/>
                  <a:pt x="233492" y="36016"/>
                </a:cubicBezTo>
                <a:cubicBezTo>
                  <a:pt x="249454" y="20737"/>
                  <a:pt x="269577" y="8731"/>
                  <a:pt x="293861" y="0"/>
                </a:cubicBezTo>
                <a:close/>
                <a:moveTo>
                  <a:pt x="101910" y="0"/>
                </a:moveTo>
                <a:lnTo>
                  <a:pt x="124420" y="47476"/>
                </a:lnTo>
                <a:cubicBezTo>
                  <a:pt x="101500" y="55116"/>
                  <a:pt x="85061" y="65757"/>
                  <a:pt x="75102" y="79400"/>
                </a:cubicBezTo>
                <a:cubicBezTo>
                  <a:pt x="65143" y="93043"/>
                  <a:pt x="59891" y="111187"/>
                  <a:pt x="59345" y="133834"/>
                </a:cubicBezTo>
                <a:lnTo>
                  <a:pt x="115007" y="133834"/>
                </a:lnTo>
                <a:lnTo>
                  <a:pt x="115007" y="248841"/>
                </a:lnTo>
                <a:lnTo>
                  <a:pt x="0" y="248841"/>
                </a:lnTo>
                <a:lnTo>
                  <a:pt x="0" y="166576"/>
                </a:lnTo>
                <a:cubicBezTo>
                  <a:pt x="0" y="133288"/>
                  <a:pt x="2933" y="107026"/>
                  <a:pt x="8799" y="87790"/>
                </a:cubicBezTo>
                <a:cubicBezTo>
                  <a:pt x="14665" y="68554"/>
                  <a:pt x="25511" y="51296"/>
                  <a:pt x="41337" y="36016"/>
                </a:cubicBezTo>
                <a:cubicBezTo>
                  <a:pt x="57162" y="20737"/>
                  <a:pt x="77353" y="8731"/>
                  <a:pt x="101910"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6600" b="1" dirty="0">
              <a:cs typeface="+mn-ea"/>
              <a:sym typeface="+mn-lt"/>
            </a:endParaRPr>
          </a:p>
        </p:txBody>
      </p:sp>
      <p:sp>
        <p:nvSpPr>
          <p:cNvPr id="9" name="灯片编号占位符 2">
            <a:extLst>
              <a:ext uri="{FF2B5EF4-FFF2-40B4-BE49-F238E27FC236}">
                <a16:creationId xmlns:a16="http://schemas.microsoft.com/office/drawing/2014/main" id="{58F3D906-B21F-4B27-A8BC-84B8B7DD9F77}"/>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20</a:t>
            </a:fld>
            <a:endParaRPr lang="en-US" dirty="0">
              <a:solidFill>
                <a:srgbClr val="000000">
                  <a:tint val="75000"/>
                </a:srgbClr>
              </a:solidFill>
              <a:cs typeface="+mn-ea"/>
              <a:sym typeface="+mn-lt"/>
            </a:endParaRPr>
          </a:p>
        </p:txBody>
      </p:sp>
    </p:spTree>
    <p:extLst>
      <p:ext uri="{BB962C8B-B14F-4D97-AF65-F5344CB8AC3E}">
        <p14:creationId xmlns:p14="http://schemas.microsoft.com/office/powerpoint/2010/main" val="23457740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标题 49">
            <a:extLst>
              <a:ext uri="{FF2B5EF4-FFF2-40B4-BE49-F238E27FC236}">
                <a16:creationId xmlns:a16="http://schemas.microsoft.com/office/drawing/2014/main" id="{1E47C54E-5B59-47C3-AD24-6282CA54348A}"/>
              </a:ext>
            </a:extLst>
          </p:cNvPr>
          <p:cNvSpPr>
            <a:spLocks noGrp="1"/>
          </p:cNvSpPr>
          <p:nvPr>
            <p:ph type="title"/>
          </p:nvPr>
        </p:nvSpPr>
        <p:spPr/>
        <p:txBody>
          <a:bodyPr/>
          <a:lstStyle/>
          <a:p>
            <a:r>
              <a:rPr lang="zh-CN" altLang="en-US" dirty="0">
                <a:latin typeface="+mn-lt"/>
                <a:ea typeface="+mn-ea"/>
                <a:cs typeface="+mn-ea"/>
                <a:sym typeface="+mn-lt"/>
              </a:rPr>
              <a:t>课题研究背景（纯文字型）</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E9432C27-61C8-41A3-9EEA-AF0F26BD8F7F}"/>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21</a:t>
            </a:fld>
            <a:endParaRPr lang="en-US" dirty="0">
              <a:solidFill>
                <a:srgbClr val="000000">
                  <a:tint val="75000"/>
                </a:srgbClr>
              </a:solidFill>
              <a:cs typeface="+mn-ea"/>
              <a:sym typeface="+mn-lt"/>
            </a:endParaRPr>
          </a:p>
        </p:txBody>
      </p:sp>
      <p:sp>
        <p:nvSpPr>
          <p:cNvPr id="5" name="iṩļïdè">
            <a:extLst>
              <a:ext uri="{FF2B5EF4-FFF2-40B4-BE49-F238E27FC236}">
                <a16:creationId xmlns:a16="http://schemas.microsoft.com/office/drawing/2014/main" id="{EF70F8CD-7B0D-4713-B0A6-E7CF5A0FC784}"/>
              </a:ext>
            </a:extLst>
          </p:cNvPr>
          <p:cNvSpPr/>
          <p:nvPr/>
        </p:nvSpPr>
        <p:spPr bwMode="auto">
          <a:xfrm>
            <a:off x="3797310" y="2361968"/>
            <a:ext cx="4637862" cy="4637862"/>
          </a:xfrm>
          <a:prstGeom prst="blockArc">
            <a:avLst>
              <a:gd name="adj1" fmla="val 11058826"/>
              <a:gd name="adj2" fmla="val 21364096"/>
              <a:gd name="adj3" fmla="val 7347"/>
            </a:avLst>
          </a:prstGeom>
          <a:gradFill flip="none" rotWithShape="1">
            <a:gsLst>
              <a:gs pos="0">
                <a:schemeClr val="bg1">
                  <a:lumMod val="85000"/>
                </a:schemeClr>
              </a:gs>
              <a:gs pos="74000">
                <a:schemeClr val="bg1">
                  <a:lumMod val="85000"/>
                  <a:alpha val="33000"/>
                </a:schemeClr>
              </a:gs>
              <a:gs pos="100000">
                <a:schemeClr val="bg1">
                  <a:lumMod val="85000"/>
                  <a:alpha val="0"/>
                </a:schemeClr>
              </a:gs>
            </a:gsLst>
            <a:lin ang="5400000" scaled="1"/>
            <a:tileRect/>
          </a:gradFill>
          <a:ln w="38100">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cs typeface="+mn-ea"/>
              <a:sym typeface="+mn-lt"/>
            </a:endParaRPr>
          </a:p>
        </p:txBody>
      </p:sp>
      <p:grpSp>
        <p:nvGrpSpPr>
          <p:cNvPr id="51" name="îṣlïďe">
            <a:extLst>
              <a:ext uri="{FF2B5EF4-FFF2-40B4-BE49-F238E27FC236}">
                <a16:creationId xmlns:a16="http://schemas.microsoft.com/office/drawing/2014/main" id="{50854727-4E08-48FB-A44B-3167DBDEC1D2}"/>
              </a:ext>
            </a:extLst>
          </p:cNvPr>
          <p:cNvGrpSpPr/>
          <p:nvPr/>
        </p:nvGrpSpPr>
        <p:grpSpPr>
          <a:xfrm>
            <a:off x="3710204" y="4042944"/>
            <a:ext cx="643355" cy="643355"/>
            <a:chOff x="5371845" y="2312242"/>
            <a:chExt cx="656438" cy="656442"/>
          </a:xfrm>
        </p:grpSpPr>
        <p:sp>
          <p:nvSpPr>
            <p:cNvPr id="52" name="îṧļidê">
              <a:extLst>
                <a:ext uri="{FF2B5EF4-FFF2-40B4-BE49-F238E27FC236}">
                  <a16:creationId xmlns:a16="http://schemas.microsoft.com/office/drawing/2014/main" id="{FC3DF195-4D9D-4C8F-AC8F-7B99C40A9D24}"/>
                </a:ext>
              </a:extLst>
            </p:cNvPr>
            <p:cNvSpPr/>
            <p:nvPr/>
          </p:nvSpPr>
          <p:spPr>
            <a:xfrm>
              <a:off x="5371845" y="2312242"/>
              <a:ext cx="656438" cy="65644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zh-CN" altLang="en-US" dirty="0">
                <a:cs typeface="+mn-ea"/>
                <a:sym typeface="+mn-lt"/>
              </a:endParaRPr>
            </a:p>
          </p:txBody>
        </p:sp>
        <p:sp>
          <p:nvSpPr>
            <p:cNvPr id="53" name="iŝľiḓê">
              <a:extLst>
                <a:ext uri="{FF2B5EF4-FFF2-40B4-BE49-F238E27FC236}">
                  <a16:creationId xmlns:a16="http://schemas.microsoft.com/office/drawing/2014/main" id="{A58A0BD8-64DB-4862-A698-5807DE79E688}"/>
                </a:ext>
              </a:extLst>
            </p:cNvPr>
            <p:cNvSpPr/>
            <p:nvPr/>
          </p:nvSpPr>
          <p:spPr bwMode="auto">
            <a:xfrm>
              <a:off x="5532706" y="2519691"/>
              <a:ext cx="334720" cy="241545"/>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nvGrpSpPr>
          <p:cNvPr id="63" name="îṣlïďe">
            <a:extLst>
              <a:ext uri="{FF2B5EF4-FFF2-40B4-BE49-F238E27FC236}">
                <a16:creationId xmlns:a16="http://schemas.microsoft.com/office/drawing/2014/main" id="{9DA0EEA3-F424-4590-92D9-B793170C9DF3}"/>
              </a:ext>
            </a:extLst>
          </p:cNvPr>
          <p:cNvGrpSpPr/>
          <p:nvPr/>
        </p:nvGrpSpPr>
        <p:grpSpPr>
          <a:xfrm>
            <a:off x="4411481" y="2680602"/>
            <a:ext cx="643355" cy="643355"/>
            <a:chOff x="5371845" y="2312242"/>
            <a:chExt cx="656438" cy="656442"/>
          </a:xfrm>
        </p:grpSpPr>
        <p:sp>
          <p:nvSpPr>
            <p:cNvPr id="64" name="îṧļidê">
              <a:extLst>
                <a:ext uri="{FF2B5EF4-FFF2-40B4-BE49-F238E27FC236}">
                  <a16:creationId xmlns:a16="http://schemas.microsoft.com/office/drawing/2014/main" id="{615BCDA4-989B-4D6D-8E28-D6DD98EF9151}"/>
                </a:ext>
              </a:extLst>
            </p:cNvPr>
            <p:cNvSpPr/>
            <p:nvPr/>
          </p:nvSpPr>
          <p:spPr>
            <a:xfrm>
              <a:off x="5371845" y="2312242"/>
              <a:ext cx="656438" cy="65644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zh-CN" altLang="en-US" dirty="0">
                <a:cs typeface="+mn-ea"/>
                <a:sym typeface="+mn-lt"/>
              </a:endParaRPr>
            </a:p>
          </p:txBody>
        </p:sp>
        <p:sp>
          <p:nvSpPr>
            <p:cNvPr id="65" name="iŝľiḓê">
              <a:extLst>
                <a:ext uri="{FF2B5EF4-FFF2-40B4-BE49-F238E27FC236}">
                  <a16:creationId xmlns:a16="http://schemas.microsoft.com/office/drawing/2014/main" id="{83D131F1-E415-4ADA-B1D0-EF3E764AF1DB}"/>
                </a:ext>
              </a:extLst>
            </p:cNvPr>
            <p:cNvSpPr/>
            <p:nvPr/>
          </p:nvSpPr>
          <p:spPr bwMode="auto">
            <a:xfrm>
              <a:off x="5532706" y="2519691"/>
              <a:ext cx="334720" cy="241545"/>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nvGrpSpPr>
          <p:cNvPr id="60" name="îṣlïďe">
            <a:extLst>
              <a:ext uri="{FF2B5EF4-FFF2-40B4-BE49-F238E27FC236}">
                <a16:creationId xmlns:a16="http://schemas.microsoft.com/office/drawing/2014/main" id="{64025FBF-20AC-4ED3-BDBE-117F5B1CC65C}"/>
              </a:ext>
            </a:extLst>
          </p:cNvPr>
          <p:cNvGrpSpPr/>
          <p:nvPr/>
        </p:nvGrpSpPr>
        <p:grpSpPr>
          <a:xfrm>
            <a:off x="5773823" y="2116302"/>
            <a:ext cx="643355" cy="643355"/>
            <a:chOff x="5371845" y="2312242"/>
            <a:chExt cx="656438" cy="656442"/>
          </a:xfrm>
        </p:grpSpPr>
        <p:sp>
          <p:nvSpPr>
            <p:cNvPr id="61" name="îṧļidê">
              <a:extLst>
                <a:ext uri="{FF2B5EF4-FFF2-40B4-BE49-F238E27FC236}">
                  <a16:creationId xmlns:a16="http://schemas.microsoft.com/office/drawing/2014/main" id="{D8754D2D-CA99-46CE-BF19-C10ED82E3449}"/>
                </a:ext>
              </a:extLst>
            </p:cNvPr>
            <p:cNvSpPr/>
            <p:nvPr/>
          </p:nvSpPr>
          <p:spPr>
            <a:xfrm>
              <a:off x="5371845" y="2312242"/>
              <a:ext cx="656438" cy="65644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zh-CN" altLang="en-US" dirty="0">
                <a:cs typeface="+mn-ea"/>
                <a:sym typeface="+mn-lt"/>
              </a:endParaRPr>
            </a:p>
          </p:txBody>
        </p:sp>
        <p:sp>
          <p:nvSpPr>
            <p:cNvPr id="62" name="iŝľiḓê">
              <a:extLst>
                <a:ext uri="{FF2B5EF4-FFF2-40B4-BE49-F238E27FC236}">
                  <a16:creationId xmlns:a16="http://schemas.microsoft.com/office/drawing/2014/main" id="{FCE38419-5A88-4F6B-A5B7-0FE95E7479CE}"/>
                </a:ext>
              </a:extLst>
            </p:cNvPr>
            <p:cNvSpPr/>
            <p:nvPr/>
          </p:nvSpPr>
          <p:spPr bwMode="auto">
            <a:xfrm>
              <a:off x="5532706" y="2519691"/>
              <a:ext cx="334720" cy="241545"/>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nvGrpSpPr>
          <p:cNvPr id="57" name="îṣlïďe">
            <a:extLst>
              <a:ext uri="{FF2B5EF4-FFF2-40B4-BE49-F238E27FC236}">
                <a16:creationId xmlns:a16="http://schemas.microsoft.com/office/drawing/2014/main" id="{867A6DD7-82D4-4FF5-BB55-BBF4B249B787}"/>
              </a:ext>
            </a:extLst>
          </p:cNvPr>
          <p:cNvGrpSpPr/>
          <p:nvPr/>
        </p:nvGrpSpPr>
        <p:grpSpPr>
          <a:xfrm>
            <a:off x="7136164" y="2680602"/>
            <a:ext cx="643355" cy="643355"/>
            <a:chOff x="5371845" y="2312242"/>
            <a:chExt cx="656438" cy="656442"/>
          </a:xfrm>
        </p:grpSpPr>
        <p:sp>
          <p:nvSpPr>
            <p:cNvPr id="58" name="îṧļidê">
              <a:extLst>
                <a:ext uri="{FF2B5EF4-FFF2-40B4-BE49-F238E27FC236}">
                  <a16:creationId xmlns:a16="http://schemas.microsoft.com/office/drawing/2014/main" id="{7E2B8833-67AD-4A39-95BB-44CD043EEE2C}"/>
                </a:ext>
              </a:extLst>
            </p:cNvPr>
            <p:cNvSpPr/>
            <p:nvPr/>
          </p:nvSpPr>
          <p:spPr>
            <a:xfrm>
              <a:off x="5371845" y="2312242"/>
              <a:ext cx="656438" cy="65644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zh-CN" altLang="en-US" dirty="0">
                <a:cs typeface="+mn-ea"/>
                <a:sym typeface="+mn-lt"/>
              </a:endParaRPr>
            </a:p>
          </p:txBody>
        </p:sp>
        <p:sp>
          <p:nvSpPr>
            <p:cNvPr id="59" name="iŝľiḓê">
              <a:extLst>
                <a:ext uri="{FF2B5EF4-FFF2-40B4-BE49-F238E27FC236}">
                  <a16:creationId xmlns:a16="http://schemas.microsoft.com/office/drawing/2014/main" id="{72A024D2-483D-442B-B4A7-7DA4C8F43E96}"/>
                </a:ext>
              </a:extLst>
            </p:cNvPr>
            <p:cNvSpPr/>
            <p:nvPr/>
          </p:nvSpPr>
          <p:spPr bwMode="auto">
            <a:xfrm>
              <a:off x="5532706" y="2519691"/>
              <a:ext cx="334720" cy="241545"/>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nvGrpSpPr>
          <p:cNvPr id="54" name="îṣlïďe">
            <a:extLst>
              <a:ext uri="{FF2B5EF4-FFF2-40B4-BE49-F238E27FC236}">
                <a16:creationId xmlns:a16="http://schemas.microsoft.com/office/drawing/2014/main" id="{3BAC4CBF-1EE4-441A-9526-F37D7418D207}"/>
              </a:ext>
            </a:extLst>
          </p:cNvPr>
          <p:cNvGrpSpPr/>
          <p:nvPr/>
        </p:nvGrpSpPr>
        <p:grpSpPr>
          <a:xfrm>
            <a:off x="7838444" y="4042944"/>
            <a:ext cx="643355" cy="643355"/>
            <a:chOff x="5371845" y="2312242"/>
            <a:chExt cx="656438" cy="656442"/>
          </a:xfrm>
        </p:grpSpPr>
        <p:sp>
          <p:nvSpPr>
            <p:cNvPr id="55" name="îṧļidê">
              <a:extLst>
                <a:ext uri="{FF2B5EF4-FFF2-40B4-BE49-F238E27FC236}">
                  <a16:creationId xmlns:a16="http://schemas.microsoft.com/office/drawing/2014/main" id="{C2153890-23DB-48D0-BFCA-57E955333AD5}"/>
                </a:ext>
              </a:extLst>
            </p:cNvPr>
            <p:cNvSpPr/>
            <p:nvPr/>
          </p:nvSpPr>
          <p:spPr>
            <a:xfrm>
              <a:off x="5371845" y="2312242"/>
              <a:ext cx="656438" cy="65644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zh-CN" altLang="en-US" dirty="0">
                <a:cs typeface="+mn-ea"/>
                <a:sym typeface="+mn-lt"/>
              </a:endParaRPr>
            </a:p>
          </p:txBody>
        </p:sp>
        <p:sp>
          <p:nvSpPr>
            <p:cNvPr id="56" name="iŝľiḓê">
              <a:extLst>
                <a:ext uri="{FF2B5EF4-FFF2-40B4-BE49-F238E27FC236}">
                  <a16:creationId xmlns:a16="http://schemas.microsoft.com/office/drawing/2014/main" id="{38102B92-8855-4514-8D1F-C5FBBA66DBBE}"/>
                </a:ext>
              </a:extLst>
            </p:cNvPr>
            <p:cNvSpPr/>
            <p:nvPr/>
          </p:nvSpPr>
          <p:spPr bwMode="auto">
            <a:xfrm>
              <a:off x="5532706" y="2519691"/>
              <a:ext cx="334720" cy="241545"/>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sp>
        <p:nvSpPr>
          <p:cNvPr id="7" name="ïṧḻïḓe">
            <a:extLst>
              <a:ext uri="{FF2B5EF4-FFF2-40B4-BE49-F238E27FC236}">
                <a16:creationId xmlns:a16="http://schemas.microsoft.com/office/drawing/2014/main" id="{FBC09DE3-7F78-4BCB-A42B-FEBDB7265022}"/>
              </a:ext>
            </a:extLst>
          </p:cNvPr>
          <p:cNvSpPr txBox="1"/>
          <p:nvPr/>
        </p:nvSpPr>
        <p:spPr>
          <a:xfrm>
            <a:off x="5484440" y="1802405"/>
            <a:ext cx="1224710" cy="246379"/>
          </a:xfrm>
          <a:prstGeom prst="rect">
            <a:avLst/>
          </a:prstGeom>
          <a:noFill/>
          <a:ln>
            <a:noFill/>
          </a:ln>
        </p:spPr>
        <p:txBody>
          <a:bodyPr wrap="square" lIns="91440" tIns="45720" rIns="91440" bIns="45720"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zh-CN" altLang="en-US" b="1" i="0" u="none" strike="noStrike" kern="1200" cap="none" spc="0" normalizeH="0" baseline="0" noProof="0" dirty="0">
                <a:ln>
                  <a:noFill/>
                </a:ln>
                <a:solidFill>
                  <a:schemeClr val="accent1"/>
                </a:solidFill>
                <a:effectLst/>
                <a:uLnTx/>
                <a:uFillTx/>
                <a:cs typeface="+mn-ea"/>
                <a:sym typeface="+mn-lt"/>
              </a:rPr>
              <a:t>观点三</a:t>
            </a:r>
            <a:endParaRPr kumimoji="0" lang="de-DE" b="1" i="0" u="none" strike="noStrike" kern="1200" cap="none" spc="0" normalizeH="0" baseline="0" noProof="0" dirty="0">
              <a:ln>
                <a:noFill/>
              </a:ln>
              <a:solidFill>
                <a:schemeClr val="accent1"/>
              </a:solidFill>
              <a:effectLst/>
              <a:uLnTx/>
              <a:uFillTx/>
              <a:cs typeface="+mn-ea"/>
              <a:sym typeface="+mn-lt"/>
            </a:endParaRPr>
          </a:p>
        </p:txBody>
      </p:sp>
      <p:sp>
        <p:nvSpPr>
          <p:cNvPr id="8" name="ïsľïdé">
            <a:extLst>
              <a:ext uri="{FF2B5EF4-FFF2-40B4-BE49-F238E27FC236}">
                <a16:creationId xmlns:a16="http://schemas.microsoft.com/office/drawing/2014/main" id="{5364905D-2D95-414E-8BD2-D20A5CF197D6}"/>
              </a:ext>
            </a:extLst>
          </p:cNvPr>
          <p:cNvSpPr txBox="1"/>
          <p:nvPr/>
        </p:nvSpPr>
        <p:spPr>
          <a:xfrm>
            <a:off x="4120802" y="2344405"/>
            <a:ext cx="1224710" cy="246379"/>
          </a:xfrm>
          <a:prstGeom prst="rect">
            <a:avLst/>
          </a:prstGeom>
          <a:noFill/>
          <a:ln>
            <a:noFill/>
          </a:ln>
        </p:spPr>
        <p:txBody>
          <a:bodyPr wrap="square" lIns="91440" tIns="45720" rIns="91440" bIns="45720"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zh-CN" altLang="en-US" b="1" i="0" u="none" strike="noStrike" kern="1200" cap="none" spc="0" normalizeH="0" baseline="0" noProof="0" dirty="0">
                <a:ln>
                  <a:noFill/>
                </a:ln>
                <a:solidFill>
                  <a:schemeClr val="accent1"/>
                </a:solidFill>
                <a:effectLst/>
                <a:uLnTx/>
                <a:uFillTx/>
                <a:cs typeface="+mn-ea"/>
                <a:sym typeface="+mn-lt"/>
              </a:rPr>
              <a:t>观点二</a:t>
            </a:r>
            <a:endParaRPr kumimoji="0" lang="de-DE" b="1" i="0" u="none" strike="noStrike" kern="1200" cap="none" spc="0" normalizeH="0" baseline="0" noProof="0" dirty="0">
              <a:ln>
                <a:noFill/>
              </a:ln>
              <a:solidFill>
                <a:schemeClr val="accent1"/>
              </a:solidFill>
              <a:effectLst/>
              <a:uLnTx/>
              <a:uFillTx/>
              <a:cs typeface="+mn-ea"/>
              <a:sym typeface="+mn-lt"/>
            </a:endParaRPr>
          </a:p>
        </p:txBody>
      </p:sp>
      <p:sp>
        <p:nvSpPr>
          <p:cNvPr id="9" name="îSliḑè">
            <a:extLst>
              <a:ext uri="{FF2B5EF4-FFF2-40B4-BE49-F238E27FC236}">
                <a16:creationId xmlns:a16="http://schemas.microsoft.com/office/drawing/2014/main" id="{F51B049D-DCF2-45E4-B019-394ED92A9F05}"/>
              </a:ext>
            </a:extLst>
          </p:cNvPr>
          <p:cNvSpPr txBox="1"/>
          <p:nvPr/>
        </p:nvSpPr>
        <p:spPr>
          <a:xfrm>
            <a:off x="6845486" y="2344405"/>
            <a:ext cx="1224710" cy="246379"/>
          </a:xfrm>
          <a:prstGeom prst="rect">
            <a:avLst/>
          </a:prstGeom>
          <a:noFill/>
          <a:ln>
            <a:noFill/>
          </a:ln>
        </p:spPr>
        <p:txBody>
          <a:bodyPr wrap="square" lIns="91440" tIns="45720" rIns="91440" bIns="45720"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zh-CN" altLang="en-US" b="1" i="0" u="none" strike="noStrike" kern="1200" cap="none" spc="0" normalizeH="0" baseline="0" noProof="0" dirty="0">
                <a:ln>
                  <a:noFill/>
                </a:ln>
                <a:solidFill>
                  <a:schemeClr val="accent1"/>
                </a:solidFill>
                <a:effectLst/>
                <a:uLnTx/>
                <a:uFillTx/>
                <a:cs typeface="+mn-ea"/>
                <a:sym typeface="+mn-lt"/>
              </a:rPr>
              <a:t>观点四</a:t>
            </a:r>
            <a:endParaRPr kumimoji="0" lang="de-DE" b="1" i="0" u="none" strike="noStrike" kern="1200" cap="none" spc="0" normalizeH="0" baseline="0" noProof="0" dirty="0">
              <a:ln>
                <a:noFill/>
              </a:ln>
              <a:solidFill>
                <a:schemeClr val="accent1"/>
              </a:solidFill>
              <a:effectLst/>
              <a:uLnTx/>
              <a:uFillTx/>
              <a:cs typeface="+mn-ea"/>
              <a:sym typeface="+mn-lt"/>
            </a:endParaRPr>
          </a:p>
        </p:txBody>
      </p:sp>
      <p:sp>
        <p:nvSpPr>
          <p:cNvPr id="10" name="iŝliḑê">
            <a:extLst>
              <a:ext uri="{FF2B5EF4-FFF2-40B4-BE49-F238E27FC236}">
                <a16:creationId xmlns:a16="http://schemas.microsoft.com/office/drawing/2014/main" id="{62BB4C60-BA73-4D6D-9E42-4E66B29F9110}"/>
              </a:ext>
            </a:extLst>
          </p:cNvPr>
          <p:cNvSpPr txBox="1"/>
          <p:nvPr/>
        </p:nvSpPr>
        <p:spPr>
          <a:xfrm>
            <a:off x="7547766" y="3712893"/>
            <a:ext cx="1224710" cy="246379"/>
          </a:xfrm>
          <a:prstGeom prst="rect">
            <a:avLst/>
          </a:prstGeom>
          <a:noFill/>
          <a:ln>
            <a:noFill/>
          </a:ln>
        </p:spPr>
        <p:txBody>
          <a:bodyPr wrap="square" lIns="91440" tIns="45720" rIns="91440" bIns="45720"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zh-CN" altLang="en-US" b="1" i="0" u="none" strike="noStrike" kern="1200" cap="none" spc="0" normalizeH="0" baseline="0" noProof="0" dirty="0">
                <a:ln>
                  <a:noFill/>
                </a:ln>
                <a:solidFill>
                  <a:schemeClr val="accent1"/>
                </a:solidFill>
                <a:effectLst/>
                <a:uLnTx/>
                <a:uFillTx/>
                <a:cs typeface="+mn-ea"/>
                <a:sym typeface="+mn-lt"/>
              </a:rPr>
              <a:t>观点五</a:t>
            </a:r>
            <a:endParaRPr kumimoji="0" lang="de-DE" b="1" i="0" u="none" strike="noStrike" kern="1200" cap="none" spc="0" normalizeH="0" baseline="0" noProof="0" dirty="0">
              <a:ln>
                <a:noFill/>
              </a:ln>
              <a:solidFill>
                <a:schemeClr val="accent1"/>
              </a:solidFill>
              <a:effectLst/>
              <a:uLnTx/>
              <a:uFillTx/>
              <a:cs typeface="+mn-ea"/>
              <a:sym typeface="+mn-lt"/>
            </a:endParaRPr>
          </a:p>
        </p:txBody>
      </p:sp>
      <p:sp>
        <p:nvSpPr>
          <p:cNvPr id="11" name="íSḻîḍè">
            <a:extLst>
              <a:ext uri="{FF2B5EF4-FFF2-40B4-BE49-F238E27FC236}">
                <a16:creationId xmlns:a16="http://schemas.microsoft.com/office/drawing/2014/main" id="{D76BC704-ACA4-45A5-B5FB-A5C129428073}"/>
              </a:ext>
            </a:extLst>
          </p:cNvPr>
          <p:cNvSpPr txBox="1"/>
          <p:nvPr/>
        </p:nvSpPr>
        <p:spPr>
          <a:xfrm>
            <a:off x="3419525" y="3712893"/>
            <a:ext cx="1224710" cy="246379"/>
          </a:xfrm>
          <a:prstGeom prst="rect">
            <a:avLst/>
          </a:prstGeom>
          <a:noFill/>
          <a:ln>
            <a:noFill/>
          </a:ln>
        </p:spPr>
        <p:txBody>
          <a:bodyPr wrap="square" lIns="91440" tIns="45720" rIns="91440" bIns="45720"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zh-CN" altLang="en-US" b="1" i="0" u="none" strike="noStrike" kern="1200" cap="none" spc="0" normalizeH="0" baseline="0" noProof="0" dirty="0">
                <a:ln>
                  <a:noFill/>
                </a:ln>
                <a:solidFill>
                  <a:schemeClr val="accent1"/>
                </a:solidFill>
                <a:effectLst/>
                <a:uLnTx/>
                <a:uFillTx/>
                <a:cs typeface="+mn-ea"/>
                <a:sym typeface="+mn-lt"/>
              </a:rPr>
              <a:t>观点一</a:t>
            </a:r>
            <a:endParaRPr kumimoji="0" lang="de-DE" b="1" i="0" u="none" strike="noStrike" kern="1200" cap="none" spc="0" normalizeH="0" baseline="0" noProof="0" dirty="0">
              <a:ln>
                <a:noFill/>
              </a:ln>
              <a:solidFill>
                <a:schemeClr val="accent1"/>
              </a:solidFill>
              <a:effectLst/>
              <a:uLnTx/>
              <a:uFillTx/>
              <a:cs typeface="+mn-ea"/>
              <a:sym typeface="+mn-lt"/>
            </a:endParaRPr>
          </a:p>
        </p:txBody>
      </p:sp>
      <p:sp>
        <p:nvSpPr>
          <p:cNvPr id="73" name="任意多边形: 形状 72">
            <a:extLst>
              <a:ext uri="{FF2B5EF4-FFF2-40B4-BE49-F238E27FC236}">
                <a16:creationId xmlns:a16="http://schemas.microsoft.com/office/drawing/2014/main" id="{B4C57B21-DCE7-44A1-ADAE-0F9206AD5B18}"/>
              </a:ext>
            </a:extLst>
          </p:cNvPr>
          <p:cNvSpPr/>
          <p:nvPr/>
        </p:nvSpPr>
        <p:spPr bwMode="auto">
          <a:xfrm>
            <a:off x="5118428" y="3106802"/>
            <a:ext cx="1956742" cy="2469002"/>
          </a:xfrm>
          <a:custGeom>
            <a:avLst/>
            <a:gdLst>
              <a:gd name="connsiteX0" fmla="*/ 947977 w 2228534"/>
              <a:gd name="connsiteY0" fmla="*/ 2720673 h 2811946"/>
              <a:gd name="connsiteX1" fmla="*/ 1280539 w 2228534"/>
              <a:gd name="connsiteY1" fmla="*/ 2720673 h 2811946"/>
              <a:gd name="connsiteX2" fmla="*/ 1111980 w 2228534"/>
              <a:gd name="connsiteY2" fmla="*/ 2811946 h 2811946"/>
              <a:gd name="connsiteX3" fmla="*/ 947977 w 2228534"/>
              <a:gd name="connsiteY3" fmla="*/ 2720673 h 2811946"/>
              <a:gd name="connsiteX4" fmla="*/ 888648 w 2228534"/>
              <a:gd name="connsiteY4" fmla="*/ 2600303 h 2811946"/>
              <a:gd name="connsiteX5" fmla="*/ 1339871 w 2228534"/>
              <a:gd name="connsiteY5" fmla="*/ 2600303 h 2811946"/>
              <a:gd name="connsiteX6" fmla="*/ 1376333 w 2228534"/>
              <a:gd name="connsiteY6" fmla="*/ 2633259 h 2811946"/>
              <a:gd name="connsiteX7" fmla="*/ 1376333 w 2228534"/>
              <a:gd name="connsiteY7" fmla="*/ 2655230 h 2811946"/>
              <a:gd name="connsiteX8" fmla="*/ 1339871 w 2228534"/>
              <a:gd name="connsiteY8" fmla="*/ 2684524 h 2811946"/>
              <a:gd name="connsiteX9" fmla="*/ 888648 w 2228534"/>
              <a:gd name="connsiteY9" fmla="*/ 2684524 h 2811946"/>
              <a:gd name="connsiteX10" fmla="*/ 852185 w 2228534"/>
              <a:gd name="connsiteY10" fmla="*/ 2655230 h 2811946"/>
              <a:gd name="connsiteX11" fmla="*/ 852185 w 2228534"/>
              <a:gd name="connsiteY11" fmla="*/ 2633259 h 2811946"/>
              <a:gd name="connsiteX12" fmla="*/ 888648 w 2228534"/>
              <a:gd name="connsiteY12" fmla="*/ 2600303 h 2811946"/>
              <a:gd name="connsiteX13" fmla="*/ 857013 w 2228534"/>
              <a:gd name="connsiteY13" fmla="*/ 2463844 h 2811946"/>
              <a:gd name="connsiteX14" fmla="*/ 1371503 w 2228534"/>
              <a:gd name="connsiteY14" fmla="*/ 2463844 h 2811946"/>
              <a:gd name="connsiteX15" fmla="*/ 1412480 w 2228534"/>
              <a:gd name="connsiteY15" fmla="*/ 2501461 h 2811946"/>
              <a:gd name="connsiteX16" fmla="*/ 1412480 w 2228534"/>
              <a:gd name="connsiteY16" fmla="*/ 2526539 h 2811946"/>
              <a:gd name="connsiteX17" fmla="*/ 1371503 w 2228534"/>
              <a:gd name="connsiteY17" fmla="*/ 2564155 h 2811946"/>
              <a:gd name="connsiteX18" fmla="*/ 857013 w 2228534"/>
              <a:gd name="connsiteY18" fmla="*/ 2564155 h 2811946"/>
              <a:gd name="connsiteX19" fmla="*/ 816036 w 2228534"/>
              <a:gd name="connsiteY19" fmla="*/ 2526539 h 2811946"/>
              <a:gd name="connsiteX20" fmla="*/ 816036 w 2228534"/>
              <a:gd name="connsiteY20" fmla="*/ 2501461 h 2811946"/>
              <a:gd name="connsiteX21" fmla="*/ 857013 w 2228534"/>
              <a:gd name="connsiteY21" fmla="*/ 2463844 h 2811946"/>
              <a:gd name="connsiteX22" fmla="*/ 1323797 w 2228534"/>
              <a:gd name="connsiteY22" fmla="*/ 1566273 h 2811946"/>
              <a:gd name="connsiteX23" fmla="*/ 1317068 w 2228534"/>
              <a:gd name="connsiteY23" fmla="*/ 1684345 h 2811946"/>
              <a:gd name="connsiteX24" fmla="*/ 1353542 w 2228534"/>
              <a:gd name="connsiteY24" fmla="*/ 2230718 h 2811946"/>
              <a:gd name="connsiteX25" fmla="*/ 1317068 w 2228534"/>
              <a:gd name="connsiteY25" fmla="*/ 2239824 h 2811946"/>
              <a:gd name="connsiteX26" fmla="*/ 1303390 w 2228534"/>
              <a:gd name="connsiteY26" fmla="*/ 2071359 h 2811946"/>
              <a:gd name="connsiteX27" fmla="*/ 1280593 w 2228534"/>
              <a:gd name="connsiteY27" fmla="*/ 1738982 h 2811946"/>
              <a:gd name="connsiteX28" fmla="*/ 1281733 w 2228534"/>
              <a:gd name="connsiteY28" fmla="*/ 1657027 h 2811946"/>
              <a:gd name="connsiteX29" fmla="*/ 1289316 w 2228534"/>
              <a:gd name="connsiteY29" fmla="*/ 1579134 h 2811946"/>
              <a:gd name="connsiteX30" fmla="*/ 952814 w 2228534"/>
              <a:gd name="connsiteY30" fmla="*/ 1545809 h 2811946"/>
              <a:gd name="connsiteX31" fmla="*/ 965999 w 2228534"/>
              <a:gd name="connsiteY31" fmla="*/ 1547752 h 2811946"/>
              <a:gd name="connsiteX32" fmla="*/ 989473 w 2228534"/>
              <a:gd name="connsiteY32" fmla="*/ 1546317 h 2811946"/>
              <a:gd name="connsiteX33" fmla="*/ 994282 w 2228534"/>
              <a:gd name="connsiteY33" fmla="*/ 1633123 h 2811946"/>
              <a:gd name="connsiteX34" fmla="*/ 970559 w 2228534"/>
              <a:gd name="connsiteY34" fmla="*/ 1930213 h 2811946"/>
              <a:gd name="connsiteX35" fmla="*/ 938643 w 2228534"/>
              <a:gd name="connsiteY35" fmla="*/ 2098678 h 2811946"/>
              <a:gd name="connsiteX36" fmla="*/ 902169 w 2228534"/>
              <a:gd name="connsiteY36" fmla="*/ 2207952 h 2811946"/>
              <a:gd name="connsiteX37" fmla="*/ 865694 w 2228534"/>
              <a:gd name="connsiteY37" fmla="*/ 2212505 h 2811946"/>
              <a:gd name="connsiteX38" fmla="*/ 929525 w 2228534"/>
              <a:gd name="connsiteY38" fmla="*/ 1966638 h 2811946"/>
              <a:gd name="connsiteX39" fmla="*/ 956881 w 2228534"/>
              <a:gd name="connsiteY39" fmla="*/ 1606942 h 2811946"/>
              <a:gd name="connsiteX40" fmla="*/ 1108369 w 2228534"/>
              <a:gd name="connsiteY40" fmla="*/ 1510800 h 2811946"/>
              <a:gd name="connsiteX41" fmla="*/ 1119990 w 2228534"/>
              <a:gd name="connsiteY41" fmla="*/ 1523236 h 2811946"/>
              <a:gd name="connsiteX42" fmla="*/ 1049777 w 2228534"/>
              <a:gd name="connsiteY42" fmla="*/ 1542630 h 2811946"/>
              <a:gd name="connsiteX43" fmla="*/ 989473 w 2228534"/>
              <a:gd name="connsiteY43" fmla="*/ 1546317 h 2811946"/>
              <a:gd name="connsiteX44" fmla="*/ 988796 w 2228534"/>
              <a:gd name="connsiteY44" fmla="*/ 1534093 h 2811946"/>
              <a:gd name="connsiteX45" fmla="*/ 988039 w 2228534"/>
              <a:gd name="connsiteY45" fmla="*/ 1528875 h 2811946"/>
              <a:gd name="connsiteX46" fmla="*/ 1010880 w 2228534"/>
              <a:gd name="connsiteY46" fmla="*/ 1530963 h 2811946"/>
              <a:gd name="connsiteX47" fmla="*/ 1075423 w 2228534"/>
              <a:gd name="connsiteY47" fmla="*/ 1524987 h 2811946"/>
              <a:gd name="connsiteX48" fmla="*/ 1150879 w 2228534"/>
              <a:gd name="connsiteY48" fmla="*/ 1510076 h 2811946"/>
              <a:gd name="connsiteX49" fmla="*/ 1151436 w 2228534"/>
              <a:gd name="connsiteY49" fmla="*/ 1510829 h 2811946"/>
              <a:gd name="connsiteX50" fmla="*/ 1184847 w 2228534"/>
              <a:gd name="connsiteY50" fmla="*/ 1538646 h 2811946"/>
              <a:gd name="connsiteX51" fmla="*/ 1256087 w 2228534"/>
              <a:gd name="connsiteY51" fmla="*/ 1564257 h 2811946"/>
              <a:gd name="connsiteX52" fmla="*/ 1291442 w 2228534"/>
              <a:gd name="connsiteY52" fmla="*/ 1558597 h 2811946"/>
              <a:gd name="connsiteX53" fmla="*/ 1289712 w 2228534"/>
              <a:gd name="connsiteY53" fmla="*/ 1575071 h 2811946"/>
              <a:gd name="connsiteX54" fmla="*/ 1289316 w 2228534"/>
              <a:gd name="connsiteY54" fmla="*/ 1579134 h 2811946"/>
              <a:gd name="connsiteX55" fmla="*/ 1288002 w 2228534"/>
              <a:gd name="connsiteY55" fmla="*/ 1579624 h 2811946"/>
              <a:gd name="connsiteX56" fmla="*/ 1130135 w 2228534"/>
              <a:gd name="connsiteY56" fmla="*/ 1534093 h 2811946"/>
              <a:gd name="connsiteX57" fmla="*/ 1119990 w 2228534"/>
              <a:gd name="connsiteY57" fmla="*/ 1523236 h 2811946"/>
              <a:gd name="connsiteX58" fmla="*/ 1130135 w 2228534"/>
              <a:gd name="connsiteY58" fmla="*/ 1520433 h 2811946"/>
              <a:gd name="connsiteX59" fmla="*/ 299643 w 2228534"/>
              <a:gd name="connsiteY59" fmla="*/ 1509645 h 2811946"/>
              <a:gd name="connsiteX60" fmla="*/ 314427 w 2228534"/>
              <a:gd name="connsiteY60" fmla="*/ 1521001 h 2811946"/>
              <a:gd name="connsiteX61" fmla="*/ 305329 w 2228534"/>
              <a:gd name="connsiteY61" fmla="*/ 1557339 h 2811946"/>
              <a:gd name="connsiteX62" fmla="*/ 100617 w 2228534"/>
              <a:gd name="connsiteY62" fmla="*/ 1675439 h 2811946"/>
              <a:gd name="connsiteX63" fmla="*/ 86970 w 2228534"/>
              <a:gd name="connsiteY63" fmla="*/ 1679981 h 2811946"/>
              <a:gd name="connsiteX64" fmla="*/ 64224 w 2228534"/>
              <a:gd name="connsiteY64" fmla="*/ 1666354 h 2811946"/>
              <a:gd name="connsiteX65" fmla="*/ 73322 w 2228534"/>
              <a:gd name="connsiteY65" fmla="*/ 1630016 h 2811946"/>
              <a:gd name="connsiteX66" fmla="*/ 278034 w 2228534"/>
              <a:gd name="connsiteY66" fmla="*/ 1511917 h 2811946"/>
              <a:gd name="connsiteX67" fmla="*/ 299643 w 2228534"/>
              <a:gd name="connsiteY67" fmla="*/ 1509645 h 2811946"/>
              <a:gd name="connsiteX68" fmla="*/ 1880865 w 2228534"/>
              <a:gd name="connsiteY68" fmla="*/ 1485373 h 2811946"/>
              <a:gd name="connsiteX69" fmla="*/ 1900770 w 2228534"/>
              <a:gd name="connsiteY69" fmla="*/ 1489347 h 2811946"/>
              <a:gd name="connsiteX70" fmla="*/ 2105506 w 2228534"/>
              <a:gd name="connsiteY70" fmla="*/ 1607431 h 2811946"/>
              <a:gd name="connsiteX71" fmla="*/ 2114606 w 2228534"/>
              <a:gd name="connsiteY71" fmla="*/ 1643764 h 2811946"/>
              <a:gd name="connsiteX72" fmla="*/ 2091857 w 2228534"/>
              <a:gd name="connsiteY72" fmla="*/ 1657389 h 2811946"/>
              <a:gd name="connsiteX73" fmla="*/ 2078208 w 2228534"/>
              <a:gd name="connsiteY73" fmla="*/ 1652848 h 2811946"/>
              <a:gd name="connsiteX74" fmla="*/ 1873472 w 2228534"/>
              <a:gd name="connsiteY74" fmla="*/ 1534764 h 2811946"/>
              <a:gd name="connsiteX75" fmla="*/ 1864372 w 2228534"/>
              <a:gd name="connsiteY75" fmla="*/ 1498430 h 2811946"/>
              <a:gd name="connsiteX76" fmla="*/ 1880865 w 2228534"/>
              <a:gd name="connsiteY76" fmla="*/ 1485373 h 2811946"/>
              <a:gd name="connsiteX77" fmla="*/ 1421932 w 2228534"/>
              <a:gd name="connsiteY77" fmla="*/ 1329203 h 2811946"/>
              <a:gd name="connsiteX78" fmla="*/ 1421932 w 2228534"/>
              <a:gd name="connsiteY78" fmla="*/ 1488562 h 2811946"/>
              <a:gd name="connsiteX79" fmla="*/ 1365439 w 2228534"/>
              <a:gd name="connsiteY79" fmla="*/ 1550740 h 2811946"/>
              <a:gd name="connsiteX80" fmla="*/ 1323797 w 2228534"/>
              <a:gd name="connsiteY80" fmla="*/ 1566273 h 2811946"/>
              <a:gd name="connsiteX81" fmla="*/ 1324536 w 2228534"/>
              <a:gd name="connsiteY81" fmla="*/ 1553299 h 2811946"/>
              <a:gd name="connsiteX82" fmla="*/ 1330746 w 2228534"/>
              <a:gd name="connsiteY82" fmla="*/ 1552305 h 2811946"/>
              <a:gd name="connsiteX83" fmla="*/ 1408254 w 2228534"/>
              <a:gd name="connsiteY83" fmla="*/ 1392946 h 2811946"/>
              <a:gd name="connsiteX84" fmla="*/ 1403695 w 2228534"/>
              <a:gd name="connsiteY84" fmla="*/ 1356522 h 2811946"/>
              <a:gd name="connsiteX85" fmla="*/ 1399136 w 2228534"/>
              <a:gd name="connsiteY85" fmla="*/ 1347415 h 2811946"/>
              <a:gd name="connsiteX86" fmla="*/ 1394576 w 2228534"/>
              <a:gd name="connsiteY86" fmla="*/ 1347415 h 2811946"/>
              <a:gd name="connsiteX87" fmla="*/ 1353542 w 2228534"/>
              <a:gd name="connsiteY87" fmla="*/ 1411159 h 2811946"/>
              <a:gd name="connsiteX88" fmla="*/ 1325047 w 2228534"/>
              <a:gd name="connsiteY88" fmla="*/ 1544337 h 2811946"/>
              <a:gd name="connsiteX89" fmla="*/ 1324536 w 2228534"/>
              <a:gd name="connsiteY89" fmla="*/ 1553299 h 2811946"/>
              <a:gd name="connsiteX90" fmla="*/ 1291442 w 2228534"/>
              <a:gd name="connsiteY90" fmla="*/ 1558597 h 2811946"/>
              <a:gd name="connsiteX91" fmla="*/ 1298261 w 2228534"/>
              <a:gd name="connsiteY91" fmla="*/ 1493684 h 2811946"/>
              <a:gd name="connsiteX92" fmla="*/ 1317068 w 2228534"/>
              <a:gd name="connsiteY92" fmla="*/ 1415712 h 2811946"/>
              <a:gd name="connsiteX93" fmla="*/ 1421932 w 2228534"/>
              <a:gd name="connsiteY93" fmla="*/ 1329203 h 2811946"/>
              <a:gd name="connsiteX94" fmla="*/ 1118168 w 2228534"/>
              <a:gd name="connsiteY94" fmla="*/ 1305370 h 2811946"/>
              <a:gd name="connsiteX95" fmla="*/ 1148373 w 2228534"/>
              <a:gd name="connsiteY95" fmla="*/ 1306437 h 2811946"/>
              <a:gd name="connsiteX96" fmla="*/ 1216762 w 2228534"/>
              <a:gd name="connsiteY96" fmla="*/ 1415712 h 2811946"/>
              <a:gd name="connsiteX97" fmla="*/ 1162905 w 2228534"/>
              <a:gd name="connsiteY97" fmla="*/ 1504071 h 2811946"/>
              <a:gd name="connsiteX98" fmla="*/ 1150879 w 2228534"/>
              <a:gd name="connsiteY98" fmla="*/ 1510076 h 2811946"/>
              <a:gd name="connsiteX99" fmla="*/ 1140275 w 2228534"/>
              <a:gd name="connsiteY99" fmla="*/ 1495728 h 2811946"/>
              <a:gd name="connsiteX100" fmla="*/ 1160697 w 2228534"/>
              <a:gd name="connsiteY100" fmla="*/ 1476966 h 2811946"/>
              <a:gd name="connsiteX101" fmla="*/ 1175729 w 2228534"/>
              <a:gd name="connsiteY101" fmla="*/ 1447584 h 2811946"/>
              <a:gd name="connsiteX102" fmla="*/ 1143813 w 2228534"/>
              <a:gd name="connsiteY102" fmla="*/ 1329203 h 2811946"/>
              <a:gd name="connsiteX103" fmla="*/ 1098220 w 2228534"/>
              <a:gd name="connsiteY103" fmla="*/ 1397500 h 2811946"/>
              <a:gd name="connsiteX104" fmla="*/ 1126146 w 2228534"/>
              <a:gd name="connsiteY104" fmla="*/ 1476610 h 2811946"/>
              <a:gd name="connsiteX105" fmla="*/ 1140275 w 2228534"/>
              <a:gd name="connsiteY105" fmla="*/ 1495728 h 2811946"/>
              <a:gd name="connsiteX106" fmla="*/ 1137544 w 2228534"/>
              <a:gd name="connsiteY106" fmla="*/ 1498237 h 2811946"/>
              <a:gd name="connsiteX107" fmla="*/ 1108369 w 2228534"/>
              <a:gd name="connsiteY107" fmla="*/ 1510800 h 2811946"/>
              <a:gd name="connsiteX108" fmla="*/ 1098291 w 2228534"/>
              <a:gd name="connsiteY108" fmla="*/ 1500016 h 2811946"/>
              <a:gd name="connsiteX109" fmla="*/ 1061745 w 2228534"/>
              <a:gd name="connsiteY109" fmla="*/ 1361075 h 2811946"/>
              <a:gd name="connsiteX110" fmla="*/ 1118168 w 2228534"/>
              <a:gd name="connsiteY110" fmla="*/ 1305370 h 2811946"/>
              <a:gd name="connsiteX111" fmla="*/ 834776 w 2228534"/>
              <a:gd name="connsiteY111" fmla="*/ 1304730 h 2811946"/>
              <a:gd name="connsiteX112" fmla="*/ 865694 w 2228534"/>
              <a:gd name="connsiteY112" fmla="*/ 1306437 h 2811946"/>
              <a:gd name="connsiteX113" fmla="*/ 979179 w 2228534"/>
              <a:gd name="connsiteY113" fmla="*/ 1467788 h 2811946"/>
              <a:gd name="connsiteX114" fmla="*/ 988039 w 2228534"/>
              <a:gd name="connsiteY114" fmla="*/ 1528875 h 2811946"/>
              <a:gd name="connsiteX115" fmla="*/ 950275 w 2228534"/>
              <a:gd name="connsiteY115" fmla="*/ 1525424 h 2811946"/>
              <a:gd name="connsiteX116" fmla="*/ 944343 w 2228534"/>
              <a:gd name="connsiteY116" fmla="*/ 1478886 h 2811946"/>
              <a:gd name="connsiteX117" fmla="*/ 897609 w 2228534"/>
              <a:gd name="connsiteY117" fmla="*/ 1361075 h 2811946"/>
              <a:gd name="connsiteX118" fmla="*/ 861135 w 2228534"/>
              <a:gd name="connsiteY118" fmla="*/ 1333756 h 2811946"/>
              <a:gd name="connsiteX119" fmla="*/ 815542 w 2228534"/>
              <a:gd name="connsiteY119" fmla="*/ 1333756 h 2811946"/>
              <a:gd name="connsiteX120" fmla="*/ 842898 w 2228534"/>
              <a:gd name="connsiteY120" fmla="*/ 1456690 h 2811946"/>
              <a:gd name="connsiteX121" fmla="*/ 945482 w 2228534"/>
              <a:gd name="connsiteY121" fmla="*/ 1524987 h 2811946"/>
              <a:gd name="connsiteX122" fmla="*/ 950275 w 2228534"/>
              <a:gd name="connsiteY122" fmla="*/ 1525424 h 2811946"/>
              <a:gd name="connsiteX123" fmla="*/ 952749 w 2228534"/>
              <a:gd name="connsiteY123" fmla="*/ 1544835 h 2811946"/>
              <a:gd name="connsiteX124" fmla="*/ 952814 w 2228534"/>
              <a:gd name="connsiteY124" fmla="*/ 1545809 h 2811946"/>
              <a:gd name="connsiteX125" fmla="*/ 896470 w 2228534"/>
              <a:gd name="connsiteY125" fmla="*/ 1537508 h 2811946"/>
              <a:gd name="connsiteX126" fmla="*/ 833779 w 2228534"/>
              <a:gd name="connsiteY126" fmla="*/ 1506774 h 2811946"/>
              <a:gd name="connsiteX127" fmla="*/ 774508 w 2228534"/>
              <a:gd name="connsiteY127" fmla="*/ 1361075 h 2811946"/>
              <a:gd name="connsiteX128" fmla="*/ 834776 w 2228534"/>
              <a:gd name="connsiteY128" fmla="*/ 1304730 h 2811946"/>
              <a:gd name="connsiteX129" fmla="*/ 1964003 w 2228534"/>
              <a:gd name="connsiteY129" fmla="*/ 1110649 h 2811946"/>
              <a:gd name="connsiteX130" fmla="*/ 2201169 w 2228534"/>
              <a:gd name="connsiteY130" fmla="*/ 1110649 h 2811946"/>
              <a:gd name="connsiteX131" fmla="*/ 2228534 w 2228534"/>
              <a:gd name="connsiteY131" fmla="*/ 1133652 h 2811946"/>
              <a:gd name="connsiteX132" fmla="*/ 2201169 w 2228534"/>
              <a:gd name="connsiteY132" fmla="*/ 1161256 h 2811946"/>
              <a:gd name="connsiteX133" fmla="*/ 1964003 w 2228534"/>
              <a:gd name="connsiteY133" fmla="*/ 1161256 h 2811946"/>
              <a:gd name="connsiteX134" fmla="*/ 1936638 w 2228534"/>
              <a:gd name="connsiteY134" fmla="*/ 1133652 h 2811946"/>
              <a:gd name="connsiteX135" fmla="*/ 1964003 w 2228534"/>
              <a:gd name="connsiteY135" fmla="*/ 1110649 h 2811946"/>
              <a:gd name="connsiteX136" fmla="*/ 27365 w 2228534"/>
              <a:gd name="connsiteY136" fmla="*/ 1110649 h 2811946"/>
              <a:gd name="connsiteX137" fmla="*/ 264531 w 2228534"/>
              <a:gd name="connsiteY137" fmla="*/ 1110649 h 2811946"/>
              <a:gd name="connsiteX138" fmla="*/ 291896 w 2228534"/>
              <a:gd name="connsiteY138" fmla="*/ 1133652 h 2811946"/>
              <a:gd name="connsiteX139" fmla="*/ 264531 w 2228534"/>
              <a:gd name="connsiteY139" fmla="*/ 1161256 h 2811946"/>
              <a:gd name="connsiteX140" fmla="*/ 27365 w 2228534"/>
              <a:gd name="connsiteY140" fmla="*/ 1161256 h 2811946"/>
              <a:gd name="connsiteX141" fmla="*/ 0 w 2228534"/>
              <a:gd name="connsiteY141" fmla="*/ 1133652 h 2811946"/>
              <a:gd name="connsiteX142" fmla="*/ 27365 w 2228534"/>
              <a:gd name="connsiteY142" fmla="*/ 1110649 h 2811946"/>
              <a:gd name="connsiteX143" fmla="*/ 673805 w 2228534"/>
              <a:gd name="connsiteY143" fmla="*/ 823938 h 2811946"/>
              <a:gd name="connsiteX144" fmla="*/ 694847 w 2228534"/>
              <a:gd name="connsiteY144" fmla="*/ 839862 h 2811946"/>
              <a:gd name="connsiteX145" fmla="*/ 690298 w 2228534"/>
              <a:gd name="connsiteY145" fmla="*/ 897768 h 2811946"/>
              <a:gd name="connsiteX146" fmla="*/ 672099 w 2228534"/>
              <a:gd name="connsiteY146" fmla="*/ 1372596 h 2811946"/>
              <a:gd name="connsiteX147" fmla="*/ 663000 w 2228534"/>
              <a:gd name="connsiteY147" fmla="*/ 1436293 h 2811946"/>
              <a:gd name="connsiteX148" fmla="*/ 644801 w 2228534"/>
              <a:gd name="connsiteY148" fmla="*/ 1442083 h 2811946"/>
              <a:gd name="connsiteX149" fmla="*/ 617503 w 2228534"/>
              <a:gd name="connsiteY149" fmla="*/ 1418921 h 2811946"/>
              <a:gd name="connsiteX150" fmla="*/ 649351 w 2228534"/>
              <a:gd name="connsiteY150" fmla="*/ 834072 h 2811946"/>
              <a:gd name="connsiteX151" fmla="*/ 673805 w 2228534"/>
              <a:gd name="connsiteY151" fmla="*/ 823938 h 2811946"/>
              <a:gd name="connsiteX152" fmla="*/ 2099819 w 2228534"/>
              <a:gd name="connsiteY152" fmla="*/ 592541 h 2811946"/>
              <a:gd name="connsiteX153" fmla="*/ 2114606 w 2228534"/>
              <a:gd name="connsiteY153" fmla="*/ 605665 h 2811946"/>
              <a:gd name="connsiteX154" fmla="*/ 2105506 w 2228534"/>
              <a:gd name="connsiteY154" fmla="*/ 642184 h 2811946"/>
              <a:gd name="connsiteX155" fmla="*/ 1900770 w 2228534"/>
              <a:gd name="connsiteY155" fmla="*/ 760870 h 2811946"/>
              <a:gd name="connsiteX156" fmla="*/ 1887121 w 2228534"/>
              <a:gd name="connsiteY156" fmla="*/ 765435 h 2811946"/>
              <a:gd name="connsiteX157" fmla="*/ 1864372 w 2228534"/>
              <a:gd name="connsiteY157" fmla="*/ 751740 h 2811946"/>
              <a:gd name="connsiteX158" fmla="*/ 1873472 w 2228534"/>
              <a:gd name="connsiteY158" fmla="*/ 715222 h 2811946"/>
              <a:gd name="connsiteX159" fmla="*/ 2078208 w 2228534"/>
              <a:gd name="connsiteY159" fmla="*/ 596536 h 2811946"/>
              <a:gd name="connsiteX160" fmla="*/ 2099819 w 2228534"/>
              <a:gd name="connsiteY160" fmla="*/ 592541 h 2811946"/>
              <a:gd name="connsiteX161" fmla="*/ 80715 w 2228534"/>
              <a:gd name="connsiteY161" fmla="*/ 569355 h 2811946"/>
              <a:gd name="connsiteX162" fmla="*/ 100617 w 2228534"/>
              <a:gd name="connsiteY162" fmla="*/ 569355 h 2811946"/>
              <a:gd name="connsiteX163" fmla="*/ 305329 w 2228534"/>
              <a:gd name="connsiteY163" fmla="*/ 691980 h 2811946"/>
              <a:gd name="connsiteX164" fmla="*/ 314427 w 2228534"/>
              <a:gd name="connsiteY164" fmla="*/ 728314 h 2811946"/>
              <a:gd name="connsiteX165" fmla="*/ 291682 w 2228534"/>
              <a:gd name="connsiteY165" fmla="*/ 741939 h 2811946"/>
              <a:gd name="connsiteX166" fmla="*/ 278034 w 2228534"/>
              <a:gd name="connsiteY166" fmla="*/ 737397 h 2811946"/>
              <a:gd name="connsiteX167" fmla="*/ 73322 w 2228534"/>
              <a:gd name="connsiteY167" fmla="*/ 614771 h 2811946"/>
              <a:gd name="connsiteX168" fmla="*/ 64224 w 2228534"/>
              <a:gd name="connsiteY168" fmla="*/ 582980 h 2811946"/>
              <a:gd name="connsiteX169" fmla="*/ 80715 w 2228534"/>
              <a:gd name="connsiteY169" fmla="*/ 569355 h 2811946"/>
              <a:gd name="connsiteX170" fmla="*/ 1108665 w 2228534"/>
              <a:gd name="connsiteY170" fmla="*/ 505954 h 2811946"/>
              <a:gd name="connsiteX171" fmla="*/ 448174 w 2228534"/>
              <a:gd name="connsiteY171" fmla="*/ 1148337 h 2811946"/>
              <a:gd name="connsiteX172" fmla="*/ 534721 w 2228534"/>
              <a:gd name="connsiteY172" fmla="*/ 1469528 h 2811946"/>
              <a:gd name="connsiteX173" fmla="*/ 798918 w 2228534"/>
              <a:gd name="connsiteY173" fmla="*/ 2147109 h 2811946"/>
              <a:gd name="connsiteX174" fmla="*/ 835358 w 2228534"/>
              <a:gd name="connsiteY174" fmla="*/ 2252706 h 2811946"/>
              <a:gd name="connsiteX175" fmla="*/ 903685 w 2228534"/>
              <a:gd name="connsiteY175" fmla="*/ 2265906 h 2811946"/>
              <a:gd name="connsiteX176" fmla="*/ 1108665 w 2228534"/>
              <a:gd name="connsiteY176" fmla="*/ 2265906 h 2811946"/>
              <a:gd name="connsiteX177" fmla="*/ 1318200 w 2228534"/>
              <a:gd name="connsiteY177" fmla="*/ 2265906 h 2811946"/>
              <a:gd name="connsiteX178" fmla="*/ 1386527 w 2228534"/>
              <a:gd name="connsiteY178" fmla="*/ 2252706 h 2811946"/>
              <a:gd name="connsiteX179" fmla="*/ 1422968 w 2228534"/>
              <a:gd name="connsiteY179" fmla="*/ 2147109 h 2811946"/>
              <a:gd name="connsiteX180" fmla="*/ 1687164 w 2228534"/>
              <a:gd name="connsiteY180" fmla="*/ 1469528 h 2811946"/>
              <a:gd name="connsiteX181" fmla="*/ 1773712 w 2228534"/>
              <a:gd name="connsiteY181" fmla="*/ 1148337 h 2811946"/>
              <a:gd name="connsiteX182" fmla="*/ 1108665 w 2228534"/>
              <a:gd name="connsiteY182" fmla="*/ 505954 h 2811946"/>
              <a:gd name="connsiteX183" fmla="*/ 1108665 w 2228534"/>
              <a:gd name="connsiteY183" fmla="*/ 444356 h 2811946"/>
              <a:gd name="connsiteX184" fmla="*/ 1842038 w 2228534"/>
              <a:gd name="connsiteY184" fmla="*/ 1148337 h 2811946"/>
              <a:gd name="connsiteX185" fmla="*/ 1741826 w 2228534"/>
              <a:gd name="connsiteY185" fmla="*/ 1500327 h 2811946"/>
              <a:gd name="connsiteX186" fmla="*/ 1486739 w 2228534"/>
              <a:gd name="connsiteY186" fmla="*/ 2155909 h 2811946"/>
              <a:gd name="connsiteX187" fmla="*/ 1318200 w 2228534"/>
              <a:gd name="connsiteY187" fmla="*/ 2331904 h 2811946"/>
              <a:gd name="connsiteX188" fmla="*/ 1390441 w 2228534"/>
              <a:gd name="connsiteY188" fmla="*/ 2331904 h 2811946"/>
              <a:gd name="connsiteX189" fmla="*/ 1431458 w 2228534"/>
              <a:gd name="connsiteY189" fmla="*/ 2367620 h 2811946"/>
              <a:gd name="connsiteX190" fmla="*/ 1431458 w 2228534"/>
              <a:gd name="connsiteY190" fmla="*/ 2387462 h 2811946"/>
              <a:gd name="connsiteX191" fmla="*/ 1390441 w 2228534"/>
              <a:gd name="connsiteY191" fmla="*/ 2423177 h 2811946"/>
              <a:gd name="connsiteX192" fmla="*/ 838981 w 2228534"/>
              <a:gd name="connsiteY192" fmla="*/ 2423177 h 2811946"/>
              <a:gd name="connsiteX193" fmla="*/ 797963 w 2228534"/>
              <a:gd name="connsiteY193" fmla="*/ 2387462 h 2811946"/>
              <a:gd name="connsiteX194" fmla="*/ 797963 w 2228534"/>
              <a:gd name="connsiteY194" fmla="*/ 2367620 h 2811946"/>
              <a:gd name="connsiteX195" fmla="*/ 838981 w 2228534"/>
              <a:gd name="connsiteY195" fmla="*/ 2331904 h 2811946"/>
              <a:gd name="connsiteX196" fmla="*/ 868062 w 2228534"/>
              <a:gd name="connsiteY196" fmla="*/ 2331904 h 2811946"/>
              <a:gd name="connsiteX197" fmla="*/ 903685 w 2228534"/>
              <a:gd name="connsiteY197" fmla="*/ 2331904 h 2811946"/>
              <a:gd name="connsiteX198" fmla="*/ 735146 w 2228534"/>
              <a:gd name="connsiteY198" fmla="*/ 2155909 h 2811946"/>
              <a:gd name="connsiteX199" fmla="*/ 480060 w 2228534"/>
              <a:gd name="connsiteY199" fmla="*/ 1500327 h 2811946"/>
              <a:gd name="connsiteX200" fmla="*/ 379847 w 2228534"/>
              <a:gd name="connsiteY200" fmla="*/ 1148337 h 2811946"/>
              <a:gd name="connsiteX201" fmla="*/ 1108665 w 2228534"/>
              <a:gd name="connsiteY201" fmla="*/ 444356 h 2811946"/>
              <a:gd name="connsiteX202" fmla="*/ 1684423 w 2228534"/>
              <a:gd name="connsiteY202" fmla="*/ 154009 h 2811946"/>
              <a:gd name="connsiteX203" fmla="*/ 1704293 w 2228534"/>
              <a:gd name="connsiteY203" fmla="*/ 154580 h 2811946"/>
              <a:gd name="connsiteX204" fmla="*/ 1713376 w 2228534"/>
              <a:gd name="connsiteY204" fmla="*/ 191102 h 2811946"/>
              <a:gd name="connsiteX205" fmla="*/ 1595292 w 2228534"/>
              <a:gd name="connsiteY205" fmla="*/ 401103 h 2811946"/>
              <a:gd name="connsiteX206" fmla="*/ 1572584 w 2228534"/>
              <a:gd name="connsiteY206" fmla="*/ 414799 h 2811946"/>
              <a:gd name="connsiteX207" fmla="*/ 1558959 w 2228534"/>
              <a:gd name="connsiteY207" fmla="*/ 410234 h 2811946"/>
              <a:gd name="connsiteX208" fmla="*/ 1549875 w 2228534"/>
              <a:gd name="connsiteY208" fmla="*/ 373712 h 2811946"/>
              <a:gd name="connsiteX209" fmla="*/ 1667959 w 2228534"/>
              <a:gd name="connsiteY209" fmla="*/ 163711 h 2811946"/>
              <a:gd name="connsiteX210" fmla="*/ 1684423 w 2228534"/>
              <a:gd name="connsiteY210" fmla="*/ 154009 h 2811946"/>
              <a:gd name="connsiteX211" fmla="*/ 493688 w 2228534"/>
              <a:gd name="connsiteY211" fmla="*/ 131403 h 2811946"/>
              <a:gd name="connsiteX212" fmla="*/ 510231 w 2228534"/>
              <a:gd name="connsiteY212" fmla="*/ 141073 h 2811946"/>
              <a:gd name="connsiteX213" fmla="*/ 628887 w 2228534"/>
              <a:gd name="connsiteY213" fmla="*/ 350382 h 2811946"/>
              <a:gd name="connsiteX214" fmla="*/ 619760 w 2228534"/>
              <a:gd name="connsiteY214" fmla="*/ 386784 h 2811946"/>
              <a:gd name="connsiteX215" fmla="*/ 606069 w 2228534"/>
              <a:gd name="connsiteY215" fmla="*/ 386784 h 2811946"/>
              <a:gd name="connsiteX216" fmla="*/ 583250 w 2228534"/>
              <a:gd name="connsiteY216" fmla="*/ 377683 h 2811946"/>
              <a:gd name="connsiteX217" fmla="*/ 464594 w 2228534"/>
              <a:gd name="connsiteY217" fmla="*/ 168374 h 2811946"/>
              <a:gd name="connsiteX218" fmla="*/ 473722 w 2228534"/>
              <a:gd name="connsiteY218" fmla="*/ 131972 h 2811946"/>
              <a:gd name="connsiteX219" fmla="*/ 493688 w 2228534"/>
              <a:gd name="connsiteY219" fmla="*/ 131403 h 2811946"/>
              <a:gd name="connsiteX220" fmla="*/ 1098410 w 2228534"/>
              <a:gd name="connsiteY220" fmla="*/ 0 h 2811946"/>
              <a:gd name="connsiteX221" fmla="*/ 1126014 w 2228534"/>
              <a:gd name="connsiteY221" fmla="*/ 27365 h 2811946"/>
              <a:gd name="connsiteX222" fmla="*/ 1126014 w 2228534"/>
              <a:gd name="connsiteY222" fmla="*/ 264530 h 2811946"/>
              <a:gd name="connsiteX223" fmla="*/ 1098410 w 2228534"/>
              <a:gd name="connsiteY223" fmla="*/ 291895 h 2811946"/>
              <a:gd name="connsiteX224" fmla="*/ 1075407 w 2228534"/>
              <a:gd name="connsiteY224" fmla="*/ 264530 h 2811946"/>
              <a:gd name="connsiteX225" fmla="*/ 1075407 w 2228534"/>
              <a:gd name="connsiteY225" fmla="*/ 27365 h 2811946"/>
              <a:gd name="connsiteX226" fmla="*/ 1098410 w 2228534"/>
              <a:gd name="connsiteY226" fmla="*/ 0 h 2811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2228534" h="2811946">
                <a:moveTo>
                  <a:pt x="947977" y="2720673"/>
                </a:moveTo>
                <a:cubicBezTo>
                  <a:pt x="1280539" y="2720673"/>
                  <a:pt x="1280539" y="2720673"/>
                  <a:pt x="1280539" y="2720673"/>
                </a:cubicBezTo>
                <a:cubicBezTo>
                  <a:pt x="1280539" y="2775437"/>
                  <a:pt x="1193982" y="2811946"/>
                  <a:pt x="1111980" y="2811946"/>
                </a:cubicBezTo>
                <a:cubicBezTo>
                  <a:pt x="1034534" y="2811946"/>
                  <a:pt x="947977" y="2775437"/>
                  <a:pt x="947977" y="2720673"/>
                </a:cubicBezTo>
                <a:close/>
                <a:moveTo>
                  <a:pt x="888648" y="2600303"/>
                </a:moveTo>
                <a:cubicBezTo>
                  <a:pt x="888648" y="2600303"/>
                  <a:pt x="888648" y="2600303"/>
                  <a:pt x="1339871" y="2600303"/>
                </a:cubicBezTo>
                <a:cubicBezTo>
                  <a:pt x="1358102" y="2600303"/>
                  <a:pt x="1376333" y="2614950"/>
                  <a:pt x="1376333" y="2633259"/>
                </a:cubicBezTo>
                <a:cubicBezTo>
                  <a:pt x="1376333" y="2633259"/>
                  <a:pt x="1376333" y="2633259"/>
                  <a:pt x="1376333" y="2655230"/>
                </a:cubicBezTo>
                <a:cubicBezTo>
                  <a:pt x="1376333" y="2669877"/>
                  <a:pt x="1358102" y="2684524"/>
                  <a:pt x="1339871" y="2684524"/>
                </a:cubicBezTo>
                <a:cubicBezTo>
                  <a:pt x="1339871" y="2684524"/>
                  <a:pt x="1339871" y="2684524"/>
                  <a:pt x="888648" y="2684524"/>
                </a:cubicBezTo>
                <a:cubicBezTo>
                  <a:pt x="870416" y="2684524"/>
                  <a:pt x="852185" y="2669877"/>
                  <a:pt x="852185" y="2655230"/>
                </a:cubicBezTo>
                <a:cubicBezTo>
                  <a:pt x="852185" y="2655230"/>
                  <a:pt x="852185" y="2655230"/>
                  <a:pt x="852185" y="2633259"/>
                </a:cubicBezTo>
                <a:cubicBezTo>
                  <a:pt x="852185" y="2614950"/>
                  <a:pt x="870416" y="2600303"/>
                  <a:pt x="888648" y="2600303"/>
                </a:cubicBezTo>
                <a:close/>
                <a:moveTo>
                  <a:pt x="857013" y="2463844"/>
                </a:moveTo>
                <a:cubicBezTo>
                  <a:pt x="857013" y="2463844"/>
                  <a:pt x="857013" y="2463844"/>
                  <a:pt x="1371503" y="2463844"/>
                </a:cubicBezTo>
                <a:cubicBezTo>
                  <a:pt x="1394268" y="2463844"/>
                  <a:pt x="1412480" y="2480563"/>
                  <a:pt x="1412480" y="2501461"/>
                </a:cubicBezTo>
                <a:cubicBezTo>
                  <a:pt x="1412480" y="2501461"/>
                  <a:pt x="1412480" y="2501461"/>
                  <a:pt x="1412480" y="2526539"/>
                </a:cubicBezTo>
                <a:cubicBezTo>
                  <a:pt x="1412480" y="2547437"/>
                  <a:pt x="1394268" y="2564155"/>
                  <a:pt x="1371503" y="2564155"/>
                </a:cubicBezTo>
                <a:cubicBezTo>
                  <a:pt x="1371503" y="2564155"/>
                  <a:pt x="1371503" y="2564155"/>
                  <a:pt x="857013" y="2564155"/>
                </a:cubicBezTo>
                <a:cubicBezTo>
                  <a:pt x="834248" y="2564155"/>
                  <a:pt x="816036" y="2547437"/>
                  <a:pt x="816036" y="2526539"/>
                </a:cubicBezTo>
                <a:cubicBezTo>
                  <a:pt x="816036" y="2526539"/>
                  <a:pt x="816036" y="2526539"/>
                  <a:pt x="816036" y="2501461"/>
                </a:cubicBezTo>
                <a:cubicBezTo>
                  <a:pt x="816036" y="2480563"/>
                  <a:pt x="834248" y="2463844"/>
                  <a:pt x="857013" y="2463844"/>
                </a:cubicBezTo>
                <a:close/>
                <a:moveTo>
                  <a:pt x="1323797" y="1566273"/>
                </a:moveTo>
                <a:lnTo>
                  <a:pt x="1317068" y="1684345"/>
                </a:lnTo>
                <a:cubicBezTo>
                  <a:pt x="1317068" y="1866469"/>
                  <a:pt x="1344424" y="2048594"/>
                  <a:pt x="1353542" y="2230718"/>
                </a:cubicBezTo>
                <a:cubicBezTo>
                  <a:pt x="1353542" y="2244377"/>
                  <a:pt x="1317068" y="2248930"/>
                  <a:pt x="1317068" y="2239824"/>
                </a:cubicBezTo>
                <a:cubicBezTo>
                  <a:pt x="1312508" y="2185187"/>
                  <a:pt x="1307949" y="2130549"/>
                  <a:pt x="1303390" y="2071359"/>
                </a:cubicBezTo>
                <a:cubicBezTo>
                  <a:pt x="1294271" y="1962085"/>
                  <a:pt x="1280593" y="1848257"/>
                  <a:pt x="1280593" y="1738982"/>
                </a:cubicBezTo>
                <a:cubicBezTo>
                  <a:pt x="1280593" y="1711664"/>
                  <a:pt x="1280593" y="1684345"/>
                  <a:pt x="1281733" y="1657027"/>
                </a:cubicBezTo>
                <a:lnTo>
                  <a:pt x="1289316" y="1579134"/>
                </a:lnTo>
                <a:close/>
                <a:moveTo>
                  <a:pt x="952814" y="1545809"/>
                </a:moveTo>
                <a:lnTo>
                  <a:pt x="965999" y="1547752"/>
                </a:lnTo>
                <a:lnTo>
                  <a:pt x="989473" y="1546317"/>
                </a:lnTo>
                <a:lnTo>
                  <a:pt x="994282" y="1633123"/>
                </a:lnTo>
                <a:cubicBezTo>
                  <a:pt x="995350" y="1732153"/>
                  <a:pt x="984237" y="1831183"/>
                  <a:pt x="970559" y="1930213"/>
                </a:cubicBezTo>
                <a:cubicBezTo>
                  <a:pt x="961440" y="1984850"/>
                  <a:pt x="952321" y="2044040"/>
                  <a:pt x="938643" y="2098678"/>
                </a:cubicBezTo>
                <a:cubicBezTo>
                  <a:pt x="929525" y="2135103"/>
                  <a:pt x="920406" y="2171527"/>
                  <a:pt x="902169" y="2207952"/>
                </a:cubicBezTo>
                <a:cubicBezTo>
                  <a:pt x="897609" y="2217058"/>
                  <a:pt x="861135" y="2221612"/>
                  <a:pt x="865694" y="2212505"/>
                </a:cubicBezTo>
                <a:cubicBezTo>
                  <a:pt x="902169" y="2139656"/>
                  <a:pt x="915847" y="2048594"/>
                  <a:pt x="929525" y="1966638"/>
                </a:cubicBezTo>
                <a:cubicBezTo>
                  <a:pt x="947762" y="1848257"/>
                  <a:pt x="961440" y="1725323"/>
                  <a:pt x="956881" y="1606942"/>
                </a:cubicBezTo>
                <a:close/>
                <a:moveTo>
                  <a:pt x="1108369" y="1510800"/>
                </a:moveTo>
                <a:lnTo>
                  <a:pt x="1119990" y="1523236"/>
                </a:lnTo>
                <a:lnTo>
                  <a:pt x="1049777" y="1542630"/>
                </a:lnTo>
                <a:lnTo>
                  <a:pt x="989473" y="1546317"/>
                </a:lnTo>
                <a:lnTo>
                  <a:pt x="988796" y="1534093"/>
                </a:lnTo>
                <a:lnTo>
                  <a:pt x="988039" y="1528875"/>
                </a:lnTo>
                <a:lnTo>
                  <a:pt x="1010880" y="1530963"/>
                </a:lnTo>
                <a:cubicBezTo>
                  <a:pt x="1032964" y="1530678"/>
                  <a:pt x="1054906" y="1528402"/>
                  <a:pt x="1075423" y="1524987"/>
                </a:cubicBezTo>
                <a:close/>
                <a:moveTo>
                  <a:pt x="1150879" y="1510076"/>
                </a:moveTo>
                <a:lnTo>
                  <a:pt x="1151436" y="1510829"/>
                </a:lnTo>
                <a:cubicBezTo>
                  <a:pt x="1161196" y="1521287"/>
                  <a:pt x="1172309" y="1530678"/>
                  <a:pt x="1184847" y="1538646"/>
                </a:cubicBezTo>
                <a:cubicBezTo>
                  <a:pt x="1205364" y="1552305"/>
                  <a:pt x="1230440" y="1561411"/>
                  <a:pt x="1256087" y="1564257"/>
                </a:cubicBezTo>
                <a:lnTo>
                  <a:pt x="1291442" y="1558597"/>
                </a:lnTo>
                <a:lnTo>
                  <a:pt x="1289712" y="1575071"/>
                </a:lnTo>
                <a:lnTo>
                  <a:pt x="1289316" y="1579134"/>
                </a:lnTo>
                <a:lnTo>
                  <a:pt x="1288002" y="1579624"/>
                </a:lnTo>
                <a:cubicBezTo>
                  <a:pt x="1232720" y="1587592"/>
                  <a:pt x="1173449" y="1572794"/>
                  <a:pt x="1130135" y="1534093"/>
                </a:cubicBezTo>
                <a:lnTo>
                  <a:pt x="1119990" y="1523236"/>
                </a:lnTo>
                <a:lnTo>
                  <a:pt x="1130135" y="1520433"/>
                </a:lnTo>
                <a:close/>
                <a:moveTo>
                  <a:pt x="299643" y="1509645"/>
                </a:moveTo>
                <a:cubicBezTo>
                  <a:pt x="306466" y="1510781"/>
                  <a:pt x="312153" y="1514188"/>
                  <a:pt x="314427" y="1521001"/>
                </a:cubicBezTo>
                <a:cubicBezTo>
                  <a:pt x="323526" y="1534628"/>
                  <a:pt x="318977" y="1548255"/>
                  <a:pt x="305329" y="1557339"/>
                </a:cubicBezTo>
                <a:cubicBezTo>
                  <a:pt x="305329" y="1557339"/>
                  <a:pt x="305329" y="1557339"/>
                  <a:pt x="100617" y="1675439"/>
                </a:cubicBezTo>
                <a:cubicBezTo>
                  <a:pt x="96068" y="1679981"/>
                  <a:pt x="91519" y="1679981"/>
                  <a:pt x="86970" y="1679981"/>
                </a:cubicBezTo>
                <a:cubicBezTo>
                  <a:pt x="77872" y="1679981"/>
                  <a:pt x="68773" y="1675439"/>
                  <a:pt x="64224" y="1666354"/>
                </a:cubicBezTo>
                <a:cubicBezTo>
                  <a:pt x="55126" y="1657270"/>
                  <a:pt x="59675" y="1639101"/>
                  <a:pt x="73322" y="1630016"/>
                </a:cubicBezTo>
                <a:cubicBezTo>
                  <a:pt x="73322" y="1630016"/>
                  <a:pt x="73322" y="1630016"/>
                  <a:pt x="278034" y="1511917"/>
                </a:cubicBezTo>
                <a:cubicBezTo>
                  <a:pt x="284858" y="1509645"/>
                  <a:pt x="292819" y="1508510"/>
                  <a:pt x="299643" y="1509645"/>
                </a:cubicBezTo>
                <a:close/>
                <a:moveTo>
                  <a:pt x="1880865" y="1485373"/>
                </a:moveTo>
                <a:cubicBezTo>
                  <a:pt x="1887121" y="1483669"/>
                  <a:pt x="1893945" y="1484805"/>
                  <a:pt x="1900770" y="1489347"/>
                </a:cubicBezTo>
                <a:cubicBezTo>
                  <a:pt x="1900770" y="1489347"/>
                  <a:pt x="1900770" y="1489347"/>
                  <a:pt x="2105506" y="1607431"/>
                </a:cubicBezTo>
                <a:cubicBezTo>
                  <a:pt x="2119156" y="1616514"/>
                  <a:pt x="2123705" y="1630139"/>
                  <a:pt x="2114606" y="1643764"/>
                </a:cubicBezTo>
                <a:cubicBezTo>
                  <a:pt x="2110056" y="1652848"/>
                  <a:pt x="2100957" y="1657389"/>
                  <a:pt x="2091857" y="1657389"/>
                </a:cubicBezTo>
                <a:cubicBezTo>
                  <a:pt x="2087308" y="1657389"/>
                  <a:pt x="2082758" y="1657389"/>
                  <a:pt x="2078208" y="1652848"/>
                </a:cubicBezTo>
                <a:cubicBezTo>
                  <a:pt x="2078208" y="1652848"/>
                  <a:pt x="2078208" y="1652848"/>
                  <a:pt x="1873472" y="1534764"/>
                </a:cubicBezTo>
                <a:cubicBezTo>
                  <a:pt x="1859823" y="1525680"/>
                  <a:pt x="1859823" y="1512055"/>
                  <a:pt x="1864372" y="1498430"/>
                </a:cubicBezTo>
                <a:cubicBezTo>
                  <a:pt x="1868922" y="1491617"/>
                  <a:pt x="1874609" y="1487076"/>
                  <a:pt x="1880865" y="1485373"/>
                </a:cubicBezTo>
                <a:close/>
                <a:moveTo>
                  <a:pt x="1421932" y="1329203"/>
                </a:moveTo>
                <a:cubicBezTo>
                  <a:pt x="1476644" y="1342862"/>
                  <a:pt x="1440170" y="1456690"/>
                  <a:pt x="1421932" y="1488562"/>
                </a:cubicBezTo>
                <a:cubicBezTo>
                  <a:pt x="1408254" y="1514742"/>
                  <a:pt x="1388592" y="1535516"/>
                  <a:pt x="1365439" y="1550740"/>
                </a:cubicBezTo>
                <a:lnTo>
                  <a:pt x="1323797" y="1566273"/>
                </a:lnTo>
                <a:lnTo>
                  <a:pt x="1324536" y="1553299"/>
                </a:lnTo>
                <a:lnTo>
                  <a:pt x="1330746" y="1552305"/>
                </a:lnTo>
                <a:cubicBezTo>
                  <a:pt x="1385458" y="1520433"/>
                  <a:pt x="1408254" y="1452137"/>
                  <a:pt x="1408254" y="1392946"/>
                </a:cubicBezTo>
                <a:cubicBezTo>
                  <a:pt x="1412814" y="1383840"/>
                  <a:pt x="1412814" y="1370181"/>
                  <a:pt x="1403695" y="1356522"/>
                </a:cubicBezTo>
                <a:cubicBezTo>
                  <a:pt x="1403695" y="1351969"/>
                  <a:pt x="1399136" y="1351969"/>
                  <a:pt x="1399136" y="1347415"/>
                </a:cubicBezTo>
                <a:cubicBezTo>
                  <a:pt x="1394576" y="1342862"/>
                  <a:pt x="1403695" y="1342862"/>
                  <a:pt x="1394576" y="1347415"/>
                </a:cubicBezTo>
                <a:cubicBezTo>
                  <a:pt x="1376339" y="1356522"/>
                  <a:pt x="1362661" y="1388393"/>
                  <a:pt x="1353542" y="1411159"/>
                </a:cubicBezTo>
                <a:cubicBezTo>
                  <a:pt x="1337585" y="1452137"/>
                  <a:pt x="1329606" y="1497668"/>
                  <a:pt x="1325047" y="1544337"/>
                </a:cubicBezTo>
                <a:lnTo>
                  <a:pt x="1324536" y="1553299"/>
                </a:lnTo>
                <a:lnTo>
                  <a:pt x="1291442" y="1558597"/>
                </a:lnTo>
                <a:lnTo>
                  <a:pt x="1298261" y="1493684"/>
                </a:lnTo>
                <a:cubicBezTo>
                  <a:pt x="1302250" y="1466934"/>
                  <a:pt x="1307949" y="1440754"/>
                  <a:pt x="1317068" y="1415712"/>
                </a:cubicBezTo>
                <a:cubicBezTo>
                  <a:pt x="1335305" y="1379287"/>
                  <a:pt x="1371780" y="1315544"/>
                  <a:pt x="1421932" y="1329203"/>
                </a:cubicBezTo>
                <a:close/>
                <a:moveTo>
                  <a:pt x="1118168" y="1305370"/>
                </a:moveTo>
                <a:cubicBezTo>
                  <a:pt x="1127856" y="1303876"/>
                  <a:pt x="1138115" y="1304161"/>
                  <a:pt x="1148373" y="1306437"/>
                </a:cubicBezTo>
                <a:cubicBezTo>
                  <a:pt x="1198525" y="1315544"/>
                  <a:pt x="1221322" y="1370181"/>
                  <a:pt x="1216762" y="1415712"/>
                </a:cubicBezTo>
                <a:cubicBezTo>
                  <a:pt x="1216762" y="1456690"/>
                  <a:pt x="1193681" y="1484862"/>
                  <a:pt x="1162905" y="1504071"/>
                </a:cubicBezTo>
                <a:lnTo>
                  <a:pt x="1150879" y="1510076"/>
                </a:lnTo>
                <a:lnTo>
                  <a:pt x="1140275" y="1495728"/>
                </a:lnTo>
                <a:lnTo>
                  <a:pt x="1160697" y="1476966"/>
                </a:lnTo>
                <a:cubicBezTo>
                  <a:pt x="1167180" y="1468642"/>
                  <a:pt x="1172309" y="1458967"/>
                  <a:pt x="1175729" y="1447584"/>
                </a:cubicBezTo>
                <a:cubicBezTo>
                  <a:pt x="1189407" y="1406606"/>
                  <a:pt x="1180288" y="1351969"/>
                  <a:pt x="1143813" y="1329203"/>
                </a:cubicBezTo>
                <a:cubicBezTo>
                  <a:pt x="1098220" y="1301884"/>
                  <a:pt x="1093661" y="1365628"/>
                  <a:pt x="1098220" y="1397500"/>
                </a:cubicBezTo>
                <a:cubicBezTo>
                  <a:pt x="1102779" y="1424818"/>
                  <a:pt x="1111898" y="1452137"/>
                  <a:pt x="1126146" y="1476610"/>
                </a:cubicBezTo>
                <a:lnTo>
                  <a:pt x="1140275" y="1495728"/>
                </a:lnTo>
                <a:lnTo>
                  <a:pt x="1137544" y="1498237"/>
                </a:lnTo>
                <a:lnTo>
                  <a:pt x="1108369" y="1510800"/>
                </a:lnTo>
                <a:lnTo>
                  <a:pt x="1098291" y="1500016"/>
                </a:lnTo>
                <a:cubicBezTo>
                  <a:pt x="1069439" y="1460105"/>
                  <a:pt x="1051487" y="1405468"/>
                  <a:pt x="1061745" y="1361075"/>
                </a:cubicBezTo>
                <a:cubicBezTo>
                  <a:pt x="1065165" y="1330342"/>
                  <a:pt x="1089102" y="1309853"/>
                  <a:pt x="1118168" y="1305370"/>
                </a:cubicBezTo>
                <a:close/>
                <a:moveTo>
                  <a:pt x="834776" y="1304730"/>
                </a:moveTo>
                <a:cubicBezTo>
                  <a:pt x="844892" y="1303592"/>
                  <a:pt x="855436" y="1304161"/>
                  <a:pt x="865694" y="1306437"/>
                </a:cubicBezTo>
                <a:cubicBezTo>
                  <a:pt x="937504" y="1326927"/>
                  <a:pt x="965714" y="1398638"/>
                  <a:pt x="979179" y="1467788"/>
                </a:cubicBezTo>
                <a:lnTo>
                  <a:pt x="988039" y="1528875"/>
                </a:lnTo>
                <a:lnTo>
                  <a:pt x="950275" y="1525424"/>
                </a:lnTo>
                <a:lnTo>
                  <a:pt x="944343" y="1478886"/>
                </a:lnTo>
                <a:cubicBezTo>
                  <a:pt x="936364" y="1435063"/>
                  <a:pt x="922686" y="1392947"/>
                  <a:pt x="897609" y="1361075"/>
                </a:cubicBezTo>
                <a:cubicBezTo>
                  <a:pt x="883931" y="1347415"/>
                  <a:pt x="874813" y="1338309"/>
                  <a:pt x="861135" y="1333756"/>
                </a:cubicBezTo>
                <a:cubicBezTo>
                  <a:pt x="838338" y="1324650"/>
                  <a:pt x="824660" y="1310991"/>
                  <a:pt x="815542" y="1333756"/>
                </a:cubicBezTo>
                <a:cubicBezTo>
                  <a:pt x="801864" y="1370181"/>
                  <a:pt x="820101" y="1424818"/>
                  <a:pt x="842898" y="1456690"/>
                </a:cubicBezTo>
                <a:cubicBezTo>
                  <a:pt x="865694" y="1495391"/>
                  <a:pt x="903309" y="1515880"/>
                  <a:pt x="945482" y="1524987"/>
                </a:cubicBezTo>
                <a:lnTo>
                  <a:pt x="950275" y="1525424"/>
                </a:lnTo>
                <a:lnTo>
                  <a:pt x="952749" y="1544835"/>
                </a:lnTo>
                <a:lnTo>
                  <a:pt x="952814" y="1545809"/>
                </a:lnTo>
                <a:lnTo>
                  <a:pt x="896470" y="1537508"/>
                </a:lnTo>
                <a:cubicBezTo>
                  <a:pt x="873673" y="1531816"/>
                  <a:pt x="852016" y="1522710"/>
                  <a:pt x="833779" y="1506774"/>
                </a:cubicBezTo>
                <a:cubicBezTo>
                  <a:pt x="797304" y="1470349"/>
                  <a:pt x="769948" y="1411159"/>
                  <a:pt x="774508" y="1361075"/>
                </a:cubicBezTo>
                <a:cubicBezTo>
                  <a:pt x="777928" y="1326927"/>
                  <a:pt x="804428" y="1308145"/>
                  <a:pt x="834776" y="1304730"/>
                </a:cubicBezTo>
                <a:close/>
                <a:moveTo>
                  <a:pt x="1964003" y="1110649"/>
                </a:moveTo>
                <a:cubicBezTo>
                  <a:pt x="1964003" y="1110649"/>
                  <a:pt x="1964003" y="1110649"/>
                  <a:pt x="2201169" y="1110649"/>
                </a:cubicBezTo>
                <a:cubicBezTo>
                  <a:pt x="2219412" y="1110649"/>
                  <a:pt x="2228534" y="1119851"/>
                  <a:pt x="2228534" y="1133652"/>
                </a:cubicBezTo>
                <a:cubicBezTo>
                  <a:pt x="2228534" y="1152055"/>
                  <a:pt x="2219412" y="1161256"/>
                  <a:pt x="2201169" y="1161256"/>
                </a:cubicBezTo>
                <a:cubicBezTo>
                  <a:pt x="2201169" y="1161256"/>
                  <a:pt x="2201169" y="1161256"/>
                  <a:pt x="1964003" y="1161256"/>
                </a:cubicBezTo>
                <a:cubicBezTo>
                  <a:pt x="1950321" y="1161256"/>
                  <a:pt x="1936638" y="1152055"/>
                  <a:pt x="1936638" y="1133652"/>
                </a:cubicBezTo>
                <a:cubicBezTo>
                  <a:pt x="1936638" y="1119851"/>
                  <a:pt x="1950321" y="1110649"/>
                  <a:pt x="1964003" y="1110649"/>
                </a:cubicBezTo>
                <a:close/>
                <a:moveTo>
                  <a:pt x="27365" y="1110649"/>
                </a:moveTo>
                <a:cubicBezTo>
                  <a:pt x="27365" y="1110649"/>
                  <a:pt x="27365" y="1110649"/>
                  <a:pt x="264531" y="1110649"/>
                </a:cubicBezTo>
                <a:cubicBezTo>
                  <a:pt x="278213" y="1110649"/>
                  <a:pt x="291896" y="1119851"/>
                  <a:pt x="291896" y="1133652"/>
                </a:cubicBezTo>
                <a:cubicBezTo>
                  <a:pt x="291896" y="1152055"/>
                  <a:pt x="278213" y="1161256"/>
                  <a:pt x="264531" y="1161256"/>
                </a:cubicBezTo>
                <a:cubicBezTo>
                  <a:pt x="264531" y="1161256"/>
                  <a:pt x="264531" y="1161256"/>
                  <a:pt x="27365" y="1161256"/>
                </a:cubicBezTo>
                <a:cubicBezTo>
                  <a:pt x="9122" y="1161256"/>
                  <a:pt x="0" y="1152055"/>
                  <a:pt x="0" y="1133652"/>
                </a:cubicBezTo>
                <a:cubicBezTo>
                  <a:pt x="0" y="1119851"/>
                  <a:pt x="9122" y="1110649"/>
                  <a:pt x="27365" y="1110649"/>
                </a:cubicBezTo>
                <a:close/>
                <a:moveTo>
                  <a:pt x="673805" y="823938"/>
                </a:moveTo>
                <a:cubicBezTo>
                  <a:pt x="682336" y="825386"/>
                  <a:pt x="690298" y="831177"/>
                  <a:pt x="694847" y="839862"/>
                </a:cubicBezTo>
                <a:cubicBezTo>
                  <a:pt x="708496" y="857234"/>
                  <a:pt x="708496" y="886187"/>
                  <a:pt x="690298" y="897768"/>
                </a:cubicBezTo>
                <a:cubicBezTo>
                  <a:pt x="663000" y="926721"/>
                  <a:pt x="531059" y="1088858"/>
                  <a:pt x="672099" y="1372596"/>
                </a:cubicBezTo>
                <a:cubicBezTo>
                  <a:pt x="685748" y="1395759"/>
                  <a:pt x="676649" y="1418921"/>
                  <a:pt x="663000" y="1436293"/>
                </a:cubicBezTo>
                <a:cubicBezTo>
                  <a:pt x="658450" y="1436293"/>
                  <a:pt x="649351" y="1442083"/>
                  <a:pt x="644801" y="1442083"/>
                </a:cubicBezTo>
                <a:cubicBezTo>
                  <a:pt x="635701" y="1442083"/>
                  <a:pt x="622052" y="1430502"/>
                  <a:pt x="617503" y="1418921"/>
                </a:cubicBezTo>
                <a:cubicBezTo>
                  <a:pt x="444615" y="1077276"/>
                  <a:pt x="612953" y="868815"/>
                  <a:pt x="649351" y="834072"/>
                </a:cubicBezTo>
                <a:cubicBezTo>
                  <a:pt x="656175" y="825386"/>
                  <a:pt x="665275" y="822491"/>
                  <a:pt x="673805" y="823938"/>
                </a:cubicBezTo>
                <a:close/>
                <a:moveTo>
                  <a:pt x="2099819" y="592541"/>
                </a:moveTo>
                <a:cubicBezTo>
                  <a:pt x="2106644" y="594253"/>
                  <a:pt x="2112331" y="598818"/>
                  <a:pt x="2114606" y="605665"/>
                </a:cubicBezTo>
                <a:cubicBezTo>
                  <a:pt x="2123705" y="614795"/>
                  <a:pt x="2119156" y="633054"/>
                  <a:pt x="2105506" y="642184"/>
                </a:cubicBezTo>
                <a:cubicBezTo>
                  <a:pt x="2105506" y="642184"/>
                  <a:pt x="2105506" y="642184"/>
                  <a:pt x="1900770" y="760870"/>
                </a:cubicBezTo>
                <a:cubicBezTo>
                  <a:pt x="1896220" y="760870"/>
                  <a:pt x="1891671" y="765435"/>
                  <a:pt x="1887121" y="765435"/>
                </a:cubicBezTo>
                <a:cubicBezTo>
                  <a:pt x="1878022" y="765435"/>
                  <a:pt x="1868922" y="760870"/>
                  <a:pt x="1864372" y="751740"/>
                </a:cubicBezTo>
                <a:cubicBezTo>
                  <a:pt x="1859823" y="738046"/>
                  <a:pt x="1859823" y="724351"/>
                  <a:pt x="1873472" y="715222"/>
                </a:cubicBezTo>
                <a:cubicBezTo>
                  <a:pt x="1873472" y="715222"/>
                  <a:pt x="1873472" y="715222"/>
                  <a:pt x="2078208" y="596536"/>
                </a:cubicBezTo>
                <a:cubicBezTo>
                  <a:pt x="2085033" y="591971"/>
                  <a:pt x="2092995" y="590830"/>
                  <a:pt x="2099819" y="592541"/>
                </a:cubicBezTo>
                <a:close/>
                <a:moveTo>
                  <a:pt x="80715" y="569355"/>
                </a:moveTo>
                <a:cubicBezTo>
                  <a:pt x="86970" y="567084"/>
                  <a:pt x="93794" y="567084"/>
                  <a:pt x="100617" y="569355"/>
                </a:cubicBezTo>
                <a:cubicBezTo>
                  <a:pt x="100617" y="569355"/>
                  <a:pt x="100617" y="569355"/>
                  <a:pt x="305329" y="691980"/>
                </a:cubicBezTo>
                <a:cubicBezTo>
                  <a:pt x="318977" y="696522"/>
                  <a:pt x="323526" y="714689"/>
                  <a:pt x="314427" y="728314"/>
                </a:cubicBezTo>
                <a:cubicBezTo>
                  <a:pt x="309878" y="737397"/>
                  <a:pt x="300780" y="741939"/>
                  <a:pt x="291682" y="741939"/>
                </a:cubicBezTo>
                <a:cubicBezTo>
                  <a:pt x="287133" y="741939"/>
                  <a:pt x="282583" y="737397"/>
                  <a:pt x="278034" y="737397"/>
                </a:cubicBezTo>
                <a:cubicBezTo>
                  <a:pt x="278034" y="737397"/>
                  <a:pt x="278034" y="737397"/>
                  <a:pt x="73322" y="614771"/>
                </a:cubicBezTo>
                <a:cubicBezTo>
                  <a:pt x="59675" y="610230"/>
                  <a:pt x="55126" y="592063"/>
                  <a:pt x="64224" y="582980"/>
                </a:cubicBezTo>
                <a:cubicBezTo>
                  <a:pt x="68773" y="576167"/>
                  <a:pt x="74460" y="571625"/>
                  <a:pt x="80715" y="569355"/>
                </a:cubicBezTo>
                <a:close/>
                <a:moveTo>
                  <a:pt x="1108665" y="505954"/>
                </a:moveTo>
                <a:cubicBezTo>
                  <a:pt x="744256" y="505954"/>
                  <a:pt x="448174" y="796346"/>
                  <a:pt x="448174" y="1148337"/>
                </a:cubicBezTo>
                <a:cubicBezTo>
                  <a:pt x="448174" y="1258334"/>
                  <a:pt x="475505" y="1368331"/>
                  <a:pt x="534721" y="1469528"/>
                </a:cubicBezTo>
                <a:cubicBezTo>
                  <a:pt x="712370" y="1773120"/>
                  <a:pt x="767032" y="1953515"/>
                  <a:pt x="798918" y="2147109"/>
                </a:cubicBezTo>
                <a:cubicBezTo>
                  <a:pt x="803473" y="2169109"/>
                  <a:pt x="812583" y="2230707"/>
                  <a:pt x="835358" y="2252706"/>
                </a:cubicBezTo>
                <a:cubicBezTo>
                  <a:pt x="839914" y="2261506"/>
                  <a:pt x="853579" y="2265906"/>
                  <a:pt x="903685" y="2265906"/>
                </a:cubicBezTo>
                <a:cubicBezTo>
                  <a:pt x="903685" y="2265906"/>
                  <a:pt x="903685" y="2265906"/>
                  <a:pt x="1108665" y="2265906"/>
                </a:cubicBezTo>
                <a:cubicBezTo>
                  <a:pt x="1108665" y="2265906"/>
                  <a:pt x="1108665" y="2265906"/>
                  <a:pt x="1318200" y="2265906"/>
                </a:cubicBezTo>
                <a:cubicBezTo>
                  <a:pt x="1368307" y="2265906"/>
                  <a:pt x="1381972" y="2261506"/>
                  <a:pt x="1386527" y="2252706"/>
                </a:cubicBezTo>
                <a:cubicBezTo>
                  <a:pt x="1409303" y="2230707"/>
                  <a:pt x="1418413" y="2169109"/>
                  <a:pt x="1422968" y="2147109"/>
                </a:cubicBezTo>
                <a:cubicBezTo>
                  <a:pt x="1454854" y="1953515"/>
                  <a:pt x="1509515" y="1773120"/>
                  <a:pt x="1687164" y="1469528"/>
                </a:cubicBezTo>
                <a:cubicBezTo>
                  <a:pt x="1746381" y="1368331"/>
                  <a:pt x="1773712" y="1258334"/>
                  <a:pt x="1773712" y="1148337"/>
                </a:cubicBezTo>
                <a:cubicBezTo>
                  <a:pt x="1773712" y="796346"/>
                  <a:pt x="1477629" y="505954"/>
                  <a:pt x="1108665" y="505954"/>
                </a:cubicBezTo>
                <a:close/>
                <a:moveTo>
                  <a:pt x="1108665" y="444356"/>
                </a:moveTo>
                <a:cubicBezTo>
                  <a:pt x="1514070" y="444356"/>
                  <a:pt x="1842038" y="761147"/>
                  <a:pt x="1842038" y="1148337"/>
                </a:cubicBezTo>
                <a:cubicBezTo>
                  <a:pt x="1842038" y="1275933"/>
                  <a:pt x="1801042" y="1394730"/>
                  <a:pt x="1741826" y="1500327"/>
                </a:cubicBezTo>
                <a:cubicBezTo>
                  <a:pt x="1564176" y="1812718"/>
                  <a:pt x="1514070" y="1988714"/>
                  <a:pt x="1486739" y="2155909"/>
                </a:cubicBezTo>
                <a:cubicBezTo>
                  <a:pt x="1463964" y="2296705"/>
                  <a:pt x="1427523" y="2331904"/>
                  <a:pt x="1318200" y="2331904"/>
                </a:cubicBezTo>
                <a:lnTo>
                  <a:pt x="1390441" y="2331904"/>
                </a:lnTo>
                <a:cubicBezTo>
                  <a:pt x="1413228" y="2331904"/>
                  <a:pt x="1431458" y="2347778"/>
                  <a:pt x="1431458" y="2367620"/>
                </a:cubicBezTo>
                <a:cubicBezTo>
                  <a:pt x="1431458" y="2367620"/>
                  <a:pt x="1431458" y="2367620"/>
                  <a:pt x="1431458" y="2387462"/>
                </a:cubicBezTo>
                <a:cubicBezTo>
                  <a:pt x="1431458" y="2407304"/>
                  <a:pt x="1413228" y="2423177"/>
                  <a:pt x="1390441" y="2423177"/>
                </a:cubicBezTo>
                <a:cubicBezTo>
                  <a:pt x="1390441" y="2423177"/>
                  <a:pt x="1390441" y="2423177"/>
                  <a:pt x="838981" y="2423177"/>
                </a:cubicBezTo>
                <a:cubicBezTo>
                  <a:pt x="816193" y="2423177"/>
                  <a:pt x="797963" y="2407304"/>
                  <a:pt x="797963" y="2387462"/>
                </a:cubicBezTo>
                <a:cubicBezTo>
                  <a:pt x="797963" y="2387462"/>
                  <a:pt x="797963" y="2387462"/>
                  <a:pt x="797963" y="2367620"/>
                </a:cubicBezTo>
                <a:cubicBezTo>
                  <a:pt x="797963" y="2347778"/>
                  <a:pt x="816193" y="2331904"/>
                  <a:pt x="838981" y="2331904"/>
                </a:cubicBezTo>
                <a:cubicBezTo>
                  <a:pt x="838981" y="2331904"/>
                  <a:pt x="838981" y="2331904"/>
                  <a:pt x="868062" y="2331904"/>
                </a:cubicBezTo>
                <a:lnTo>
                  <a:pt x="903685" y="2331904"/>
                </a:lnTo>
                <a:cubicBezTo>
                  <a:pt x="794362" y="2331904"/>
                  <a:pt x="757922" y="2296705"/>
                  <a:pt x="735146" y="2155909"/>
                </a:cubicBezTo>
                <a:cubicBezTo>
                  <a:pt x="703260" y="1988714"/>
                  <a:pt x="657709" y="1812718"/>
                  <a:pt x="480060" y="1500327"/>
                </a:cubicBezTo>
                <a:cubicBezTo>
                  <a:pt x="416288" y="1394730"/>
                  <a:pt x="379847" y="1275933"/>
                  <a:pt x="379847" y="1148337"/>
                </a:cubicBezTo>
                <a:cubicBezTo>
                  <a:pt x="379847" y="761147"/>
                  <a:pt x="707815" y="444356"/>
                  <a:pt x="1108665" y="444356"/>
                </a:cubicBezTo>
                <a:close/>
                <a:moveTo>
                  <a:pt x="1684423" y="154009"/>
                </a:moveTo>
                <a:cubicBezTo>
                  <a:pt x="1690668" y="152298"/>
                  <a:pt x="1697480" y="152298"/>
                  <a:pt x="1704293" y="154580"/>
                </a:cubicBezTo>
                <a:cubicBezTo>
                  <a:pt x="1717918" y="163711"/>
                  <a:pt x="1722460" y="177406"/>
                  <a:pt x="1713376" y="191102"/>
                </a:cubicBezTo>
                <a:cubicBezTo>
                  <a:pt x="1713376" y="191102"/>
                  <a:pt x="1713376" y="191102"/>
                  <a:pt x="1595292" y="401103"/>
                </a:cubicBezTo>
                <a:cubicBezTo>
                  <a:pt x="1590751" y="405668"/>
                  <a:pt x="1581667" y="414799"/>
                  <a:pt x="1572584" y="414799"/>
                </a:cubicBezTo>
                <a:cubicBezTo>
                  <a:pt x="1568042" y="414799"/>
                  <a:pt x="1563501" y="410234"/>
                  <a:pt x="1558959" y="410234"/>
                </a:cubicBezTo>
                <a:cubicBezTo>
                  <a:pt x="1549875" y="401103"/>
                  <a:pt x="1545334" y="387407"/>
                  <a:pt x="1549875" y="373712"/>
                </a:cubicBezTo>
                <a:cubicBezTo>
                  <a:pt x="1549875" y="373712"/>
                  <a:pt x="1549875" y="373712"/>
                  <a:pt x="1667959" y="163711"/>
                </a:cubicBezTo>
                <a:cubicBezTo>
                  <a:pt x="1672501" y="159145"/>
                  <a:pt x="1678178" y="155721"/>
                  <a:pt x="1684423" y="154009"/>
                </a:cubicBezTo>
                <a:close/>
                <a:moveTo>
                  <a:pt x="493688" y="131403"/>
                </a:moveTo>
                <a:cubicBezTo>
                  <a:pt x="499963" y="133110"/>
                  <a:pt x="505668" y="136522"/>
                  <a:pt x="510231" y="141073"/>
                </a:cubicBezTo>
                <a:cubicBezTo>
                  <a:pt x="510231" y="141073"/>
                  <a:pt x="510231" y="141073"/>
                  <a:pt x="628887" y="350382"/>
                </a:cubicBezTo>
                <a:cubicBezTo>
                  <a:pt x="638015" y="364033"/>
                  <a:pt x="633451" y="377683"/>
                  <a:pt x="619760" y="386784"/>
                </a:cubicBezTo>
                <a:cubicBezTo>
                  <a:pt x="615196" y="386784"/>
                  <a:pt x="610633" y="386784"/>
                  <a:pt x="606069" y="386784"/>
                </a:cubicBezTo>
                <a:cubicBezTo>
                  <a:pt x="596941" y="386784"/>
                  <a:pt x="587814" y="382234"/>
                  <a:pt x="583250" y="377683"/>
                </a:cubicBezTo>
                <a:lnTo>
                  <a:pt x="464594" y="168374"/>
                </a:lnTo>
                <a:cubicBezTo>
                  <a:pt x="455467" y="154723"/>
                  <a:pt x="460030" y="141073"/>
                  <a:pt x="473722" y="131972"/>
                </a:cubicBezTo>
                <a:cubicBezTo>
                  <a:pt x="480567" y="129697"/>
                  <a:pt x="487413" y="129697"/>
                  <a:pt x="493688" y="131403"/>
                </a:cubicBezTo>
                <a:close/>
                <a:moveTo>
                  <a:pt x="1098410" y="0"/>
                </a:moveTo>
                <a:cubicBezTo>
                  <a:pt x="1112212" y="0"/>
                  <a:pt x="1126014" y="13682"/>
                  <a:pt x="1126014" y="27365"/>
                </a:cubicBezTo>
                <a:cubicBezTo>
                  <a:pt x="1126014" y="27365"/>
                  <a:pt x="1126014" y="27365"/>
                  <a:pt x="1126014" y="264530"/>
                </a:cubicBezTo>
                <a:cubicBezTo>
                  <a:pt x="1126014" y="278212"/>
                  <a:pt x="1112212" y="291895"/>
                  <a:pt x="1098410" y="291895"/>
                </a:cubicBezTo>
                <a:cubicBezTo>
                  <a:pt x="1084608" y="291895"/>
                  <a:pt x="1075407" y="278212"/>
                  <a:pt x="1075407" y="264530"/>
                </a:cubicBezTo>
                <a:cubicBezTo>
                  <a:pt x="1075407" y="264530"/>
                  <a:pt x="1075407" y="264530"/>
                  <a:pt x="1075407" y="27365"/>
                </a:cubicBezTo>
                <a:cubicBezTo>
                  <a:pt x="1075407" y="13682"/>
                  <a:pt x="1084608" y="0"/>
                  <a:pt x="1098410" y="0"/>
                </a:cubicBezTo>
                <a:close/>
              </a:path>
            </a:pathLst>
          </a:custGeom>
          <a:solidFill>
            <a:schemeClr val="accent1"/>
          </a:solidFill>
          <a:ln>
            <a:noFill/>
          </a:ln>
        </p:spPr>
        <p:txBody>
          <a:bodyPr wrap="square" lIns="91440" tIns="45720" rIns="91440" bIns="45720" anchor="ctr">
            <a:noAutofit/>
          </a:bodyPr>
          <a:lstStyle/>
          <a:p>
            <a:pPr algn="ctr"/>
            <a:endParaRPr>
              <a:cs typeface="+mn-ea"/>
              <a:sym typeface="+mn-lt"/>
            </a:endParaRPr>
          </a:p>
        </p:txBody>
      </p:sp>
      <p:sp>
        <p:nvSpPr>
          <p:cNvPr id="66" name="iSlîḋé">
            <a:extLst>
              <a:ext uri="{FF2B5EF4-FFF2-40B4-BE49-F238E27FC236}">
                <a16:creationId xmlns:a16="http://schemas.microsoft.com/office/drawing/2014/main" id="{30AC3A16-5807-42FA-A541-7992DC5BA141}"/>
              </a:ext>
            </a:extLst>
          </p:cNvPr>
          <p:cNvSpPr/>
          <p:nvPr/>
        </p:nvSpPr>
        <p:spPr bwMode="auto">
          <a:xfrm>
            <a:off x="515939" y="3842396"/>
            <a:ext cx="2889250" cy="94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buSzPct val="25000"/>
            </a:pPr>
            <a:r>
              <a:rPr lang="zh-CN" altLang="en-US" sz="1600" dirty="0">
                <a:solidFill>
                  <a:schemeClr val="tx1">
                    <a:lumMod val="75000"/>
                    <a:lumOff val="25000"/>
                  </a:schemeClr>
                </a:solidFill>
                <a:cs typeface="+mn-ea"/>
                <a:sym typeface="+mn-lt"/>
              </a:rPr>
              <a:t>请在此输入内容请在此输入内容请在此输入内容请在此输入内容请在此输入内容</a:t>
            </a:r>
            <a:endParaRPr lang="en-US" altLang="zh-CN" sz="1600" dirty="0">
              <a:solidFill>
                <a:schemeClr val="tx1">
                  <a:lumMod val="75000"/>
                  <a:lumOff val="25000"/>
                </a:schemeClr>
              </a:solidFill>
              <a:cs typeface="+mn-ea"/>
              <a:sym typeface="+mn-lt"/>
            </a:endParaRPr>
          </a:p>
        </p:txBody>
      </p:sp>
      <p:sp>
        <p:nvSpPr>
          <p:cNvPr id="68" name="iSlîḋé">
            <a:extLst>
              <a:ext uri="{FF2B5EF4-FFF2-40B4-BE49-F238E27FC236}">
                <a16:creationId xmlns:a16="http://schemas.microsoft.com/office/drawing/2014/main" id="{DC341A3B-E24D-421C-8100-28F4210385DD}"/>
              </a:ext>
            </a:extLst>
          </p:cNvPr>
          <p:cNvSpPr/>
          <p:nvPr/>
        </p:nvSpPr>
        <p:spPr bwMode="auto">
          <a:xfrm>
            <a:off x="3140711" y="1301011"/>
            <a:ext cx="5910580" cy="362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buSzPct val="25000"/>
            </a:pPr>
            <a:r>
              <a:rPr lang="zh-CN" altLang="en-US" sz="1600" dirty="0">
                <a:solidFill>
                  <a:schemeClr val="tx1">
                    <a:lumMod val="75000"/>
                    <a:lumOff val="25000"/>
                  </a:schemeClr>
                </a:solidFill>
                <a:cs typeface="+mn-ea"/>
                <a:sym typeface="+mn-lt"/>
              </a:rPr>
              <a:t>请在此输入内容请在此输入内容请在此输入内容请在此输入内容</a:t>
            </a:r>
            <a:endParaRPr lang="en-US" altLang="zh-CN" sz="1600" dirty="0">
              <a:solidFill>
                <a:schemeClr val="tx1">
                  <a:lumMod val="75000"/>
                  <a:lumOff val="25000"/>
                </a:schemeClr>
              </a:solidFill>
              <a:cs typeface="+mn-ea"/>
              <a:sym typeface="+mn-lt"/>
            </a:endParaRPr>
          </a:p>
        </p:txBody>
      </p:sp>
      <p:sp>
        <p:nvSpPr>
          <p:cNvPr id="67" name="iSlîḋé">
            <a:extLst>
              <a:ext uri="{FF2B5EF4-FFF2-40B4-BE49-F238E27FC236}">
                <a16:creationId xmlns:a16="http://schemas.microsoft.com/office/drawing/2014/main" id="{DD2F9FF3-3195-47AF-A459-BC05B0E3C11F}"/>
              </a:ext>
            </a:extLst>
          </p:cNvPr>
          <p:cNvSpPr/>
          <p:nvPr/>
        </p:nvSpPr>
        <p:spPr bwMode="auto">
          <a:xfrm>
            <a:off x="1312189" y="2377971"/>
            <a:ext cx="2593975" cy="94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buSzPct val="25000"/>
            </a:pPr>
            <a:r>
              <a:rPr lang="zh-CN" altLang="en-US" sz="1600" dirty="0">
                <a:solidFill>
                  <a:schemeClr val="tx1">
                    <a:lumMod val="75000"/>
                    <a:lumOff val="25000"/>
                  </a:schemeClr>
                </a:solidFill>
                <a:cs typeface="+mn-ea"/>
                <a:sym typeface="+mn-lt"/>
              </a:rPr>
              <a:t>请在此输入内容请在此输入内容请在此输入内容请在此输入内容</a:t>
            </a:r>
            <a:endParaRPr lang="en-US" altLang="zh-CN" sz="1600" dirty="0">
              <a:solidFill>
                <a:schemeClr val="tx1">
                  <a:lumMod val="75000"/>
                  <a:lumOff val="25000"/>
                </a:schemeClr>
              </a:solidFill>
              <a:cs typeface="+mn-ea"/>
              <a:sym typeface="+mn-lt"/>
            </a:endParaRPr>
          </a:p>
        </p:txBody>
      </p:sp>
      <p:sp>
        <p:nvSpPr>
          <p:cNvPr id="69" name="iSlîḋé">
            <a:extLst>
              <a:ext uri="{FF2B5EF4-FFF2-40B4-BE49-F238E27FC236}">
                <a16:creationId xmlns:a16="http://schemas.microsoft.com/office/drawing/2014/main" id="{48273AC1-CDE3-4DD2-A0F8-84060442AE5A}"/>
              </a:ext>
            </a:extLst>
          </p:cNvPr>
          <p:cNvSpPr/>
          <p:nvPr/>
        </p:nvSpPr>
        <p:spPr bwMode="auto">
          <a:xfrm>
            <a:off x="8284836" y="2377971"/>
            <a:ext cx="2593975" cy="94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buSzPct val="25000"/>
            </a:pPr>
            <a:r>
              <a:rPr lang="zh-CN" altLang="en-US" sz="1600" dirty="0">
                <a:solidFill>
                  <a:schemeClr val="tx1">
                    <a:lumMod val="75000"/>
                    <a:lumOff val="25000"/>
                  </a:schemeClr>
                </a:solidFill>
                <a:cs typeface="+mn-ea"/>
                <a:sym typeface="+mn-lt"/>
              </a:rPr>
              <a:t>请在此输入内容请在此输入内容请在此输入内容请在此输入内容</a:t>
            </a:r>
            <a:endParaRPr lang="en-US" altLang="zh-CN" sz="1600" dirty="0">
              <a:solidFill>
                <a:schemeClr val="tx1">
                  <a:lumMod val="75000"/>
                  <a:lumOff val="25000"/>
                </a:schemeClr>
              </a:solidFill>
              <a:cs typeface="+mn-ea"/>
              <a:sym typeface="+mn-lt"/>
            </a:endParaRPr>
          </a:p>
        </p:txBody>
      </p:sp>
      <p:sp>
        <p:nvSpPr>
          <p:cNvPr id="70" name="iSlîḋé">
            <a:extLst>
              <a:ext uri="{FF2B5EF4-FFF2-40B4-BE49-F238E27FC236}">
                <a16:creationId xmlns:a16="http://schemas.microsoft.com/office/drawing/2014/main" id="{114B1484-D0A9-472E-95E1-0742E05D6008}"/>
              </a:ext>
            </a:extLst>
          </p:cNvPr>
          <p:cNvSpPr/>
          <p:nvPr/>
        </p:nvSpPr>
        <p:spPr bwMode="auto">
          <a:xfrm>
            <a:off x="8868093" y="3842396"/>
            <a:ext cx="2844482" cy="94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buSzPct val="25000"/>
            </a:pPr>
            <a:r>
              <a:rPr lang="zh-CN" altLang="en-US" sz="1600" dirty="0">
                <a:solidFill>
                  <a:schemeClr val="tx1">
                    <a:lumMod val="75000"/>
                    <a:lumOff val="25000"/>
                  </a:schemeClr>
                </a:solidFill>
                <a:cs typeface="+mn-ea"/>
                <a:sym typeface="+mn-lt"/>
              </a:rPr>
              <a:t>请在此输入内容请在此输入内容请在此输入内容请在此输入内容请在此输入内容</a:t>
            </a:r>
            <a:endParaRPr lang="en-US" altLang="zh-CN" sz="1600" dirty="0">
              <a:solidFill>
                <a:schemeClr val="tx1">
                  <a:lumMod val="75000"/>
                  <a:lumOff val="25000"/>
                </a:schemeClr>
              </a:solidFill>
              <a:cs typeface="+mn-ea"/>
              <a:sym typeface="+mn-lt"/>
            </a:endParaRPr>
          </a:p>
        </p:txBody>
      </p:sp>
      <p:grpSp>
        <p:nvGrpSpPr>
          <p:cNvPr id="4" name="组合 3">
            <a:extLst>
              <a:ext uri="{FF2B5EF4-FFF2-40B4-BE49-F238E27FC236}">
                <a16:creationId xmlns:a16="http://schemas.microsoft.com/office/drawing/2014/main" id="{020B55CC-D695-42DA-8514-C59F0F6C3DED}"/>
              </a:ext>
            </a:extLst>
          </p:cNvPr>
          <p:cNvGrpSpPr/>
          <p:nvPr/>
        </p:nvGrpSpPr>
        <p:grpSpPr>
          <a:xfrm>
            <a:off x="756449" y="5118519"/>
            <a:ext cx="10680700" cy="1053682"/>
            <a:chOff x="755650" y="5232819"/>
            <a:chExt cx="10680700" cy="1053682"/>
          </a:xfrm>
        </p:grpSpPr>
        <p:sp>
          <p:nvSpPr>
            <p:cNvPr id="31" name="椭圆 30">
              <a:extLst>
                <a:ext uri="{FF2B5EF4-FFF2-40B4-BE49-F238E27FC236}">
                  <a16:creationId xmlns:a16="http://schemas.microsoft.com/office/drawing/2014/main" id="{2F0A5349-118F-49FB-9944-9E73486BA840}"/>
                </a:ext>
              </a:extLst>
            </p:cNvPr>
            <p:cNvSpPr/>
            <p:nvPr/>
          </p:nvSpPr>
          <p:spPr>
            <a:xfrm>
              <a:off x="755650" y="5232819"/>
              <a:ext cx="10680700" cy="1053682"/>
            </a:xfrm>
            <a:prstGeom prst="ellipse">
              <a:avLst/>
            </a:prstGeom>
            <a:gradFill>
              <a:gsLst>
                <a:gs pos="42000">
                  <a:schemeClr val="accent1">
                    <a:alpha val="0"/>
                  </a:schemeClr>
                </a:gs>
                <a:gs pos="100000">
                  <a:schemeClr val="accent1">
                    <a:alpha val="10000"/>
                  </a:schemeClr>
                </a:gs>
              </a:gsLst>
              <a:lin ang="5400000" scaled="1"/>
            </a:gradFill>
            <a:ln>
              <a:gradFill flip="none" rotWithShape="1">
                <a:gsLst>
                  <a:gs pos="31000">
                    <a:schemeClr val="accent1">
                      <a:alpha val="0"/>
                    </a:schemeClr>
                  </a:gs>
                  <a:gs pos="100000">
                    <a:schemeClr val="accent1">
                      <a:alpha val="52000"/>
                    </a:schemeClr>
                  </a:gs>
                </a:gsLst>
                <a:path path="circl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zh-CN" altLang="en-US">
                <a:solidFill>
                  <a:schemeClr val="lt1"/>
                </a:solidFill>
              </a:endParaRPr>
            </a:p>
          </p:txBody>
        </p:sp>
        <p:sp>
          <p:nvSpPr>
            <p:cNvPr id="32" name="椭圆 31">
              <a:extLst>
                <a:ext uri="{FF2B5EF4-FFF2-40B4-BE49-F238E27FC236}">
                  <a16:creationId xmlns:a16="http://schemas.microsoft.com/office/drawing/2014/main" id="{8132B514-3DED-4EA9-A139-43B58FE15435}"/>
                </a:ext>
              </a:extLst>
            </p:cNvPr>
            <p:cNvSpPr/>
            <p:nvPr/>
          </p:nvSpPr>
          <p:spPr>
            <a:xfrm>
              <a:off x="2692401" y="5350173"/>
              <a:ext cx="6807198" cy="762694"/>
            </a:xfrm>
            <a:prstGeom prst="ellipse">
              <a:avLst/>
            </a:prstGeom>
            <a:gradFill>
              <a:gsLst>
                <a:gs pos="42000">
                  <a:schemeClr val="accent1">
                    <a:alpha val="0"/>
                  </a:schemeClr>
                </a:gs>
                <a:gs pos="100000">
                  <a:schemeClr val="accent1">
                    <a:alpha val="10000"/>
                  </a:schemeClr>
                </a:gs>
              </a:gsLst>
              <a:lin ang="5400000" scaled="1"/>
            </a:gradFill>
            <a:ln>
              <a:gradFill flip="none" rotWithShape="1">
                <a:gsLst>
                  <a:gs pos="31000">
                    <a:schemeClr val="accent1">
                      <a:alpha val="0"/>
                    </a:schemeClr>
                  </a:gs>
                  <a:gs pos="100000">
                    <a:schemeClr val="accent1">
                      <a:alpha val="52000"/>
                    </a:schemeClr>
                  </a:gs>
                </a:gsLst>
                <a:path path="circl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zh-CN" altLang="en-US"/>
            </a:p>
          </p:txBody>
        </p:sp>
        <p:sp>
          <p:nvSpPr>
            <p:cNvPr id="33" name="椭圆 32">
              <a:extLst>
                <a:ext uri="{FF2B5EF4-FFF2-40B4-BE49-F238E27FC236}">
                  <a16:creationId xmlns:a16="http://schemas.microsoft.com/office/drawing/2014/main" id="{0D8C8C28-ABC4-4752-BEFA-78501A7CADD7}"/>
                </a:ext>
              </a:extLst>
            </p:cNvPr>
            <p:cNvSpPr/>
            <p:nvPr/>
          </p:nvSpPr>
          <p:spPr>
            <a:xfrm>
              <a:off x="3651184" y="5405067"/>
              <a:ext cx="4889633" cy="502960"/>
            </a:xfrm>
            <a:prstGeom prst="ellipse">
              <a:avLst/>
            </a:prstGeom>
            <a:gradFill>
              <a:gsLst>
                <a:gs pos="42000">
                  <a:schemeClr val="accent1">
                    <a:alpha val="0"/>
                  </a:schemeClr>
                </a:gs>
                <a:gs pos="100000">
                  <a:schemeClr val="accent1">
                    <a:alpha val="10000"/>
                  </a:schemeClr>
                </a:gs>
              </a:gsLst>
              <a:lin ang="5400000" scaled="1"/>
            </a:gradFill>
            <a:ln>
              <a:gradFill flip="none" rotWithShape="1">
                <a:gsLst>
                  <a:gs pos="31000">
                    <a:schemeClr val="accent1">
                      <a:alpha val="0"/>
                    </a:schemeClr>
                  </a:gs>
                  <a:gs pos="100000">
                    <a:schemeClr val="accent1">
                      <a:alpha val="52000"/>
                    </a:schemeClr>
                  </a:gs>
                </a:gsLst>
                <a:path path="circl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zh-CN" altLang="en-US"/>
            </a:p>
          </p:txBody>
        </p:sp>
      </p:grpSp>
    </p:spTree>
    <p:custDataLst>
      <p:tags r:id="rId1"/>
    </p:custDataLst>
    <p:extLst>
      <p:ext uri="{BB962C8B-B14F-4D97-AF65-F5344CB8AC3E}">
        <p14:creationId xmlns:p14="http://schemas.microsoft.com/office/powerpoint/2010/main" val="20885174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2">
            <a:extLst>
              <a:ext uri="{FF2B5EF4-FFF2-40B4-BE49-F238E27FC236}">
                <a16:creationId xmlns:a16="http://schemas.microsoft.com/office/drawing/2014/main" id="{B72C4424-9470-465F-87F6-7550FDCEFF32}"/>
              </a:ext>
            </a:extLst>
          </p:cNvPr>
          <p:cNvGrpSpPr/>
          <p:nvPr/>
        </p:nvGrpSpPr>
        <p:grpSpPr>
          <a:xfrm>
            <a:off x="515939" y="4524536"/>
            <a:ext cx="11196636" cy="1484527"/>
            <a:chOff x="515939" y="4524536"/>
            <a:chExt cx="11196636" cy="1484527"/>
          </a:xfrm>
        </p:grpSpPr>
        <p:sp>
          <p:nvSpPr>
            <p:cNvPr id="8" name="梯形 7">
              <a:extLst>
                <a:ext uri="{FF2B5EF4-FFF2-40B4-BE49-F238E27FC236}">
                  <a16:creationId xmlns:a16="http://schemas.microsoft.com/office/drawing/2014/main" id="{C83FFC71-C076-46B7-9B50-65A854E5398E}"/>
                </a:ext>
              </a:extLst>
            </p:cNvPr>
            <p:cNvSpPr/>
            <p:nvPr/>
          </p:nvSpPr>
          <p:spPr>
            <a:xfrm>
              <a:off x="515939" y="4564726"/>
              <a:ext cx="11196636" cy="1444337"/>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sp>
          <p:nvSpPr>
            <p:cNvPr id="23" name="梯形 22">
              <a:extLst>
                <a:ext uri="{FF2B5EF4-FFF2-40B4-BE49-F238E27FC236}">
                  <a16:creationId xmlns:a16="http://schemas.microsoft.com/office/drawing/2014/main" id="{5FFC7D0B-03EE-4F6D-BEA1-E805F88B1611}"/>
                </a:ext>
              </a:extLst>
            </p:cNvPr>
            <p:cNvSpPr/>
            <p:nvPr/>
          </p:nvSpPr>
          <p:spPr>
            <a:xfrm>
              <a:off x="1001831" y="4524536"/>
              <a:ext cx="10224852" cy="1318978"/>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grpSp>
      <p:sp>
        <p:nvSpPr>
          <p:cNvPr id="2" name="标题 1">
            <a:extLst>
              <a:ext uri="{FF2B5EF4-FFF2-40B4-BE49-F238E27FC236}">
                <a16:creationId xmlns:a16="http://schemas.microsoft.com/office/drawing/2014/main" id="{1839D1A1-D1BD-4DB3-9F30-E31B94D7A307}"/>
              </a:ext>
            </a:extLst>
          </p:cNvPr>
          <p:cNvSpPr>
            <a:spLocks noGrp="1"/>
          </p:cNvSpPr>
          <p:nvPr>
            <p:ph type="title"/>
          </p:nvPr>
        </p:nvSpPr>
        <p:spPr/>
        <p:txBody>
          <a:bodyPr/>
          <a:lstStyle/>
          <a:p>
            <a:r>
              <a:rPr lang="zh-CN" altLang="en-US" dirty="0">
                <a:latin typeface="+mn-lt"/>
                <a:ea typeface="+mn-ea"/>
                <a:cs typeface="+mn-ea"/>
                <a:sym typeface="+mn-lt"/>
              </a:rPr>
              <a:t>课题研究背景（纯文字型）</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39BE87E5-559C-4A9C-BF49-56D4524ACBA6}"/>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22</a:t>
            </a:fld>
            <a:endParaRPr lang="en-US" dirty="0">
              <a:solidFill>
                <a:srgbClr val="000000">
                  <a:tint val="75000"/>
                </a:srgbClr>
              </a:solidFill>
              <a:cs typeface="+mn-ea"/>
              <a:sym typeface="+mn-lt"/>
            </a:endParaRPr>
          </a:p>
        </p:txBody>
      </p:sp>
      <p:grpSp>
        <p:nvGrpSpPr>
          <p:cNvPr id="4" name="组合 3">
            <a:extLst>
              <a:ext uri="{FF2B5EF4-FFF2-40B4-BE49-F238E27FC236}">
                <a16:creationId xmlns:a16="http://schemas.microsoft.com/office/drawing/2014/main" id="{10F88F32-C01B-40AA-B47E-A13724639E92}"/>
              </a:ext>
            </a:extLst>
          </p:cNvPr>
          <p:cNvGrpSpPr/>
          <p:nvPr/>
        </p:nvGrpSpPr>
        <p:grpSpPr>
          <a:xfrm>
            <a:off x="1584802" y="1539702"/>
            <a:ext cx="2874645" cy="3503930"/>
            <a:chOff x="1584802" y="1539702"/>
            <a:chExt cx="2874645" cy="3503930"/>
          </a:xfrm>
        </p:grpSpPr>
        <p:sp>
          <p:nvSpPr>
            <p:cNvPr id="6" name="isḷíḑe">
              <a:extLst>
                <a:ext uri="{FF2B5EF4-FFF2-40B4-BE49-F238E27FC236}">
                  <a16:creationId xmlns:a16="http://schemas.microsoft.com/office/drawing/2014/main" id="{C6727874-19C9-4099-961E-D6DEC67431F6}"/>
                </a:ext>
              </a:extLst>
            </p:cNvPr>
            <p:cNvSpPr/>
            <p:nvPr/>
          </p:nvSpPr>
          <p:spPr>
            <a:xfrm>
              <a:off x="1584802" y="2168987"/>
              <a:ext cx="2874645" cy="2874645"/>
            </a:xfrm>
            <a:prstGeom prst="wedgeRectCallout">
              <a:avLst/>
            </a:prstGeom>
            <a:noFill/>
            <a:ln w="25400" cmpd="sng">
              <a:solidFill>
                <a:schemeClr val="bg1">
                  <a:lumMod val="65000"/>
                </a:schemeClr>
              </a:solidFill>
              <a:prstDash val="sysDash"/>
            </a:ln>
          </p:spPr>
          <p:txBody>
            <a:bodyPr anchor="ctr"/>
            <a:lstStyle/>
            <a:p>
              <a:pPr algn="ctr"/>
              <a:endParaRPr lang="zh-CN" altLang="en-US">
                <a:cs typeface="+mn-ea"/>
                <a:sym typeface="+mn-lt"/>
              </a:endParaRPr>
            </a:p>
          </p:txBody>
        </p:sp>
        <p:sp>
          <p:nvSpPr>
            <p:cNvPr id="11" name="îş1ïḑe">
              <a:extLst>
                <a:ext uri="{FF2B5EF4-FFF2-40B4-BE49-F238E27FC236}">
                  <a16:creationId xmlns:a16="http://schemas.microsoft.com/office/drawing/2014/main" id="{6B1973D2-862F-42CE-B767-E049E3A91845}"/>
                </a:ext>
              </a:extLst>
            </p:cNvPr>
            <p:cNvSpPr/>
            <p:nvPr/>
          </p:nvSpPr>
          <p:spPr>
            <a:xfrm>
              <a:off x="1699737" y="2688128"/>
              <a:ext cx="2644776" cy="39560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r>
                <a:rPr lang="zh-CN" altLang="en-US" sz="2000" b="1" dirty="0">
                  <a:solidFill>
                    <a:schemeClr val="tx1">
                      <a:lumMod val="75000"/>
                      <a:lumOff val="25000"/>
                    </a:schemeClr>
                  </a:solidFill>
                  <a:cs typeface="+mn-ea"/>
                  <a:sym typeface="+mn-lt"/>
                </a:rPr>
                <a:t>请输入你的观点</a:t>
              </a:r>
              <a:endParaRPr sz="2000" b="1" dirty="0">
                <a:solidFill>
                  <a:schemeClr val="tx1">
                    <a:lumMod val="75000"/>
                    <a:lumOff val="25000"/>
                  </a:schemeClr>
                </a:solidFill>
                <a:cs typeface="+mn-ea"/>
                <a:sym typeface="+mn-lt"/>
              </a:endParaRPr>
            </a:p>
          </p:txBody>
        </p:sp>
        <p:sp>
          <p:nvSpPr>
            <p:cNvPr id="12" name="ïs1íďé">
              <a:extLst>
                <a:ext uri="{FF2B5EF4-FFF2-40B4-BE49-F238E27FC236}">
                  <a16:creationId xmlns:a16="http://schemas.microsoft.com/office/drawing/2014/main" id="{637E6EDC-F545-4F1E-A30A-0F68B292687E}"/>
                </a:ext>
              </a:extLst>
            </p:cNvPr>
            <p:cNvSpPr/>
            <p:nvPr/>
          </p:nvSpPr>
          <p:spPr bwMode="auto">
            <a:xfrm>
              <a:off x="1699737" y="3210560"/>
              <a:ext cx="2644776" cy="159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请在此输入内容请在此输入内容请在此输入</a:t>
              </a:r>
              <a:endParaRPr lang="en-US" altLang="zh-CN" sz="1600" dirty="0">
                <a:solidFill>
                  <a:schemeClr val="tx1">
                    <a:lumMod val="75000"/>
                    <a:lumOff val="25000"/>
                  </a:schemeClr>
                </a:solidFill>
                <a:cs typeface="+mn-ea"/>
                <a:sym typeface="+mn-lt"/>
              </a:endParaRPr>
            </a:p>
          </p:txBody>
        </p:sp>
        <p:grpSp>
          <p:nvGrpSpPr>
            <p:cNvPr id="24" name="组合 23">
              <a:extLst>
                <a:ext uri="{FF2B5EF4-FFF2-40B4-BE49-F238E27FC236}">
                  <a16:creationId xmlns:a16="http://schemas.microsoft.com/office/drawing/2014/main" id="{6D7A1D42-D21C-401A-8222-F137521D1FBD}"/>
                </a:ext>
              </a:extLst>
            </p:cNvPr>
            <p:cNvGrpSpPr/>
            <p:nvPr/>
          </p:nvGrpSpPr>
          <p:grpSpPr>
            <a:xfrm>
              <a:off x="2526507" y="1539702"/>
              <a:ext cx="991235" cy="991235"/>
              <a:chOff x="2482850" y="1654002"/>
              <a:chExt cx="991235" cy="991235"/>
            </a:xfrm>
          </p:grpSpPr>
          <p:sp>
            <p:nvSpPr>
              <p:cNvPr id="25" name="ïślîḍé">
                <a:extLst>
                  <a:ext uri="{FF2B5EF4-FFF2-40B4-BE49-F238E27FC236}">
                    <a16:creationId xmlns:a16="http://schemas.microsoft.com/office/drawing/2014/main" id="{DF473E51-717B-425B-A62D-57252C5FEB8B}"/>
                  </a:ext>
                </a:extLst>
              </p:cNvPr>
              <p:cNvSpPr/>
              <p:nvPr/>
            </p:nvSpPr>
            <p:spPr>
              <a:xfrm>
                <a:off x="2482850" y="1654002"/>
                <a:ext cx="991235" cy="991235"/>
              </a:xfrm>
              <a:prstGeom prst="ellipse">
                <a:avLst/>
              </a:prstGeom>
              <a:solidFill>
                <a:schemeClr val="bg1"/>
              </a:solidFill>
              <a:ln w="38100" cap="flat">
                <a:solidFill>
                  <a:schemeClr val="bg1">
                    <a:lumMod val="50000"/>
                  </a:schemeClr>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27" name="ï$ļîḓê">
                <a:extLst>
                  <a:ext uri="{FF2B5EF4-FFF2-40B4-BE49-F238E27FC236}">
                    <a16:creationId xmlns:a16="http://schemas.microsoft.com/office/drawing/2014/main" id="{0BF7095A-18C7-4E00-85DD-49916DA7242B}"/>
                  </a:ext>
                </a:extLst>
              </p:cNvPr>
              <p:cNvSpPr/>
              <p:nvPr/>
            </p:nvSpPr>
            <p:spPr bwMode="auto">
              <a:xfrm>
                <a:off x="2644923" y="1908927"/>
                <a:ext cx="667090" cy="48138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grpSp>
        <p:nvGrpSpPr>
          <p:cNvPr id="9" name="组合 8">
            <a:extLst>
              <a:ext uri="{FF2B5EF4-FFF2-40B4-BE49-F238E27FC236}">
                <a16:creationId xmlns:a16="http://schemas.microsoft.com/office/drawing/2014/main" id="{46BA332E-077F-46A1-93DF-CFCE9F534351}"/>
              </a:ext>
            </a:extLst>
          </p:cNvPr>
          <p:cNvGrpSpPr/>
          <p:nvPr/>
        </p:nvGrpSpPr>
        <p:grpSpPr>
          <a:xfrm>
            <a:off x="4665822" y="1540337"/>
            <a:ext cx="2874645" cy="3503295"/>
            <a:chOff x="4665822" y="1540337"/>
            <a:chExt cx="2874645" cy="3503295"/>
          </a:xfrm>
        </p:grpSpPr>
        <p:sp>
          <p:nvSpPr>
            <p:cNvPr id="5" name="íṣľiḓè">
              <a:extLst>
                <a:ext uri="{FF2B5EF4-FFF2-40B4-BE49-F238E27FC236}">
                  <a16:creationId xmlns:a16="http://schemas.microsoft.com/office/drawing/2014/main" id="{8DA02502-037D-4B71-ADD2-1554F028D937}"/>
                </a:ext>
              </a:extLst>
            </p:cNvPr>
            <p:cNvSpPr/>
            <p:nvPr/>
          </p:nvSpPr>
          <p:spPr bwMode="auto">
            <a:xfrm>
              <a:off x="4665822" y="2168987"/>
              <a:ext cx="2874645" cy="2874645"/>
            </a:xfrm>
            <a:prstGeom prst="rect">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lvl="0" algn="ctr" defTabSz="913765"/>
              <a:endParaRPr lang="zh-CN" altLang="en-US" sz="2000" b="1">
                <a:solidFill>
                  <a:schemeClr val="bg1"/>
                </a:solidFill>
                <a:cs typeface="+mn-ea"/>
                <a:sym typeface="+mn-lt"/>
              </a:endParaRPr>
            </a:p>
          </p:txBody>
        </p:sp>
        <p:grpSp>
          <p:nvGrpSpPr>
            <p:cNvPr id="31" name="组合 30">
              <a:extLst>
                <a:ext uri="{FF2B5EF4-FFF2-40B4-BE49-F238E27FC236}">
                  <a16:creationId xmlns:a16="http://schemas.microsoft.com/office/drawing/2014/main" id="{A0F7007B-6AFC-4FAB-AEC6-3AEA519744B4}"/>
                </a:ext>
              </a:extLst>
            </p:cNvPr>
            <p:cNvGrpSpPr/>
            <p:nvPr/>
          </p:nvGrpSpPr>
          <p:grpSpPr>
            <a:xfrm>
              <a:off x="5607527" y="1540337"/>
              <a:ext cx="991235" cy="991235"/>
              <a:chOff x="6444178" y="1503679"/>
              <a:chExt cx="345682" cy="345681"/>
            </a:xfrm>
          </p:grpSpPr>
          <p:sp>
            <p:nvSpPr>
              <p:cNvPr id="32" name="ïślîḍé">
                <a:extLst>
                  <a:ext uri="{FF2B5EF4-FFF2-40B4-BE49-F238E27FC236}">
                    <a16:creationId xmlns:a16="http://schemas.microsoft.com/office/drawing/2014/main" id="{3B8E632B-87B3-4E1F-AA2A-60D55CFE9DF1}"/>
                  </a:ext>
                </a:extLst>
              </p:cNvPr>
              <p:cNvSpPr/>
              <p:nvPr/>
            </p:nvSpPr>
            <p:spPr>
              <a:xfrm>
                <a:off x="6444178" y="1503679"/>
                <a:ext cx="345682" cy="345681"/>
              </a:xfrm>
              <a:prstGeom prst="ellipse">
                <a:avLst/>
              </a:prstGeom>
              <a:solidFill>
                <a:schemeClr val="accent1"/>
              </a:solidFill>
              <a:ln w="38100" cap="flat">
                <a:solidFill>
                  <a:schemeClr val="bg1"/>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3" name="ï$ļîḓê">
                <a:extLst>
                  <a:ext uri="{FF2B5EF4-FFF2-40B4-BE49-F238E27FC236}">
                    <a16:creationId xmlns:a16="http://schemas.microsoft.com/office/drawing/2014/main" id="{574696E7-8BAF-4693-A39A-F92C8212410D}"/>
                  </a:ext>
                </a:extLst>
              </p:cNvPr>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sp>
          <p:nvSpPr>
            <p:cNvPr id="26" name="îş1ïḑe">
              <a:extLst>
                <a:ext uri="{FF2B5EF4-FFF2-40B4-BE49-F238E27FC236}">
                  <a16:creationId xmlns:a16="http://schemas.microsoft.com/office/drawing/2014/main" id="{5B38D785-692D-4305-9C6D-7945ACC7E461}"/>
                </a:ext>
              </a:extLst>
            </p:cNvPr>
            <p:cNvSpPr/>
            <p:nvPr/>
          </p:nvSpPr>
          <p:spPr>
            <a:xfrm>
              <a:off x="4780757" y="2688128"/>
              <a:ext cx="2644776" cy="39560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r>
                <a:rPr lang="zh-CN" altLang="en-US" sz="2000" b="1" dirty="0">
                  <a:solidFill>
                    <a:schemeClr val="bg1"/>
                  </a:solidFill>
                  <a:cs typeface="+mn-ea"/>
                  <a:sym typeface="+mn-lt"/>
                </a:rPr>
                <a:t>请输入你的观点</a:t>
              </a:r>
            </a:p>
          </p:txBody>
        </p:sp>
        <p:sp>
          <p:nvSpPr>
            <p:cNvPr id="37" name="ïs1íďé">
              <a:extLst>
                <a:ext uri="{FF2B5EF4-FFF2-40B4-BE49-F238E27FC236}">
                  <a16:creationId xmlns:a16="http://schemas.microsoft.com/office/drawing/2014/main" id="{21A9085B-BD6F-4AAC-846D-B815C9983733}"/>
                </a:ext>
              </a:extLst>
            </p:cNvPr>
            <p:cNvSpPr/>
            <p:nvPr/>
          </p:nvSpPr>
          <p:spPr bwMode="auto">
            <a:xfrm>
              <a:off x="4780757" y="3210560"/>
              <a:ext cx="2644776" cy="159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defTabSz="914400">
                <a:lnSpc>
                  <a:spcPct val="120000"/>
                </a:lnSpc>
                <a:spcBef>
                  <a:spcPct val="0"/>
                </a:spcBef>
              </a:pPr>
              <a:r>
                <a:rPr lang="zh-CN" altLang="en-US" sz="1600" dirty="0">
                  <a:solidFill>
                    <a:schemeClr val="bg1"/>
                  </a:solidFill>
                  <a:cs typeface="+mn-ea"/>
                  <a:sym typeface="+mn-lt"/>
                </a:rPr>
                <a:t>请在此输入内容请在此输入内容请在此输入内容请在此输入内容请在此输入内容请在此输入内容请在此输入</a:t>
              </a:r>
              <a:endParaRPr lang="en-US" altLang="zh-CN" sz="1600" dirty="0">
                <a:solidFill>
                  <a:schemeClr val="bg1"/>
                </a:solidFill>
                <a:cs typeface="+mn-ea"/>
                <a:sym typeface="+mn-lt"/>
              </a:endParaRPr>
            </a:p>
          </p:txBody>
        </p:sp>
      </p:grpSp>
      <p:grpSp>
        <p:nvGrpSpPr>
          <p:cNvPr id="10" name="组合 9">
            <a:extLst>
              <a:ext uri="{FF2B5EF4-FFF2-40B4-BE49-F238E27FC236}">
                <a16:creationId xmlns:a16="http://schemas.microsoft.com/office/drawing/2014/main" id="{72E6DF21-1E99-4882-A490-43C164778A4B}"/>
              </a:ext>
            </a:extLst>
          </p:cNvPr>
          <p:cNvGrpSpPr/>
          <p:nvPr/>
        </p:nvGrpSpPr>
        <p:grpSpPr>
          <a:xfrm>
            <a:off x="7769067" y="1540337"/>
            <a:ext cx="2874645" cy="3503295"/>
            <a:chOff x="7769067" y="1540337"/>
            <a:chExt cx="2874645" cy="3503295"/>
          </a:xfrm>
        </p:grpSpPr>
        <p:sp>
          <p:nvSpPr>
            <p:cNvPr id="7" name="ï$ļîḋé">
              <a:extLst>
                <a:ext uri="{FF2B5EF4-FFF2-40B4-BE49-F238E27FC236}">
                  <a16:creationId xmlns:a16="http://schemas.microsoft.com/office/drawing/2014/main" id="{3E0A8265-2D60-4B95-9F79-7A3EA91BB9C5}"/>
                </a:ext>
              </a:extLst>
            </p:cNvPr>
            <p:cNvSpPr/>
            <p:nvPr/>
          </p:nvSpPr>
          <p:spPr>
            <a:xfrm>
              <a:off x="7769067" y="2168987"/>
              <a:ext cx="2874645" cy="2874645"/>
            </a:xfrm>
            <a:prstGeom prst="wedgeRectCallout">
              <a:avLst/>
            </a:prstGeom>
            <a:noFill/>
            <a:ln w="25400" cmpd="sng">
              <a:solidFill>
                <a:schemeClr val="bg1">
                  <a:lumMod val="65000"/>
                </a:schemeClr>
              </a:solidFill>
              <a:prstDash val="sysDash"/>
            </a:ln>
          </p:spPr>
          <p:txBody>
            <a:bodyPr anchor="ctr">
              <a:noAutofit/>
            </a:bodyPr>
            <a:lstStyle/>
            <a:p>
              <a:pPr lvl="0" algn="ctr"/>
              <a:endParaRPr lang="zh-CN" altLang="en-US">
                <a:cs typeface="+mn-ea"/>
                <a:sym typeface="+mn-lt"/>
              </a:endParaRPr>
            </a:p>
          </p:txBody>
        </p:sp>
        <p:grpSp>
          <p:nvGrpSpPr>
            <p:cNvPr id="28" name="组合 27">
              <a:extLst>
                <a:ext uri="{FF2B5EF4-FFF2-40B4-BE49-F238E27FC236}">
                  <a16:creationId xmlns:a16="http://schemas.microsoft.com/office/drawing/2014/main" id="{4D837682-8570-4C22-BC77-3F3D6F010A0B}"/>
                </a:ext>
              </a:extLst>
            </p:cNvPr>
            <p:cNvGrpSpPr/>
            <p:nvPr/>
          </p:nvGrpSpPr>
          <p:grpSpPr>
            <a:xfrm>
              <a:off x="8710772" y="1540337"/>
              <a:ext cx="991235" cy="991235"/>
              <a:chOff x="2482850" y="1654002"/>
              <a:chExt cx="991235" cy="991235"/>
            </a:xfrm>
          </p:grpSpPr>
          <p:sp>
            <p:nvSpPr>
              <p:cNvPr id="29" name="ïślîḍé">
                <a:extLst>
                  <a:ext uri="{FF2B5EF4-FFF2-40B4-BE49-F238E27FC236}">
                    <a16:creationId xmlns:a16="http://schemas.microsoft.com/office/drawing/2014/main" id="{5ACE5752-61B9-43F9-862F-33A25C459E33}"/>
                  </a:ext>
                </a:extLst>
              </p:cNvPr>
              <p:cNvSpPr/>
              <p:nvPr/>
            </p:nvSpPr>
            <p:spPr>
              <a:xfrm>
                <a:off x="2482850" y="1654002"/>
                <a:ext cx="991235" cy="991235"/>
              </a:xfrm>
              <a:prstGeom prst="ellipse">
                <a:avLst/>
              </a:prstGeom>
              <a:solidFill>
                <a:schemeClr val="bg1"/>
              </a:solidFill>
              <a:ln w="38100" cap="flat">
                <a:solidFill>
                  <a:schemeClr val="bg1">
                    <a:lumMod val="50000"/>
                  </a:schemeClr>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0" name="ï$ļîḓê">
                <a:extLst>
                  <a:ext uri="{FF2B5EF4-FFF2-40B4-BE49-F238E27FC236}">
                    <a16:creationId xmlns:a16="http://schemas.microsoft.com/office/drawing/2014/main" id="{58049F2D-CE14-43CA-B8F9-281B65BB3082}"/>
                  </a:ext>
                </a:extLst>
              </p:cNvPr>
              <p:cNvSpPr/>
              <p:nvPr/>
            </p:nvSpPr>
            <p:spPr bwMode="auto">
              <a:xfrm>
                <a:off x="2644923" y="1908927"/>
                <a:ext cx="667090" cy="48138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sp>
          <p:nvSpPr>
            <p:cNvPr id="39" name="îş1ïḑe">
              <a:extLst>
                <a:ext uri="{FF2B5EF4-FFF2-40B4-BE49-F238E27FC236}">
                  <a16:creationId xmlns:a16="http://schemas.microsoft.com/office/drawing/2014/main" id="{31B7CFC9-9AE6-4028-9C3F-C9477689AED7}"/>
                </a:ext>
              </a:extLst>
            </p:cNvPr>
            <p:cNvSpPr/>
            <p:nvPr/>
          </p:nvSpPr>
          <p:spPr>
            <a:xfrm>
              <a:off x="7884002" y="2688128"/>
              <a:ext cx="2644776" cy="39560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r>
                <a:rPr lang="zh-CN" altLang="en-US" sz="2000" b="1" dirty="0">
                  <a:solidFill>
                    <a:schemeClr val="tx1">
                      <a:lumMod val="75000"/>
                      <a:lumOff val="25000"/>
                    </a:schemeClr>
                  </a:solidFill>
                  <a:cs typeface="+mn-ea"/>
                  <a:sym typeface="+mn-lt"/>
                </a:rPr>
                <a:t>请输入你的观点</a:t>
              </a:r>
            </a:p>
          </p:txBody>
        </p:sp>
        <p:sp>
          <p:nvSpPr>
            <p:cNvPr id="40" name="ïs1íďé">
              <a:extLst>
                <a:ext uri="{FF2B5EF4-FFF2-40B4-BE49-F238E27FC236}">
                  <a16:creationId xmlns:a16="http://schemas.microsoft.com/office/drawing/2014/main" id="{153D60EC-77AA-4BB8-B94D-55B3D4878181}"/>
                </a:ext>
              </a:extLst>
            </p:cNvPr>
            <p:cNvSpPr/>
            <p:nvPr/>
          </p:nvSpPr>
          <p:spPr bwMode="auto">
            <a:xfrm>
              <a:off x="7884002" y="3210560"/>
              <a:ext cx="2644776" cy="159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请在此输入内容请在此输入内容请在此输入</a:t>
              </a:r>
              <a:endParaRPr lang="en-US" altLang="zh-CN" sz="1600" dirty="0">
                <a:solidFill>
                  <a:schemeClr val="tx1">
                    <a:lumMod val="75000"/>
                    <a:lumOff val="25000"/>
                  </a:schemeClr>
                </a:solidFill>
                <a:cs typeface="+mn-ea"/>
                <a:sym typeface="+mn-lt"/>
              </a:endParaRPr>
            </a:p>
          </p:txBody>
        </p:sp>
      </p:grpSp>
    </p:spTree>
    <p:extLst>
      <p:ext uri="{BB962C8B-B14F-4D97-AF65-F5344CB8AC3E}">
        <p14:creationId xmlns:p14="http://schemas.microsoft.com/office/powerpoint/2010/main" val="33182259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占位符 6">
            <a:extLst>
              <a:ext uri="{FF2B5EF4-FFF2-40B4-BE49-F238E27FC236}">
                <a16:creationId xmlns:a16="http://schemas.microsoft.com/office/drawing/2014/main" id="{84ECFE47-2B29-4798-B36D-96DAB2424142}"/>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518811" y="1196974"/>
            <a:ext cx="7182469" cy="4926861"/>
          </a:xfrm>
          <a:ln>
            <a:solidFill>
              <a:schemeClr val="accent1"/>
            </a:solidFill>
          </a:ln>
        </p:spPr>
      </p:pic>
      <p:sp>
        <p:nvSpPr>
          <p:cNvPr id="2" name="标题 1">
            <a:extLst>
              <a:ext uri="{FF2B5EF4-FFF2-40B4-BE49-F238E27FC236}">
                <a16:creationId xmlns:a16="http://schemas.microsoft.com/office/drawing/2014/main" id="{74D4F3CB-E394-4887-A832-B11874144098}"/>
              </a:ext>
            </a:extLst>
          </p:cNvPr>
          <p:cNvSpPr>
            <a:spLocks noGrp="1"/>
          </p:cNvSpPr>
          <p:nvPr>
            <p:ph type="title"/>
          </p:nvPr>
        </p:nvSpPr>
        <p:spPr/>
        <p:txBody>
          <a:bodyPr/>
          <a:lstStyle/>
          <a:p>
            <a:r>
              <a:rPr lang="zh-CN" altLang="en-US" dirty="0">
                <a:cs typeface="+mn-ea"/>
                <a:sym typeface="+mn-lt"/>
              </a:rPr>
              <a:t>课题研究背景（图文结合型）</a:t>
            </a:r>
            <a:endParaRPr lang="en-US" dirty="0">
              <a:latin typeface="+mn-lt"/>
              <a:ea typeface="+mn-ea"/>
              <a:cs typeface="+mn-ea"/>
              <a:sym typeface="+mn-lt"/>
            </a:endParaRPr>
          </a:p>
        </p:txBody>
      </p:sp>
      <p:sp>
        <p:nvSpPr>
          <p:cNvPr id="5" name="灯片编号占位符 4">
            <a:extLst>
              <a:ext uri="{FF2B5EF4-FFF2-40B4-BE49-F238E27FC236}">
                <a16:creationId xmlns:a16="http://schemas.microsoft.com/office/drawing/2014/main" id="{1E281951-A7E8-4525-9384-715C6F5079D2}"/>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23</a:t>
            </a:fld>
            <a:endParaRPr lang="en-US" dirty="0">
              <a:solidFill>
                <a:srgbClr val="000000">
                  <a:tint val="75000"/>
                </a:srgbClr>
              </a:solidFill>
              <a:cs typeface="+mn-ea"/>
              <a:sym typeface="+mn-lt"/>
            </a:endParaRPr>
          </a:p>
        </p:txBody>
      </p:sp>
      <p:sp>
        <p:nvSpPr>
          <p:cNvPr id="3" name="矩形 2">
            <a:extLst>
              <a:ext uri="{FF2B5EF4-FFF2-40B4-BE49-F238E27FC236}">
                <a16:creationId xmlns:a16="http://schemas.microsoft.com/office/drawing/2014/main" id="{DC513643-E561-44DA-8477-23D016C0EFEF}"/>
              </a:ext>
            </a:extLst>
          </p:cNvPr>
          <p:cNvSpPr/>
          <p:nvPr/>
        </p:nvSpPr>
        <p:spPr>
          <a:xfrm>
            <a:off x="5837020" y="1582223"/>
            <a:ext cx="5875555" cy="4156363"/>
          </a:xfrm>
          <a:prstGeom prst="rect">
            <a:avLst/>
          </a:prstGeom>
          <a:solidFill>
            <a:schemeClr val="bg1"/>
          </a:solidFill>
          <a:ln w="6350" cap="flat" cmpd="sng" algn="ctr">
            <a:solidFill>
              <a:schemeClr val="bg1">
                <a:lumMod val="85000"/>
              </a:schemeClr>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612000" rIns="108000" bIns="0" rtlCol="0" anchor="t"/>
          <a:lstStyle/>
          <a:p>
            <a:pPr marL="285750" indent="-285750">
              <a:lnSpc>
                <a:spcPct val="120000"/>
              </a:lnSpc>
              <a:spcAft>
                <a:spcPts val="1200"/>
              </a:spcAft>
              <a:buFont typeface="Arial" panose="020B0604020202020204" pitchFamily="34" charset="0"/>
              <a:buChar char="•"/>
            </a:pPr>
            <a:r>
              <a:rPr lang="zh-CN" altLang="en-US" dirty="0">
                <a:solidFill>
                  <a:schemeClr val="tx1">
                    <a:lumMod val="75000"/>
                    <a:lumOff val="25000"/>
                  </a:schemeClr>
                </a:solidFill>
                <a:cs typeface="+mn-ea"/>
                <a:sym typeface="+mn-lt"/>
              </a:rPr>
              <a:t>上海大学是上海市属、国家“</a:t>
            </a:r>
            <a:r>
              <a:rPr lang="en-US" altLang="zh-CN" dirty="0">
                <a:solidFill>
                  <a:schemeClr val="tx1">
                    <a:lumMod val="75000"/>
                    <a:lumOff val="25000"/>
                  </a:schemeClr>
                </a:solidFill>
                <a:cs typeface="+mn-ea"/>
                <a:sym typeface="+mn-lt"/>
              </a:rPr>
              <a:t>211</a:t>
            </a:r>
            <a:r>
              <a:rPr lang="zh-CN" altLang="en-US" dirty="0">
                <a:solidFill>
                  <a:schemeClr val="tx1">
                    <a:lumMod val="75000"/>
                    <a:lumOff val="25000"/>
                  </a:schemeClr>
                </a:solidFill>
                <a:cs typeface="+mn-ea"/>
                <a:sym typeface="+mn-lt"/>
              </a:rPr>
              <a:t>工程”重点建设的综合性大学，是教育部与上海市人民政府共建高校、国防科技工业局与上海市人民政府共建高校，上海市首批高水平地方高校建设试点，教育部一流学科建设高校</a:t>
            </a:r>
            <a:endParaRPr lang="en-US" altLang="zh-CN" dirty="0">
              <a:solidFill>
                <a:schemeClr val="tx1">
                  <a:lumMod val="75000"/>
                  <a:lumOff val="25000"/>
                </a:schemeClr>
              </a:solidFill>
              <a:cs typeface="+mn-ea"/>
              <a:sym typeface="+mn-lt"/>
            </a:endParaRPr>
          </a:p>
          <a:p>
            <a:pPr marL="285750" indent="-285750">
              <a:lnSpc>
                <a:spcPct val="120000"/>
              </a:lnSpc>
              <a:spcAft>
                <a:spcPts val="1200"/>
              </a:spcAft>
              <a:buFont typeface="Arial" panose="020B0604020202020204" pitchFamily="34" charset="0"/>
              <a:buChar char="•"/>
            </a:pPr>
            <a:r>
              <a:rPr lang="zh-CN" altLang="en-US" dirty="0">
                <a:solidFill>
                  <a:schemeClr val="tx1">
                    <a:lumMod val="75000"/>
                    <a:lumOff val="25000"/>
                  </a:schemeClr>
                </a:solidFill>
                <a:cs typeface="+mn-ea"/>
                <a:sym typeface="+mn-lt"/>
              </a:rPr>
              <a:t>上海大学秉承“自强不息”、“先天下之忧而忧，后天下之乐而乐”的校训和“求实创新”的校风，努力建设自强不息、追求卓越、勇于创新、乐于奉献、兼容并蓄、和谐向上的大学文化，以国际知名、国内一流、特色鲜明的综合性研究型大学为建设目标，面向国家和区域经济社会发展需求，培养全面发展的人</a:t>
            </a:r>
          </a:p>
        </p:txBody>
      </p:sp>
      <p:sp>
        <p:nvSpPr>
          <p:cNvPr id="9" name="矩形 8">
            <a:extLst>
              <a:ext uri="{FF2B5EF4-FFF2-40B4-BE49-F238E27FC236}">
                <a16:creationId xmlns:a16="http://schemas.microsoft.com/office/drawing/2014/main" id="{19370D61-869F-4D12-A738-1CC912F90030}"/>
              </a:ext>
            </a:extLst>
          </p:cNvPr>
          <p:cNvSpPr/>
          <p:nvPr/>
        </p:nvSpPr>
        <p:spPr>
          <a:xfrm>
            <a:off x="5837020" y="1582223"/>
            <a:ext cx="5875555" cy="457200"/>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lt1"/>
                </a:solidFill>
                <a:cs typeface="+mn-ea"/>
                <a:sym typeface="+mn-lt"/>
              </a:rPr>
              <a:t>请在此输入标题</a:t>
            </a:r>
            <a:endParaRPr lang="en-US" sz="2000" b="1" dirty="0">
              <a:solidFill>
                <a:schemeClr val="lt1"/>
              </a:solidFill>
              <a:cs typeface="+mn-ea"/>
              <a:sym typeface="+mn-lt"/>
            </a:endParaRPr>
          </a:p>
        </p:txBody>
      </p:sp>
      <p:grpSp>
        <p:nvGrpSpPr>
          <p:cNvPr id="8" name="组合 7">
            <a:extLst>
              <a:ext uri="{FF2B5EF4-FFF2-40B4-BE49-F238E27FC236}">
                <a16:creationId xmlns:a16="http://schemas.microsoft.com/office/drawing/2014/main" id="{4201B7B5-AD5B-4D08-B904-B3DEC8A18663}"/>
              </a:ext>
            </a:extLst>
          </p:cNvPr>
          <p:cNvGrpSpPr/>
          <p:nvPr/>
        </p:nvGrpSpPr>
        <p:grpSpPr>
          <a:xfrm>
            <a:off x="0" y="-715587"/>
            <a:ext cx="676656" cy="602672"/>
            <a:chOff x="0" y="6950133"/>
            <a:chExt cx="676656" cy="602672"/>
          </a:xfrm>
        </p:grpSpPr>
        <p:sp>
          <p:nvSpPr>
            <p:cNvPr id="10" name="矩形 9">
              <a:extLst>
                <a:ext uri="{FF2B5EF4-FFF2-40B4-BE49-F238E27FC236}">
                  <a16:creationId xmlns:a16="http://schemas.microsoft.com/office/drawing/2014/main" id="{68121D55-A48C-48C0-9633-8D1B800CF819}"/>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1" name="组合 10">
              <a:extLst>
                <a:ext uri="{FF2B5EF4-FFF2-40B4-BE49-F238E27FC236}">
                  <a16:creationId xmlns:a16="http://schemas.microsoft.com/office/drawing/2014/main" id="{D5A1DA87-8680-4A46-820B-15103A6F08D8}"/>
                </a:ext>
              </a:extLst>
            </p:cNvPr>
            <p:cNvGrpSpPr/>
            <p:nvPr/>
          </p:nvGrpSpPr>
          <p:grpSpPr>
            <a:xfrm>
              <a:off x="47544" y="7038552"/>
              <a:ext cx="581568" cy="425834"/>
              <a:chOff x="84575" y="6977592"/>
              <a:chExt cx="581568" cy="425834"/>
            </a:xfrm>
          </p:grpSpPr>
          <p:grpSp>
            <p:nvGrpSpPr>
              <p:cNvPr id="12" name="组合 11">
                <a:extLst>
                  <a:ext uri="{FF2B5EF4-FFF2-40B4-BE49-F238E27FC236}">
                    <a16:creationId xmlns:a16="http://schemas.microsoft.com/office/drawing/2014/main" id="{3147034A-7D48-4DA7-ABBB-23CED74BB43E}"/>
                  </a:ext>
                </a:extLst>
              </p:cNvPr>
              <p:cNvGrpSpPr/>
              <p:nvPr/>
            </p:nvGrpSpPr>
            <p:grpSpPr>
              <a:xfrm>
                <a:off x="84575" y="6979654"/>
                <a:ext cx="317380" cy="421711"/>
                <a:chOff x="14690033" y="2185397"/>
                <a:chExt cx="583830" cy="775754"/>
              </a:xfrm>
            </p:grpSpPr>
            <p:sp>
              <p:nvSpPr>
                <p:cNvPr id="14" name="iŝļíḑe">
                  <a:extLst>
                    <a:ext uri="{FF2B5EF4-FFF2-40B4-BE49-F238E27FC236}">
                      <a16:creationId xmlns:a16="http://schemas.microsoft.com/office/drawing/2014/main" id="{BFC72A0C-4496-4C50-B77D-C8E8D6949446}"/>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şḷíḍé">
                  <a:extLst>
                    <a:ext uri="{FF2B5EF4-FFF2-40B4-BE49-F238E27FC236}">
                      <a16:creationId xmlns:a16="http://schemas.microsoft.com/office/drawing/2014/main" id="{D5B558AE-442E-4B3C-B390-2D8780C83EBD}"/>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Sľïḓe">
                  <a:extLst>
                    <a:ext uri="{FF2B5EF4-FFF2-40B4-BE49-F238E27FC236}">
                      <a16:creationId xmlns:a16="http://schemas.microsoft.com/office/drawing/2014/main" id="{216585E7-5B64-4EE3-BC99-63F4AE7CD3EF}"/>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ḻídê">
                  <a:extLst>
                    <a:ext uri="{FF2B5EF4-FFF2-40B4-BE49-F238E27FC236}">
                      <a16:creationId xmlns:a16="http://schemas.microsoft.com/office/drawing/2014/main" id="{E9FBC7A8-C9C2-4C2D-84B1-75D9BF118A8F}"/>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S1íḋè">
                  <a:extLst>
                    <a:ext uri="{FF2B5EF4-FFF2-40B4-BE49-F238E27FC236}">
                      <a16:creationId xmlns:a16="http://schemas.microsoft.com/office/drawing/2014/main" id="{21227EC2-D07E-471E-8E9A-45B92539CC36}"/>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şļíde">
                  <a:extLst>
                    <a:ext uri="{FF2B5EF4-FFF2-40B4-BE49-F238E27FC236}">
                      <a16:creationId xmlns:a16="http://schemas.microsoft.com/office/drawing/2014/main" id="{7B002A52-816F-43D9-8F6A-E8DFFEC44A04}"/>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3" name="文本框 12">
                <a:extLst>
                  <a:ext uri="{FF2B5EF4-FFF2-40B4-BE49-F238E27FC236}">
                    <a16:creationId xmlns:a16="http://schemas.microsoft.com/office/drawing/2014/main" id="{6CE3F7A8-3DC2-4C0E-B9F5-385299A43885}"/>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1" name="矩形 20">
            <a:extLst>
              <a:ext uri="{FF2B5EF4-FFF2-40B4-BE49-F238E27FC236}">
                <a16:creationId xmlns:a16="http://schemas.microsoft.com/office/drawing/2014/main" id="{3BFA5554-9E5F-4D30-9C96-E02130C8D19A}"/>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
        <p:nvSpPr>
          <p:cNvPr id="16" name="L 形 15">
            <a:extLst>
              <a:ext uri="{FF2B5EF4-FFF2-40B4-BE49-F238E27FC236}">
                <a16:creationId xmlns:a16="http://schemas.microsoft.com/office/drawing/2014/main" id="{539B72CB-8C33-4257-8575-F2AD993E0F46}"/>
              </a:ext>
            </a:extLst>
          </p:cNvPr>
          <p:cNvSpPr/>
          <p:nvPr/>
        </p:nvSpPr>
        <p:spPr bwMode="auto">
          <a:xfrm rot="5400000">
            <a:off x="467360" y="1148080"/>
            <a:ext cx="628535" cy="628535"/>
          </a:xfrm>
          <a:prstGeom prst="corner">
            <a:avLst>
              <a:gd name="adj1" fmla="val 11572"/>
              <a:gd name="adj2" fmla="val 11638"/>
            </a:avLst>
          </a:prstGeom>
          <a:solidFill>
            <a:schemeClr val="accent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en-US" b="1" dirty="0">
              <a:solidFill>
                <a:schemeClr val="bg1"/>
              </a:solidFill>
              <a:cs typeface="+mn-ea"/>
              <a:sym typeface="+mn-lt"/>
            </a:endParaRPr>
          </a:p>
        </p:txBody>
      </p:sp>
      <p:grpSp>
        <p:nvGrpSpPr>
          <p:cNvPr id="22" name="组合 21">
            <a:extLst>
              <a:ext uri="{FF2B5EF4-FFF2-40B4-BE49-F238E27FC236}">
                <a16:creationId xmlns:a16="http://schemas.microsoft.com/office/drawing/2014/main" id="{17F1B3DF-A0F3-4FCC-92A0-C92799EC1911}"/>
              </a:ext>
            </a:extLst>
          </p:cNvPr>
          <p:cNvGrpSpPr/>
          <p:nvPr/>
        </p:nvGrpSpPr>
        <p:grpSpPr>
          <a:xfrm>
            <a:off x="8431598" y="0"/>
            <a:ext cx="3760402" cy="4528788"/>
            <a:chOff x="8431598" y="0"/>
            <a:chExt cx="3760402" cy="4528788"/>
          </a:xfrm>
        </p:grpSpPr>
        <p:sp>
          <p:nvSpPr>
            <p:cNvPr id="23" name="任意多边形: 形状 22">
              <a:extLst>
                <a:ext uri="{FF2B5EF4-FFF2-40B4-BE49-F238E27FC236}">
                  <a16:creationId xmlns:a16="http://schemas.microsoft.com/office/drawing/2014/main" id="{A0417F30-38D2-4586-BAF0-4F06BDB99EF5}"/>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5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任意多边形: 形状 23">
              <a:extLst>
                <a:ext uri="{FF2B5EF4-FFF2-40B4-BE49-F238E27FC236}">
                  <a16:creationId xmlns:a16="http://schemas.microsoft.com/office/drawing/2014/main" id="{8E20B1B5-775A-45A5-9CC5-ADEA9C0E0F94}"/>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任意多边形: 形状 24">
              <a:extLst>
                <a:ext uri="{FF2B5EF4-FFF2-40B4-BE49-F238E27FC236}">
                  <a16:creationId xmlns:a16="http://schemas.microsoft.com/office/drawing/2014/main" id="{69E89C66-56CA-43BD-9803-93BB7EAD9B31}"/>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24324109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9079F9-D3C3-466C-9178-EC60F3EBF605}"/>
              </a:ext>
            </a:extLst>
          </p:cNvPr>
          <p:cNvSpPr>
            <a:spLocks noGrp="1"/>
          </p:cNvSpPr>
          <p:nvPr>
            <p:ph type="title"/>
          </p:nvPr>
        </p:nvSpPr>
        <p:spPr/>
        <p:txBody>
          <a:bodyPr/>
          <a:lstStyle/>
          <a:p>
            <a:r>
              <a:rPr lang="zh-CN" altLang="en-US" dirty="0">
                <a:latin typeface="+mn-lt"/>
                <a:ea typeface="+mn-ea"/>
                <a:cs typeface="+mn-ea"/>
                <a:sym typeface="+mn-lt"/>
              </a:rPr>
              <a:t>名词释义页</a:t>
            </a:r>
            <a:endParaRPr lang="en-US" dirty="0">
              <a:latin typeface="+mn-lt"/>
              <a:ea typeface="+mn-ea"/>
              <a:cs typeface="+mn-ea"/>
              <a:sym typeface="+mn-lt"/>
            </a:endParaRPr>
          </a:p>
        </p:txBody>
      </p:sp>
      <p:sp>
        <p:nvSpPr>
          <p:cNvPr id="3" name="文本框 2">
            <a:extLst>
              <a:ext uri="{FF2B5EF4-FFF2-40B4-BE49-F238E27FC236}">
                <a16:creationId xmlns:a16="http://schemas.microsoft.com/office/drawing/2014/main" id="{03DEBE2B-9FEB-4C2F-8559-DD05DB7FEB84}"/>
              </a:ext>
            </a:extLst>
          </p:cNvPr>
          <p:cNvSpPr txBox="1"/>
          <p:nvPr/>
        </p:nvSpPr>
        <p:spPr>
          <a:xfrm>
            <a:off x="2519083" y="944563"/>
            <a:ext cx="1702389" cy="3062377"/>
          </a:xfrm>
          <a:prstGeom prst="rect">
            <a:avLst/>
          </a:prstGeom>
          <a:noFill/>
        </p:spPr>
        <p:txBody>
          <a:bodyPr wrap="none" lIns="0" tIns="0" rIns="0" bIns="0" rtlCol="0" anchor="ctr">
            <a:spAutoFit/>
          </a:bodyPr>
          <a:lstStyle/>
          <a:p>
            <a:pPr algn="ctr"/>
            <a:r>
              <a:rPr lang="en-US" altLang="zh-CN" sz="19900" b="1" dirty="0">
                <a:ln w="19050">
                  <a:solidFill>
                    <a:schemeClr val="bg1"/>
                  </a:solidFill>
                </a:ln>
                <a:solidFill>
                  <a:schemeClr val="accent1"/>
                </a:solidFill>
                <a:effectLst>
                  <a:outerShdw blurRad="50800" dist="38100" dir="2700000" algn="tl" rotWithShape="0">
                    <a:prstClr val="black">
                      <a:alpha val="40000"/>
                    </a:prstClr>
                  </a:outerShdw>
                </a:effectLst>
                <a:cs typeface="+mn-ea"/>
                <a:sym typeface="+mn-lt"/>
              </a:rPr>
              <a:t>S</a:t>
            </a:r>
            <a:endParaRPr lang="en-US" sz="19900" b="1" dirty="0">
              <a:ln w="19050">
                <a:solidFill>
                  <a:schemeClr val="bg1"/>
                </a:solidFill>
              </a:ln>
              <a:solidFill>
                <a:schemeClr val="accent1"/>
              </a:solidFill>
              <a:effectLst>
                <a:outerShdw blurRad="50800" dist="38100" dir="2700000" algn="tl" rotWithShape="0">
                  <a:prstClr val="black">
                    <a:alpha val="40000"/>
                  </a:prstClr>
                </a:outerShdw>
              </a:effectLst>
              <a:cs typeface="+mn-ea"/>
              <a:sym typeface="+mn-lt"/>
            </a:endParaRPr>
          </a:p>
        </p:txBody>
      </p:sp>
      <p:sp>
        <p:nvSpPr>
          <p:cNvPr id="4" name="文本框 3">
            <a:extLst>
              <a:ext uri="{FF2B5EF4-FFF2-40B4-BE49-F238E27FC236}">
                <a16:creationId xmlns:a16="http://schemas.microsoft.com/office/drawing/2014/main" id="{C7B05BEE-D8A2-4BCC-9E82-E386A994EA43}"/>
              </a:ext>
            </a:extLst>
          </p:cNvPr>
          <p:cNvSpPr txBox="1"/>
          <p:nvPr/>
        </p:nvSpPr>
        <p:spPr>
          <a:xfrm>
            <a:off x="5096527" y="944563"/>
            <a:ext cx="1843453" cy="3062377"/>
          </a:xfrm>
          <a:prstGeom prst="rect">
            <a:avLst/>
          </a:prstGeom>
          <a:noFill/>
        </p:spPr>
        <p:txBody>
          <a:bodyPr wrap="none" lIns="0" tIns="0" rIns="0" bIns="0" rtlCol="0" anchor="ctr">
            <a:spAutoFit/>
          </a:bodyPr>
          <a:lstStyle/>
          <a:p>
            <a:pPr algn="ctr"/>
            <a:r>
              <a:rPr lang="en-US" altLang="zh-CN" sz="19900" b="1" dirty="0">
                <a:ln w="19050">
                  <a:solidFill>
                    <a:schemeClr val="bg1"/>
                  </a:solidFill>
                </a:ln>
                <a:solidFill>
                  <a:schemeClr val="accent1"/>
                </a:solidFill>
                <a:effectLst>
                  <a:outerShdw blurRad="50800" dist="38100" dir="2700000" algn="tl" rotWithShape="0">
                    <a:prstClr val="black">
                      <a:alpha val="40000"/>
                    </a:prstClr>
                  </a:outerShdw>
                </a:effectLst>
                <a:cs typeface="+mn-ea"/>
                <a:sym typeface="+mn-lt"/>
              </a:rPr>
              <a:t>H</a:t>
            </a:r>
            <a:endParaRPr lang="en-US" sz="19900" b="1" dirty="0">
              <a:ln w="19050">
                <a:solidFill>
                  <a:schemeClr val="bg1"/>
                </a:solidFill>
              </a:ln>
              <a:solidFill>
                <a:schemeClr val="accent1"/>
              </a:solidFill>
              <a:effectLst>
                <a:outerShdw blurRad="50800" dist="38100" dir="2700000" algn="tl" rotWithShape="0">
                  <a:prstClr val="black">
                    <a:alpha val="40000"/>
                  </a:prstClr>
                </a:outerShdw>
              </a:effectLst>
              <a:cs typeface="+mn-ea"/>
              <a:sym typeface="+mn-lt"/>
            </a:endParaRPr>
          </a:p>
        </p:txBody>
      </p:sp>
      <p:sp>
        <p:nvSpPr>
          <p:cNvPr id="5" name="文本框 4">
            <a:extLst>
              <a:ext uri="{FF2B5EF4-FFF2-40B4-BE49-F238E27FC236}">
                <a16:creationId xmlns:a16="http://schemas.microsoft.com/office/drawing/2014/main" id="{3EB92B6F-EA6B-4227-AB8A-FEB7C81AA4FE}"/>
              </a:ext>
            </a:extLst>
          </p:cNvPr>
          <p:cNvSpPr txBox="1"/>
          <p:nvPr/>
        </p:nvSpPr>
        <p:spPr>
          <a:xfrm>
            <a:off x="7829464" y="944563"/>
            <a:ext cx="1843453" cy="3062377"/>
          </a:xfrm>
          <a:prstGeom prst="rect">
            <a:avLst/>
          </a:prstGeom>
          <a:noFill/>
        </p:spPr>
        <p:txBody>
          <a:bodyPr wrap="none" lIns="0" tIns="0" rIns="0" bIns="0" rtlCol="0" anchor="ctr">
            <a:spAutoFit/>
          </a:bodyPr>
          <a:lstStyle/>
          <a:p>
            <a:pPr algn="ctr"/>
            <a:r>
              <a:rPr lang="en-US" altLang="zh-CN" sz="19900" b="1" dirty="0">
                <a:ln w="19050">
                  <a:solidFill>
                    <a:schemeClr val="bg1"/>
                  </a:solidFill>
                </a:ln>
                <a:solidFill>
                  <a:schemeClr val="accent1"/>
                </a:solidFill>
                <a:effectLst>
                  <a:outerShdw blurRad="50800" dist="38100" dir="2700000" algn="tl" rotWithShape="0">
                    <a:prstClr val="black">
                      <a:alpha val="40000"/>
                    </a:prstClr>
                  </a:outerShdw>
                </a:effectLst>
                <a:cs typeface="+mn-ea"/>
                <a:sym typeface="+mn-lt"/>
              </a:rPr>
              <a:t>U</a:t>
            </a:r>
            <a:endParaRPr lang="en-US" sz="19900" b="1" dirty="0">
              <a:ln w="19050">
                <a:solidFill>
                  <a:schemeClr val="bg1"/>
                </a:solidFill>
              </a:ln>
              <a:solidFill>
                <a:schemeClr val="accent1"/>
              </a:solidFill>
              <a:effectLst>
                <a:outerShdw blurRad="50800" dist="38100" dir="2700000" algn="tl" rotWithShape="0">
                  <a:prstClr val="black">
                    <a:alpha val="40000"/>
                  </a:prstClr>
                </a:outerShdw>
              </a:effectLst>
              <a:cs typeface="+mn-ea"/>
              <a:sym typeface="+mn-lt"/>
            </a:endParaRPr>
          </a:p>
        </p:txBody>
      </p:sp>
      <p:sp>
        <p:nvSpPr>
          <p:cNvPr id="9" name="矩形 8">
            <a:extLst>
              <a:ext uri="{FF2B5EF4-FFF2-40B4-BE49-F238E27FC236}">
                <a16:creationId xmlns:a16="http://schemas.microsoft.com/office/drawing/2014/main" id="{D47EB5E0-E601-4ABC-898F-6C6C5926A0EC}"/>
              </a:ext>
            </a:extLst>
          </p:cNvPr>
          <p:cNvSpPr/>
          <p:nvPr/>
        </p:nvSpPr>
        <p:spPr>
          <a:xfrm>
            <a:off x="2432360" y="4308522"/>
            <a:ext cx="1875835" cy="461665"/>
          </a:xfrm>
          <a:prstGeom prst="rect">
            <a:avLst/>
          </a:prstGeom>
        </p:spPr>
        <p:txBody>
          <a:bodyPr wrap="none">
            <a:spAutoFit/>
          </a:bodyPr>
          <a:lstStyle/>
          <a:p>
            <a:pPr algn="ctr"/>
            <a:r>
              <a:rPr lang="en-US" altLang="zh-CN" sz="2400" b="1" spc="300" dirty="0">
                <a:solidFill>
                  <a:schemeClr val="tx1">
                    <a:lumMod val="75000"/>
                    <a:lumOff val="25000"/>
                  </a:schemeClr>
                </a:solidFill>
                <a:cs typeface="+mn-ea"/>
                <a:sym typeface="+mn-lt"/>
              </a:rPr>
              <a:t>Shanghai</a:t>
            </a:r>
            <a:endParaRPr lang="en-US" sz="2400" b="1" spc="300" dirty="0">
              <a:solidFill>
                <a:schemeClr val="tx1">
                  <a:lumMod val="75000"/>
                  <a:lumOff val="25000"/>
                </a:schemeClr>
              </a:solidFill>
              <a:cs typeface="+mn-ea"/>
              <a:sym typeface="+mn-lt"/>
            </a:endParaRPr>
          </a:p>
        </p:txBody>
      </p:sp>
      <p:sp>
        <p:nvSpPr>
          <p:cNvPr id="10" name="矩形 9">
            <a:extLst>
              <a:ext uri="{FF2B5EF4-FFF2-40B4-BE49-F238E27FC236}">
                <a16:creationId xmlns:a16="http://schemas.microsoft.com/office/drawing/2014/main" id="{0F3B6CC4-338F-4CEE-9D4F-73D7B731AC27}"/>
              </a:ext>
            </a:extLst>
          </p:cNvPr>
          <p:cNvSpPr/>
          <p:nvPr/>
        </p:nvSpPr>
        <p:spPr>
          <a:xfrm>
            <a:off x="7721902" y="4308522"/>
            <a:ext cx="2058577" cy="461665"/>
          </a:xfrm>
          <a:prstGeom prst="rect">
            <a:avLst/>
          </a:prstGeom>
        </p:spPr>
        <p:txBody>
          <a:bodyPr wrap="none">
            <a:spAutoFit/>
          </a:bodyPr>
          <a:lstStyle/>
          <a:p>
            <a:pPr algn="ctr"/>
            <a:r>
              <a:rPr lang="en-US" altLang="zh-CN" sz="2400" b="1" spc="300" dirty="0">
                <a:solidFill>
                  <a:schemeClr val="tx1">
                    <a:lumMod val="75000"/>
                    <a:lumOff val="25000"/>
                  </a:schemeClr>
                </a:solidFill>
                <a:cs typeface="+mn-ea"/>
                <a:sym typeface="+mn-lt"/>
              </a:rPr>
              <a:t>University</a:t>
            </a:r>
            <a:endParaRPr lang="en-US" sz="2400" b="1" spc="300" dirty="0">
              <a:solidFill>
                <a:schemeClr val="tx1">
                  <a:lumMod val="75000"/>
                  <a:lumOff val="25000"/>
                </a:schemeClr>
              </a:solidFill>
              <a:cs typeface="+mn-ea"/>
              <a:sym typeface="+mn-lt"/>
            </a:endParaRPr>
          </a:p>
        </p:txBody>
      </p:sp>
      <p:sp>
        <p:nvSpPr>
          <p:cNvPr id="11" name="任意多边形: 形状 10">
            <a:extLst>
              <a:ext uri="{FF2B5EF4-FFF2-40B4-BE49-F238E27FC236}">
                <a16:creationId xmlns:a16="http://schemas.microsoft.com/office/drawing/2014/main" id="{BA2872D9-33A7-4989-A74E-4918B46934C9}"/>
              </a:ext>
            </a:extLst>
          </p:cNvPr>
          <p:cNvSpPr/>
          <p:nvPr/>
        </p:nvSpPr>
        <p:spPr>
          <a:xfrm>
            <a:off x="8751191" y="3725901"/>
            <a:ext cx="0" cy="537592"/>
          </a:xfrm>
          <a:custGeom>
            <a:avLst/>
            <a:gdLst>
              <a:gd name="connsiteX0" fmla="*/ 0 w 0"/>
              <a:gd name="connsiteY0" fmla="*/ 0 h 415636"/>
              <a:gd name="connsiteX1" fmla="*/ 0 w 0"/>
              <a:gd name="connsiteY1" fmla="*/ 415636 h 415636"/>
            </a:gdLst>
            <a:ahLst/>
            <a:cxnLst>
              <a:cxn ang="0">
                <a:pos x="connsiteX0" y="connsiteY0"/>
              </a:cxn>
              <a:cxn ang="0">
                <a:pos x="connsiteX1" y="connsiteY1"/>
              </a:cxn>
            </a:cxnLst>
            <a:rect l="l" t="t" r="r" b="b"/>
            <a:pathLst>
              <a:path h="415636">
                <a:moveTo>
                  <a:pt x="0" y="0"/>
                </a:moveTo>
                <a:lnTo>
                  <a:pt x="0" y="415636"/>
                </a:lnTo>
              </a:path>
            </a:pathLst>
          </a:custGeom>
          <a:noFill/>
          <a:ln w="1905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 name="任意多边形: 形状 11">
            <a:extLst>
              <a:ext uri="{FF2B5EF4-FFF2-40B4-BE49-F238E27FC236}">
                <a16:creationId xmlns:a16="http://schemas.microsoft.com/office/drawing/2014/main" id="{E268428C-8A43-47D7-9D70-425A907EF58A}"/>
              </a:ext>
            </a:extLst>
          </p:cNvPr>
          <p:cNvSpPr/>
          <p:nvPr/>
        </p:nvSpPr>
        <p:spPr>
          <a:xfrm>
            <a:off x="3370278" y="3725901"/>
            <a:ext cx="0" cy="537592"/>
          </a:xfrm>
          <a:custGeom>
            <a:avLst/>
            <a:gdLst>
              <a:gd name="connsiteX0" fmla="*/ 0 w 0"/>
              <a:gd name="connsiteY0" fmla="*/ 0 h 415636"/>
              <a:gd name="connsiteX1" fmla="*/ 0 w 0"/>
              <a:gd name="connsiteY1" fmla="*/ 415636 h 415636"/>
            </a:gdLst>
            <a:ahLst/>
            <a:cxnLst>
              <a:cxn ang="0">
                <a:pos x="connsiteX0" y="connsiteY0"/>
              </a:cxn>
              <a:cxn ang="0">
                <a:pos x="connsiteX1" y="connsiteY1"/>
              </a:cxn>
            </a:cxnLst>
            <a:rect l="l" t="t" r="r" b="b"/>
            <a:pathLst>
              <a:path h="415636">
                <a:moveTo>
                  <a:pt x="0" y="0"/>
                </a:moveTo>
                <a:lnTo>
                  <a:pt x="0" y="415636"/>
                </a:lnTo>
              </a:path>
            </a:pathLst>
          </a:custGeom>
          <a:noFill/>
          <a:ln w="1905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 name="任意多边形: 形状 12">
            <a:extLst>
              <a:ext uri="{FF2B5EF4-FFF2-40B4-BE49-F238E27FC236}">
                <a16:creationId xmlns:a16="http://schemas.microsoft.com/office/drawing/2014/main" id="{EF40E03E-FCDC-45B7-A530-DDF32A4B5BE3}"/>
              </a:ext>
            </a:extLst>
          </p:cNvPr>
          <p:cNvSpPr/>
          <p:nvPr/>
        </p:nvSpPr>
        <p:spPr>
          <a:xfrm>
            <a:off x="3370278" y="3725901"/>
            <a:ext cx="2706672" cy="312821"/>
          </a:xfrm>
          <a:custGeom>
            <a:avLst/>
            <a:gdLst>
              <a:gd name="connsiteX0" fmla="*/ 2454442 w 2454442"/>
              <a:gd name="connsiteY0" fmla="*/ 0 h 312821"/>
              <a:gd name="connsiteX1" fmla="*/ 2454442 w 2454442"/>
              <a:gd name="connsiteY1" fmla="*/ 312821 h 312821"/>
              <a:gd name="connsiteX2" fmla="*/ 0 w 2454442"/>
              <a:gd name="connsiteY2" fmla="*/ 312821 h 312821"/>
            </a:gdLst>
            <a:ahLst/>
            <a:cxnLst>
              <a:cxn ang="0">
                <a:pos x="connsiteX0" y="connsiteY0"/>
              </a:cxn>
              <a:cxn ang="0">
                <a:pos x="connsiteX1" y="connsiteY1"/>
              </a:cxn>
              <a:cxn ang="0">
                <a:pos x="connsiteX2" y="connsiteY2"/>
              </a:cxn>
            </a:cxnLst>
            <a:rect l="l" t="t" r="r" b="b"/>
            <a:pathLst>
              <a:path w="2454442" h="312821">
                <a:moveTo>
                  <a:pt x="2454442" y="0"/>
                </a:moveTo>
                <a:lnTo>
                  <a:pt x="2454442" y="312821"/>
                </a:lnTo>
                <a:lnTo>
                  <a:pt x="0" y="312821"/>
                </a:lnTo>
              </a:path>
            </a:pathLst>
          </a:custGeom>
          <a:noFill/>
          <a:ln w="1905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cs typeface="+mn-ea"/>
              <a:sym typeface="+mn-lt"/>
            </a:endParaRPr>
          </a:p>
        </p:txBody>
      </p:sp>
      <p:sp>
        <p:nvSpPr>
          <p:cNvPr id="6" name="灯片编号占位符 5">
            <a:extLst>
              <a:ext uri="{FF2B5EF4-FFF2-40B4-BE49-F238E27FC236}">
                <a16:creationId xmlns:a16="http://schemas.microsoft.com/office/drawing/2014/main" id="{A2133F92-32E5-4120-BCF2-C4930141D04B}"/>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24</a:t>
            </a:fld>
            <a:endParaRPr lang="en-US" dirty="0">
              <a:solidFill>
                <a:srgbClr val="000000">
                  <a:tint val="75000"/>
                </a:srgbClr>
              </a:solidFill>
              <a:cs typeface="+mn-ea"/>
              <a:sym typeface="+mn-lt"/>
            </a:endParaRPr>
          </a:p>
        </p:txBody>
      </p:sp>
      <p:sp>
        <p:nvSpPr>
          <p:cNvPr id="16" name="梯形 15">
            <a:extLst>
              <a:ext uri="{FF2B5EF4-FFF2-40B4-BE49-F238E27FC236}">
                <a16:creationId xmlns:a16="http://schemas.microsoft.com/office/drawing/2014/main" id="{9B60FBE9-CA18-44ED-BCEC-6FBB30EF7345}"/>
              </a:ext>
            </a:extLst>
          </p:cNvPr>
          <p:cNvSpPr/>
          <p:nvPr/>
        </p:nvSpPr>
        <p:spPr>
          <a:xfrm>
            <a:off x="515939" y="4685001"/>
            <a:ext cx="11196636" cy="1444337"/>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sp>
        <p:nvSpPr>
          <p:cNvPr id="17" name="梯形 16">
            <a:extLst>
              <a:ext uri="{FF2B5EF4-FFF2-40B4-BE49-F238E27FC236}">
                <a16:creationId xmlns:a16="http://schemas.microsoft.com/office/drawing/2014/main" id="{9784B12F-31CD-4EEB-8AE7-6EB0C265F62D}"/>
              </a:ext>
            </a:extLst>
          </p:cNvPr>
          <p:cNvSpPr/>
          <p:nvPr/>
        </p:nvSpPr>
        <p:spPr>
          <a:xfrm>
            <a:off x="1001831" y="4696766"/>
            <a:ext cx="10224852" cy="1318978"/>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sp>
        <p:nvSpPr>
          <p:cNvPr id="7" name="文本框 6">
            <a:extLst>
              <a:ext uri="{FF2B5EF4-FFF2-40B4-BE49-F238E27FC236}">
                <a16:creationId xmlns:a16="http://schemas.microsoft.com/office/drawing/2014/main" id="{7F88A384-7012-4324-9472-E30F7E57FB68}"/>
              </a:ext>
            </a:extLst>
          </p:cNvPr>
          <p:cNvSpPr txBox="1"/>
          <p:nvPr/>
        </p:nvSpPr>
        <p:spPr>
          <a:xfrm>
            <a:off x="1235234" y="4894117"/>
            <a:ext cx="9779130" cy="1002346"/>
          </a:xfrm>
          <a:prstGeom prst="rect">
            <a:avLst/>
          </a:prstGeom>
          <a:solidFill>
            <a:schemeClr val="bg1"/>
          </a:solidFill>
          <a:ln w="19050" cap="flat" cmpd="sng" algn="ctr">
            <a:solidFill>
              <a:schemeClr val="accent1"/>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zh-CN" altLang="en-US" sz="1600" dirty="0">
                <a:solidFill>
                  <a:schemeClr val="tx1">
                    <a:lumMod val="75000"/>
                    <a:lumOff val="25000"/>
                  </a:schemeClr>
                </a:solidFill>
                <a:cs typeface="+mn-ea"/>
                <a:sym typeface="+mn-lt"/>
              </a:rPr>
              <a:t>上海大学（英语：</a:t>
            </a:r>
            <a:r>
              <a:rPr lang="en-US" altLang="zh-CN" sz="1600" dirty="0">
                <a:solidFill>
                  <a:schemeClr val="tx1">
                    <a:lumMod val="75000"/>
                    <a:lumOff val="25000"/>
                  </a:schemeClr>
                </a:solidFill>
                <a:cs typeface="+mn-ea"/>
                <a:sym typeface="+mn-lt"/>
              </a:rPr>
              <a:t>Shanghai University</a:t>
            </a:r>
            <a:r>
              <a:rPr lang="zh-CN" altLang="en-US" sz="1600" dirty="0">
                <a:solidFill>
                  <a:schemeClr val="tx1">
                    <a:lumMod val="75000"/>
                    <a:lumOff val="25000"/>
                  </a:schemeClr>
                </a:solidFill>
                <a:cs typeface="+mn-ea"/>
                <a:sym typeface="+mn-lt"/>
              </a:rPr>
              <a:t>，缩写英语：</a:t>
            </a:r>
            <a:r>
              <a:rPr lang="en-US" altLang="zh-CN" sz="1600" dirty="0">
                <a:solidFill>
                  <a:schemeClr val="tx1">
                    <a:lumMod val="75000"/>
                    <a:lumOff val="25000"/>
                  </a:schemeClr>
                </a:solidFill>
                <a:cs typeface="+mn-ea"/>
                <a:sym typeface="+mn-lt"/>
              </a:rPr>
              <a:t>SHU</a:t>
            </a:r>
            <a:r>
              <a:rPr lang="zh-CN" altLang="en-US" sz="1600" dirty="0">
                <a:solidFill>
                  <a:schemeClr val="tx1">
                    <a:lumMod val="75000"/>
                    <a:lumOff val="25000"/>
                  </a:schemeClr>
                </a:solidFill>
                <a:cs typeface="+mn-ea"/>
                <a:sym typeface="+mn-lt"/>
              </a:rPr>
              <a:t>，简称：上大），是上海市属、教育部与上海市共建的综合性大学，是中国“</a:t>
            </a:r>
            <a:r>
              <a:rPr lang="en-US" altLang="zh-CN" sz="1600" dirty="0">
                <a:solidFill>
                  <a:schemeClr val="tx1">
                    <a:lumMod val="75000"/>
                    <a:lumOff val="25000"/>
                  </a:schemeClr>
                </a:solidFill>
                <a:cs typeface="+mn-ea"/>
                <a:sym typeface="+mn-lt"/>
              </a:rPr>
              <a:t>211</a:t>
            </a:r>
            <a:r>
              <a:rPr lang="zh-CN" altLang="en-US" sz="1600" dirty="0">
                <a:solidFill>
                  <a:schemeClr val="tx1">
                    <a:lumMod val="75000"/>
                    <a:lumOff val="25000"/>
                  </a:schemeClr>
                </a:solidFill>
                <a:cs typeface="+mn-ea"/>
                <a:sym typeface="+mn-lt"/>
              </a:rPr>
              <a:t>工程”重点建设高校之一，教育部实施“卓越工程师教育培养计划”的首批高校之一，拥有国家试点学院的</a:t>
            </a:r>
            <a:r>
              <a:rPr lang="en-US" altLang="zh-CN" sz="1600" dirty="0">
                <a:solidFill>
                  <a:schemeClr val="tx1">
                    <a:lumMod val="75000"/>
                    <a:lumOff val="25000"/>
                  </a:schemeClr>
                </a:solidFill>
                <a:cs typeface="+mn-ea"/>
                <a:sym typeface="+mn-lt"/>
              </a:rPr>
              <a:t>17</a:t>
            </a:r>
            <a:r>
              <a:rPr lang="zh-CN" altLang="en-US" sz="1600" dirty="0">
                <a:solidFill>
                  <a:schemeClr val="tx1">
                    <a:lumMod val="75000"/>
                    <a:lumOff val="25000"/>
                  </a:schemeClr>
                </a:solidFill>
                <a:cs typeface="+mn-ea"/>
                <a:sym typeface="+mn-lt"/>
              </a:rPr>
              <a:t>所高校之一（指钱伟长学院）。现拥有宝山、嘉定、延长三个校区</a:t>
            </a:r>
          </a:p>
        </p:txBody>
      </p:sp>
      <p:grpSp>
        <p:nvGrpSpPr>
          <p:cNvPr id="19" name="组合 18">
            <a:extLst>
              <a:ext uri="{FF2B5EF4-FFF2-40B4-BE49-F238E27FC236}">
                <a16:creationId xmlns:a16="http://schemas.microsoft.com/office/drawing/2014/main" id="{A1FA1F45-BFB4-424B-91DB-05F4CC839233}"/>
              </a:ext>
            </a:extLst>
          </p:cNvPr>
          <p:cNvGrpSpPr/>
          <p:nvPr/>
        </p:nvGrpSpPr>
        <p:grpSpPr>
          <a:xfrm>
            <a:off x="8431598" y="0"/>
            <a:ext cx="3760402" cy="4528788"/>
            <a:chOff x="8431598" y="0"/>
            <a:chExt cx="3760402" cy="4528788"/>
          </a:xfrm>
        </p:grpSpPr>
        <p:sp>
          <p:nvSpPr>
            <p:cNvPr id="20" name="任意多边形: 形状 19">
              <a:extLst>
                <a:ext uri="{FF2B5EF4-FFF2-40B4-BE49-F238E27FC236}">
                  <a16:creationId xmlns:a16="http://schemas.microsoft.com/office/drawing/2014/main" id="{50226C01-6C8D-4AD6-9C11-7D724B7341FD}"/>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5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任意多边形: 形状 20">
              <a:extLst>
                <a:ext uri="{FF2B5EF4-FFF2-40B4-BE49-F238E27FC236}">
                  <a16:creationId xmlns:a16="http://schemas.microsoft.com/office/drawing/2014/main" id="{67C557E6-0F28-44EA-B034-C68817D451A9}"/>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任意多边形: 形状 21">
              <a:extLst>
                <a:ext uri="{FF2B5EF4-FFF2-40B4-BE49-F238E27FC236}">
                  <a16:creationId xmlns:a16="http://schemas.microsoft.com/office/drawing/2014/main" id="{45522C9A-EB9F-40C8-BE7F-5A0B45AC8DB6}"/>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37272225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ACD0988-E61E-4274-BAE2-927DE88CD7DE}"/>
              </a:ext>
            </a:extLst>
          </p:cNvPr>
          <p:cNvSpPr>
            <a:spLocks noGrp="1"/>
          </p:cNvSpPr>
          <p:nvPr>
            <p:ph type="title"/>
          </p:nvPr>
        </p:nvSpPr>
        <p:spPr/>
        <p:txBody>
          <a:bodyPr/>
          <a:lstStyle/>
          <a:p>
            <a:r>
              <a:rPr lang="zh-CN" altLang="en-US" dirty="0"/>
              <a:t>发展历程页</a:t>
            </a:r>
            <a:endParaRPr lang="en-US" dirty="0"/>
          </a:p>
        </p:txBody>
      </p:sp>
      <p:sp>
        <p:nvSpPr>
          <p:cNvPr id="3" name="灯片编号占位符 2">
            <a:extLst>
              <a:ext uri="{FF2B5EF4-FFF2-40B4-BE49-F238E27FC236}">
                <a16:creationId xmlns:a16="http://schemas.microsoft.com/office/drawing/2014/main" id="{69967DC8-99B1-401D-95C1-44491EA0C13A}"/>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25</a:t>
            </a:fld>
            <a:endParaRPr lang="en-US" dirty="0">
              <a:solidFill>
                <a:srgbClr val="000000">
                  <a:tint val="75000"/>
                </a:srgbClr>
              </a:solidFill>
            </a:endParaRPr>
          </a:p>
        </p:txBody>
      </p:sp>
      <p:pic>
        <p:nvPicPr>
          <p:cNvPr id="6" name="图片占位符 5">
            <a:extLst>
              <a:ext uri="{FF2B5EF4-FFF2-40B4-BE49-F238E27FC236}">
                <a16:creationId xmlns:a16="http://schemas.microsoft.com/office/drawing/2014/main" id="{C6121B05-35F7-4AD9-A8A4-77962D275978}"/>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4" r="14"/>
          <a:stretch>
            <a:fillRect/>
          </a:stretch>
        </p:blipFill>
        <p:spPr/>
      </p:pic>
      <p:grpSp>
        <p:nvGrpSpPr>
          <p:cNvPr id="69" name="组合 68">
            <a:extLst>
              <a:ext uri="{FF2B5EF4-FFF2-40B4-BE49-F238E27FC236}">
                <a16:creationId xmlns:a16="http://schemas.microsoft.com/office/drawing/2014/main" id="{26CA6C15-D36A-475A-A143-91C1984281CB}"/>
              </a:ext>
            </a:extLst>
          </p:cNvPr>
          <p:cNvGrpSpPr/>
          <p:nvPr/>
        </p:nvGrpSpPr>
        <p:grpSpPr>
          <a:xfrm>
            <a:off x="5437879" y="1402773"/>
            <a:ext cx="628604" cy="813129"/>
            <a:chOff x="5447808" y="1423555"/>
            <a:chExt cx="628604" cy="813129"/>
          </a:xfrm>
        </p:grpSpPr>
        <p:sp>
          <p:nvSpPr>
            <p:cNvPr id="16" name="Oval 16">
              <a:extLst>
                <a:ext uri="{FF2B5EF4-FFF2-40B4-BE49-F238E27FC236}">
                  <a16:creationId xmlns:a16="http://schemas.microsoft.com/office/drawing/2014/main" id="{06BAE0E2-E09E-4DE4-A85B-E75802BC00DD}"/>
                </a:ext>
              </a:extLst>
            </p:cNvPr>
            <p:cNvSpPr/>
            <p:nvPr/>
          </p:nvSpPr>
          <p:spPr>
            <a:xfrm>
              <a:off x="5546573" y="2128013"/>
              <a:ext cx="431073" cy="108671"/>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ardrop 12">
              <a:extLst>
                <a:ext uri="{FF2B5EF4-FFF2-40B4-BE49-F238E27FC236}">
                  <a16:creationId xmlns:a16="http://schemas.microsoft.com/office/drawing/2014/main" id="{5A8585FB-3E2C-40E5-91C6-629443F7E0F1}"/>
                </a:ext>
              </a:extLst>
            </p:cNvPr>
            <p:cNvSpPr/>
            <p:nvPr/>
          </p:nvSpPr>
          <p:spPr>
            <a:xfrm rot="8100000">
              <a:off x="5447808" y="1423555"/>
              <a:ext cx="628604" cy="628604"/>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4">
              <a:extLst>
                <a:ext uri="{FF2B5EF4-FFF2-40B4-BE49-F238E27FC236}">
                  <a16:creationId xmlns:a16="http://schemas.microsoft.com/office/drawing/2014/main" id="{E44110B0-BFB8-4AA0-958F-6388F7DFE6EB}"/>
                </a:ext>
              </a:extLst>
            </p:cNvPr>
            <p:cNvSpPr/>
            <p:nvPr/>
          </p:nvSpPr>
          <p:spPr>
            <a:xfrm>
              <a:off x="5556969" y="1532716"/>
              <a:ext cx="410281" cy="4102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48">
              <a:extLst>
                <a:ext uri="{FF2B5EF4-FFF2-40B4-BE49-F238E27FC236}">
                  <a16:creationId xmlns:a16="http://schemas.microsoft.com/office/drawing/2014/main" id="{27F0643B-8CEB-45B1-85C9-3CCB1B36DF27}"/>
                </a:ext>
              </a:extLst>
            </p:cNvPr>
            <p:cNvGrpSpPr/>
            <p:nvPr/>
          </p:nvGrpSpPr>
          <p:grpSpPr>
            <a:xfrm>
              <a:off x="5653053" y="1611659"/>
              <a:ext cx="219591" cy="215909"/>
              <a:chOff x="7615238" y="3059113"/>
              <a:chExt cx="284163" cy="279399"/>
            </a:xfrm>
            <a:solidFill>
              <a:schemeClr val="accent1"/>
            </a:solidFill>
          </p:grpSpPr>
          <p:sp>
            <p:nvSpPr>
              <p:cNvPr id="20" name="Freeform 282">
                <a:extLst>
                  <a:ext uri="{FF2B5EF4-FFF2-40B4-BE49-F238E27FC236}">
                    <a16:creationId xmlns:a16="http://schemas.microsoft.com/office/drawing/2014/main" id="{A413D3A6-8603-4107-9F73-30ADCDA9ABFB}"/>
                  </a:ext>
                </a:extLst>
              </p:cNvPr>
              <p:cNvSpPr>
                <a:spLocks noEditPoints="1"/>
              </p:cNvSpPr>
              <p:nvPr/>
            </p:nvSpPr>
            <p:spPr bwMode="auto">
              <a:xfrm>
                <a:off x="7696200" y="3059113"/>
                <a:ext cx="123825" cy="127000"/>
              </a:xfrm>
              <a:custGeom>
                <a:avLst/>
                <a:gdLst>
                  <a:gd name="T0" fmla="*/ 198 w 389"/>
                  <a:gd name="T1" fmla="*/ 284 h 404"/>
                  <a:gd name="T2" fmla="*/ 190 w 389"/>
                  <a:gd name="T3" fmla="*/ 284 h 404"/>
                  <a:gd name="T4" fmla="*/ 94 w 389"/>
                  <a:gd name="T5" fmla="*/ 347 h 404"/>
                  <a:gd name="T6" fmla="*/ 134 w 389"/>
                  <a:gd name="T7" fmla="*/ 253 h 404"/>
                  <a:gd name="T8" fmla="*/ 132 w 389"/>
                  <a:gd name="T9" fmla="*/ 245 h 404"/>
                  <a:gd name="T10" fmla="*/ 56 w 389"/>
                  <a:gd name="T11" fmla="*/ 179 h 404"/>
                  <a:gd name="T12" fmla="*/ 155 w 389"/>
                  <a:gd name="T13" fmla="*/ 178 h 404"/>
                  <a:gd name="T14" fmla="*/ 161 w 389"/>
                  <a:gd name="T15" fmla="*/ 173 h 404"/>
                  <a:gd name="T16" fmla="*/ 194 w 389"/>
                  <a:gd name="T17" fmla="*/ 67 h 404"/>
                  <a:gd name="T18" fmla="*/ 227 w 389"/>
                  <a:gd name="T19" fmla="*/ 173 h 404"/>
                  <a:gd name="T20" fmla="*/ 234 w 389"/>
                  <a:gd name="T21" fmla="*/ 178 h 404"/>
                  <a:gd name="T22" fmla="*/ 333 w 389"/>
                  <a:gd name="T23" fmla="*/ 179 h 404"/>
                  <a:gd name="T24" fmla="*/ 256 w 389"/>
                  <a:gd name="T25" fmla="*/ 247 h 404"/>
                  <a:gd name="T26" fmla="*/ 255 w 389"/>
                  <a:gd name="T27" fmla="*/ 255 h 404"/>
                  <a:gd name="T28" fmla="*/ 295 w 389"/>
                  <a:gd name="T29" fmla="*/ 347 h 404"/>
                  <a:gd name="T30" fmla="*/ 329 w 389"/>
                  <a:gd name="T31" fmla="*/ 404 h 404"/>
                  <a:gd name="T32" fmla="*/ 339 w 389"/>
                  <a:gd name="T33" fmla="*/ 400 h 404"/>
                  <a:gd name="T34" fmla="*/ 343 w 389"/>
                  <a:gd name="T35" fmla="*/ 392 h 404"/>
                  <a:gd name="T36" fmla="*/ 343 w 389"/>
                  <a:gd name="T37" fmla="*/ 383 h 404"/>
                  <a:gd name="T38" fmla="*/ 383 w 389"/>
                  <a:gd name="T39" fmla="*/ 176 h 404"/>
                  <a:gd name="T40" fmla="*/ 388 w 389"/>
                  <a:gd name="T41" fmla="*/ 168 h 404"/>
                  <a:gd name="T42" fmla="*/ 388 w 389"/>
                  <a:gd name="T43" fmla="*/ 159 h 404"/>
                  <a:gd name="T44" fmla="*/ 382 w 389"/>
                  <a:gd name="T45" fmla="*/ 152 h 404"/>
                  <a:gd name="T46" fmla="*/ 374 w 389"/>
                  <a:gd name="T47" fmla="*/ 149 h 404"/>
                  <a:gd name="T48" fmla="*/ 208 w 389"/>
                  <a:gd name="T49" fmla="*/ 10 h 404"/>
                  <a:gd name="T50" fmla="*/ 203 w 389"/>
                  <a:gd name="T51" fmla="*/ 3 h 404"/>
                  <a:gd name="T52" fmla="*/ 194 w 389"/>
                  <a:gd name="T53" fmla="*/ 0 h 404"/>
                  <a:gd name="T54" fmla="*/ 186 w 389"/>
                  <a:gd name="T55" fmla="*/ 3 h 404"/>
                  <a:gd name="T56" fmla="*/ 180 w 389"/>
                  <a:gd name="T57" fmla="*/ 10 h 404"/>
                  <a:gd name="T58" fmla="*/ 15 w 389"/>
                  <a:gd name="T59" fmla="*/ 149 h 404"/>
                  <a:gd name="T60" fmla="*/ 6 w 389"/>
                  <a:gd name="T61" fmla="*/ 152 h 404"/>
                  <a:gd name="T62" fmla="*/ 1 w 389"/>
                  <a:gd name="T63" fmla="*/ 159 h 404"/>
                  <a:gd name="T64" fmla="*/ 1 w 389"/>
                  <a:gd name="T65" fmla="*/ 168 h 404"/>
                  <a:gd name="T66" fmla="*/ 5 w 389"/>
                  <a:gd name="T67" fmla="*/ 176 h 404"/>
                  <a:gd name="T68" fmla="*/ 46 w 389"/>
                  <a:gd name="T69" fmla="*/ 383 h 404"/>
                  <a:gd name="T70" fmla="*/ 46 w 389"/>
                  <a:gd name="T71" fmla="*/ 392 h 404"/>
                  <a:gd name="T72" fmla="*/ 50 w 389"/>
                  <a:gd name="T73" fmla="*/ 400 h 404"/>
                  <a:gd name="T74" fmla="*/ 58 w 389"/>
                  <a:gd name="T75" fmla="*/ 404 h 404"/>
                  <a:gd name="T76" fmla="*/ 68 w 389"/>
                  <a:gd name="T77" fmla="*/ 401 h 404"/>
                  <a:gd name="T78" fmla="*/ 320 w 389"/>
                  <a:gd name="T79" fmla="*/ 401 h 404"/>
                  <a:gd name="T80" fmla="*/ 329 w 389"/>
                  <a:gd name="T81"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9" h="404">
                    <a:moveTo>
                      <a:pt x="203" y="286"/>
                    </a:moveTo>
                    <a:lnTo>
                      <a:pt x="198" y="284"/>
                    </a:lnTo>
                    <a:lnTo>
                      <a:pt x="194" y="284"/>
                    </a:lnTo>
                    <a:lnTo>
                      <a:pt x="190" y="284"/>
                    </a:lnTo>
                    <a:lnTo>
                      <a:pt x="186" y="286"/>
                    </a:lnTo>
                    <a:lnTo>
                      <a:pt x="94" y="347"/>
                    </a:lnTo>
                    <a:lnTo>
                      <a:pt x="133" y="259"/>
                    </a:lnTo>
                    <a:lnTo>
                      <a:pt x="134" y="253"/>
                    </a:lnTo>
                    <a:lnTo>
                      <a:pt x="134" y="249"/>
                    </a:lnTo>
                    <a:lnTo>
                      <a:pt x="132" y="245"/>
                    </a:lnTo>
                    <a:lnTo>
                      <a:pt x="129" y="240"/>
                    </a:lnTo>
                    <a:lnTo>
                      <a:pt x="56" y="179"/>
                    </a:lnTo>
                    <a:lnTo>
                      <a:pt x="149" y="179"/>
                    </a:lnTo>
                    <a:lnTo>
                      <a:pt x="155" y="178"/>
                    </a:lnTo>
                    <a:lnTo>
                      <a:pt x="158" y="176"/>
                    </a:lnTo>
                    <a:lnTo>
                      <a:pt x="161" y="173"/>
                    </a:lnTo>
                    <a:lnTo>
                      <a:pt x="163" y="169"/>
                    </a:lnTo>
                    <a:lnTo>
                      <a:pt x="194" y="67"/>
                    </a:lnTo>
                    <a:lnTo>
                      <a:pt x="225" y="169"/>
                    </a:lnTo>
                    <a:lnTo>
                      <a:pt x="227" y="173"/>
                    </a:lnTo>
                    <a:lnTo>
                      <a:pt x="231" y="176"/>
                    </a:lnTo>
                    <a:lnTo>
                      <a:pt x="234" y="178"/>
                    </a:lnTo>
                    <a:lnTo>
                      <a:pt x="239" y="179"/>
                    </a:lnTo>
                    <a:lnTo>
                      <a:pt x="333" y="179"/>
                    </a:lnTo>
                    <a:lnTo>
                      <a:pt x="259" y="242"/>
                    </a:lnTo>
                    <a:lnTo>
                      <a:pt x="256" y="247"/>
                    </a:lnTo>
                    <a:lnTo>
                      <a:pt x="255" y="251"/>
                    </a:lnTo>
                    <a:lnTo>
                      <a:pt x="255" y="255"/>
                    </a:lnTo>
                    <a:lnTo>
                      <a:pt x="256" y="260"/>
                    </a:lnTo>
                    <a:lnTo>
                      <a:pt x="295" y="347"/>
                    </a:lnTo>
                    <a:lnTo>
                      <a:pt x="203" y="286"/>
                    </a:lnTo>
                    <a:close/>
                    <a:moveTo>
                      <a:pt x="329" y="404"/>
                    </a:moveTo>
                    <a:lnTo>
                      <a:pt x="334" y="403"/>
                    </a:lnTo>
                    <a:lnTo>
                      <a:pt x="339" y="400"/>
                    </a:lnTo>
                    <a:lnTo>
                      <a:pt x="342" y="396"/>
                    </a:lnTo>
                    <a:lnTo>
                      <a:pt x="343" y="392"/>
                    </a:lnTo>
                    <a:lnTo>
                      <a:pt x="344" y="387"/>
                    </a:lnTo>
                    <a:lnTo>
                      <a:pt x="343" y="383"/>
                    </a:lnTo>
                    <a:lnTo>
                      <a:pt x="287" y="259"/>
                    </a:lnTo>
                    <a:lnTo>
                      <a:pt x="383" y="176"/>
                    </a:lnTo>
                    <a:lnTo>
                      <a:pt x="387" y="172"/>
                    </a:lnTo>
                    <a:lnTo>
                      <a:pt x="388" y="168"/>
                    </a:lnTo>
                    <a:lnTo>
                      <a:pt x="389" y="163"/>
                    </a:lnTo>
                    <a:lnTo>
                      <a:pt x="388" y="159"/>
                    </a:lnTo>
                    <a:lnTo>
                      <a:pt x="386" y="155"/>
                    </a:lnTo>
                    <a:lnTo>
                      <a:pt x="382" y="152"/>
                    </a:lnTo>
                    <a:lnTo>
                      <a:pt x="378" y="151"/>
                    </a:lnTo>
                    <a:lnTo>
                      <a:pt x="374" y="149"/>
                    </a:lnTo>
                    <a:lnTo>
                      <a:pt x="250" y="149"/>
                    </a:lnTo>
                    <a:lnTo>
                      <a:pt x="208" y="10"/>
                    </a:lnTo>
                    <a:lnTo>
                      <a:pt x="206" y="6"/>
                    </a:lnTo>
                    <a:lnTo>
                      <a:pt x="203" y="3"/>
                    </a:lnTo>
                    <a:lnTo>
                      <a:pt x="198" y="1"/>
                    </a:lnTo>
                    <a:lnTo>
                      <a:pt x="194" y="0"/>
                    </a:lnTo>
                    <a:lnTo>
                      <a:pt x="190" y="1"/>
                    </a:lnTo>
                    <a:lnTo>
                      <a:pt x="186" y="3"/>
                    </a:lnTo>
                    <a:lnTo>
                      <a:pt x="182" y="6"/>
                    </a:lnTo>
                    <a:lnTo>
                      <a:pt x="180" y="10"/>
                    </a:lnTo>
                    <a:lnTo>
                      <a:pt x="139" y="149"/>
                    </a:lnTo>
                    <a:lnTo>
                      <a:pt x="15" y="149"/>
                    </a:lnTo>
                    <a:lnTo>
                      <a:pt x="10" y="151"/>
                    </a:lnTo>
                    <a:lnTo>
                      <a:pt x="6" y="152"/>
                    </a:lnTo>
                    <a:lnTo>
                      <a:pt x="3" y="155"/>
                    </a:lnTo>
                    <a:lnTo>
                      <a:pt x="1" y="159"/>
                    </a:lnTo>
                    <a:lnTo>
                      <a:pt x="0" y="163"/>
                    </a:lnTo>
                    <a:lnTo>
                      <a:pt x="1" y="168"/>
                    </a:lnTo>
                    <a:lnTo>
                      <a:pt x="2" y="172"/>
                    </a:lnTo>
                    <a:lnTo>
                      <a:pt x="5" y="176"/>
                    </a:lnTo>
                    <a:lnTo>
                      <a:pt x="101" y="256"/>
                    </a:lnTo>
                    <a:lnTo>
                      <a:pt x="46" y="383"/>
                    </a:lnTo>
                    <a:lnTo>
                      <a:pt x="44" y="387"/>
                    </a:lnTo>
                    <a:lnTo>
                      <a:pt x="46" y="392"/>
                    </a:lnTo>
                    <a:lnTo>
                      <a:pt x="47" y="396"/>
                    </a:lnTo>
                    <a:lnTo>
                      <a:pt x="50" y="400"/>
                    </a:lnTo>
                    <a:lnTo>
                      <a:pt x="54" y="403"/>
                    </a:lnTo>
                    <a:lnTo>
                      <a:pt x="58" y="404"/>
                    </a:lnTo>
                    <a:lnTo>
                      <a:pt x="64" y="403"/>
                    </a:lnTo>
                    <a:lnTo>
                      <a:pt x="68" y="401"/>
                    </a:lnTo>
                    <a:lnTo>
                      <a:pt x="194" y="317"/>
                    </a:lnTo>
                    <a:lnTo>
                      <a:pt x="320" y="401"/>
                    </a:lnTo>
                    <a:lnTo>
                      <a:pt x="325" y="403"/>
                    </a:lnTo>
                    <a:lnTo>
                      <a:pt x="329" y="404"/>
                    </a:lnTo>
                    <a:lnTo>
                      <a:pt x="329"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83">
                <a:extLst>
                  <a:ext uri="{FF2B5EF4-FFF2-40B4-BE49-F238E27FC236}">
                    <a16:creationId xmlns:a16="http://schemas.microsoft.com/office/drawing/2014/main" id="{8929929A-D82C-4086-AECE-C1D53F1F54E4}"/>
                  </a:ext>
                </a:extLst>
              </p:cNvPr>
              <p:cNvSpPr>
                <a:spLocks noEditPoints="1"/>
              </p:cNvSpPr>
              <p:nvPr/>
            </p:nvSpPr>
            <p:spPr bwMode="auto">
              <a:xfrm>
                <a:off x="7777163" y="3209925"/>
                <a:ext cx="122238" cy="128587"/>
              </a:xfrm>
              <a:custGeom>
                <a:avLst/>
                <a:gdLst>
                  <a:gd name="T0" fmla="*/ 257 w 388"/>
                  <a:gd name="T1" fmla="*/ 246 h 403"/>
                  <a:gd name="T2" fmla="*/ 255 w 388"/>
                  <a:gd name="T3" fmla="*/ 254 h 403"/>
                  <a:gd name="T4" fmla="*/ 294 w 388"/>
                  <a:gd name="T5" fmla="*/ 347 h 403"/>
                  <a:gd name="T6" fmla="*/ 199 w 388"/>
                  <a:gd name="T7" fmla="*/ 284 h 403"/>
                  <a:gd name="T8" fmla="*/ 190 w 388"/>
                  <a:gd name="T9" fmla="*/ 284 h 403"/>
                  <a:gd name="T10" fmla="*/ 94 w 388"/>
                  <a:gd name="T11" fmla="*/ 347 h 403"/>
                  <a:gd name="T12" fmla="*/ 135 w 388"/>
                  <a:gd name="T13" fmla="*/ 253 h 403"/>
                  <a:gd name="T14" fmla="*/ 133 w 388"/>
                  <a:gd name="T15" fmla="*/ 244 h 403"/>
                  <a:gd name="T16" fmla="*/ 56 w 388"/>
                  <a:gd name="T17" fmla="*/ 178 h 403"/>
                  <a:gd name="T18" fmla="*/ 154 w 388"/>
                  <a:gd name="T19" fmla="*/ 178 h 403"/>
                  <a:gd name="T20" fmla="*/ 162 w 388"/>
                  <a:gd name="T21" fmla="*/ 172 h 403"/>
                  <a:gd name="T22" fmla="*/ 195 w 388"/>
                  <a:gd name="T23" fmla="*/ 66 h 403"/>
                  <a:gd name="T24" fmla="*/ 227 w 388"/>
                  <a:gd name="T25" fmla="*/ 172 h 403"/>
                  <a:gd name="T26" fmla="*/ 234 w 388"/>
                  <a:gd name="T27" fmla="*/ 178 h 403"/>
                  <a:gd name="T28" fmla="*/ 334 w 388"/>
                  <a:gd name="T29" fmla="*/ 178 h 403"/>
                  <a:gd name="T30" fmla="*/ 388 w 388"/>
                  <a:gd name="T31" fmla="*/ 158 h 403"/>
                  <a:gd name="T32" fmla="*/ 382 w 388"/>
                  <a:gd name="T33" fmla="*/ 152 h 403"/>
                  <a:gd name="T34" fmla="*/ 373 w 388"/>
                  <a:gd name="T35" fmla="*/ 148 h 403"/>
                  <a:gd name="T36" fmla="*/ 209 w 388"/>
                  <a:gd name="T37" fmla="*/ 9 h 403"/>
                  <a:gd name="T38" fmla="*/ 203 w 388"/>
                  <a:gd name="T39" fmla="*/ 2 h 403"/>
                  <a:gd name="T40" fmla="*/ 195 w 388"/>
                  <a:gd name="T41" fmla="*/ 0 h 403"/>
                  <a:gd name="T42" fmla="*/ 185 w 388"/>
                  <a:gd name="T43" fmla="*/ 2 h 403"/>
                  <a:gd name="T44" fmla="*/ 180 w 388"/>
                  <a:gd name="T45" fmla="*/ 9 h 403"/>
                  <a:gd name="T46" fmla="*/ 15 w 388"/>
                  <a:gd name="T47" fmla="*/ 148 h 403"/>
                  <a:gd name="T48" fmla="*/ 6 w 388"/>
                  <a:gd name="T49" fmla="*/ 152 h 403"/>
                  <a:gd name="T50" fmla="*/ 1 w 388"/>
                  <a:gd name="T51" fmla="*/ 159 h 403"/>
                  <a:gd name="T52" fmla="*/ 0 w 388"/>
                  <a:gd name="T53" fmla="*/ 168 h 403"/>
                  <a:gd name="T54" fmla="*/ 5 w 388"/>
                  <a:gd name="T55" fmla="*/ 175 h 403"/>
                  <a:gd name="T56" fmla="*/ 46 w 388"/>
                  <a:gd name="T57" fmla="*/ 382 h 403"/>
                  <a:gd name="T58" fmla="*/ 45 w 388"/>
                  <a:gd name="T59" fmla="*/ 391 h 403"/>
                  <a:gd name="T60" fmla="*/ 50 w 388"/>
                  <a:gd name="T61" fmla="*/ 400 h 403"/>
                  <a:gd name="T62" fmla="*/ 59 w 388"/>
                  <a:gd name="T63" fmla="*/ 403 h 403"/>
                  <a:gd name="T64" fmla="*/ 69 w 388"/>
                  <a:gd name="T65" fmla="*/ 401 h 403"/>
                  <a:gd name="T66" fmla="*/ 321 w 388"/>
                  <a:gd name="T67" fmla="*/ 401 h 403"/>
                  <a:gd name="T68" fmla="*/ 328 w 388"/>
                  <a:gd name="T69" fmla="*/ 403 h 403"/>
                  <a:gd name="T70" fmla="*/ 338 w 388"/>
                  <a:gd name="T71" fmla="*/ 400 h 403"/>
                  <a:gd name="T72" fmla="*/ 343 w 388"/>
                  <a:gd name="T73" fmla="*/ 391 h 403"/>
                  <a:gd name="T74" fmla="*/ 342 w 388"/>
                  <a:gd name="T75" fmla="*/ 382 h 403"/>
                  <a:gd name="T76" fmla="*/ 384 w 388"/>
                  <a:gd name="T77" fmla="*/ 175 h 403"/>
                  <a:gd name="T78" fmla="*/ 388 w 388"/>
                  <a:gd name="T79" fmla="*/ 168 h 403"/>
                  <a:gd name="T80" fmla="*/ 388 w 388"/>
                  <a:gd name="T81" fmla="*/ 15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8" h="403">
                    <a:moveTo>
                      <a:pt x="260" y="243"/>
                    </a:moveTo>
                    <a:lnTo>
                      <a:pt x="257" y="246"/>
                    </a:lnTo>
                    <a:lnTo>
                      <a:pt x="256" y="250"/>
                    </a:lnTo>
                    <a:lnTo>
                      <a:pt x="255" y="254"/>
                    </a:lnTo>
                    <a:lnTo>
                      <a:pt x="256" y="260"/>
                    </a:lnTo>
                    <a:lnTo>
                      <a:pt x="294" y="347"/>
                    </a:lnTo>
                    <a:lnTo>
                      <a:pt x="202" y="286"/>
                    </a:lnTo>
                    <a:lnTo>
                      <a:pt x="199" y="284"/>
                    </a:lnTo>
                    <a:lnTo>
                      <a:pt x="195" y="283"/>
                    </a:lnTo>
                    <a:lnTo>
                      <a:pt x="190" y="284"/>
                    </a:lnTo>
                    <a:lnTo>
                      <a:pt x="186" y="286"/>
                    </a:lnTo>
                    <a:lnTo>
                      <a:pt x="94" y="347"/>
                    </a:lnTo>
                    <a:lnTo>
                      <a:pt x="134" y="258"/>
                    </a:lnTo>
                    <a:lnTo>
                      <a:pt x="135" y="253"/>
                    </a:lnTo>
                    <a:lnTo>
                      <a:pt x="134" y="248"/>
                    </a:lnTo>
                    <a:lnTo>
                      <a:pt x="133" y="244"/>
                    </a:lnTo>
                    <a:lnTo>
                      <a:pt x="129" y="240"/>
                    </a:lnTo>
                    <a:lnTo>
                      <a:pt x="56" y="178"/>
                    </a:lnTo>
                    <a:lnTo>
                      <a:pt x="150" y="178"/>
                    </a:lnTo>
                    <a:lnTo>
                      <a:pt x="154" y="178"/>
                    </a:lnTo>
                    <a:lnTo>
                      <a:pt x="158" y="176"/>
                    </a:lnTo>
                    <a:lnTo>
                      <a:pt x="162" y="172"/>
                    </a:lnTo>
                    <a:lnTo>
                      <a:pt x="164" y="168"/>
                    </a:lnTo>
                    <a:lnTo>
                      <a:pt x="195" y="66"/>
                    </a:lnTo>
                    <a:lnTo>
                      <a:pt x="225" y="168"/>
                    </a:lnTo>
                    <a:lnTo>
                      <a:pt x="227" y="172"/>
                    </a:lnTo>
                    <a:lnTo>
                      <a:pt x="230" y="176"/>
                    </a:lnTo>
                    <a:lnTo>
                      <a:pt x="234" y="178"/>
                    </a:lnTo>
                    <a:lnTo>
                      <a:pt x="240" y="178"/>
                    </a:lnTo>
                    <a:lnTo>
                      <a:pt x="334" y="178"/>
                    </a:lnTo>
                    <a:lnTo>
                      <a:pt x="260" y="243"/>
                    </a:lnTo>
                    <a:close/>
                    <a:moveTo>
                      <a:pt x="388" y="158"/>
                    </a:moveTo>
                    <a:lnTo>
                      <a:pt x="385" y="155"/>
                    </a:lnTo>
                    <a:lnTo>
                      <a:pt x="382" y="152"/>
                    </a:lnTo>
                    <a:lnTo>
                      <a:pt x="379" y="150"/>
                    </a:lnTo>
                    <a:lnTo>
                      <a:pt x="373" y="148"/>
                    </a:lnTo>
                    <a:lnTo>
                      <a:pt x="250" y="148"/>
                    </a:lnTo>
                    <a:lnTo>
                      <a:pt x="209" y="9"/>
                    </a:lnTo>
                    <a:lnTo>
                      <a:pt x="206" y="5"/>
                    </a:lnTo>
                    <a:lnTo>
                      <a:pt x="203" y="2"/>
                    </a:lnTo>
                    <a:lnTo>
                      <a:pt x="199" y="0"/>
                    </a:lnTo>
                    <a:lnTo>
                      <a:pt x="195" y="0"/>
                    </a:lnTo>
                    <a:lnTo>
                      <a:pt x="189" y="0"/>
                    </a:lnTo>
                    <a:lnTo>
                      <a:pt x="185" y="2"/>
                    </a:lnTo>
                    <a:lnTo>
                      <a:pt x="182" y="5"/>
                    </a:lnTo>
                    <a:lnTo>
                      <a:pt x="180" y="9"/>
                    </a:lnTo>
                    <a:lnTo>
                      <a:pt x="138" y="148"/>
                    </a:lnTo>
                    <a:lnTo>
                      <a:pt x="15" y="148"/>
                    </a:lnTo>
                    <a:lnTo>
                      <a:pt x="11" y="150"/>
                    </a:lnTo>
                    <a:lnTo>
                      <a:pt x="6" y="152"/>
                    </a:lnTo>
                    <a:lnTo>
                      <a:pt x="3" y="155"/>
                    </a:lnTo>
                    <a:lnTo>
                      <a:pt x="1" y="159"/>
                    </a:lnTo>
                    <a:lnTo>
                      <a:pt x="0" y="163"/>
                    </a:lnTo>
                    <a:lnTo>
                      <a:pt x="0" y="168"/>
                    </a:lnTo>
                    <a:lnTo>
                      <a:pt x="2" y="172"/>
                    </a:lnTo>
                    <a:lnTo>
                      <a:pt x="5" y="175"/>
                    </a:lnTo>
                    <a:lnTo>
                      <a:pt x="102" y="255"/>
                    </a:lnTo>
                    <a:lnTo>
                      <a:pt x="46" y="382"/>
                    </a:lnTo>
                    <a:lnTo>
                      <a:pt x="45" y="387"/>
                    </a:lnTo>
                    <a:lnTo>
                      <a:pt x="45" y="391"/>
                    </a:lnTo>
                    <a:lnTo>
                      <a:pt x="47" y="396"/>
                    </a:lnTo>
                    <a:lnTo>
                      <a:pt x="50" y="400"/>
                    </a:lnTo>
                    <a:lnTo>
                      <a:pt x="55" y="402"/>
                    </a:lnTo>
                    <a:lnTo>
                      <a:pt x="59" y="403"/>
                    </a:lnTo>
                    <a:lnTo>
                      <a:pt x="63" y="403"/>
                    </a:lnTo>
                    <a:lnTo>
                      <a:pt x="69" y="401"/>
                    </a:lnTo>
                    <a:lnTo>
                      <a:pt x="195" y="316"/>
                    </a:lnTo>
                    <a:lnTo>
                      <a:pt x="321" y="401"/>
                    </a:lnTo>
                    <a:lnTo>
                      <a:pt x="324" y="402"/>
                    </a:lnTo>
                    <a:lnTo>
                      <a:pt x="328" y="403"/>
                    </a:lnTo>
                    <a:lnTo>
                      <a:pt x="334" y="402"/>
                    </a:lnTo>
                    <a:lnTo>
                      <a:pt x="338" y="400"/>
                    </a:lnTo>
                    <a:lnTo>
                      <a:pt x="341" y="396"/>
                    </a:lnTo>
                    <a:lnTo>
                      <a:pt x="343" y="391"/>
                    </a:lnTo>
                    <a:lnTo>
                      <a:pt x="343" y="387"/>
                    </a:lnTo>
                    <a:lnTo>
                      <a:pt x="342" y="382"/>
                    </a:lnTo>
                    <a:lnTo>
                      <a:pt x="288" y="258"/>
                    </a:lnTo>
                    <a:lnTo>
                      <a:pt x="384" y="175"/>
                    </a:lnTo>
                    <a:lnTo>
                      <a:pt x="386" y="172"/>
                    </a:lnTo>
                    <a:lnTo>
                      <a:pt x="388" y="168"/>
                    </a:lnTo>
                    <a:lnTo>
                      <a:pt x="388" y="163"/>
                    </a:lnTo>
                    <a:lnTo>
                      <a:pt x="388"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84">
                <a:extLst>
                  <a:ext uri="{FF2B5EF4-FFF2-40B4-BE49-F238E27FC236}">
                    <a16:creationId xmlns:a16="http://schemas.microsoft.com/office/drawing/2014/main" id="{B2C1D7F9-4FE6-43E4-9F79-FE9AF1C00FF6}"/>
                  </a:ext>
                </a:extLst>
              </p:cNvPr>
              <p:cNvSpPr>
                <a:spLocks noEditPoints="1"/>
              </p:cNvSpPr>
              <p:nvPr/>
            </p:nvSpPr>
            <p:spPr bwMode="auto">
              <a:xfrm>
                <a:off x="7615238" y="3209925"/>
                <a:ext cx="123825" cy="128587"/>
              </a:xfrm>
              <a:custGeom>
                <a:avLst/>
                <a:gdLst>
                  <a:gd name="T0" fmla="*/ 257 w 388"/>
                  <a:gd name="T1" fmla="*/ 246 h 403"/>
                  <a:gd name="T2" fmla="*/ 255 w 388"/>
                  <a:gd name="T3" fmla="*/ 254 h 403"/>
                  <a:gd name="T4" fmla="*/ 294 w 388"/>
                  <a:gd name="T5" fmla="*/ 347 h 403"/>
                  <a:gd name="T6" fmla="*/ 198 w 388"/>
                  <a:gd name="T7" fmla="*/ 284 h 403"/>
                  <a:gd name="T8" fmla="*/ 189 w 388"/>
                  <a:gd name="T9" fmla="*/ 284 h 403"/>
                  <a:gd name="T10" fmla="*/ 93 w 388"/>
                  <a:gd name="T11" fmla="*/ 347 h 403"/>
                  <a:gd name="T12" fmla="*/ 134 w 388"/>
                  <a:gd name="T13" fmla="*/ 253 h 403"/>
                  <a:gd name="T14" fmla="*/ 132 w 388"/>
                  <a:gd name="T15" fmla="*/ 244 h 403"/>
                  <a:gd name="T16" fmla="*/ 56 w 388"/>
                  <a:gd name="T17" fmla="*/ 178 h 403"/>
                  <a:gd name="T18" fmla="*/ 154 w 388"/>
                  <a:gd name="T19" fmla="*/ 178 h 403"/>
                  <a:gd name="T20" fmla="*/ 162 w 388"/>
                  <a:gd name="T21" fmla="*/ 172 h 403"/>
                  <a:gd name="T22" fmla="*/ 194 w 388"/>
                  <a:gd name="T23" fmla="*/ 66 h 403"/>
                  <a:gd name="T24" fmla="*/ 227 w 388"/>
                  <a:gd name="T25" fmla="*/ 172 h 403"/>
                  <a:gd name="T26" fmla="*/ 234 w 388"/>
                  <a:gd name="T27" fmla="*/ 178 h 403"/>
                  <a:gd name="T28" fmla="*/ 333 w 388"/>
                  <a:gd name="T29" fmla="*/ 178 h 403"/>
                  <a:gd name="T30" fmla="*/ 373 w 388"/>
                  <a:gd name="T31" fmla="*/ 148 h 403"/>
                  <a:gd name="T32" fmla="*/ 209 w 388"/>
                  <a:gd name="T33" fmla="*/ 9 h 403"/>
                  <a:gd name="T34" fmla="*/ 203 w 388"/>
                  <a:gd name="T35" fmla="*/ 2 h 403"/>
                  <a:gd name="T36" fmla="*/ 194 w 388"/>
                  <a:gd name="T37" fmla="*/ 0 h 403"/>
                  <a:gd name="T38" fmla="*/ 185 w 388"/>
                  <a:gd name="T39" fmla="*/ 2 h 403"/>
                  <a:gd name="T40" fmla="*/ 180 w 388"/>
                  <a:gd name="T41" fmla="*/ 9 h 403"/>
                  <a:gd name="T42" fmla="*/ 15 w 388"/>
                  <a:gd name="T43" fmla="*/ 148 h 403"/>
                  <a:gd name="T44" fmla="*/ 7 w 388"/>
                  <a:gd name="T45" fmla="*/ 152 h 403"/>
                  <a:gd name="T46" fmla="*/ 0 w 388"/>
                  <a:gd name="T47" fmla="*/ 159 h 403"/>
                  <a:gd name="T48" fmla="*/ 0 w 388"/>
                  <a:gd name="T49" fmla="*/ 168 h 403"/>
                  <a:gd name="T50" fmla="*/ 5 w 388"/>
                  <a:gd name="T51" fmla="*/ 175 h 403"/>
                  <a:gd name="T52" fmla="*/ 46 w 388"/>
                  <a:gd name="T53" fmla="*/ 382 h 403"/>
                  <a:gd name="T54" fmla="*/ 45 w 388"/>
                  <a:gd name="T55" fmla="*/ 391 h 403"/>
                  <a:gd name="T56" fmla="*/ 50 w 388"/>
                  <a:gd name="T57" fmla="*/ 400 h 403"/>
                  <a:gd name="T58" fmla="*/ 59 w 388"/>
                  <a:gd name="T59" fmla="*/ 403 h 403"/>
                  <a:gd name="T60" fmla="*/ 67 w 388"/>
                  <a:gd name="T61" fmla="*/ 401 h 403"/>
                  <a:gd name="T62" fmla="*/ 320 w 388"/>
                  <a:gd name="T63" fmla="*/ 401 h 403"/>
                  <a:gd name="T64" fmla="*/ 328 w 388"/>
                  <a:gd name="T65" fmla="*/ 403 h 403"/>
                  <a:gd name="T66" fmla="*/ 338 w 388"/>
                  <a:gd name="T67" fmla="*/ 400 h 403"/>
                  <a:gd name="T68" fmla="*/ 343 w 388"/>
                  <a:gd name="T69" fmla="*/ 391 h 403"/>
                  <a:gd name="T70" fmla="*/ 342 w 388"/>
                  <a:gd name="T71" fmla="*/ 382 h 403"/>
                  <a:gd name="T72" fmla="*/ 383 w 388"/>
                  <a:gd name="T73" fmla="*/ 175 h 403"/>
                  <a:gd name="T74" fmla="*/ 388 w 388"/>
                  <a:gd name="T75" fmla="*/ 168 h 403"/>
                  <a:gd name="T76" fmla="*/ 387 w 388"/>
                  <a:gd name="T77" fmla="*/ 158 h 403"/>
                  <a:gd name="T78" fmla="*/ 382 w 388"/>
                  <a:gd name="T79" fmla="*/ 152 h 403"/>
                  <a:gd name="T80" fmla="*/ 373 w 388"/>
                  <a:gd name="T81" fmla="*/ 1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8" h="403">
                    <a:moveTo>
                      <a:pt x="260" y="243"/>
                    </a:moveTo>
                    <a:lnTo>
                      <a:pt x="257" y="246"/>
                    </a:lnTo>
                    <a:lnTo>
                      <a:pt x="255" y="250"/>
                    </a:lnTo>
                    <a:lnTo>
                      <a:pt x="255" y="254"/>
                    </a:lnTo>
                    <a:lnTo>
                      <a:pt x="256" y="260"/>
                    </a:lnTo>
                    <a:lnTo>
                      <a:pt x="294" y="347"/>
                    </a:lnTo>
                    <a:lnTo>
                      <a:pt x="202" y="286"/>
                    </a:lnTo>
                    <a:lnTo>
                      <a:pt x="198" y="284"/>
                    </a:lnTo>
                    <a:lnTo>
                      <a:pt x="194" y="283"/>
                    </a:lnTo>
                    <a:lnTo>
                      <a:pt x="189" y="284"/>
                    </a:lnTo>
                    <a:lnTo>
                      <a:pt x="186" y="286"/>
                    </a:lnTo>
                    <a:lnTo>
                      <a:pt x="93" y="347"/>
                    </a:lnTo>
                    <a:lnTo>
                      <a:pt x="133" y="258"/>
                    </a:lnTo>
                    <a:lnTo>
                      <a:pt x="134" y="253"/>
                    </a:lnTo>
                    <a:lnTo>
                      <a:pt x="134" y="248"/>
                    </a:lnTo>
                    <a:lnTo>
                      <a:pt x="132" y="244"/>
                    </a:lnTo>
                    <a:lnTo>
                      <a:pt x="128" y="240"/>
                    </a:lnTo>
                    <a:lnTo>
                      <a:pt x="56" y="178"/>
                    </a:lnTo>
                    <a:lnTo>
                      <a:pt x="149" y="178"/>
                    </a:lnTo>
                    <a:lnTo>
                      <a:pt x="154" y="178"/>
                    </a:lnTo>
                    <a:lnTo>
                      <a:pt x="158" y="176"/>
                    </a:lnTo>
                    <a:lnTo>
                      <a:pt x="162" y="172"/>
                    </a:lnTo>
                    <a:lnTo>
                      <a:pt x="164" y="168"/>
                    </a:lnTo>
                    <a:lnTo>
                      <a:pt x="194" y="66"/>
                    </a:lnTo>
                    <a:lnTo>
                      <a:pt x="225" y="168"/>
                    </a:lnTo>
                    <a:lnTo>
                      <a:pt x="227" y="172"/>
                    </a:lnTo>
                    <a:lnTo>
                      <a:pt x="230" y="176"/>
                    </a:lnTo>
                    <a:lnTo>
                      <a:pt x="234" y="178"/>
                    </a:lnTo>
                    <a:lnTo>
                      <a:pt x="239" y="178"/>
                    </a:lnTo>
                    <a:lnTo>
                      <a:pt x="333" y="178"/>
                    </a:lnTo>
                    <a:lnTo>
                      <a:pt x="260" y="243"/>
                    </a:lnTo>
                    <a:close/>
                    <a:moveTo>
                      <a:pt x="373" y="148"/>
                    </a:moveTo>
                    <a:lnTo>
                      <a:pt x="250" y="148"/>
                    </a:lnTo>
                    <a:lnTo>
                      <a:pt x="209" y="9"/>
                    </a:lnTo>
                    <a:lnTo>
                      <a:pt x="207" y="5"/>
                    </a:lnTo>
                    <a:lnTo>
                      <a:pt x="203" y="2"/>
                    </a:lnTo>
                    <a:lnTo>
                      <a:pt x="199" y="0"/>
                    </a:lnTo>
                    <a:lnTo>
                      <a:pt x="194" y="0"/>
                    </a:lnTo>
                    <a:lnTo>
                      <a:pt x="189" y="0"/>
                    </a:lnTo>
                    <a:lnTo>
                      <a:pt x="185" y="2"/>
                    </a:lnTo>
                    <a:lnTo>
                      <a:pt x="182" y="5"/>
                    </a:lnTo>
                    <a:lnTo>
                      <a:pt x="180" y="9"/>
                    </a:lnTo>
                    <a:lnTo>
                      <a:pt x="138" y="148"/>
                    </a:lnTo>
                    <a:lnTo>
                      <a:pt x="15" y="148"/>
                    </a:lnTo>
                    <a:lnTo>
                      <a:pt x="10" y="150"/>
                    </a:lnTo>
                    <a:lnTo>
                      <a:pt x="7" y="152"/>
                    </a:lnTo>
                    <a:lnTo>
                      <a:pt x="3" y="155"/>
                    </a:lnTo>
                    <a:lnTo>
                      <a:pt x="0" y="159"/>
                    </a:lnTo>
                    <a:lnTo>
                      <a:pt x="0" y="163"/>
                    </a:lnTo>
                    <a:lnTo>
                      <a:pt x="0" y="168"/>
                    </a:lnTo>
                    <a:lnTo>
                      <a:pt x="2" y="172"/>
                    </a:lnTo>
                    <a:lnTo>
                      <a:pt x="5" y="175"/>
                    </a:lnTo>
                    <a:lnTo>
                      <a:pt x="101" y="255"/>
                    </a:lnTo>
                    <a:lnTo>
                      <a:pt x="46" y="382"/>
                    </a:lnTo>
                    <a:lnTo>
                      <a:pt x="45" y="387"/>
                    </a:lnTo>
                    <a:lnTo>
                      <a:pt x="45" y="391"/>
                    </a:lnTo>
                    <a:lnTo>
                      <a:pt x="47" y="396"/>
                    </a:lnTo>
                    <a:lnTo>
                      <a:pt x="50" y="400"/>
                    </a:lnTo>
                    <a:lnTo>
                      <a:pt x="54" y="402"/>
                    </a:lnTo>
                    <a:lnTo>
                      <a:pt x="59" y="403"/>
                    </a:lnTo>
                    <a:lnTo>
                      <a:pt x="63" y="403"/>
                    </a:lnTo>
                    <a:lnTo>
                      <a:pt x="67" y="401"/>
                    </a:lnTo>
                    <a:lnTo>
                      <a:pt x="194" y="316"/>
                    </a:lnTo>
                    <a:lnTo>
                      <a:pt x="320" y="401"/>
                    </a:lnTo>
                    <a:lnTo>
                      <a:pt x="324" y="402"/>
                    </a:lnTo>
                    <a:lnTo>
                      <a:pt x="328" y="403"/>
                    </a:lnTo>
                    <a:lnTo>
                      <a:pt x="334" y="402"/>
                    </a:lnTo>
                    <a:lnTo>
                      <a:pt x="338" y="400"/>
                    </a:lnTo>
                    <a:lnTo>
                      <a:pt x="341" y="396"/>
                    </a:lnTo>
                    <a:lnTo>
                      <a:pt x="343" y="391"/>
                    </a:lnTo>
                    <a:lnTo>
                      <a:pt x="343" y="387"/>
                    </a:lnTo>
                    <a:lnTo>
                      <a:pt x="342" y="382"/>
                    </a:lnTo>
                    <a:lnTo>
                      <a:pt x="288" y="258"/>
                    </a:lnTo>
                    <a:lnTo>
                      <a:pt x="383" y="175"/>
                    </a:lnTo>
                    <a:lnTo>
                      <a:pt x="386" y="172"/>
                    </a:lnTo>
                    <a:lnTo>
                      <a:pt x="388" y="168"/>
                    </a:lnTo>
                    <a:lnTo>
                      <a:pt x="388" y="163"/>
                    </a:lnTo>
                    <a:lnTo>
                      <a:pt x="387" y="158"/>
                    </a:lnTo>
                    <a:lnTo>
                      <a:pt x="385" y="155"/>
                    </a:lnTo>
                    <a:lnTo>
                      <a:pt x="382" y="152"/>
                    </a:lnTo>
                    <a:lnTo>
                      <a:pt x="378" y="150"/>
                    </a:lnTo>
                    <a:lnTo>
                      <a:pt x="373"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 name="组合 22">
            <a:extLst>
              <a:ext uri="{FF2B5EF4-FFF2-40B4-BE49-F238E27FC236}">
                <a16:creationId xmlns:a16="http://schemas.microsoft.com/office/drawing/2014/main" id="{1A463EA0-32CD-4449-A31F-9BA7EEB74E4F}"/>
              </a:ext>
            </a:extLst>
          </p:cNvPr>
          <p:cNvGrpSpPr/>
          <p:nvPr/>
        </p:nvGrpSpPr>
        <p:grpSpPr>
          <a:xfrm>
            <a:off x="6998416" y="2843970"/>
            <a:ext cx="805941" cy="1049320"/>
            <a:chOff x="7398319" y="2667698"/>
            <a:chExt cx="1326129" cy="1726594"/>
          </a:xfrm>
        </p:grpSpPr>
        <p:sp>
          <p:nvSpPr>
            <p:cNvPr id="24" name="Oval 24">
              <a:extLst>
                <a:ext uri="{FF2B5EF4-FFF2-40B4-BE49-F238E27FC236}">
                  <a16:creationId xmlns:a16="http://schemas.microsoft.com/office/drawing/2014/main" id="{25454F43-027F-4317-A79B-170459DB5C57}"/>
                </a:ext>
              </a:extLst>
            </p:cNvPr>
            <p:cNvSpPr/>
            <p:nvPr/>
          </p:nvSpPr>
          <p:spPr>
            <a:xfrm>
              <a:off x="7584089" y="4158447"/>
              <a:ext cx="935537" cy="235845"/>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ardrop 26">
              <a:extLst>
                <a:ext uri="{FF2B5EF4-FFF2-40B4-BE49-F238E27FC236}">
                  <a16:creationId xmlns:a16="http://schemas.microsoft.com/office/drawing/2014/main" id="{38D26B08-E7AF-4482-8AB6-AC6277AD80DA}"/>
                </a:ext>
              </a:extLst>
            </p:cNvPr>
            <p:cNvSpPr/>
            <p:nvPr/>
          </p:nvSpPr>
          <p:spPr>
            <a:xfrm rot="8100000">
              <a:off x="7398319" y="2667698"/>
              <a:ext cx="1326129" cy="1326127"/>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7">
              <a:extLst>
                <a:ext uri="{FF2B5EF4-FFF2-40B4-BE49-F238E27FC236}">
                  <a16:creationId xmlns:a16="http://schemas.microsoft.com/office/drawing/2014/main" id="{453F9EC7-A82E-4157-818E-48CA68D7E81A}"/>
                </a:ext>
              </a:extLst>
            </p:cNvPr>
            <p:cNvSpPr/>
            <p:nvPr/>
          </p:nvSpPr>
          <p:spPr>
            <a:xfrm>
              <a:off x="7628610" y="2897988"/>
              <a:ext cx="865547" cy="8655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52">
              <a:extLst>
                <a:ext uri="{FF2B5EF4-FFF2-40B4-BE49-F238E27FC236}">
                  <a16:creationId xmlns:a16="http://schemas.microsoft.com/office/drawing/2014/main" id="{DB91C57D-C228-4815-BE95-355EE2459A1D}"/>
                </a:ext>
              </a:extLst>
            </p:cNvPr>
            <p:cNvGrpSpPr/>
            <p:nvPr/>
          </p:nvGrpSpPr>
          <p:grpSpPr>
            <a:xfrm>
              <a:off x="7921041" y="3148013"/>
              <a:ext cx="280686" cy="365496"/>
              <a:chOff x="11066463" y="1360488"/>
              <a:chExt cx="220663" cy="287338"/>
            </a:xfrm>
            <a:solidFill>
              <a:schemeClr val="accent1"/>
            </a:solidFill>
          </p:grpSpPr>
          <p:sp>
            <p:nvSpPr>
              <p:cNvPr id="28" name="Freeform 180">
                <a:extLst>
                  <a:ext uri="{FF2B5EF4-FFF2-40B4-BE49-F238E27FC236}">
                    <a16:creationId xmlns:a16="http://schemas.microsoft.com/office/drawing/2014/main" id="{8AD09478-EAD7-4CFF-A130-2B8D463BF3E8}"/>
                  </a:ext>
                </a:extLst>
              </p:cNvPr>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81">
                <a:extLst>
                  <a:ext uri="{FF2B5EF4-FFF2-40B4-BE49-F238E27FC236}">
                    <a16:creationId xmlns:a16="http://schemas.microsoft.com/office/drawing/2014/main" id="{48955327-230D-42D4-8CBD-ADB2C00D46CC}"/>
                  </a:ext>
                </a:extLst>
              </p:cNvPr>
              <p:cNvSpPr>
                <a:spLocks/>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82">
                <a:extLst>
                  <a:ext uri="{FF2B5EF4-FFF2-40B4-BE49-F238E27FC236}">
                    <a16:creationId xmlns:a16="http://schemas.microsoft.com/office/drawing/2014/main" id="{AEE8A76C-6C5C-4C43-913A-6E41D33A91BF}"/>
                  </a:ext>
                </a:extLst>
              </p:cNvPr>
              <p:cNvSpPr>
                <a:spLocks/>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83">
                <a:extLst>
                  <a:ext uri="{FF2B5EF4-FFF2-40B4-BE49-F238E27FC236}">
                    <a16:creationId xmlns:a16="http://schemas.microsoft.com/office/drawing/2014/main" id="{42A0094D-AC47-458D-84A0-29F59424209C}"/>
                  </a:ext>
                </a:extLst>
              </p:cNvPr>
              <p:cNvSpPr>
                <a:spLocks/>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84">
                <a:extLst>
                  <a:ext uri="{FF2B5EF4-FFF2-40B4-BE49-F238E27FC236}">
                    <a16:creationId xmlns:a16="http://schemas.microsoft.com/office/drawing/2014/main" id="{D1F61293-459E-4A28-8DCB-5EDE16607E5B}"/>
                  </a:ext>
                </a:extLst>
              </p:cNvPr>
              <p:cNvSpPr>
                <a:spLocks/>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85">
                <a:extLst>
                  <a:ext uri="{FF2B5EF4-FFF2-40B4-BE49-F238E27FC236}">
                    <a16:creationId xmlns:a16="http://schemas.microsoft.com/office/drawing/2014/main" id="{ED902B20-E89E-497F-AFDB-5AEB85E390F9}"/>
                  </a:ext>
                </a:extLst>
              </p:cNvPr>
              <p:cNvSpPr>
                <a:spLocks/>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86">
                <a:extLst>
                  <a:ext uri="{FF2B5EF4-FFF2-40B4-BE49-F238E27FC236}">
                    <a16:creationId xmlns:a16="http://schemas.microsoft.com/office/drawing/2014/main" id="{EFEB1F56-E974-43DF-8EF7-8E4ECD8181B5}"/>
                  </a:ext>
                </a:extLst>
              </p:cNvPr>
              <p:cNvSpPr>
                <a:spLocks/>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组合 34">
            <a:extLst>
              <a:ext uri="{FF2B5EF4-FFF2-40B4-BE49-F238E27FC236}">
                <a16:creationId xmlns:a16="http://schemas.microsoft.com/office/drawing/2014/main" id="{1465F4A4-0F9B-4BA2-ADC2-563567CE8D58}"/>
              </a:ext>
            </a:extLst>
          </p:cNvPr>
          <p:cNvGrpSpPr/>
          <p:nvPr/>
        </p:nvGrpSpPr>
        <p:grpSpPr>
          <a:xfrm>
            <a:off x="6618020" y="4360596"/>
            <a:ext cx="1245819" cy="1622030"/>
            <a:chOff x="6920808" y="4383774"/>
            <a:chExt cx="1565642" cy="2038432"/>
          </a:xfrm>
        </p:grpSpPr>
        <p:sp>
          <p:nvSpPr>
            <p:cNvPr id="36" name="Oval 29">
              <a:extLst>
                <a:ext uri="{FF2B5EF4-FFF2-40B4-BE49-F238E27FC236}">
                  <a16:creationId xmlns:a16="http://schemas.microsoft.com/office/drawing/2014/main" id="{A62219CA-F6B6-46BF-8694-7F99D7264BDF}"/>
                </a:ext>
              </a:extLst>
            </p:cNvPr>
            <p:cNvSpPr/>
            <p:nvPr/>
          </p:nvSpPr>
          <p:spPr>
            <a:xfrm>
              <a:off x="7030991" y="6143766"/>
              <a:ext cx="1104505" cy="278440"/>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ardrop 31">
              <a:extLst>
                <a:ext uri="{FF2B5EF4-FFF2-40B4-BE49-F238E27FC236}">
                  <a16:creationId xmlns:a16="http://schemas.microsoft.com/office/drawing/2014/main" id="{87099993-4578-4E74-A423-9BFDD996CAEF}"/>
                </a:ext>
              </a:extLst>
            </p:cNvPr>
            <p:cNvSpPr/>
            <p:nvPr/>
          </p:nvSpPr>
          <p:spPr>
            <a:xfrm rot="8100000">
              <a:off x="6920808" y="4383774"/>
              <a:ext cx="1565642" cy="1565638"/>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2">
              <a:extLst>
                <a:ext uri="{FF2B5EF4-FFF2-40B4-BE49-F238E27FC236}">
                  <a16:creationId xmlns:a16="http://schemas.microsoft.com/office/drawing/2014/main" id="{11438E07-636A-4233-9D35-A36087A09232}"/>
                </a:ext>
              </a:extLst>
            </p:cNvPr>
            <p:cNvSpPr/>
            <p:nvPr/>
          </p:nvSpPr>
          <p:spPr>
            <a:xfrm>
              <a:off x="7192691" y="4655657"/>
              <a:ext cx="1021874" cy="10218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60">
              <a:extLst>
                <a:ext uri="{FF2B5EF4-FFF2-40B4-BE49-F238E27FC236}">
                  <a16:creationId xmlns:a16="http://schemas.microsoft.com/office/drawing/2014/main" id="{2A524F74-5EB6-4359-B013-9B9EB3F70EBB}"/>
                </a:ext>
              </a:extLst>
            </p:cNvPr>
            <p:cNvGrpSpPr/>
            <p:nvPr/>
          </p:nvGrpSpPr>
          <p:grpSpPr>
            <a:xfrm>
              <a:off x="7485272" y="4948239"/>
              <a:ext cx="436714" cy="436710"/>
              <a:chOff x="11601450" y="3078163"/>
              <a:chExt cx="285751" cy="285751"/>
            </a:xfrm>
            <a:solidFill>
              <a:schemeClr val="accent1"/>
            </a:solidFill>
          </p:grpSpPr>
          <p:sp>
            <p:nvSpPr>
              <p:cNvPr id="40" name="Freeform 266">
                <a:extLst>
                  <a:ext uri="{FF2B5EF4-FFF2-40B4-BE49-F238E27FC236}">
                    <a16:creationId xmlns:a16="http://schemas.microsoft.com/office/drawing/2014/main" id="{D885A765-6476-4992-AF9F-4FB9BD1B0C41}"/>
                  </a:ext>
                </a:extLst>
              </p:cNvPr>
              <p:cNvSpPr>
                <a:spLocks noEditPoints="1"/>
              </p:cNvSpPr>
              <p:nvPr/>
            </p:nvSpPr>
            <p:spPr bwMode="auto">
              <a:xfrm>
                <a:off x="11601450" y="3078163"/>
                <a:ext cx="200025" cy="257175"/>
              </a:xfrm>
              <a:custGeom>
                <a:avLst/>
                <a:gdLst>
                  <a:gd name="T0" fmla="*/ 451 w 630"/>
                  <a:gd name="T1" fmla="*/ 53 h 812"/>
                  <a:gd name="T2" fmla="*/ 579 w 630"/>
                  <a:gd name="T3" fmla="*/ 180 h 812"/>
                  <a:gd name="T4" fmla="*/ 451 w 630"/>
                  <a:gd name="T5" fmla="*/ 180 h 812"/>
                  <a:gd name="T6" fmla="*/ 451 w 630"/>
                  <a:gd name="T7" fmla="*/ 53 h 812"/>
                  <a:gd name="T8" fmla="*/ 600 w 630"/>
                  <a:gd name="T9" fmla="*/ 357 h 812"/>
                  <a:gd name="T10" fmla="*/ 630 w 630"/>
                  <a:gd name="T11" fmla="*/ 357 h 812"/>
                  <a:gd name="T12" fmla="*/ 630 w 630"/>
                  <a:gd name="T13" fmla="*/ 196 h 812"/>
                  <a:gd name="T14" fmla="*/ 630 w 630"/>
                  <a:gd name="T15" fmla="*/ 193 h 812"/>
                  <a:gd name="T16" fmla="*/ 629 w 630"/>
                  <a:gd name="T17" fmla="*/ 191 h 812"/>
                  <a:gd name="T18" fmla="*/ 628 w 630"/>
                  <a:gd name="T19" fmla="*/ 188 h 812"/>
                  <a:gd name="T20" fmla="*/ 626 w 630"/>
                  <a:gd name="T21" fmla="*/ 186 h 812"/>
                  <a:gd name="T22" fmla="*/ 446 w 630"/>
                  <a:gd name="T23" fmla="*/ 5 h 812"/>
                  <a:gd name="T24" fmla="*/ 444 w 630"/>
                  <a:gd name="T25" fmla="*/ 4 h 812"/>
                  <a:gd name="T26" fmla="*/ 441 w 630"/>
                  <a:gd name="T27" fmla="*/ 1 h 812"/>
                  <a:gd name="T28" fmla="*/ 439 w 630"/>
                  <a:gd name="T29" fmla="*/ 1 h 812"/>
                  <a:gd name="T30" fmla="*/ 436 w 630"/>
                  <a:gd name="T31" fmla="*/ 0 h 812"/>
                  <a:gd name="T32" fmla="*/ 15 w 630"/>
                  <a:gd name="T33" fmla="*/ 0 h 812"/>
                  <a:gd name="T34" fmla="*/ 12 w 630"/>
                  <a:gd name="T35" fmla="*/ 0 h 812"/>
                  <a:gd name="T36" fmla="*/ 9 w 630"/>
                  <a:gd name="T37" fmla="*/ 1 h 812"/>
                  <a:gd name="T38" fmla="*/ 6 w 630"/>
                  <a:gd name="T39" fmla="*/ 4 h 812"/>
                  <a:gd name="T40" fmla="*/ 4 w 630"/>
                  <a:gd name="T41" fmla="*/ 5 h 812"/>
                  <a:gd name="T42" fmla="*/ 2 w 630"/>
                  <a:gd name="T43" fmla="*/ 8 h 812"/>
                  <a:gd name="T44" fmla="*/ 1 w 630"/>
                  <a:gd name="T45" fmla="*/ 10 h 812"/>
                  <a:gd name="T46" fmla="*/ 0 w 630"/>
                  <a:gd name="T47" fmla="*/ 12 h 812"/>
                  <a:gd name="T48" fmla="*/ 0 w 630"/>
                  <a:gd name="T49" fmla="*/ 15 h 812"/>
                  <a:gd name="T50" fmla="*/ 0 w 630"/>
                  <a:gd name="T51" fmla="*/ 797 h 812"/>
                  <a:gd name="T52" fmla="*/ 0 w 630"/>
                  <a:gd name="T53" fmla="*/ 800 h 812"/>
                  <a:gd name="T54" fmla="*/ 1 w 630"/>
                  <a:gd name="T55" fmla="*/ 803 h 812"/>
                  <a:gd name="T56" fmla="*/ 2 w 630"/>
                  <a:gd name="T57" fmla="*/ 805 h 812"/>
                  <a:gd name="T58" fmla="*/ 4 w 630"/>
                  <a:gd name="T59" fmla="*/ 807 h 812"/>
                  <a:gd name="T60" fmla="*/ 6 w 630"/>
                  <a:gd name="T61" fmla="*/ 809 h 812"/>
                  <a:gd name="T62" fmla="*/ 9 w 630"/>
                  <a:gd name="T63" fmla="*/ 811 h 812"/>
                  <a:gd name="T64" fmla="*/ 12 w 630"/>
                  <a:gd name="T65" fmla="*/ 812 h 812"/>
                  <a:gd name="T66" fmla="*/ 15 w 630"/>
                  <a:gd name="T67" fmla="*/ 812 h 812"/>
                  <a:gd name="T68" fmla="*/ 394 w 630"/>
                  <a:gd name="T69" fmla="*/ 812 h 812"/>
                  <a:gd name="T70" fmla="*/ 394 w 630"/>
                  <a:gd name="T71" fmla="*/ 782 h 812"/>
                  <a:gd name="T72" fmla="*/ 30 w 630"/>
                  <a:gd name="T73" fmla="*/ 782 h 812"/>
                  <a:gd name="T74" fmla="*/ 30 w 630"/>
                  <a:gd name="T75" fmla="*/ 30 h 812"/>
                  <a:gd name="T76" fmla="*/ 421 w 630"/>
                  <a:gd name="T77" fmla="*/ 30 h 812"/>
                  <a:gd name="T78" fmla="*/ 421 w 630"/>
                  <a:gd name="T79" fmla="*/ 196 h 812"/>
                  <a:gd name="T80" fmla="*/ 421 w 630"/>
                  <a:gd name="T81" fmla="*/ 199 h 812"/>
                  <a:gd name="T82" fmla="*/ 422 w 630"/>
                  <a:gd name="T83" fmla="*/ 202 h 812"/>
                  <a:gd name="T84" fmla="*/ 423 w 630"/>
                  <a:gd name="T85" fmla="*/ 205 h 812"/>
                  <a:gd name="T86" fmla="*/ 425 w 630"/>
                  <a:gd name="T87" fmla="*/ 207 h 812"/>
                  <a:gd name="T88" fmla="*/ 427 w 630"/>
                  <a:gd name="T89" fmla="*/ 208 h 812"/>
                  <a:gd name="T90" fmla="*/ 429 w 630"/>
                  <a:gd name="T91" fmla="*/ 210 h 812"/>
                  <a:gd name="T92" fmla="*/ 432 w 630"/>
                  <a:gd name="T93" fmla="*/ 210 h 812"/>
                  <a:gd name="T94" fmla="*/ 436 w 630"/>
                  <a:gd name="T95" fmla="*/ 211 h 812"/>
                  <a:gd name="T96" fmla="*/ 600 w 630"/>
                  <a:gd name="T97" fmla="*/ 211 h 812"/>
                  <a:gd name="T98" fmla="*/ 600 w 630"/>
                  <a:gd name="T99" fmla="*/ 357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0" h="812">
                    <a:moveTo>
                      <a:pt x="451" y="53"/>
                    </a:moveTo>
                    <a:lnTo>
                      <a:pt x="579" y="180"/>
                    </a:lnTo>
                    <a:lnTo>
                      <a:pt x="451" y="180"/>
                    </a:lnTo>
                    <a:lnTo>
                      <a:pt x="451" y="53"/>
                    </a:lnTo>
                    <a:close/>
                    <a:moveTo>
                      <a:pt x="600" y="357"/>
                    </a:moveTo>
                    <a:lnTo>
                      <a:pt x="630" y="357"/>
                    </a:lnTo>
                    <a:lnTo>
                      <a:pt x="630" y="196"/>
                    </a:lnTo>
                    <a:lnTo>
                      <a:pt x="630" y="193"/>
                    </a:lnTo>
                    <a:lnTo>
                      <a:pt x="629" y="191"/>
                    </a:lnTo>
                    <a:lnTo>
                      <a:pt x="628" y="188"/>
                    </a:lnTo>
                    <a:lnTo>
                      <a:pt x="626" y="186"/>
                    </a:lnTo>
                    <a:lnTo>
                      <a:pt x="446" y="5"/>
                    </a:lnTo>
                    <a:lnTo>
                      <a:pt x="444" y="4"/>
                    </a:lnTo>
                    <a:lnTo>
                      <a:pt x="441" y="1"/>
                    </a:lnTo>
                    <a:lnTo>
                      <a:pt x="439" y="1"/>
                    </a:lnTo>
                    <a:lnTo>
                      <a:pt x="436" y="0"/>
                    </a:lnTo>
                    <a:lnTo>
                      <a:pt x="15" y="0"/>
                    </a:lnTo>
                    <a:lnTo>
                      <a:pt x="12" y="0"/>
                    </a:lnTo>
                    <a:lnTo>
                      <a:pt x="9" y="1"/>
                    </a:lnTo>
                    <a:lnTo>
                      <a:pt x="6" y="4"/>
                    </a:lnTo>
                    <a:lnTo>
                      <a:pt x="4" y="5"/>
                    </a:lnTo>
                    <a:lnTo>
                      <a:pt x="2" y="8"/>
                    </a:lnTo>
                    <a:lnTo>
                      <a:pt x="1" y="10"/>
                    </a:lnTo>
                    <a:lnTo>
                      <a:pt x="0" y="12"/>
                    </a:lnTo>
                    <a:lnTo>
                      <a:pt x="0" y="15"/>
                    </a:lnTo>
                    <a:lnTo>
                      <a:pt x="0" y="797"/>
                    </a:lnTo>
                    <a:lnTo>
                      <a:pt x="0" y="800"/>
                    </a:lnTo>
                    <a:lnTo>
                      <a:pt x="1" y="803"/>
                    </a:lnTo>
                    <a:lnTo>
                      <a:pt x="2" y="805"/>
                    </a:lnTo>
                    <a:lnTo>
                      <a:pt x="4" y="807"/>
                    </a:lnTo>
                    <a:lnTo>
                      <a:pt x="6" y="809"/>
                    </a:lnTo>
                    <a:lnTo>
                      <a:pt x="9" y="811"/>
                    </a:lnTo>
                    <a:lnTo>
                      <a:pt x="12" y="812"/>
                    </a:lnTo>
                    <a:lnTo>
                      <a:pt x="15" y="812"/>
                    </a:lnTo>
                    <a:lnTo>
                      <a:pt x="394" y="812"/>
                    </a:lnTo>
                    <a:lnTo>
                      <a:pt x="394" y="782"/>
                    </a:lnTo>
                    <a:lnTo>
                      <a:pt x="30" y="782"/>
                    </a:lnTo>
                    <a:lnTo>
                      <a:pt x="30" y="30"/>
                    </a:lnTo>
                    <a:lnTo>
                      <a:pt x="421" y="30"/>
                    </a:lnTo>
                    <a:lnTo>
                      <a:pt x="421" y="196"/>
                    </a:lnTo>
                    <a:lnTo>
                      <a:pt x="421" y="199"/>
                    </a:lnTo>
                    <a:lnTo>
                      <a:pt x="422" y="202"/>
                    </a:lnTo>
                    <a:lnTo>
                      <a:pt x="423" y="205"/>
                    </a:lnTo>
                    <a:lnTo>
                      <a:pt x="425" y="207"/>
                    </a:lnTo>
                    <a:lnTo>
                      <a:pt x="427" y="208"/>
                    </a:lnTo>
                    <a:lnTo>
                      <a:pt x="429" y="210"/>
                    </a:lnTo>
                    <a:lnTo>
                      <a:pt x="432" y="210"/>
                    </a:lnTo>
                    <a:lnTo>
                      <a:pt x="436" y="211"/>
                    </a:lnTo>
                    <a:lnTo>
                      <a:pt x="600" y="211"/>
                    </a:lnTo>
                    <a:lnTo>
                      <a:pt x="600"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67">
                <a:extLst>
                  <a:ext uri="{FF2B5EF4-FFF2-40B4-BE49-F238E27FC236}">
                    <a16:creationId xmlns:a16="http://schemas.microsoft.com/office/drawing/2014/main" id="{95A521FD-E491-417D-825F-B8D8379539E7}"/>
                  </a:ext>
                </a:extLst>
              </p:cNvPr>
              <p:cNvSpPr>
                <a:spLocks noEditPoints="1"/>
              </p:cNvSpPr>
              <p:nvPr/>
            </p:nvSpPr>
            <p:spPr bwMode="auto">
              <a:xfrm>
                <a:off x="11758613" y="3225801"/>
                <a:ext cx="128588" cy="138113"/>
              </a:xfrm>
              <a:custGeom>
                <a:avLst/>
                <a:gdLst>
                  <a:gd name="T0" fmla="*/ 34 w 406"/>
                  <a:gd name="T1" fmla="*/ 138 h 435"/>
                  <a:gd name="T2" fmla="*/ 46 w 406"/>
                  <a:gd name="T3" fmla="*/ 102 h 435"/>
                  <a:gd name="T4" fmla="*/ 70 w 406"/>
                  <a:gd name="T5" fmla="*/ 71 h 435"/>
                  <a:gd name="T6" fmla="*/ 101 w 406"/>
                  <a:gd name="T7" fmla="*/ 47 h 435"/>
                  <a:gd name="T8" fmla="*/ 139 w 406"/>
                  <a:gd name="T9" fmla="*/ 33 h 435"/>
                  <a:gd name="T10" fmla="*/ 179 w 406"/>
                  <a:gd name="T11" fmla="*/ 31 h 435"/>
                  <a:gd name="T12" fmla="*/ 219 w 406"/>
                  <a:gd name="T13" fmla="*/ 41 h 435"/>
                  <a:gd name="T14" fmla="*/ 252 w 406"/>
                  <a:gd name="T15" fmla="*/ 61 h 435"/>
                  <a:gd name="T16" fmla="*/ 278 w 406"/>
                  <a:gd name="T17" fmla="*/ 90 h 435"/>
                  <a:gd name="T18" fmla="*/ 295 w 406"/>
                  <a:gd name="T19" fmla="*/ 125 h 435"/>
                  <a:gd name="T20" fmla="*/ 301 w 406"/>
                  <a:gd name="T21" fmla="*/ 166 h 435"/>
                  <a:gd name="T22" fmla="*/ 295 w 406"/>
                  <a:gd name="T23" fmla="*/ 205 h 435"/>
                  <a:gd name="T24" fmla="*/ 278 w 406"/>
                  <a:gd name="T25" fmla="*/ 241 h 435"/>
                  <a:gd name="T26" fmla="*/ 252 w 406"/>
                  <a:gd name="T27" fmla="*/ 270 h 435"/>
                  <a:gd name="T28" fmla="*/ 219 w 406"/>
                  <a:gd name="T29" fmla="*/ 290 h 435"/>
                  <a:gd name="T30" fmla="*/ 179 w 406"/>
                  <a:gd name="T31" fmla="*/ 300 h 435"/>
                  <a:gd name="T32" fmla="*/ 139 w 406"/>
                  <a:gd name="T33" fmla="*/ 297 h 435"/>
                  <a:gd name="T34" fmla="*/ 101 w 406"/>
                  <a:gd name="T35" fmla="*/ 285 h 435"/>
                  <a:gd name="T36" fmla="*/ 70 w 406"/>
                  <a:gd name="T37" fmla="*/ 261 h 435"/>
                  <a:gd name="T38" fmla="*/ 46 w 406"/>
                  <a:gd name="T39" fmla="*/ 230 h 435"/>
                  <a:gd name="T40" fmla="*/ 34 w 406"/>
                  <a:gd name="T41" fmla="*/ 193 h 435"/>
                  <a:gd name="T42" fmla="*/ 402 w 406"/>
                  <a:gd name="T43" fmla="*/ 410 h 435"/>
                  <a:gd name="T44" fmla="*/ 300 w 406"/>
                  <a:gd name="T45" fmla="*/ 262 h 435"/>
                  <a:gd name="T46" fmla="*/ 323 w 406"/>
                  <a:gd name="T47" fmla="*/ 217 h 435"/>
                  <a:gd name="T48" fmla="*/ 331 w 406"/>
                  <a:gd name="T49" fmla="*/ 166 h 435"/>
                  <a:gd name="T50" fmla="*/ 324 w 406"/>
                  <a:gd name="T51" fmla="*/ 117 h 435"/>
                  <a:gd name="T52" fmla="*/ 302 w 406"/>
                  <a:gd name="T53" fmla="*/ 74 h 435"/>
                  <a:gd name="T54" fmla="*/ 271 w 406"/>
                  <a:gd name="T55" fmla="*/ 38 h 435"/>
                  <a:gd name="T56" fmla="*/ 229 w 406"/>
                  <a:gd name="T57" fmla="*/ 13 h 435"/>
                  <a:gd name="T58" fmla="*/ 182 w 406"/>
                  <a:gd name="T59" fmla="*/ 1 h 435"/>
                  <a:gd name="T60" fmla="*/ 132 w 406"/>
                  <a:gd name="T61" fmla="*/ 3 h 435"/>
                  <a:gd name="T62" fmla="*/ 87 w 406"/>
                  <a:gd name="T63" fmla="*/ 20 h 435"/>
                  <a:gd name="T64" fmla="*/ 49 w 406"/>
                  <a:gd name="T65" fmla="*/ 49 h 435"/>
                  <a:gd name="T66" fmla="*/ 21 w 406"/>
                  <a:gd name="T67" fmla="*/ 87 h 435"/>
                  <a:gd name="T68" fmla="*/ 4 w 406"/>
                  <a:gd name="T69" fmla="*/ 133 h 435"/>
                  <a:gd name="T70" fmla="*/ 2 w 406"/>
                  <a:gd name="T71" fmla="*/ 182 h 435"/>
                  <a:gd name="T72" fmla="*/ 13 w 406"/>
                  <a:gd name="T73" fmla="*/ 230 h 435"/>
                  <a:gd name="T74" fmla="*/ 38 w 406"/>
                  <a:gd name="T75" fmla="*/ 271 h 435"/>
                  <a:gd name="T76" fmla="*/ 73 w 406"/>
                  <a:gd name="T77" fmla="*/ 303 h 435"/>
                  <a:gd name="T78" fmla="*/ 117 w 406"/>
                  <a:gd name="T79" fmla="*/ 323 h 435"/>
                  <a:gd name="T80" fmla="*/ 165 w 406"/>
                  <a:gd name="T81" fmla="*/ 331 h 435"/>
                  <a:gd name="T82" fmla="*/ 202 w 406"/>
                  <a:gd name="T83" fmla="*/ 326 h 435"/>
                  <a:gd name="T84" fmla="*/ 234 w 406"/>
                  <a:gd name="T85" fmla="*/ 316 h 435"/>
                  <a:gd name="T86" fmla="*/ 380 w 406"/>
                  <a:gd name="T87" fmla="*/ 431 h 435"/>
                  <a:gd name="T88" fmla="*/ 388 w 406"/>
                  <a:gd name="T89" fmla="*/ 435 h 435"/>
                  <a:gd name="T90" fmla="*/ 396 w 406"/>
                  <a:gd name="T91" fmla="*/ 434 h 435"/>
                  <a:gd name="T92" fmla="*/ 404 w 406"/>
                  <a:gd name="T93" fmla="*/ 429 h 435"/>
                  <a:gd name="T94" fmla="*/ 406 w 406"/>
                  <a:gd name="T95" fmla="*/ 422 h 435"/>
                  <a:gd name="T96" fmla="*/ 404 w 406"/>
                  <a:gd name="T97" fmla="*/ 41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435">
                    <a:moveTo>
                      <a:pt x="30" y="166"/>
                    </a:moveTo>
                    <a:lnTo>
                      <a:pt x="32" y="152"/>
                    </a:lnTo>
                    <a:lnTo>
                      <a:pt x="34" y="138"/>
                    </a:lnTo>
                    <a:lnTo>
                      <a:pt x="37" y="125"/>
                    </a:lnTo>
                    <a:lnTo>
                      <a:pt x="41" y="113"/>
                    </a:lnTo>
                    <a:lnTo>
                      <a:pt x="46" y="102"/>
                    </a:lnTo>
                    <a:lnTo>
                      <a:pt x="54" y="90"/>
                    </a:lnTo>
                    <a:lnTo>
                      <a:pt x="61" y="80"/>
                    </a:lnTo>
                    <a:lnTo>
                      <a:pt x="70" y="71"/>
                    </a:lnTo>
                    <a:lnTo>
                      <a:pt x="80" y="61"/>
                    </a:lnTo>
                    <a:lnTo>
                      <a:pt x="90" y="53"/>
                    </a:lnTo>
                    <a:lnTo>
                      <a:pt x="101" y="47"/>
                    </a:lnTo>
                    <a:lnTo>
                      <a:pt x="113" y="41"/>
                    </a:lnTo>
                    <a:lnTo>
                      <a:pt x="126" y="36"/>
                    </a:lnTo>
                    <a:lnTo>
                      <a:pt x="139" y="33"/>
                    </a:lnTo>
                    <a:lnTo>
                      <a:pt x="152" y="31"/>
                    </a:lnTo>
                    <a:lnTo>
                      <a:pt x="165" y="30"/>
                    </a:lnTo>
                    <a:lnTo>
                      <a:pt x="179" y="31"/>
                    </a:lnTo>
                    <a:lnTo>
                      <a:pt x="193" y="33"/>
                    </a:lnTo>
                    <a:lnTo>
                      <a:pt x="206" y="36"/>
                    </a:lnTo>
                    <a:lnTo>
                      <a:pt x="219" y="41"/>
                    </a:lnTo>
                    <a:lnTo>
                      <a:pt x="231" y="47"/>
                    </a:lnTo>
                    <a:lnTo>
                      <a:pt x="241" y="53"/>
                    </a:lnTo>
                    <a:lnTo>
                      <a:pt x="252" y="61"/>
                    </a:lnTo>
                    <a:lnTo>
                      <a:pt x="262" y="71"/>
                    </a:lnTo>
                    <a:lnTo>
                      <a:pt x="270" y="80"/>
                    </a:lnTo>
                    <a:lnTo>
                      <a:pt x="278" y="90"/>
                    </a:lnTo>
                    <a:lnTo>
                      <a:pt x="284" y="102"/>
                    </a:lnTo>
                    <a:lnTo>
                      <a:pt x="290" y="113"/>
                    </a:lnTo>
                    <a:lnTo>
                      <a:pt x="295" y="125"/>
                    </a:lnTo>
                    <a:lnTo>
                      <a:pt x="298" y="138"/>
                    </a:lnTo>
                    <a:lnTo>
                      <a:pt x="300" y="152"/>
                    </a:lnTo>
                    <a:lnTo>
                      <a:pt x="301" y="166"/>
                    </a:lnTo>
                    <a:lnTo>
                      <a:pt x="300" y="180"/>
                    </a:lnTo>
                    <a:lnTo>
                      <a:pt x="298" y="193"/>
                    </a:lnTo>
                    <a:lnTo>
                      <a:pt x="295" y="205"/>
                    </a:lnTo>
                    <a:lnTo>
                      <a:pt x="290" y="218"/>
                    </a:lnTo>
                    <a:lnTo>
                      <a:pt x="284" y="230"/>
                    </a:lnTo>
                    <a:lnTo>
                      <a:pt x="278" y="241"/>
                    </a:lnTo>
                    <a:lnTo>
                      <a:pt x="270" y="251"/>
                    </a:lnTo>
                    <a:lnTo>
                      <a:pt x="262" y="261"/>
                    </a:lnTo>
                    <a:lnTo>
                      <a:pt x="252" y="270"/>
                    </a:lnTo>
                    <a:lnTo>
                      <a:pt x="241" y="277"/>
                    </a:lnTo>
                    <a:lnTo>
                      <a:pt x="231" y="285"/>
                    </a:lnTo>
                    <a:lnTo>
                      <a:pt x="219" y="290"/>
                    </a:lnTo>
                    <a:lnTo>
                      <a:pt x="206" y="294"/>
                    </a:lnTo>
                    <a:lnTo>
                      <a:pt x="193" y="297"/>
                    </a:lnTo>
                    <a:lnTo>
                      <a:pt x="179" y="300"/>
                    </a:lnTo>
                    <a:lnTo>
                      <a:pt x="165" y="301"/>
                    </a:lnTo>
                    <a:lnTo>
                      <a:pt x="152" y="300"/>
                    </a:lnTo>
                    <a:lnTo>
                      <a:pt x="139" y="297"/>
                    </a:lnTo>
                    <a:lnTo>
                      <a:pt x="126" y="294"/>
                    </a:lnTo>
                    <a:lnTo>
                      <a:pt x="113" y="290"/>
                    </a:lnTo>
                    <a:lnTo>
                      <a:pt x="101" y="285"/>
                    </a:lnTo>
                    <a:lnTo>
                      <a:pt x="90" y="277"/>
                    </a:lnTo>
                    <a:lnTo>
                      <a:pt x="80" y="270"/>
                    </a:lnTo>
                    <a:lnTo>
                      <a:pt x="70" y="261"/>
                    </a:lnTo>
                    <a:lnTo>
                      <a:pt x="61" y="251"/>
                    </a:lnTo>
                    <a:lnTo>
                      <a:pt x="54" y="241"/>
                    </a:lnTo>
                    <a:lnTo>
                      <a:pt x="46" y="230"/>
                    </a:lnTo>
                    <a:lnTo>
                      <a:pt x="41" y="218"/>
                    </a:lnTo>
                    <a:lnTo>
                      <a:pt x="37" y="205"/>
                    </a:lnTo>
                    <a:lnTo>
                      <a:pt x="34" y="193"/>
                    </a:lnTo>
                    <a:lnTo>
                      <a:pt x="32" y="179"/>
                    </a:lnTo>
                    <a:lnTo>
                      <a:pt x="30" y="166"/>
                    </a:lnTo>
                    <a:close/>
                    <a:moveTo>
                      <a:pt x="402" y="410"/>
                    </a:moveTo>
                    <a:lnTo>
                      <a:pt x="278" y="287"/>
                    </a:lnTo>
                    <a:lnTo>
                      <a:pt x="289" y="275"/>
                    </a:lnTo>
                    <a:lnTo>
                      <a:pt x="300" y="262"/>
                    </a:lnTo>
                    <a:lnTo>
                      <a:pt x="309" y="248"/>
                    </a:lnTo>
                    <a:lnTo>
                      <a:pt x="316" y="233"/>
                    </a:lnTo>
                    <a:lnTo>
                      <a:pt x="323" y="217"/>
                    </a:lnTo>
                    <a:lnTo>
                      <a:pt x="327" y="200"/>
                    </a:lnTo>
                    <a:lnTo>
                      <a:pt x="330" y="183"/>
                    </a:lnTo>
                    <a:lnTo>
                      <a:pt x="331" y="166"/>
                    </a:lnTo>
                    <a:lnTo>
                      <a:pt x="330" y="149"/>
                    </a:lnTo>
                    <a:lnTo>
                      <a:pt x="328" y="133"/>
                    </a:lnTo>
                    <a:lnTo>
                      <a:pt x="324" y="117"/>
                    </a:lnTo>
                    <a:lnTo>
                      <a:pt x="318" y="102"/>
                    </a:lnTo>
                    <a:lnTo>
                      <a:pt x="311" y="87"/>
                    </a:lnTo>
                    <a:lnTo>
                      <a:pt x="302" y="74"/>
                    </a:lnTo>
                    <a:lnTo>
                      <a:pt x="294" y="61"/>
                    </a:lnTo>
                    <a:lnTo>
                      <a:pt x="283" y="49"/>
                    </a:lnTo>
                    <a:lnTo>
                      <a:pt x="271" y="38"/>
                    </a:lnTo>
                    <a:lnTo>
                      <a:pt x="258" y="29"/>
                    </a:lnTo>
                    <a:lnTo>
                      <a:pt x="244" y="20"/>
                    </a:lnTo>
                    <a:lnTo>
                      <a:pt x="229" y="13"/>
                    </a:lnTo>
                    <a:lnTo>
                      <a:pt x="214" y="7"/>
                    </a:lnTo>
                    <a:lnTo>
                      <a:pt x="198" y="3"/>
                    </a:lnTo>
                    <a:lnTo>
                      <a:pt x="182" y="1"/>
                    </a:lnTo>
                    <a:lnTo>
                      <a:pt x="165" y="0"/>
                    </a:lnTo>
                    <a:lnTo>
                      <a:pt x="149" y="1"/>
                    </a:lnTo>
                    <a:lnTo>
                      <a:pt x="132" y="3"/>
                    </a:lnTo>
                    <a:lnTo>
                      <a:pt x="117" y="7"/>
                    </a:lnTo>
                    <a:lnTo>
                      <a:pt x="101" y="13"/>
                    </a:lnTo>
                    <a:lnTo>
                      <a:pt x="87" y="20"/>
                    </a:lnTo>
                    <a:lnTo>
                      <a:pt x="73" y="29"/>
                    </a:lnTo>
                    <a:lnTo>
                      <a:pt x="60" y="38"/>
                    </a:lnTo>
                    <a:lnTo>
                      <a:pt x="49" y="49"/>
                    </a:lnTo>
                    <a:lnTo>
                      <a:pt x="38" y="61"/>
                    </a:lnTo>
                    <a:lnTo>
                      <a:pt x="28" y="74"/>
                    </a:lnTo>
                    <a:lnTo>
                      <a:pt x="21" y="87"/>
                    </a:lnTo>
                    <a:lnTo>
                      <a:pt x="13" y="102"/>
                    </a:lnTo>
                    <a:lnTo>
                      <a:pt x="8" y="117"/>
                    </a:lnTo>
                    <a:lnTo>
                      <a:pt x="4" y="133"/>
                    </a:lnTo>
                    <a:lnTo>
                      <a:pt x="2" y="149"/>
                    </a:lnTo>
                    <a:lnTo>
                      <a:pt x="0" y="166"/>
                    </a:lnTo>
                    <a:lnTo>
                      <a:pt x="2" y="182"/>
                    </a:lnTo>
                    <a:lnTo>
                      <a:pt x="4" y="199"/>
                    </a:lnTo>
                    <a:lnTo>
                      <a:pt x="8" y="215"/>
                    </a:lnTo>
                    <a:lnTo>
                      <a:pt x="13" y="230"/>
                    </a:lnTo>
                    <a:lnTo>
                      <a:pt x="21" y="244"/>
                    </a:lnTo>
                    <a:lnTo>
                      <a:pt x="28" y="258"/>
                    </a:lnTo>
                    <a:lnTo>
                      <a:pt x="38" y="271"/>
                    </a:lnTo>
                    <a:lnTo>
                      <a:pt x="49" y="282"/>
                    </a:lnTo>
                    <a:lnTo>
                      <a:pt x="60" y="293"/>
                    </a:lnTo>
                    <a:lnTo>
                      <a:pt x="73" y="303"/>
                    </a:lnTo>
                    <a:lnTo>
                      <a:pt x="87" y="310"/>
                    </a:lnTo>
                    <a:lnTo>
                      <a:pt x="101" y="318"/>
                    </a:lnTo>
                    <a:lnTo>
                      <a:pt x="117" y="323"/>
                    </a:lnTo>
                    <a:lnTo>
                      <a:pt x="132" y="327"/>
                    </a:lnTo>
                    <a:lnTo>
                      <a:pt x="149" y="330"/>
                    </a:lnTo>
                    <a:lnTo>
                      <a:pt x="165" y="331"/>
                    </a:lnTo>
                    <a:lnTo>
                      <a:pt x="178" y="331"/>
                    </a:lnTo>
                    <a:lnTo>
                      <a:pt x="190" y="328"/>
                    </a:lnTo>
                    <a:lnTo>
                      <a:pt x="202" y="326"/>
                    </a:lnTo>
                    <a:lnTo>
                      <a:pt x="212" y="324"/>
                    </a:lnTo>
                    <a:lnTo>
                      <a:pt x="223" y="320"/>
                    </a:lnTo>
                    <a:lnTo>
                      <a:pt x="234" y="316"/>
                    </a:lnTo>
                    <a:lnTo>
                      <a:pt x="244" y="311"/>
                    </a:lnTo>
                    <a:lnTo>
                      <a:pt x="254" y="305"/>
                    </a:lnTo>
                    <a:lnTo>
                      <a:pt x="380" y="431"/>
                    </a:lnTo>
                    <a:lnTo>
                      <a:pt x="382" y="433"/>
                    </a:lnTo>
                    <a:lnTo>
                      <a:pt x="386" y="434"/>
                    </a:lnTo>
                    <a:lnTo>
                      <a:pt x="388" y="435"/>
                    </a:lnTo>
                    <a:lnTo>
                      <a:pt x="391" y="435"/>
                    </a:lnTo>
                    <a:lnTo>
                      <a:pt x="394" y="435"/>
                    </a:lnTo>
                    <a:lnTo>
                      <a:pt x="396" y="434"/>
                    </a:lnTo>
                    <a:lnTo>
                      <a:pt x="400" y="433"/>
                    </a:lnTo>
                    <a:lnTo>
                      <a:pt x="402" y="431"/>
                    </a:lnTo>
                    <a:lnTo>
                      <a:pt x="404" y="429"/>
                    </a:lnTo>
                    <a:lnTo>
                      <a:pt x="405" y="427"/>
                    </a:lnTo>
                    <a:lnTo>
                      <a:pt x="406" y="424"/>
                    </a:lnTo>
                    <a:lnTo>
                      <a:pt x="406" y="422"/>
                    </a:lnTo>
                    <a:lnTo>
                      <a:pt x="406" y="418"/>
                    </a:lnTo>
                    <a:lnTo>
                      <a:pt x="405" y="415"/>
                    </a:lnTo>
                    <a:lnTo>
                      <a:pt x="404" y="413"/>
                    </a:lnTo>
                    <a:lnTo>
                      <a:pt x="402" y="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4" name="组合 43">
            <a:extLst>
              <a:ext uri="{FF2B5EF4-FFF2-40B4-BE49-F238E27FC236}">
                <a16:creationId xmlns:a16="http://schemas.microsoft.com/office/drawing/2014/main" id="{B68F4B79-3E59-46E1-814F-D952A20200E4}"/>
              </a:ext>
            </a:extLst>
          </p:cNvPr>
          <p:cNvGrpSpPr/>
          <p:nvPr/>
        </p:nvGrpSpPr>
        <p:grpSpPr>
          <a:xfrm>
            <a:off x="9184811" y="4716724"/>
            <a:ext cx="2527764" cy="1283970"/>
            <a:chOff x="768928" y="2702676"/>
            <a:chExt cx="2527764" cy="1283970"/>
          </a:xfrm>
        </p:grpSpPr>
        <p:sp>
          <p:nvSpPr>
            <p:cNvPr id="45" name="iS1íḍê">
              <a:extLst>
                <a:ext uri="{FF2B5EF4-FFF2-40B4-BE49-F238E27FC236}">
                  <a16:creationId xmlns:a16="http://schemas.microsoft.com/office/drawing/2014/main" id="{7F95B8CB-B9F9-453E-A8FB-99902A16F59E}"/>
                </a:ext>
              </a:extLst>
            </p:cNvPr>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一阶段</a:t>
              </a:r>
              <a:r>
                <a:rPr lang="zh-CN" altLang="en-US" sz="2000" b="1" dirty="0">
                  <a:solidFill>
                    <a:schemeClr val="accent2"/>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46" name="ï$1idé">
              <a:extLst>
                <a:ext uri="{FF2B5EF4-FFF2-40B4-BE49-F238E27FC236}">
                  <a16:creationId xmlns:a16="http://schemas.microsoft.com/office/drawing/2014/main" id="{A1865C04-0B3C-4F69-8E21-BDFF0E92AA58}"/>
                </a:ext>
              </a:extLst>
            </p:cNvPr>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请在此输入内容请在此输入内容请在此输入内容请在此输入内容</a:t>
              </a:r>
              <a:endParaRPr lang="en-US" altLang="zh-CN" sz="1600" dirty="0">
                <a:solidFill>
                  <a:schemeClr val="tx1">
                    <a:lumMod val="75000"/>
                    <a:lumOff val="25000"/>
                  </a:schemeClr>
                </a:solidFill>
                <a:cs typeface="+mn-ea"/>
                <a:sym typeface="+mn-lt"/>
              </a:endParaRPr>
            </a:p>
          </p:txBody>
        </p:sp>
      </p:grpSp>
      <p:grpSp>
        <p:nvGrpSpPr>
          <p:cNvPr id="63" name="组合 62">
            <a:extLst>
              <a:ext uri="{FF2B5EF4-FFF2-40B4-BE49-F238E27FC236}">
                <a16:creationId xmlns:a16="http://schemas.microsoft.com/office/drawing/2014/main" id="{61C3B906-39AF-4772-A536-C2DE1457F18C}"/>
              </a:ext>
            </a:extLst>
          </p:cNvPr>
          <p:cNvGrpSpPr/>
          <p:nvPr/>
        </p:nvGrpSpPr>
        <p:grpSpPr>
          <a:xfrm>
            <a:off x="9184811" y="3092048"/>
            <a:ext cx="2527764" cy="1283970"/>
            <a:chOff x="768928" y="2702676"/>
            <a:chExt cx="2527764" cy="1283970"/>
          </a:xfrm>
        </p:grpSpPr>
        <p:sp>
          <p:nvSpPr>
            <p:cNvPr id="64" name="iS1íḍê">
              <a:extLst>
                <a:ext uri="{FF2B5EF4-FFF2-40B4-BE49-F238E27FC236}">
                  <a16:creationId xmlns:a16="http://schemas.microsoft.com/office/drawing/2014/main" id="{0D4A2CF6-1A2F-407E-B48D-015F3ECEDA9C}"/>
                </a:ext>
              </a:extLst>
            </p:cNvPr>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二阶段</a:t>
              </a:r>
              <a:r>
                <a:rPr lang="zh-CN" altLang="en-US" sz="2000" b="1" dirty="0">
                  <a:solidFill>
                    <a:schemeClr val="accent2"/>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65" name="ï$1idé">
              <a:extLst>
                <a:ext uri="{FF2B5EF4-FFF2-40B4-BE49-F238E27FC236}">
                  <a16:creationId xmlns:a16="http://schemas.microsoft.com/office/drawing/2014/main" id="{FA8E4A2B-937F-4C51-B763-4E6B8C12E132}"/>
                </a:ext>
              </a:extLst>
            </p:cNvPr>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请在此输入内容请在此输入内容请在此输入内容请在此输入内容</a:t>
              </a:r>
              <a:endParaRPr lang="en-US" altLang="zh-CN" sz="1600" dirty="0">
                <a:solidFill>
                  <a:schemeClr val="tx1">
                    <a:lumMod val="75000"/>
                    <a:lumOff val="25000"/>
                  </a:schemeClr>
                </a:solidFill>
                <a:cs typeface="+mn-ea"/>
                <a:sym typeface="+mn-lt"/>
              </a:endParaRPr>
            </a:p>
          </p:txBody>
        </p:sp>
      </p:grpSp>
      <p:grpSp>
        <p:nvGrpSpPr>
          <p:cNvPr id="66" name="组合 65">
            <a:extLst>
              <a:ext uri="{FF2B5EF4-FFF2-40B4-BE49-F238E27FC236}">
                <a16:creationId xmlns:a16="http://schemas.microsoft.com/office/drawing/2014/main" id="{ECA7449B-FE9E-47C3-8A94-6BC5428B5B92}"/>
              </a:ext>
            </a:extLst>
          </p:cNvPr>
          <p:cNvGrpSpPr/>
          <p:nvPr/>
        </p:nvGrpSpPr>
        <p:grpSpPr>
          <a:xfrm>
            <a:off x="9184811" y="1467372"/>
            <a:ext cx="2527764" cy="1283970"/>
            <a:chOff x="768928" y="2702676"/>
            <a:chExt cx="2527764" cy="1283970"/>
          </a:xfrm>
        </p:grpSpPr>
        <p:sp>
          <p:nvSpPr>
            <p:cNvPr id="67" name="iS1íḍê">
              <a:extLst>
                <a:ext uri="{FF2B5EF4-FFF2-40B4-BE49-F238E27FC236}">
                  <a16:creationId xmlns:a16="http://schemas.microsoft.com/office/drawing/2014/main" id="{9998879A-9D13-407A-9986-E978C104FB30}"/>
                </a:ext>
              </a:extLst>
            </p:cNvPr>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三阶段</a:t>
              </a:r>
              <a:r>
                <a:rPr lang="zh-CN" altLang="en-US" sz="2000" b="1" dirty="0">
                  <a:solidFill>
                    <a:schemeClr val="accent2"/>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68" name="ï$1idé">
              <a:extLst>
                <a:ext uri="{FF2B5EF4-FFF2-40B4-BE49-F238E27FC236}">
                  <a16:creationId xmlns:a16="http://schemas.microsoft.com/office/drawing/2014/main" id="{3BF683E1-E19B-4115-80B3-2C0AE7590A3D}"/>
                </a:ext>
              </a:extLst>
            </p:cNvPr>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请在此输入内容请在此输入内容请在此输入内容请在此输入内容</a:t>
              </a:r>
              <a:endParaRPr lang="en-US" altLang="zh-CN" sz="1600" dirty="0">
                <a:solidFill>
                  <a:schemeClr val="tx1">
                    <a:lumMod val="75000"/>
                    <a:lumOff val="25000"/>
                  </a:schemeClr>
                </a:solidFill>
                <a:cs typeface="+mn-ea"/>
                <a:sym typeface="+mn-lt"/>
              </a:endParaRPr>
            </a:p>
          </p:txBody>
        </p:sp>
      </p:grpSp>
      <p:sp>
        <p:nvSpPr>
          <p:cNvPr id="70" name="任意多边形: 形状 69">
            <a:extLst>
              <a:ext uri="{FF2B5EF4-FFF2-40B4-BE49-F238E27FC236}">
                <a16:creationId xmlns:a16="http://schemas.microsoft.com/office/drawing/2014/main" id="{6D6C364D-E744-4233-B6AC-AD15C98E9873}"/>
              </a:ext>
            </a:extLst>
          </p:cNvPr>
          <p:cNvSpPr/>
          <p:nvPr/>
        </p:nvSpPr>
        <p:spPr>
          <a:xfrm flipV="1">
            <a:off x="6116320" y="1600200"/>
            <a:ext cx="3078480" cy="45720"/>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任意多边形: 形状 70">
            <a:extLst>
              <a:ext uri="{FF2B5EF4-FFF2-40B4-BE49-F238E27FC236}">
                <a16:creationId xmlns:a16="http://schemas.microsoft.com/office/drawing/2014/main" id="{85614265-69F4-447B-8121-4A09A9F3FB0F}"/>
              </a:ext>
            </a:extLst>
          </p:cNvPr>
          <p:cNvSpPr/>
          <p:nvPr/>
        </p:nvSpPr>
        <p:spPr>
          <a:xfrm flipV="1">
            <a:off x="7865744" y="3225799"/>
            <a:ext cx="1329055" cy="45719"/>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任意多边形: 形状 71">
            <a:extLst>
              <a:ext uri="{FF2B5EF4-FFF2-40B4-BE49-F238E27FC236}">
                <a16:creationId xmlns:a16="http://schemas.microsoft.com/office/drawing/2014/main" id="{BDBBB1E5-D035-4467-942E-F8DCB204AEDD}"/>
              </a:ext>
            </a:extLst>
          </p:cNvPr>
          <p:cNvSpPr/>
          <p:nvPr/>
        </p:nvSpPr>
        <p:spPr>
          <a:xfrm flipV="1">
            <a:off x="7900035" y="4759959"/>
            <a:ext cx="1294765" cy="116840"/>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7" name="组合 86">
            <a:extLst>
              <a:ext uri="{FF2B5EF4-FFF2-40B4-BE49-F238E27FC236}">
                <a16:creationId xmlns:a16="http://schemas.microsoft.com/office/drawing/2014/main" id="{70C6256C-CD88-4E78-AABD-07CD216C9393}"/>
              </a:ext>
            </a:extLst>
          </p:cNvPr>
          <p:cNvGrpSpPr/>
          <p:nvPr/>
        </p:nvGrpSpPr>
        <p:grpSpPr>
          <a:xfrm>
            <a:off x="325120" y="5108448"/>
            <a:ext cx="3570224" cy="713618"/>
            <a:chOff x="325120" y="5108448"/>
            <a:chExt cx="3570224" cy="713618"/>
          </a:xfrm>
        </p:grpSpPr>
        <p:sp>
          <p:nvSpPr>
            <p:cNvPr id="85" name="箭头: 五边形 84">
              <a:extLst>
                <a:ext uri="{FF2B5EF4-FFF2-40B4-BE49-F238E27FC236}">
                  <a16:creationId xmlns:a16="http://schemas.microsoft.com/office/drawing/2014/main" id="{E42A1A64-8F46-4530-BE02-F695D12448E6}"/>
                </a:ext>
              </a:extLst>
            </p:cNvPr>
            <p:cNvSpPr/>
            <p:nvPr/>
          </p:nvSpPr>
          <p:spPr>
            <a:xfrm>
              <a:off x="325120" y="5323840"/>
              <a:ext cx="3570224" cy="49822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lang="zh-CN" altLang="en-US" sz="2400" b="1" dirty="0"/>
                <a:t>请在此输入标题</a:t>
              </a:r>
              <a:endParaRPr lang="en-US" sz="2400" b="1" dirty="0"/>
            </a:p>
          </p:txBody>
        </p:sp>
        <p:sp>
          <p:nvSpPr>
            <p:cNvPr id="86" name="直角三角形 85">
              <a:extLst>
                <a:ext uri="{FF2B5EF4-FFF2-40B4-BE49-F238E27FC236}">
                  <a16:creationId xmlns:a16="http://schemas.microsoft.com/office/drawing/2014/main" id="{13D4CCE1-4469-4B6D-8C9E-ED628C0A9302}"/>
                </a:ext>
              </a:extLst>
            </p:cNvPr>
            <p:cNvSpPr/>
            <p:nvPr/>
          </p:nvSpPr>
          <p:spPr>
            <a:xfrm flipH="1">
              <a:off x="325120" y="5108448"/>
              <a:ext cx="190818" cy="213360"/>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grpSp>
      <p:grpSp>
        <p:nvGrpSpPr>
          <p:cNvPr id="47" name="组合 46">
            <a:extLst>
              <a:ext uri="{FF2B5EF4-FFF2-40B4-BE49-F238E27FC236}">
                <a16:creationId xmlns:a16="http://schemas.microsoft.com/office/drawing/2014/main" id="{A56A30BB-892D-4D66-BA20-CBCD36B10FD7}"/>
              </a:ext>
            </a:extLst>
          </p:cNvPr>
          <p:cNvGrpSpPr/>
          <p:nvPr/>
        </p:nvGrpSpPr>
        <p:grpSpPr>
          <a:xfrm>
            <a:off x="0" y="-715587"/>
            <a:ext cx="676656" cy="602672"/>
            <a:chOff x="0" y="6950133"/>
            <a:chExt cx="676656" cy="602672"/>
          </a:xfrm>
        </p:grpSpPr>
        <p:sp>
          <p:nvSpPr>
            <p:cNvPr id="48" name="矩形 47">
              <a:extLst>
                <a:ext uri="{FF2B5EF4-FFF2-40B4-BE49-F238E27FC236}">
                  <a16:creationId xmlns:a16="http://schemas.microsoft.com/office/drawing/2014/main" id="{45F334C2-0BC7-456E-909B-A278C7A9A9DF}"/>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49" name="组合 48">
              <a:extLst>
                <a:ext uri="{FF2B5EF4-FFF2-40B4-BE49-F238E27FC236}">
                  <a16:creationId xmlns:a16="http://schemas.microsoft.com/office/drawing/2014/main" id="{2D7E01A4-654E-403E-ADE0-3D1FD95A6314}"/>
                </a:ext>
              </a:extLst>
            </p:cNvPr>
            <p:cNvGrpSpPr/>
            <p:nvPr/>
          </p:nvGrpSpPr>
          <p:grpSpPr>
            <a:xfrm>
              <a:off x="47544" y="7038552"/>
              <a:ext cx="581568" cy="425834"/>
              <a:chOff x="84575" y="6977592"/>
              <a:chExt cx="581568" cy="425834"/>
            </a:xfrm>
          </p:grpSpPr>
          <p:grpSp>
            <p:nvGrpSpPr>
              <p:cNvPr id="50" name="组合 49">
                <a:extLst>
                  <a:ext uri="{FF2B5EF4-FFF2-40B4-BE49-F238E27FC236}">
                    <a16:creationId xmlns:a16="http://schemas.microsoft.com/office/drawing/2014/main" id="{9F492BE5-74E8-42D9-A572-A3AB7951EFF1}"/>
                  </a:ext>
                </a:extLst>
              </p:cNvPr>
              <p:cNvGrpSpPr/>
              <p:nvPr/>
            </p:nvGrpSpPr>
            <p:grpSpPr>
              <a:xfrm>
                <a:off x="84575" y="6979654"/>
                <a:ext cx="317380" cy="421711"/>
                <a:chOff x="14690033" y="2185397"/>
                <a:chExt cx="583830" cy="775754"/>
              </a:xfrm>
            </p:grpSpPr>
            <p:sp>
              <p:nvSpPr>
                <p:cNvPr id="52" name="iŝļíḑe">
                  <a:extLst>
                    <a:ext uri="{FF2B5EF4-FFF2-40B4-BE49-F238E27FC236}">
                      <a16:creationId xmlns:a16="http://schemas.microsoft.com/office/drawing/2014/main" id="{89964FF8-8D7D-4024-9AF4-4A4530AC333D}"/>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şḷíḍé">
                  <a:extLst>
                    <a:ext uri="{FF2B5EF4-FFF2-40B4-BE49-F238E27FC236}">
                      <a16:creationId xmlns:a16="http://schemas.microsoft.com/office/drawing/2014/main" id="{3E9EEB5E-CAE4-4A8B-B3DA-4DB54FBADFB6}"/>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ľïḓe">
                  <a:extLst>
                    <a:ext uri="{FF2B5EF4-FFF2-40B4-BE49-F238E27FC236}">
                      <a16:creationId xmlns:a16="http://schemas.microsoft.com/office/drawing/2014/main" id="{A087C54C-43ED-4F30-9E52-6F09E9268AE7}"/>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ḻídê">
                  <a:extLst>
                    <a:ext uri="{FF2B5EF4-FFF2-40B4-BE49-F238E27FC236}">
                      <a16:creationId xmlns:a16="http://schemas.microsoft.com/office/drawing/2014/main" id="{08105E37-3D17-460C-A81C-79474C74A20A}"/>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îS1íḋè">
                  <a:extLst>
                    <a:ext uri="{FF2B5EF4-FFF2-40B4-BE49-F238E27FC236}">
                      <a16:creationId xmlns:a16="http://schemas.microsoft.com/office/drawing/2014/main" id="{69C58510-C880-44D7-B255-D55094A54864}"/>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íşļíde">
                  <a:extLst>
                    <a:ext uri="{FF2B5EF4-FFF2-40B4-BE49-F238E27FC236}">
                      <a16:creationId xmlns:a16="http://schemas.microsoft.com/office/drawing/2014/main" id="{C4BCE5C2-813E-4F2B-9D34-B98C8090A83F}"/>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51" name="文本框 50">
                <a:extLst>
                  <a:ext uri="{FF2B5EF4-FFF2-40B4-BE49-F238E27FC236}">
                    <a16:creationId xmlns:a16="http://schemas.microsoft.com/office/drawing/2014/main" id="{90E3A359-47A6-4F90-8F03-DDE51EA493D0}"/>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8" name="矩形 57">
            <a:extLst>
              <a:ext uri="{FF2B5EF4-FFF2-40B4-BE49-F238E27FC236}">
                <a16:creationId xmlns:a16="http://schemas.microsoft.com/office/drawing/2014/main" id="{D2A8A16B-CE80-468A-A48D-8A3042B62069}"/>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extLst>
      <p:ext uri="{BB962C8B-B14F-4D97-AF65-F5344CB8AC3E}">
        <p14:creationId xmlns:p14="http://schemas.microsoft.com/office/powerpoint/2010/main" val="39677643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18DF3F9-06F8-4257-A4B3-566F07A3A3BD}"/>
              </a:ext>
            </a:extLst>
          </p:cNvPr>
          <p:cNvSpPr>
            <a:spLocks noGrp="1"/>
          </p:cNvSpPr>
          <p:nvPr>
            <p:ph type="title"/>
          </p:nvPr>
        </p:nvSpPr>
        <p:spPr/>
        <p:txBody>
          <a:bodyPr/>
          <a:lstStyle/>
          <a:p>
            <a:r>
              <a:rPr lang="zh-CN" altLang="en-US" dirty="0"/>
              <a:t>发展历程页</a:t>
            </a:r>
            <a:endParaRPr lang="en-US" dirty="0"/>
          </a:p>
        </p:txBody>
      </p:sp>
      <p:sp>
        <p:nvSpPr>
          <p:cNvPr id="3" name="灯片编号占位符 2">
            <a:extLst>
              <a:ext uri="{FF2B5EF4-FFF2-40B4-BE49-F238E27FC236}">
                <a16:creationId xmlns:a16="http://schemas.microsoft.com/office/drawing/2014/main" id="{C76D098E-A568-4966-A349-7E29D83D592E}"/>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26</a:t>
            </a:fld>
            <a:endParaRPr lang="en-US" dirty="0">
              <a:solidFill>
                <a:srgbClr val="000000">
                  <a:tint val="75000"/>
                </a:srgbClr>
              </a:solidFill>
            </a:endParaRPr>
          </a:p>
        </p:txBody>
      </p:sp>
      <p:cxnSp>
        <p:nvCxnSpPr>
          <p:cNvPr id="35" name="Straight Connector 46">
            <a:extLst>
              <a:ext uri="{FF2B5EF4-FFF2-40B4-BE49-F238E27FC236}">
                <a16:creationId xmlns:a16="http://schemas.microsoft.com/office/drawing/2014/main" id="{1F71DCF0-D93B-438E-8063-3D026DF001D6}"/>
              </a:ext>
            </a:extLst>
          </p:cNvPr>
          <p:cNvCxnSpPr>
            <a:cxnSpLocks/>
          </p:cNvCxnSpPr>
          <p:nvPr/>
        </p:nvCxnSpPr>
        <p:spPr>
          <a:xfrm flipH="1" flipV="1">
            <a:off x="3154159" y="2325094"/>
            <a:ext cx="2907124" cy="14686"/>
          </a:xfrm>
          <a:prstGeom prst="line">
            <a:avLst/>
          </a:prstGeom>
          <a:ln w="9525" cap="rnd" cmpd="sng" algn="ctr">
            <a:solidFill>
              <a:schemeClr val="accent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47">
            <a:extLst>
              <a:ext uri="{FF2B5EF4-FFF2-40B4-BE49-F238E27FC236}">
                <a16:creationId xmlns:a16="http://schemas.microsoft.com/office/drawing/2014/main" id="{FFCEFCF5-E73C-43F2-80F7-925ADAD57F1C}"/>
              </a:ext>
            </a:extLst>
          </p:cNvPr>
          <p:cNvCxnSpPr>
            <a:cxnSpLocks/>
          </p:cNvCxnSpPr>
          <p:nvPr/>
        </p:nvCxnSpPr>
        <p:spPr>
          <a:xfrm flipH="1">
            <a:off x="3977206" y="3461611"/>
            <a:ext cx="2084076" cy="0"/>
          </a:xfrm>
          <a:prstGeom prst="line">
            <a:avLst/>
          </a:prstGeom>
          <a:ln w="9525" cap="rnd" cmpd="sng" algn="ctr">
            <a:solidFill>
              <a:schemeClr val="accent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Connector 48">
            <a:extLst>
              <a:ext uri="{FF2B5EF4-FFF2-40B4-BE49-F238E27FC236}">
                <a16:creationId xmlns:a16="http://schemas.microsoft.com/office/drawing/2014/main" id="{73C318C5-5B7D-47AD-BD2D-A13D028DBB2E}"/>
              </a:ext>
            </a:extLst>
          </p:cNvPr>
          <p:cNvCxnSpPr>
            <a:cxnSpLocks/>
          </p:cNvCxnSpPr>
          <p:nvPr/>
        </p:nvCxnSpPr>
        <p:spPr>
          <a:xfrm flipH="1">
            <a:off x="5110907" y="4788241"/>
            <a:ext cx="950375" cy="0"/>
          </a:xfrm>
          <a:prstGeom prst="line">
            <a:avLst/>
          </a:prstGeom>
          <a:ln w="9525" cap="rnd" cmpd="sng" algn="ctr">
            <a:solidFill>
              <a:schemeClr val="accent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8" name="TextBox 53">
            <a:extLst>
              <a:ext uri="{FF2B5EF4-FFF2-40B4-BE49-F238E27FC236}">
                <a16:creationId xmlns:a16="http://schemas.microsoft.com/office/drawing/2014/main" id="{2D321B06-41F8-492C-BD6D-926BEA91CF43}"/>
              </a:ext>
            </a:extLst>
          </p:cNvPr>
          <p:cNvSpPr txBox="1"/>
          <p:nvPr/>
        </p:nvSpPr>
        <p:spPr bwMode="gray">
          <a:xfrm>
            <a:off x="6061283" y="1556928"/>
            <a:ext cx="5651292" cy="1262863"/>
          </a:xfrm>
          <a:prstGeom prst="rect">
            <a:avLst/>
          </a:prstGeom>
          <a:solidFill>
            <a:schemeClr val="bg1"/>
          </a:solidFill>
          <a:ln w="6350">
            <a:solidFill>
              <a:schemeClr val="bg1">
                <a:lumMod val="75000"/>
              </a:schemeClr>
            </a:solidFill>
            <a:miter lim="800000"/>
            <a:headEnd/>
            <a:tailEnd/>
          </a:ln>
        </p:spPr>
        <p:txBody>
          <a:bodyPr wrap="square" lIns="108000" tIns="360000" rIns="36000" bIns="0" rtlCol="0" anchor="t" anchorCtr="0">
            <a:noAutofit/>
          </a:bodyPr>
          <a:lstStyle/>
          <a:p>
            <a:pPr>
              <a:lnSpc>
                <a:spcPct val="120000"/>
              </a:lnSpc>
              <a:buSzPct val="100000"/>
              <a:buFont typeface="Trebuchet MS" panose="020B0603020202020204" pitchFamily="34" charset="0"/>
              <a:buChar char="​"/>
            </a:pPr>
            <a:r>
              <a:rPr lang="zh-CN" altLang="en-US" dirty="0">
                <a:solidFill>
                  <a:schemeClr val="tx1">
                    <a:lumMod val="75000"/>
                    <a:lumOff val="25000"/>
                  </a:schemeClr>
                </a:solidFill>
                <a:latin typeface="Microsoft YaHei" panose="020B0503020204020204" pitchFamily="34" charset="-122"/>
                <a:ea typeface="Microsoft YaHei" panose="020B0503020204020204" pitchFamily="34" charset="-122"/>
                <a:cs typeface="+mn-ea"/>
                <a:sym typeface="+mn-lt"/>
              </a:rPr>
              <a:t>这里写第三阶段具体成就，以此来说明这个阶段的一个具体发展状况，建议选择有代表性的事件进行说明</a:t>
            </a:r>
            <a:endParaRPr lang="en-US" altLang="zh-CN" dirty="0" err="1">
              <a:solidFill>
                <a:schemeClr val="tx1">
                  <a:lumMod val="75000"/>
                  <a:lumOff val="25000"/>
                </a:schemeClr>
              </a:solidFill>
              <a:latin typeface="Trebuchet MS" panose="020B0603020202020204" pitchFamily="34" charset="0"/>
              <a:cs typeface="+mn-ea"/>
              <a:sym typeface="+mn-lt"/>
            </a:endParaRPr>
          </a:p>
        </p:txBody>
      </p:sp>
      <p:sp>
        <p:nvSpPr>
          <p:cNvPr id="39" name="TextBox 54">
            <a:extLst>
              <a:ext uri="{FF2B5EF4-FFF2-40B4-BE49-F238E27FC236}">
                <a16:creationId xmlns:a16="http://schemas.microsoft.com/office/drawing/2014/main" id="{6C4A890D-AFEC-40C3-8D7D-C2D93CC5BF6B}"/>
              </a:ext>
            </a:extLst>
          </p:cNvPr>
          <p:cNvSpPr txBox="1"/>
          <p:nvPr/>
        </p:nvSpPr>
        <p:spPr bwMode="gray">
          <a:xfrm>
            <a:off x="6061283" y="3086813"/>
            <a:ext cx="5651292" cy="1262863"/>
          </a:xfrm>
          <a:prstGeom prst="rect">
            <a:avLst/>
          </a:prstGeom>
          <a:solidFill>
            <a:schemeClr val="bg1"/>
          </a:solidFill>
          <a:ln w="6350">
            <a:solidFill>
              <a:schemeClr val="bg1">
                <a:lumMod val="75000"/>
              </a:schemeClr>
            </a:solidFill>
            <a:miter lim="800000"/>
            <a:headEnd/>
            <a:tailEnd/>
          </a:ln>
        </p:spPr>
        <p:txBody>
          <a:bodyPr wrap="square" lIns="108000" tIns="360000" rIns="36000" bIns="0" rtlCol="0" anchor="t" anchorCtr="0">
            <a:noAutofit/>
          </a:bodyPr>
          <a:lstStyle/>
          <a:p>
            <a:pPr>
              <a:lnSpc>
                <a:spcPct val="120000"/>
              </a:lnSpc>
              <a:buSzPct val="100000"/>
              <a:buFont typeface="Trebuchet MS" panose="020B0603020202020204" pitchFamily="34" charset="0"/>
              <a:buChar char="​"/>
            </a:pPr>
            <a:r>
              <a:rPr lang="zh-CN" altLang="en-US" dirty="0">
                <a:solidFill>
                  <a:schemeClr val="tx1">
                    <a:lumMod val="75000"/>
                    <a:lumOff val="25000"/>
                  </a:schemeClr>
                </a:solidFill>
                <a:latin typeface="Microsoft YaHei" panose="020B0503020204020204" pitchFamily="34" charset="-122"/>
                <a:ea typeface="Microsoft YaHei" panose="020B0503020204020204" pitchFamily="34" charset="-122"/>
                <a:cs typeface="+mn-ea"/>
                <a:sym typeface="+mn-lt"/>
              </a:rPr>
              <a:t>这里写第二阶段具体成就，以此来说明这个阶段的一个具体发展状况，建议选择有代表性的事件进行说明</a:t>
            </a:r>
            <a:endParaRPr lang="en-US" altLang="zh-CN" dirty="0" err="1">
              <a:solidFill>
                <a:schemeClr val="tx1">
                  <a:lumMod val="75000"/>
                  <a:lumOff val="25000"/>
                </a:schemeClr>
              </a:solidFill>
              <a:latin typeface="Trebuchet MS" panose="020B0603020202020204" pitchFamily="34" charset="0"/>
              <a:cs typeface="+mn-ea"/>
              <a:sym typeface="+mn-lt"/>
            </a:endParaRPr>
          </a:p>
        </p:txBody>
      </p:sp>
      <p:sp>
        <p:nvSpPr>
          <p:cNvPr id="40" name="TextBox 55">
            <a:extLst>
              <a:ext uri="{FF2B5EF4-FFF2-40B4-BE49-F238E27FC236}">
                <a16:creationId xmlns:a16="http://schemas.microsoft.com/office/drawing/2014/main" id="{87F65600-8034-4F98-8FC5-03C483198EF8}"/>
              </a:ext>
            </a:extLst>
          </p:cNvPr>
          <p:cNvSpPr txBox="1"/>
          <p:nvPr/>
        </p:nvSpPr>
        <p:spPr bwMode="gray">
          <a:xfrm>
            <a:off x="6061283" y="4616698"/>
            <a:ext cx="5651292" cy="1262863"/>
          </a:xfrm>
          <a:prstGeom prst="rect">
            <a:avLst/>
          </a:prstGeom>
          <a:solidFill>
            <a:schemeClr val="bg1"/>
          </a:solidFill>
          <a:ln w="6350">
            <a:solidFill>
              <a:schemeClr val="bg1">
                <a:lumMod val="75000"/>
              </a:schemeClr>
            </a:solidFill>
            <a:miter lim="800000"/>
            <a:headEnd/>
            <a:tailEnd/>
          </a:ln>
        </p:spPr>
        <p:txBody>
          <a:bodyPr wrap="square" lIns="108000" tIns="360000" rIns="36000" bIns="0" rtlCol="0" anchor="t" anchorCtr="0">
            <a:noAutofit/>
          </a:bodyPr>
          <a:lstStyle/>
          <a:p>
            <a:pPr>
              <a:lnSpc>
                <a:spcPct val="120000"/>
              </a:lnSpc>
              <a:buSzPct val="100000"/>
              <a:buFont typeface="Trebuchet MS" panose="020B0603020202020204" pitchFamily="34" charset="0"/>
              <a:buChar char="​"/>
            </a:pPr>
            <a:r>
              <a:rPr lang="zh-CN" altLang="en-US" dirty="0">
                <a:solidFill>
                  <a:schemeClr val="tx1">
                    <a:lumMod val="75000"/>
                    <a:lumOff val="25000"/>
                  </a:schemeClr>
                </a:solidFill>
                <a:latin typeface="Microsoft YaHei" panose="020B0503020204020204" pitchFamily="34" charset="-122"/>
                <a:ea typeface="Microsoft YaHei" panose="020B0503020204020204" pitchFamily="34" charset="-122"/>
                <a:cs typeface="+mn-ea"/>
                <a:sym typeface="+mn-lt"/>
              </a:rPr>
              <a:t>这里写第一阶段具体成就，以此来说明这个阶段的一个具体发展状况，建议选择有代表性的事件进行说明</a:t>
            </a:r>
            <a:endParaRPr lang="en-US" altLang="zh-CN" dirty="0" err="1">
              <a:solidFill>
                <a:schemeClr val="tx1">
                  <a:lumMod val="75000"/>
                  <a:lumOff val="25000"/>
                </a:schemeClr>
              </a:solidFill>
              <a:latin typeface="Trebuchet MS" panose="020B0603020202020204" pitchFamily="34" charset="0"/>
              <a:cs typeface="+mn-ea"/>
              <a:sym typeface="+mn-lt"/>
            </a:endParaRPr>
          </a:p>
        </p:txBody>
      </p:sp>
      <p:sp>
        <p:nvSpPr>
          <p:cNvPr id="32" name="Rectangle 90">
            <a:extLst>
              <a:ext uri="{FF2B5EF4-FFF2-40B4-BE49-F238E27FC236}">
                <a16:creationId xmlns:a16="http://schemas.microsoft.com/office/drawing/2014/main" id="{3C6DC9FD-2673-440A-83DF-ADB866A13FAE}"/>
              </a:ext>
            </a:extLst>
          </p:cNvPr>
          <p:cNvSpPr/>
          <p:nvPr/>
        </p:nvSpPr>
        <p:spPr>
          <a:xfrm>
            <a:off x="6213553" y="4456608"/>
            <a:ext cx="1602119" cy="392754"/>
          </a:xfrm>
          <a:prstGeom prst="roundRect">
            <a:avLst>
              <a:gd name="adj" fmla="val 50000"/>
            </a:avLst>
          </a:prstGeom>
          <a:solidFill>
            <a:schemeClr val="accent1"/>
          </a:solidFill>
          <a:ln w="190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2000" b="1" dirty="0">
                <a:solidFill>
                  <a:srgbClr val="FFFFFF"/>
                </a:solidFill>
              </a:rPr>
              <a:t>第一阶段</a:t>
            </a:r>
            <a:endParaRPr lang="en-US" sz="2000" b="1" dirty="0">
              <a:solidFill>
                <a:srgbClr val="FFFFFF"/>
              </a:solidFill>
            </a:endParaRPr>
          </a:p>
        </p:txBody>
      </p:sp>
      <p:sp>
        <p:nvSpPr>
          <p:cNvPr id="33" name="Rectangle 91">
            <a:extLst>
              <a:ext uri="{FF2B5EF4-FFF2-40B4-BE49-F238E27FC236}">
                <a16:creationId xmlns:a16="http://schemas.microsoft.com/office/drawing/2014/main" id="{47E15042-F9F8-40E0-959B-374C16D8D6F1}"/>
              </a:ext>
            </a:extLst>
          </p:cNvPr>
          <p:cNvSpPr/>
          <p:nvPr/>
        </p:nvSpPr>
        <p:spPr>
          <a:xfrm>
            <a:off x="6213553" y="2934801"/>
            <a:ext cx="1602119" cy="392754"/>
          </a:xfrm>
          <a:prstGeom prst="roundRect">
            <a:avLst>
              <a:gd name="adj" fmla="val 50000"/>
            </a:avLst>
          </a:prstGeom>
          <a:solidFill>
            <a:schemeClr val="accent1"/>
          </a:solidFill>
          <a:ln w="190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2000" b="1" dirty="0">
                <a:solidFill>
                  <a:srgbClr val="FFFFFF"/>
                </a:solidFill>
              </a:rPr>
              <a:t>第二阶段</a:t>
            </a:r>
            <a:endParaRPr lang="en-US" altLang="zh-CN" sz="2000" b="1" dirty="0">
              <a:solidFill>
                <a:srgbClr val="FFFFFF"/>
              </a:solidFill>
            </a:endParaRPr>
          </a:p>
        </p:txBody>
      </p:sp>
      <p:sp>
        <p:nvSpPr>
          <p:cNvPr id="34" name="Rectangle 92">
            <a:extLst>
              <a:ext uri="{FF2B5EF4-FFF2-40B4-BE49-F238E27FC236}">
                <a16:creationId xmlns:a16="http://schemas.microsoft.com/office/drawing/2014/main" id="{09D27791-3C11-4DEE-B431-48117E66BD0A}"/>
              </a:ext>
            </a:extLst>
          </p:cNvPr>
          <p:cNvSpPr/>
          <p:nvPr/>
        </p:nvSpPr>
        <p:spPr>
          <a:xfrm>
            <a:off x="6201978" y="1381927"/>
            <a:ext cx="1602119" cy="392754"/>
          </a:xfrm>
          <a:prstGeom prst="roundRect">
            <a:avLst>
              <a:gd name="adj" fmla="val 50000"/>
            </a:avLst>
          </a:prstGeom>
          <a:solidFill>
            <a:schemeClr val="accent1"/>
          </a:solidFill>
          <a:ln w="190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2000" b="1" dirty="0">
                <a:solidFill>
                  <a:srgbClr val="FFFFFF"/>
                </a:solidFill>
              </a:rPr>
              <a:t>第三阶段</a:t>
            </a:r>
            <a:endParaRPr lang="en-US" altLang="zh-CN" sz="2000" b="1" dirty="0">
              <a:solidFill>
                <a:srgbClr val="FFFFFF"/>
              </a:solidFill>
            </a:endParaRPr>
          </a:p>
        </p:txBody>
      </p:sp>
    </p:spTree>
    <p:extLst>
      <p:ext uri="{BB962C8B-B14F-4D97-AF65-F5344CB8AC3E}">
        <p14:creationId xmlns:p14="http://schemas.microsoft.com/office/powerpoint/2010/main" val="16336014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梯形 27">
            <a:extLst>
              <a:ext uri="{FF2B5EF4-FFF2-40B4-BE49-F238E27FC236}">
                <a16:creationId xmlns:a16="http://schemas.microsoft.com/office/drawing/2014/main" id="{394A2832-D6F5-4152-9588-7A14435C3C03}"/>
              </a:ext>
            </a:extLst>
          </p:cNvPr>
          <p:cNvSpPr/>
          <p:nvPr/>
        </p:nvSpPr>
        <p:spPr>
          <a:xfrm>
            <a:off x="515939" y="4685001"/>
            <a:ext cx="11196636" cy="1444337"/>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sp>
        <p:nvSpPr>
          <p:cNvPr id="31" name="梯形 30">
            <a:extLst>
              <a:ext uri="{FF2B5EF4-FFF2-40B4-BE49-F238E27FC236}">
                <a16:creationId xmlns:a16="http://schemas.microsoft.com/office/drawing/2014/main" id="{6A485E1E-4CCE-444E-9888-819DD896A469}"/>
              </a:ext>
            </a:extLst>
          </p:cNvPr>
          <p:cNvSpPr/>
          <p:nvPr/>
        </p:nvSpPr>
        <p:spPr>
          <a:xfrm>
            <a:off x="1001831" y="4696766"/>
            <a:ext cx="10224852" cy="1318978"/>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sp>
        <p:nvSpPr>
          <p:cNvPr id="2" name="标题 1">
            <a:extLst>
              <a:ext uri="{FF2B5EF4-FFF2-40B4-BE49-F238E27FC236}">
                <a16:creationId xmlns:a16="http://schemas.microsoft.com/office/drawing/2014/main" id="{F125D36F-C1EE-426B-9C20-409E14DB86A5}"/>
              </a:ext>
            </a:extLst>
          </p:cNvPr>
          <p:cNvSpPr>
            <a:spLocks noGrp="1"/>
          </p:cNvSpPr>
          <p:nvPr>
            <p:ph type="title"/>
          </p:nvPr>
        </p:nvSpPr>
        <p:spPr/>
        <p:txBody>
          <a:bodyPr/>
          <a:lstStyle/>
          <a:p>
            <a:r>
              <a:rPr lang="zh-CN" altLang="en-US" dirty="0"/>
              <a:t>调研成果页</a:t>
            </a:r>
            <a:endParaRPr lang="en-US" dirty="0"/>
          </a:p>
        </p:txBody>
      </p:sp>
      <p:sp>
        <p:nvSpPr>
          <p:cNvPr id="3" name="灯片编号占位符 2">
            <a:extLst>
              <a:ext uri="{FF2B5EF4-FFF2-40B4-BE49-F238E27FC236}">
                <a16:creationId xmlns:a16="http://schemas.microsoft.com/office/drawing/2014/main" id="{0AADDE66-C873-4D85-97E7-2368A1EABDBD}"/>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27</a:t>
            </a:fld>
            <a:endParaRPr lang="en-US" dirty="0">
              <a:solidFill>
                <a:srgbClr val="000000">
                  <a:tint val="75000"/>
                </a:srgbClr>
              </a:solidFill>
            </a:endParaRPr>
          </a:p>
        </p:txBody>
      </p:sp>
      <p:grpSp>
        <p:nvGrpSpPr>
          <p:cNvPr id="8" name="组合 7">
            <a:extLst>
              <a:ext uri="{FF2B5EF4-FFF2-40B4-BE49-F238E27FC236}">
                <a16:creationId xmlns:a16="http://schemas.microsoft.com/office/drawing/2014/main" id="{04F97E6B-151E-47C3-BC25-81CE4A8E6770}"/>
              </a:ext>
            </a:extLst>
          </p:cNvPr>
          <p:cNvGrpSpPr/>
          <p:nvPr/>
        </p:nvGrpSpPr>
        <p:grpSpPr>
          <a:xfrm>
            <a:off x="2847444" y="2538901"/>
            <a:ext cx="6144380" cy="3072190"/>
            <a:chOff x="1967680" y="2171755"/>
            <a:chExt cx="7903908" cy="3951954"/>
          </a:xfrm>
        </p:grpSpPr>
        <p:sp>
          <p:nvSpPr>
            <p:cNvPr id="4" name="Oval 7">
              <a:extLst>
                <a:ext uri="{FF2B5EF4-FFF2-40B4-BE49-F238E27FC236}">
                  <a16:creationId xmlns:a16="http://schemas.microsoft.com/office/drawing/2014/main" id="{35526753-C07F-4D87-88DA-E233A99D1C08}"/>
                </a:ext>
              </a:extLst>
            </p:cNvPr>
            <p:cNvSpPr/>
            <p:nvPr/>
          </p:nvSpPr>
          <p:spPr>
            <a:xfrm>
              <a:off x="3803631" y="3856034"/>
              <a:ext cx="4232006" cy="2116002"/>
            </a:xfrm>
            <a:custGeom>
              <a:avLst/>
              <a:gdLst>
                <a:gd name="connsiteX0" fmla="*/ 0 w 4838700"/>
                <a:gd name="connsiteY0" fmla="*/ 2419350 h 4838700"/>
                <a:gd name="connsiteX1" fmla="*/ 2419350 w 4838700"/>
                <a:gd name="connsiteY1" fmla="*/ 0 h 4838700"/>
                <a:gd name="connsiteX2" fmla="*/ 4838700 w 4838700"/>
                <a:gd name="connsiteY2" fmla="*/ 2419350 h 4838700"/>
                <a:gd name="connsiteX3" fmla="*/ 2419350 w 4838700"/>
                <a:gd name="connsiteY3" fmla="*/ 4838700 h 4838700"/>
                <a:gd name="connsiteX4" fmla="*/ 0 w 4838700"/>
                <a:gd name="connsiteY4" fmla="*/ 2419350 h 4838700"/>
                <a:gd name="connsiteX0" fmla="*/ 2419350 w 4838700"/>
                <a:gd name="connsiteY0" fmla="*/ 4838700 h 4930140"/>
                <a:gd name="connsiteX1" fmla="*/ 0 w 4838700"/>
                <a:gd name="connsiteY1" fmla="*/ 2419350 h 4930140"/>
                <a:gd name="connsiteX2" fmla="*/ 2419350 w 4838700"/>
                <a:gd name="connsiteY2" fmla="*/ 0 h 4930140"/>
                <a:gd name="connsiteX3" fmla="*/ 4838700 w 4838700"/>
                <a:gd name="connsiteY3" fmla="*/ 2419350 h 4930140"/>
                <a:gd name="connsiteX4" fmla="*/ 2510790 w 4838700"/>
                <a:gd name="connsiteY4" fmla="*/ 4930140 h 4930140"/>
                <a:gd name="connsiteX0" fmla="*/ 2419350 w 4838700"/>
                <a:gd name="connsiteY0" fmla="*/ 4838700 h 4838700"/>
                <a:gd name="connsiteX1" fmla="*/ 0 w 4838700"/>
                <a:gd name="connsiteY1" fmla="*/ 2419350 h 4838700"/>
                <a:gd name="connsiteX2" fmla="*/ 2419350 w 4838700"/>
                <a:gd name="connsiteY2" fmla="*/ 0 h 4838700"/>
                <a:gd name="connsiteX3" fmla="*/ 4838700 w 4838700"/>
                <a:gd name="connsiteY3" fmla="*/ 2419350 h 4838700"/>
                <a:gd name="connsiteX0" fmla="*/ 0 w 4838700"/>
                <a:gd name="connsiteY0" fmla="*/ 2419350 h 2419350"/>
                <a:gd name="connsiteX1" fmla="*/ 2419350 w 4838700"/>
                <a:gd name="connsiteY1" fmla="*/ 0 h 2419350"/>
                <a:gd name="connsiteX2" fmla="*/ 4838700 w 4838700"/>
                <a:gd name="connsiteY2" fmla="*/ 2419350 h 2419350"/>
              </a:gdLst>
              <a:ahLst/>
              <a:cxnLst>
                <a:cxn ang="0">
                  <a:pos x="connsiteX0" y="connsiteY0"/>
                </a:cxn>
                <a:cxn ang="0">
                  <a:pos x="connsiteX1" y="connsiteY1"/>
                </a:cxn>
                <a:cxn ang="0">
                  <a:pos x="connsiteX2" y="connsiteY2"/>
                </a:cxn>
              </a:cxnLst>
              <a:rect l="l" t="t" r="r" b="b"/>
              <a:pathLst>
                <a:path w="4838700" h="2419350">
                  <a:moveTo>
                    <a:pt x="0" y="2419350"/>
                  </a:moveTo>
                  <a:cubicBezTo>
                    <a:pt x="0" y="1083180"/>
                    <a:pt x="1083180" y="0"/>
                    <a:pt x="2419350" y="0"/>
                  </a:cubicBezTo>
                  <a:cubicBezTo>
                    <a:pt x="3755520" y="0"/>
                    <a:pt x="4838700" y="1083180"/>
                    <a:pt x="4838700" y="2419350"/>
                  </a:cubicBezTo>
                </a:path>
              </a:pathLst>
            </a:custGeom>
            <a:noFill/>
            <a:ln w="6350" cap="rnd" cmpd="sng" algn="ctr">
              <a:solidFill>
                <a:schemeClr val="bg1">
                  <a:lumMod val="75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5" name="Oval 58">
              <a:extLst>
                <a:ext uri="{FF2B5EF4-FFF2-40B4-BE49-F238E27FC236}">
                  <a16:creationId xmlns:a16="http://schemas.microsoft.com/office/drawing/2014/main" id="{01230399-AD35-43A1-98CC-48A516BA1DEF}"/>
                </a:ext>
              </a:extLst>
            </p:cNvPr>
            <p:cNvSpPr/>
            <p:nvPr/>
          </p:nvSpPr>
          <p:spPr>
            <a:xfrm>
              <a:off x="2974911" y="3058828"/>
              <a:ext cx="5889447" cy="2944723"/>
            </a:xfrm>
            <a:custGeom>
              <a:avLst/>
              <a:gdLst>
                <a:gd name="connsiteX0" fmla="*/ 0 w 6370074"/>
                <a:gd name="connsiteY0" fmla="*/ 3185037 h 6370074"/>
                <a:gd name="connsiteX1" fmla="*/ 3185037 w 6370074"/>
                <a:gd name="connsiteY1" fmla="*/ 0 h 6370074"/>
                <a:gd name="connsiteX2" fmla="*/ 6370074 w 6370074"/>
                <a:gd name="connsiteY2" fmla="*/ 3185037 h 6370074"/>
                <a:gd name="connsiteX3" fmla="*/ 3185037 w 6370074"/>
                <a:gd name="connsiteY3" fmla="*/ 6370074 h 6370074"/>
                <a:gd name="connsiteX4" fmla="*/ 0 w 6370074"/>
                <a:gd name="connsiteY4" fmla="*/ 3185037 h 6370074"/>
                <a:gd name="connsiteX0" fmla="*/ 3185037 w 6370074"/>
                <a:gd name="connsiteY0" fmla="*/ 6370074 h 6461514"/>
                <a:gd name="connsiteX1" fmla="*/ 0 w 6370074"/>
                <a:gd name="connsiteY1" fmla="*/ 3185037 h 6461514"/>
                <a:gd name="connsiteX2" fmla="*/ 3185037 w 6370074"/>
                <a:gd name="connsiteY2" fmla="*/ 0 h 6461514"/>
                <a:gd name="connsiteX3" fmla="*/ 6370074 w 6370074"/>
                <a:gd name="connsiteY3" fmla="*/ 3185037 h 6461514"/>
                <a:gd name="connsiteX4" fmla="*/ 3276477 w 6370074"/>
                <a:gd name="connsiteY4" fmla="*/ 6461514 h 6461514"/>
                <a:gd name="connsiteX0" fmla="*/ 3185037 w 6370074"/>
                <a:gd name="connsiteY0" fmla="*/ 6370074 h 6370074"/>
                <a:gd name="connsiteX1" fmla="*/ 0 w 6370074"/>
                <a:gd name="connsiteY1" fmla="*/ 3185037 h 6370074"/>
                <a:gd name="connsiteX2" fmla="*/ 3185037 w 6370074"/>
                <a:gd name="connsiteY2" fmla="*/ 0 h 6370074"/>
                <a:gd name="connsiteX3" fmla="*/ 6370074 w 6370074"/>
                <a:gd name="connsiteY3" fmla="*/ 3185037 h 6370074"/>
                <a:gd name="connsiteX0" fmla="*/ 0 w 6370074"/>
                <a:gd name="connsiteY0" fmla="*/ 3185037 h 3185037"/>
                <a:gd name="connsiteX1" fmla="*/ 3185037 w 6370074"/>
                <a:gd name="connsiteY1" fmla="*/ 0 h 3185037"/>
                <a:gd name="connsiteX2" fmla="*/ 6370074 w 6370074"/>
                <a:gd name="connsiteY2" fmla="*/ 3185037 h 3185037"/>
              </a:gdLst>
              <a:ahLst/>
              <a:cxnLst>
                <a:cxn ang="0">
                  <a:pos x="connsiteX0" y="connsiteY0"/>
                </a:cxn>
                <a:cxn ang="0">
                  <a:pos x="connsiteX1" y="connsiteY1"/>
                </a:cxn>
                <a:cxn ang="0">
                  <a:pos x="connsiteX2" y="connsiteY2"/>
                </a:cxn>
              </a:cxnLst>
              <a:rect l="l" t="t" r="r" b="b"/>
              <a:pathLst>
                <a:path w="6370074" h="3185037">
                  <a:moveTo>
                    <a:pt x="0" y="3185037"/>
                  </a:moveTo>
                  <a:cubicBezTo>
                    <a:pt x="0" y="1425990"/>
                    <a:pt x="1425990" y="0"/>
                    <a:pt x="3185037" y="0"/>
                  </a:cubicBezTo>
                  <a:cubicBezTo>
                    <a:pt x="4944084" y="0"/>
                    <a:pt x="6370074" y="1425990"/>
                    <a:pt x="6370074" y="3185037"/>
                  </a:cubicBezTo>
                </a:path>
              </a:pathLst>
            </a:custGeom>
            <a:noFill/>
            <a:ln w="6350" cap="rnd" cmpd="sng" algn="ctr">
              <a:solidFill>
                <a:schemeClr val="bg1">
                  <a:lumMod val="85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6" name="Oval 60">
              <a:extLst>
                <a:ext uri="{FF2B5EF4-FFF2-40B4-BE49-F238E27FC236}">
                  <a16:creationId xmlns:a16="http://schemas.microsoft.com/office/drawing/2014/main" id="{1223C1F0-20A0-4A6C-9FFB-5378FE2BCD5B}"/>
                </a:ext>
              </a:extLst>
            </p:cNvPr>
            <p:cNvSpPr/>
            <p:nvPr/>
          </p:nvSpPr>
          <p:spPr>
            <a:xfrm>
              <a:off x="1967680" y="2171755"/>
              <a:ext cx="7903908" cy="3951954"/>
            </a:xfrm>
            <a:custGeom>
              <a:avLst/>
              <a:gdLst>
                <a:gd name="connsiteX0" fmla="*/ 0 w 7903908"/>
                <a:gd name="connsiteY0" fmla="*/ 3951954 h 7903908"/>
                <a:gd name="connsiteX1" fmla="*/ 3951954 w 7903908"/>
                <a:gd name="connsiteY1" fmla="*/ 0 h 7903908"/>
                <a:gd name="connsiteX2" fmla="*/ 7903908 w 7903908"/>
                <a:gd name="connsiteY2" fmla="*/ 3951954 h 7903908"/>
                <a:gd name="connsiteX3" fmla="*/ 3951954 w 7903908"/>
                <a:gd name="connsiteY3" fmla="*/ 7903908 h 7903908"/>
                <a:gd name="connsiteX4" fmla="*/ 0 w 7903908"/>
                <a:gd name="connsiteY4" fmla="*/ 3951954 h 7903908"/>
                <a:gd name="connsiteX0" fmla="*/ 3951954 w 7903908"/>
                <a:gd name="connsiteY0" fmla="*/ 7903908 h 7995348"/>
                <a:gd name="connsiteX1" fmla="*/ 0 w 7903908"/>
                <a:gd name="connsiteY1" fmla="*/ 3951954 h 7995348"/>
                <a:gd name="connsiteX2" fmla="*/ 3951954 w 7903908"/>
                <a:gd name="connsiteY2" fmla="*/ 0 h 7995348"/>
                <a:gd name="connsiteX3" fmla="*/ 7903908 w 7903908"/>
                <a:gd name="connsiteY3" fmla="*/ 3951954 h 7995348"/>
                <a:gd name="connsiteX4" fmla="*/ 4043394 w 7903908"/>
                <a:gd name="connsiteY4" fmla="*/ 7995348 h 7995348"/>
                <a:gd name="connsiteX0" fmla="*/ 3951954 w 7903908"/>
                <a:gd name="connsiteY0" fmla="*/ 7903908 h 7903908"/>
                <a:gd name="connsiteX1" fmla="*/ 0 w 7903908"/>
                <a:gd name="connsiteY1" fmla="*/ 3951954 h 7903908"/>
                <a:gd name="connsiteX2" fmla="*/ 3951954 w 7903908"/>
                <a:gd name="connsiteY2" fmla="*/ 0 h 7903908"/>
                <a:gd name="connsiteX3" fmla="*/ 7903908 w 7903908"/>
                <a:gd name="connsiteY3" fmla="*/ 3951954 h 7903908"/>
                <a:gd name="connsiteX0" fmla="*/ 0 w 7903908"/>
                <a:gd name="connsiteY0" fmla="*/ 3951954 h 3951954"/>
                <a:gd name="connsiteX1" fmla="*/ 3951954 w 7903908"/>
                <a:gd name="connsiteY1" fmla="*/ 0 h 3951954"/>
                <a:gd name="connsiteX2" fmla="*/ 7903908 w 7903908"/>
                <a:gd name="connsiteY2" fmla="*/ 3951954 h 3951954"/>
              </a:gdLst>
              <a:ahLst/>
              <a:cxnLst>
                <a:cxn ang="0">
                  <a:pos x="connsiteX0" y="connsiteY0"/>
                </a:cxn>
                <a:cxn ang="0">
                  <a:pos x="connsiteX1" y="connsiteY1"/>
                </a:cxn>
                <a:cxn ang="0">
                  <a:pos x="connsiteX2" y="connsiteY2"/>
                </a:cxn>
              </a:cxnLst>
              <a:rect l="l" t="t" r="r" b="b"/>
              <a:pathLst>
                <a:path w="7903908" h="3951954">
                  <a:moveTo>
                    <a:pt x="0" y="3951954"/>
                  </a:moveTo>
                  <a:cubicBezTo>
                    <a:pt x="0" y="1769350"/>
                    <a:pt x="1769350" y="0"/>
                    <a:pt x="3951954" y="0"/>
                  </a:cubicBezTo>
                  <a:cubicBezTo>
                    <a:pt x="6134558" y="0"/>
                    <a:pt x="7903908" y="1769350"/>
                    <a:pt x="7903908" y="3951954"/>
                  </a:cubicBezTo>
                </a:path>
              </a:pathLst>
            </a:custGeom>
            <a:noFill/>
            <a:ln w="3175" cap="rnd" cmpd="sng" algn="ctr">
              <a:solidFill>
                <a:schemeClr val="bg1">
                  <a:lumMod val="95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pic>
        <p:nvPicPr>
          <p:cNvPr id="7" name="Picture 6">
            <a:extLst>
              <a:ext uri="{FF2B5EF4-FFF2-40B4-BE49-F238E27FC236}">
                <a16:creationId xmlns:a16="http://schemas.microsoft.com/office/drawing/2014/main" id="{BAB2DACA-FDFD-47BF-9F6C-F4D930FE56FF}"/>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593272" y="4422295"/>
            <a:ext cx="9047018" cy="1452798"/>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pic>
      <p:grpSp>
        <p:nvGrpSpPr>
          <p:cNvPr id="35" name="组合 34">
            <a:extLst>
              <a:ext uri="{FF2B5EF4-FFF2-40B4-BE49-F238E27FC236}">
                <a16:creationId xmlns:a16="http://schemas.microsoft.com/office/drawing/2014/main" id="{992245DB-CE0F-465E-BBB9-81C1DFDC23FC}"/>
              </a:ext>
            </a:extLst>
          </p:cNvPr>
          <p:cNvGrpSpPr/>
          <p:nvPr/>
        </p:nvGrpSpPr>
        <p:grpSpPr>
          <a:xfrm>
            <a:off x="3578494" y="3063635"/>
            <a:ext cx="1035070" cy="1035070"/>
            <a:chOff x="6444178" y="1503679"/>
            <a:chExt cx="345682" cy="345681"/>
          </a:xfrm>
        </p:grpSpPr>
        <p:sp>
          <p:nvSpPr>
            <p:cNvPr id="36" name="ïślîḍé">
              <a:extLst>
                <a:ext uri="{FF2B5EF4-FFF2-40B4-BE49-F238E27FC236}">
                  <a16:creationId xmlns:a16="http://schemas.microsoft.com/office/drawing/2014/main" id="{9833B125-8B83-4881-83FC-2F44461F3D9A}"/>
                </a:ext>
              </a:extLst>
            </p:cNvPr>
            <p:cNvSpPr/>
            <p:nvPr/>
          </p:nvSpPr>
          <p:spPr>
            <a:xfrm>
              <a:off x="6444178" y="1503679"/>
              <a:ext cx="345682" cy="345681"/>
            </a:xfrm>
            <a:prstGeom prst="ellipse">
              <a:avLst/>
            </a:prstGeom>
            <a:solidFill>
              <a:schemeClr val="bg1"/>
            </a:solidFill>
            <a:ln w="19050" cap="flat">
              <a:solidFill>
                <a:schemeClr val="accent1"/>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7" name="ï$ļîḓê">
              <a:extLst>
                <a:ext uri="{FF2B5EF4-FFF2-40B4-BE49-F238E27FC236}">
                  <a16:creationId xmlns:a16="http://schemas.microsoft.com/office/drawing/2014/main" id="{46F5F346-6A6C-45D0-BF99-37F7B800FD01}"/>
                </a:ext>
              </a:extLst>
            </p:cNvPr>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nvGrpSpPr>
          <p:cNvPr id="32" name="组合 31">
            <a:extLst>
              <a:ext uri="{FF2B5EF4-FFF2-40B4-BE49-F238E27FC236}">
                <a16:creationId xmlns:a16="http://schemas.microsoft.com/office/drawing/2014/main" id="{767C7921-0406-4CE3-A769-E4A892E9ABE0}"/>
              </a:ext>
            </a:extLst>
          </p:cNvPr>
          <p:cNvGrpSpPr/>
          <p:nvPr/>
        </p:nvGrpSpPr>
        <p:grpSpPr>
          <a:xfrm>
            <a:off x="5402099" y="2294708"/>
            <a:ext cx="1035070" cy="1035070"/>
            <a:chOff x="6444178" y="1503679"/>
            <a:chExt cx="345682" cy="345681"/>
          </a:xfrm>
        </p:grpSpPr>
        <p:sp>
          <p:nvSpPr>
            <p:cNvPr id="33" name="ïślîḍé">
              <a:extLst>
                <a:ext uri="{FF2B5EF4-FFF2-40B4-BE49-F238E27FC236}">
                  <a16:creationId xmlns:a16="http://schemas.microsoft.com/office/drawing/2014/main" id="{39C2E3E5-5BCE-4FD2-BBB5-78EC7458A2E8}"/>
                </a:ext>
              </a:extLst>
            </p:cNvPr>
            <p:cNvSpPr/>
            <p:nvPr/>
          </p:nvSpPr>
          <p:spPr>
            <a:xfrm>
              <a:off x="6444178" y="1503679"/>
              <a:ext cx="345682" cy="345681"/>
            </a:xfrm>
            <a:prstGeom prst="ellipse">
              <a:avLst/>
            </a:prstGeom>
            <a:solidFill>
              <a:schemeClr val="accent1"/>
            </a:solidFill>
            <a:ln w="19050" cap="flat">
              <a:solidFill>
                <a:schemeClr val="bg1"/>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4" name="ï$ļîḓê">
              <a:extLst>
                <a:ext uri="{FF2B5EF4-FFF2-40B4-BE49-F238E27FC236}">
                  <a16:creationId xmlns:a16="http://schemas.microsoft.com/office/drawing/2014/main" id="{CB7B41CC-B80C-41A2-9B87-33B03B26285E}"/>
                </a:ext>
              </a:extLst>
            </p:cNvPr>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nvGrpSpPr>
          <p:cNvPr id="38" name="组合 37">
            <a:extLst>
              <a:ext uri="{FF2B5EF4-FFF2-40B4-BE49-F238E27FC236}">
                <a16:creationId xmlns:a16="http://schemas.microsoft.com/office/drawing/2014/main" id="{0E781974-078D-4577-B7FF-8FF2AD6E6041}"/>
              </a:ext>
            </a:extLst>
          </p:cNvPr>
          <p:cNvGrpSpPr/>
          <p:nvPr/>
        </p:nvGrpSpPr>
        <p:grpSpPr>
          <a:xfrm>
            <a:off x="7225704" y="3063635"/>
            <a:ext cx="1035070" cy="1035070"/>
            <a:chOff x="6444178" y="1503679"/>
            <a:chExt cx="345682" cy="345681"/>
          </a:xfrm>
        </p:grpSpPr>
        <p:sp>
          <p:nvSpPr>
            <p:cNvPr id="39" name="ïślîḍé">
              <a:extLst>
                <a:ext uri="{FF2B5EF4-FFF2-40B4-BE49-F238E27FC236}">
                  <a16:creationId xmlns:a16="http://schemas.microsoft.com/office/drawing/2014/main" id="{2C356132-D34C-4C3B-8245-0009055C4F6A}"/>
                </a:ext>
              </a:extLst>
            </p:cNvPr>
            <p:cNvSpPr/>
            <p:nvPr/>
          </p:nvSpPr>
          <p:spPr>
            <a:xfrm>
              <a:off x="6444178" y="1503679"/>
              <a:ext cx="345682" cy="345681"/>
            </a:xfrm>
            <a:prstGeom prst="ellipse">
              <a:avLst/>
            </a:prstGeom>
            <a:solidFill>
              <a:schemeClr val="bg1"/>
            </a:solidFill>
            <a:ln w="19050" cap="flat">
              <a:solidFill>
                <a:schemeClr val="accent1"/>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0" name="ï$ļîḓê">
              <a:extLst>
                <a:ext uri="{FF2B5EF4-FFF2-40B4-BE49-F238E27FC236}">
                  <a16:creationId xmlns:a16="http://schemas.microsoft.com/office/drawing/2014/main" id="{E2C94A6D-4034-45AE-8D15-B63F91F99042}"/>
                </a:ext>
              </a:extLst>
            </p:cNvPr>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sp>
        <p:nvSpPr>
          <p:cNvPr id="22" name="iS1íḍê">
            <a:extLst>
              <a:ext uri="{FF2B5EF4-FFF2-40B4-BE49-F238E27FC236}">
                <a16:creationId xmlns:a16="http://schemas.microsoft.com/office/drawing/2014/main" id="{0E9D9DCA-684F-4713-A7A2-1BDC5C01328C}"/>
              </a:ext>
            </a:extLst>
          </p:cNvPr>
          <p:cNvSpPr/>
          <p:nvPr/>
        </p:nvSpPr>
        <p:spPr>
          <a:xfrm>
            <a:off x="768928" y="2939185"/>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r"/>
            <a:r>
              <a:rPr lang="zh-CN" altLang="en-US" sz="2000" b="1" dirty="0">
                <a:solidFill>
                  <a:schemeClr val="accent1"/>
                </a:solidFill>
                <a:cs typeface="+mn-ea"/>
                <a:sym typeface="+mn-lt"/>
              </a:rPr>
              <a:t>请在此输入标题</a:t>
            </a:r>
            <a:endParaRPr lang="en-US" altLang="zh-CN" sz="2000" b="1" dirty="0">
              <a:solidFill>
                <a:schemeClr val="accent1"/>
              </a:solidFill>
              <a:cs typeface="+mn-ea"/>
              <a:sym typeface="+mn-lt"/>
            </a:endParaRPr>
          </a:p>
        </p:txBody>
      </p:sp>
      <p:sp>
        <p:nvSpPr>
          <p:cNvPr id="23" name="ï$1idé">
            <a:extLst>
              <a:ext uri="{FF2B5EF4-FFF2-40B4-BE49-F238E27FC236}">
                <a16:creationId xmlns:a16="http://schemas.microsoft.com/office/drawing/2014/main" id="{CC5BF89D-D8B0-4E5E-99AE-445D80198468}"/>
              </a:ext>
            </a:extLst>
          </p:cNvPr>
          <p:cNvSpPr/>
          <p:nvPr/>
        </p:nvSpPr>
        <p:spPr bwMode="auto">
          <a:xfrm>
            <a:off x="768928" y="3299230"/>
            <a:ext cx="2527764" cy="108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buSzPct val="25000"/>
            </a:pPr>
            <a:r>
              <a:rPr lang="zh-CN" altLang="en-US" dirty="0">
                <a:solidFill>
                  <a:schemeClr val="tx1">
                    <a:lumMod val="75000"/>
                    <a:lumOff val="25000"/>
                  </a:schemeClr>
                </a:solidFill>
                <a:cs typeface="+mn-ea"/>
                <a:sym typeface="+mn-lt"/>
              </a:rPr>
              <a:t>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26" name="iS1íḍê">
            <a:extLst>
              <a:ext uri="{FF2B5EF4-FFF2-40B4-BE49-F238E27FC236}">
                <a16:creationId xmlns:a16="http://schemas.microsoft.com/office/drawing/2014/main" id="{81F1672A-641C-4AF0-BF6F-70B3721B23F4}"/>
              </a:ext>
            </a:extLst>
          </p:cNvPr>
          <p:cNvSpPr/>
          <p:nvPr/>
        </p:nvSpPr>
        <p:spPr>
          <a:xfrm>
            <a:off x="8645237" y="2939185"/>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请在此输入标题</a:t>
            </a:r>
            <a:endParaRPr lang="en-US" altLang="zh-CN" sz="2000" b="1" dirty="0">
              <a:solidFill>
                <a:schemeClr val="accent1"/>
              </a:solidFill>
              <a:cs typeface="+mn-ea"/>
              <a:sym typeface="+mn-lt"/>
            </a:endParaRPr>
          </a:p>
        </p:txBody>
      </p:sp>
      <p:sp>
        <p:nvSpPr>
          <p:cNvPr id="27" name="ï$1idé">
            <a:extLst>
              <a:ext uri="{FF2B5EF4-FFF2-40B4-BE49-F238E27FC236}">
                <a16:creationId xmlns:a16="http://schemas.microsoft.com/office/drawing/2014/main" id="{A1226403-DB98-4E89-A5C2-AA0B861CA1B8}"/>
              </a:ext>
            </a:extLst>
          </p:cNvPr>
          <p:cNvSpPr/>
          <p:nvPr/>
        </p:nvSpPr>
        <p:spPr bwMode="auto">
          <a:xfrm>
            <a:off x="8645237" y="3299230"/>
            <a:ext cx="2527764" cy="108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dirty="0">
                <a:solidFill>
                  <a:schemeClr val="tx1">
                    <a:lumMod val="75000"/>
                    <a:lumOff val="25000"/>
                  </a:schemeClr>
                </a:solidFill>
                <a:cs typeface="+mn-ea"/>
                <a:sym typeface="+mn-lt"/>
              </a:rPr>
              <a:t>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29" name="iS1íḍê">
            <a:extLst>
              <a:ext uri="{FF2B5EF4-FFF2-40B4-BE49-F238E27FC236}">
                <a16:creationId xmlns:a16="http://schemas.microsoft.com/office/drawing/2014/main" id="{77E4DCA8-70C3-4EC8-8E08-78AD6681E387}"/>
              </a:ext>
            </a:extLst>
          </p:cNvPr>
          <p:cNvSpPr/>
          <p:nvPr/>
        </p:nvSpPr>
        <p:spPr>
          <a:xfrm>
            <a:off x="2237444" y="1359535"/>
            <a:ext cx="7364380" cy="400110"/>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p>
            <a:pPr algn="ctr"/>
            <a:r>
              <a:rPr lang="zh-CN" altLang="en-US" sz="2000" b="1" dirty="0">
                <a:solidFill>
                  <a:schemeClr val="accent1"/>
                </a:solidFill>
                <a:cs typeface="+mn-ea"/>
                <a:sym typeface="+mn-lt"/>
              </a:rPr>
              <a:t>请在此输入标题</a:t>
            </a:r>
            <a:endParaRPr lang="en-US" altLang="zh-CN" sz="2000" b="1" dirty="0">
              <a:solidFill>
                <a:schemeClr val="accent1"/>
              </a:solidFill>
              <a:cs typeface="+mn-ea"/>
              <a:sym typeface="+mn-lt"/>
            </a:endParaRPr>
          </a:p>
        </p:txBody>
      </p:sp>
      <p:sp>
        <p:nvSpPr>
          <p:cNvPr id="30" name="ï$1idé">
            <a:extLst>
              <a:ext uri="{FF2B5EF4-FFF2-40B4-BE49-F238E27FC236}">
                <a16:creationId xmlns:a16="http://schemas.microsoft.com/office/drawing/2014/main" id="{05A4B61B-E942-46B6-A75B-D53884F45D23}"/>
              </a:ext>
            </a:extLst>
          </p:cNvPr>
          <p:cNvSpPr/>
          <p:nvPr/>
        </p:nvSpPr>
        <p:spPr bwMode="auto">
          <a:xfrm>
            <a:off x="2237444" y="1759645"/>
            <a:ext cx="7364380" cy="398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ctr" defTabSz="914400">
              <a:lnSpc>
                <a:spcPct val="120000"/>
              </a:lnSpc>
              <a:buSzPct val="25000"/>
            </a:pPr>
            <a:r>
              <a:rPr lang="zh-CN" altLang="en-US" dirty="0">
                <a:solidFill>
                  <a:schemeClr val="tx1">
                    <a:lumMod val="75000"/>
                    <a:lumOff val="25000"/>
                  </a:schemeClr>
                </a:solidFill>
                <a:cs typeface="+mn-ea"/>
                <a:sym typeface="+mn-lt"/>
              </a:rPr>
              <a:t>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Tree>
    <p:extLst>
      <p:ext uri="{BB962C8B-B14F-4D97-AF65-F5344CB8AC3E}">
        <p14:creationId xmlns:p14="http://schemas.microsoft.com/office/powerpoint/2010/main" val="26354319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08">
            <a:extLst>
              <a:ext uri="{FF2B5EF4-FFF2-40B4-BE49-F238E27FC236}">
                <a16:creationId xmlns:a16="http://schemas.microsoft.com/office/drawing/2014/main" id="{A92F9894-EDA8-4B13-82FC-3D1D9DA22ED0}"/>
              </a:ext>
            </a:extLst>
          </p:cNvPr>
          <p:cNvSpPr/>
          <p:nvPr/>
        </p:nvSpPr>
        <p:spPr>
          <a:xfrm rot="5400000">
            <a:off x="2142834" y="-292759"/>
            <a:ext cx="949740" cy="4203532"/>
          </a:xfrm>
          <a:prstGeom prst="rect">
            <a:avLst/>
          </a:prstGeom>
          <a:gradFill>
            <a:gsLst>
              <a:gs pos="81600">
                <a:schemeClr val="bg1"/>
              </a:gs>
              <a:gs pos="100000">
                <a:schemeClr val="bg1">
                  <a:alpha val="0"/>
                </a:schemeClr>
              </a:gs>
              <a:gs pos="0">
                <a:schemeClr val="bg1"/>
              </a:gs>
            </a:gsLst>
            <a:lin ang="5400000" scaled="1"/>
          </a:gradFill>
          <a:ln w="9525" cap="rnd" cmpd="sng" algn="ctr">
            <a:gradFill>
              <a:gsLst>
                <a:gs pos="81600">
                  <a:srgbClr val="B3B3B3"/>
                </a:gs>
                <a:gs pos="100000">
                  <a:schemeClr val="bg1">
                    <a:lumMod val="75000"/>
                    <a:alpha val="0"/>
                  </a:schemeClr>
                </a:gs>
                <a:gs pos="0">
                  <a:schemeClr val="bg1">
                    <a:lumMod val="50000"/>
                  </a:schemeClr>
                </a:gs>
              </a:gsLst>
              <a:lin ang="5400000" scaled="1"/>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1404000" rIns="0" bIns="0" numCol="1" spcCol="0" rtlCol="0" fromWordArt="0" anchor="ctr" anchorCtr="0" forceAA="0" compatLnSpc="1">
            <a:prstTxWarp prst="textNoShape">
              <a:avLst/>
            </a:prstTxWarp>
            <a:noAutofit/>
          </a:bodyPr>
          <a:lstStyle/>
          <a:p>
            <a:pPr algn="r">
              <a:lnSpc>
                <a:spcPct val="90000"/>
              </a:lnSpc>
              <a:spcAft>
                <a:spcPts val="1000"/>
              </a:spcAft>
            </a:pPr>
            <a:r>
              <a:rPr lang="zh-CN" altLang="en-US" sz="1600">
                <a:solidFill>
                  <a:schemeClr val="tx1">
                    <a:lumMod val="75000"/>
                    <a:lumOff val="25000"/>
                  </a:schemeClr>
                </a:solidFill>
              </a:rPr>
              <a:t>请在此输入内容</a:t>
            </a:r>
            <a:endParaRPr lang="en-US" sz="1600" dirty="0" err="1">
              <a:solidFill>
                <a:schemeClr val="tx1">
                  <a:lumMod val="75000"/>
                  <a:lumOff val="25000"/>
                </a:schemeClr>
              </a:solidFill>
            </a:endParaRPr>
          </a:p>
        </p:txBody>
      </p:sp>
      <p:sp>
        <p:nvSpPr>
          <p:cNvPr id="39" name="Rectangle 122">
            <a:extLst>
              <a:ext uri="{FF2B5EF4-FFF2-40B4-BE49-F238E27FC236}">
                <a16:creationId xmlns:a16="http://schemas.microsoft.com/office/drawing/2014/main" id="{53A86F1E-F067-4F6F-919C-A9E21F840264}"/>
              </a:ext>
            </a:extLst>
          </p:cNvPr>
          <p:cNvSpPr/>
          <p:nvPr/>
        </p:nvSpPr>
        <p:spPr>
          <a:xfrm rot="16200000" flipH="1">
            <a:off x="9075387" y="-353316"/>
            <a:ext cx="949740" cy="4324642"/>
          </a:xfrm>
          <a:prstGeom prst="rect">
            <a:avLst/>
          </a:prstGeom>
          <a:gradFill>
            <a:gsLst>
              <a:gs pos="81600">
                <a:schemeClr val="bg1"/>
              </a:gs>
              <a:gs pos="100000">
                <a:schemeClr val="bg1">
                  <a:alpha val="0"/>
                </a:schemeClr>
              </a:gs>
              <a:gs pos="0">
                <a:schemeClr val="bg1"/>
              </a:gs>
            </a:gsLst>
            <a:lin ang="5400000" scaled="1"/>
          </a:gradFill>
          <a:ln w="9525" cap="rnd" cmpd="sng" algn="ctr">
            <a:gradFill>
              <a:gsLst>
                <a:gs pos="81600">
                  <a:srgbClr val="B3B3B3"/>
                </a:gs>
                <a:gs pos="100000">
                  <a:schemeClr val="bg1">
                    <a:lumMod val="75000"/>
                    <a:alpha val="0"/>
                  </a:schemeClr>
                </a:gs>
                <a:gs pos="0">
                  <a:schemeClr val="bg1">
                    <a:lumMod val="50000"/>
                  </a:schemeClr>
                </a:gs>
              </a:gsLst>
              <a:lin ang="5400000" scaled="1"/>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1260000" numCol="1" spcCol="0" rtlCol="0" fromWordArt="0" anchor="ctr" anchorCtr="0" forceAA="0" compatLnSpc="1">
            <a:prstTxWarp prst="textNoShape">
              <a:avLst/>
            </a:prstTxWarp>
            <a:noAutofit/>
          </a:bodyPr>
          <a:lstStyle/>
          <a:p>
            <a:pPr algn="r">
              <a:lnSpc>
                <a:spcPct val="90000"/>
              </a:lnSpc>
              <a:spcAft>
                <a:spcPts val="1000"/>
              </a:spcAft>
            </a:pPr>
            <a:r>
              <a:rPr lang="zh-CN" altLang="en-US" sz="1600">
                <a:solidFill>
                  <a:schemeClr val="tx1">
                    <a:lumMod val="75000"/>
                    <a:lumOff val="25000"/>
                  </a:schemeClr>
                </a:solidFill>
              </a:rPr>
              <a:t>请在此输入内容</a:t>
            </a:r>
            <a:endParaRPr lang="en-US" sz="1600" dirty="0" err="1">
              <a:solidFill>
                <a:schemeClr val="tx1">
                  <a:lumMod val="75000"/>
                  <a:lumOff val="25000"/>
                </a:schemeClr>
              </a:solidFill>
            </a:endParaRPr>
          </a:p>
        </p:txBody>
      </p:sp>
      <p:sp>
        <p:nvSpPr>
          <p:cNvPr id="14" name="Rectangle 115">
            <a:extLst>
              <a:ext uri="{FF2B5EF4-FFF2-40B4-BE49-F238E27FC236}">
                <a16:creationId xmlns:a16="http://schemas.microsoft.com/office/drawing/2014/main" id="{CB96D194-4173-41EE-838E-4B1D7A062EE4}"/>
              </a:ext>
            </a:extLst>
          </p:cNvPr>
          <p:cNvSpPr/>
          <p:nvPr/>
        </p:nvSpPr>
        <p:spPr>
          <a:xfrm rot="5400000">
            <a:off x="1832879" y="1258245"/>
            <a:ext cx="949740" cy="3583622"/>
          </a:xfrm>
          <a:prstGeom prst="rect">
            <a:avLst/>
          </a:prstGeom>
          <a:gradFill>
            <a:gsLst>
              <a:gs pos="81600">
                <a:schemeClr val="bg1"/>
              </a:gs>
              <a:gs pos="100000">
                <a:schemeClr val="bg1">
                  <a:alpha val="0"/>
                </a:schemeClr>
              </a:gs>
              <a:gs pos="0">
                <a:schemeClr val="bg1"/>
              </a:gs>
            </a:gsLst>
            <a:lin ang="5400000" scaled="1"/>
          </a:gradFill>
          <a:ln w="9525" cap="rnd" cmpd="sng" algn="ctr">
            <a:gradFill>
              <a:gsLst>
                <a:gs pos="81600">
                  <a:srgbClr val="B3B3B3"/>
                </a:gs>
                <a:gs pos="100000">
                  <a:schemeClr val="bg1">
                    <a:lumMod val="75000"/>
                    <a:alpha val="0"/>
                  </a:schemeClr>
                </a:gs>
                <a:gs pos="0">
                  <a:schemeClr val="bg1">
                    <a:lumMod val="50000"/>
                  </a:schemeClr>
                </a:gs>
              </a:gsLst>
              <a:lin ang="5400000" scaled="1"/>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1260000" rIns="0" bIns="0" numCol="1" spcCol="0" rtlCol="0" fromWordArt="0" anchor="ctr" anchorCtr="0" forceAA="0" compatLnSpc="1">
            <a:prstTxWarp prst="textNoShape">
              <a:avLst/>
            </a:prstTxWarp>
            <a:noAutofit/>
          </a:bodyPr>
          <a:lstStyle/>
          <a:p>
            <a:pPr algn="r">
              <a:lnSpc>
                <a:spcPct val="90000"/>
              </a:lnSpc>
              <a:spcAft>
                <a:spcPts val="1000"/>
              </a:spcAft>
            </a:pPr>
            <a:r>
              <a:rPr lang="zh-CN" altLang="en-US" sz="1600">
                <a:solidFill>
                  <a:schemeClr val="tx1">
                    <a:lumMod val="75000"/>
                    <a:lumOff val="25000"/>
                  </a:schemeClr>
                </a:solidFill>
              </a:rPr>
              <a:t>请在此输入内容</a:t>
            </a:r>
            <a:endParaRPr lang="en-US" sz="1600" dirty="0" err="1">
              <a:solidFill>
                <a:schemeClr val="tx1">
                  <a:lumMod val="75000"/>
                  <a:lumOff val="25000"/>
                </a:schemeClr>
              </a:solidFill>
            </a:endParaRPr>
          </a:p>
        </p:txBody>
      </p:sp>
      <p:sp>
        <p:nvSpPr>
          <p:cNvPr id="40" name="Rectangle 123">
            <a:extLst>
              <a:ext uri="{FF2B5EF4-FFF2-40B4-BE49-F238E27FC236}">
                <a16:creationId xmlns:a16="http://schemas.microsoft.com/office/drawing/2014/main" id="{10029B0E-B238-43B4-B25F-1FDF77FE2C15}"/>
              </a:ext>
            </a:extLst>
          </p:cNvPr>
          <p:cNvSpPr/>
          <p:nvPr/>
        </p:nvSpPr>
        <p:spPr>
          <a:xfrm rot="16200000" flipH="1">
            <a:off x="9391667" y="1204013"/>
            <a:ext cx="949740" cy="3692085"/>
          </a:xfrm>
          <a:prstGeom prst="rect">
            <a:avLst/>
          </a:prstGeom>
          <a:gradFill>
            <a:gsLst>
              <a:gs pos="81600">
                <a:schemeClr val="bg1"/>
              </a:gs>
              <a:gs pos="100000">
                <a:schemeClr val="bg1">
                  <a:alpha val="0"/>
                </a:schemeClr>
              </a:gs>
              <a:gs pos="0">
                <a:schemeClr val="bg1"/>
              </a:gs>
            </a:gsLst>
            <a:lin ang="5400000" scaled="1"/>
          </a:gradFill>
          <a:ln w="9525" cap="rnd" cmpd="sng" algn="ctr">
            <a:gradFill>
              <a:gsLst>
                <a:gs pos="81600">
                  <a:srgbClr val="B3B3B3"/>
                </a:gs>
                <a:gs pos="100000">
                  <a:schemeClr val="bg1">
                    <a:lumMod val="75000"/>
                    <a:alpha val="0"/>
                  </a:schemeClr>
                </a:gs>
                <a:gs pos="0">
                  <a:schemeClr val="bg1">
                    <a:lumMod val="50000"/>
                  </a:schemeClr>
                </a:gs>
              </a:gsLst>
              <a:lin ang="5400000" scaled="1"/>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900000" numCol="1" spcCol="0" rtlCol="0" fromWordArt="0" anchor="ctr" anchorCtr="0" forceAA="0" compatLnSpc="1">
            <a:prstTxWarp prst="textNoShape">
              <a:avLst/>
            </a:prstTxWarp>
            <a:noAutofit/>
          </a:bodyPr>
          <a:lstStyle/>
          <a:p>
            <a:pPr algn="r">
              <a:lnSpc>
                <a:spcPct val="90000"/>
              </a:lnSpc>
              <a:spcAft>
                <a:spcPts val="1000"/>
              </a:spcAft>
            </a:pPr>
            <a:r>
              <a:rPr lang="zh-CN" altLang="en-US" sz="1600">
                <a:solidFill>
                  <a:schemeClr val="tx1">
                    <a:lumMod val="75000"/>
                    <a:lumOff val="25000"/>
                  </a:schemeClr>
                </a:solidFill>
              </a:rPr>
              <a:t>请在此输入内容</a:t>
            </a:r>
            <a:endParaRPr lang="en-US" sz="1600" dirty="0" err="1">
              <a:solidFill>
                <a:schemeClr val="tx1">
                  <a:lumMod val="75000"/>
                  <a:lumOff val="25000"/>
                </a:schemeClr>
              </a:solidFill>
            </a:endParaRPr>
          </a:p>
        </p:txBody>
      </p:sp>
      <p:sp>
        <p:nvSpPr>
          <p:cNvPr id="15" name="Rectangle 116">
            <a:extLst>
              <a:ext uri="{FF2B5EF4-FFF2-40B4-BE49-F238E27FC236}">
                <a16:creationId xmlns:a16="http://schemas.microsoft.com/office/drawing/2014/main" id="{8933CDDC-AB20-4F97-8717-821323A9AD2B}"/>
              </a:ext>
            </a:extLst>
          </p:cNvPr>
          <p:cNvSpPr/>
          <p:nvPr/>
        </p:nvSpPr>
        <p:spPr>
          <a:xfrm rot="5400000">
            <a:off x="1832879" y="2499295"/>
            <a:ext cx="949740" cy="3583622"/>
          </a:xfrm>
          <a:prstGeom prst="rect">
            <a:avLst/>
          </a:prstGeom>
          <a:gradFill>
            <a:gsLst>
              <a:gs pos="81600">
                <a:schemeClr val="bg1"/>
              </a:gs>
              <a:gs pos="100000">
                <a:schemeClr val="bg1">
                  <a:alpha val="0"/>
                </a:schemeClr>
              </a:gs>
              <a:gs pos="0">
                <a:schemeClr val="bg1"/>
              </a:gs>
            </a:gsLst>
            <a:lin ang="5400000" scaled="1"/>
          </a:gradFill>
          <a:ln w="9525" cap="rnd" cmpd="sng" algn="ctr">
            <a:gradFill>
              <a:gsLst>
                <a:gs pos="81600">
                  <a:srgbClr val="B3B3B3"/>
                </a:gs>
                <a:gs pos="100000">
                  <a:schemeClr val="bg1">
                    <a:lumMod val="75000"/>
                    <a:alpha val="0"/>
                  </a:schemeClr>
                </a:gs>
                <a:gs pos="0">
                  <a:schemeClr val="bg1">
                    <a:lumMod val="50000"/>
                  </a:schemeClr>
                </a:gs>
              </a:gsLst>
              <a:lin ang="5400000" scaled="1"/>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1260000" rIns="0" bIns="0" numCol="1" spcCol="0" rtlCol="0" fromWordArt="0" anchor="ctr" anchorCtr="0" forceAA="0" compatLnSpc="1">
            <a:prstTxWarp prst="textNoShape">
              <a:avLst/>
            </a:prstTxWarp>
            <a:noAutofit/>
          </a:bodyPr>
          <a:lstStyle/>
          <a:p>
            <a:pPr algn="r">
              <a:lnSpc>
                <a:spcPct val="90000"/>
              </a:lnSpc>
              <a:spcAft>
                <a:spcPts val="1000"/>
              </a:spcAft>
            </a:pPr>
            <a:r>
              <a:rPr lang="zh-CN" altLang="en-US" sz="1600" dirty="0">
                <a:solidFill>
                  <a:schemeClr val="tx1">
                    <a:lumMod val="75000"/>
                    <a:lumOff val="25000"/>
                  </a:schemeClr>
                </a:solidFill>
              </a:rPr>
              <a:t>请在此输入内容</a:t>
            </a:r>
            <a:endParaRPr lang="en-US" sz="1600" dirty="0" err="1">
              <a:solidFill>
                <a:schemeClr val="tx1">
                  <a:lumMod val="75000"/>
                  <a:lumOff val="25000"/>
                </a:schemeClr>
              </a:solidFill>
            </a:endParaRPr>
          </a:p>
        </p:txBody>
      </p:sp>
      <p:sp>
        <p:nvSpPr>
          <p:cNvPr id="41" name="Rectangle 124">
            <a:extLst>
              <a:ext uri="{FF2B5EF4-FFF2-40B4-BE49-F238E27FC236}">
                <a16:creationId xmlns:a16="http://schemas.microsoft.com/office/drawing/2014/main" id="{438E07AF-D88A-4615-BBFA-E18EF612348A}"/>
              </a:ext>
            </a:extLst>
          </p:cNvPr>
          <p:cNvSpPr/>
          <p:nvPr/>
        </p:nvSpPr>
        <p:spPr>
          <a:xfrm rot="16200000" flipH="1">
            <a:off x="9391665" y="2445062"/>
            <a:ext cx="949740" cy="3692088"/>
          </a:xfrm>
          <a:prstGeom prst="rect">
            <a:avLst/>
          </a:prstGeom>
          <a:gradFill>
            <a:gsLst>
              <a:gs pos="81600">
                <a:schemeClr val="bg1"/>
              </a:gs>
              <a:gs pos="100000">
                <a:schemeClr val="bg1">
                  <a:alpha val="0"/>
                </a:schemeClr>
              </a:gs>
              <a:gs pos="0">
                <a:schemeClr val="bg1"/>
              </a:gs>
            </a:gsLst>
            <a:lin ang="5400000" scaled="1"/>
          </a:gradFill>
          <a:ln w="9525" cap="rnd" cmpd="sng" algn="ctr">
            <a:gradFill>
              <a:gsLst>
                <a:gs pos="81600">
                  <a:srgbClr val="B3B3B3"/>
                </a:gs>
                <a:gs pos="100000">
                  <a:schemeClr val="bg1">
                    <a:lumMod val="75000"/>
                    <a:alpha val="0"/>
                  </a:schemeClr>
                </a:gs>
                <a:gs pos="0">
                  <a:schemeClr val="bg1">
                    <a:lumMod val="50000"/>
                  </a:schemeClr>
                </a:gs>
              </a:gsLst>
              <a:lin ang="5400000" scaled="1"/>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900000" numCol="1" spcCol="0" rtlCol="0" fromWordArt="0" anchor="ctr" anchorCtr="0" forceAA="0" compatLnSpc="1">
            <a:prstTxWarp prst="textNoShape">
              <a:avLst/>
            </a:prstTxWarp>
            <a:noAutofit/>
          </a:bodyPr>
          <a:lstStyle/>
          <a:p>
            <a:pPr algn="r">
              <a:lnSpc>
                <a:spcPct val="90000"/>
              </a:lnSpc>
              <a:spcAft>
                <a:spcPts val="1000"/>
              </a:spcAft>
            </a:pPr>
            <a:r>
              <a:rPr lang="zh-CN" altLang="en-US" sz="1600">
                <a:solidFill>
                  <a:schemeClr val="tx1">
                    <a:lumMod val="75000"/>
                    <a:lumOff val="25000"/>
                  </a:schemeClr>
                </a:solidFill>
              </a:rPr>
              <a:t>请在此输入内容</a:t>
            </a:r>
            <a:endParaRPr lang="en-US" sz="1600" dirty="0" err="1">
              <a:solidFill>
                <a:schemeClr val="tx1">
                  <a:lumMod val="75000"/>
                  <a:lumOff val="25000"/>
                </a:schemeClr>
              </a:solidFill>
            </a:endParaRPr>
          </a:p>
        </p:txBody>
      </p:sp>
      <p:sp>
        <p:nvSpPr>
          <p:cNvPr id="16" name="Rectangle 117">
            <a:extLst>
              <a:ext uri="{FF2B5EF4-FFF2-40B4-BE49-F238E27FC236}">
                <a16:creationId xmlns:a16="http://schemas.microsoft.com/office/drawing/2014/main" id="{529466EC-8DB1-4051-B046-0D6B5BB4A895}"/>
              </a:ext>
            </a:extLst>
          </p:cNvPr>
          <p:cNvSpPr/>
          <p:nvPr/>
        </p:nvSpPr>
        <p:spPr>
          <a:xfrm rot="5400000">
            <a:off x="2142833" y="3430393"/>
            <a:ext cx="949740" cy="4203530"/>
          </a:xfrm>
          <a:prstGeom prst="rect">
            <a:avLst/>
          </a:prstGeom>
          <a:gradFill>
            <a:gsLst>
              <a:gs pos="81600">
                <a:schemeClr val="bg1"/>
              </a:gs>
              <a:gs pos="100000">
                <a:schemeClr val="bg1">
                  <a:alpha val="0"/>
                </a:schemeClr>
              </a:gs>
              <a:gs pos="0">
                <a:schemeClr val="bg1"/>
              </a:gs>
            </a:gsLst>
            <a:lin ang="5400000" scaled="1"/>
          </a:gradFill>
          <a:ln w="9525" cap="rnd" cmpd="sng" algn="ctr">
            <a:gradFill>
              <a:gsLst>
                <a:gs pos="81600">
                  <a:srgbClr val="B3B3B3"/>
                </a:gs>
                <a:gs pos="100000">
                  <a:schemeClr val="bg1">
                    <a:lumMod val="75000"/>
                    <a:alpha val="0"/>
                  </a:schemeClr>
                </a:gs>
                <a:gs pos="0">
                  <a:schemeClr val="bg1">
                    <a:lumMod val="50000"/>
                  </a:schemeClr>
                </a:gs>
              </a:gsLst>
              <a:lin ang="5400000" scaled="1"/>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1404000" rIns="0" bIns="0" numCol="1" spcCol="0" rtlCol="0" fromWordArt="0" anchor="ctr" anchorCtr="0" forceAA="0" compatLnSpc="1">
            <a:prstTxWarp prst="textNoShape">
              <a:avLst/>
            </a:prstTxWarp>
            <a:noAutofit/>
          </a:bodyPr>
          <a:lstStyle/>
          <a:p>
            <a:pPr algn="r">
              <a:lnSpc>
                <a:spcPct val="90000"/>
              </a:lnSpc>
              <a:spcAft>
                <a:spcPts val="1000"/>
              </a:spcAft>
            </a:pPr>
            <a:r>
              <a:rPr lang="zh-CN" altLang="en-US" sz="1600">
                <a:solidFill>
                  <a:schemeClr val="tx1">
                    <a:lumMod val="75000"/>
                    <a:lumOff val="25000"/>
                  </a:schemeClr>
                </a:solidFill>
              </a:rPr>
              <a:t>请在此输入内容</a:t>
            </a:r>
            <a:endParaRPr lang="en-US" sz="1600" dirty="0" err="1">
              <a:solidFill>
                <a:schemeClr val="tx1">
                  <a:lumMod val="75000"/>
                  <a:lumOff val="25000"/>
                </a:schemeClr>
              </a:solidFill>
            </a:endParaRPr>
          </a:p>
        </p:txBody>
      </p:sp>
      <p:sp>
        <p:nvSpPr>
          <p:cNvPr id="42" name="Rectangle 125">
            <a:extLst>
              <a:ext uri="{FF2B5EF4-FFF2-40B4-BE49-F238E27FC236}">
                <a16:creationId xmlns:a16="http://schemas.microsoft.com/office/drawing/2014/main" id="{B31A72B8-5CBA-4ECD-8BB8-7F164B8D7964}"/>
              </a:ext>
            </a:extLst>
          </p:cNvPr>
          <p:cNvSpPr/>
          <p:nvPr/>
        </p:nvSpPr>
        <p:spPr>
          <a:xfrm rot="16200000" flipH="1">
            <a:off x="9075387" y="3369835"/>
            <a:ext cx="949740" cy="4324642"/>
          </a:xfrm>
          <a:prstGeom prst="rect">
            <a:avLst/>
          </a:prstGeom>
          <a:gradFill>
            <a:gsLst>
              <a:gs pos="81600">
                <a:schemeClr val="bg1"/>
              </a:gs>
              <a:gs pos="100000">
                <a:schemeClr val="bg1">
                  <a:alpha val="0"/>
                </a:schemeClr>
              </a:gs>
              <a:gs pos="0">
                <a:schemeClr val="bg1"/>
              </a:gs>
            </a:gsLst>
            <a:lin ang="5400000" scaled="1"/>
          </a:gradFill>
          <a:ln w="9525" cap="rnd" cmpd="sng" algn="ctr">
            <a:gradFill>
              <a:gsLst>
                <a:gs pos="81600">
                  <a:srgbClr val="B3B3B3"/>
                </a:gs>
                <a:gs pos="100000">
                  <a:schemeClr val="bg1">
                    <a:lumMod val="75000"/>
                    <a:alpha val="0"/>
                  </a:schemeClr>
                </a:gs>
                <a:gs pos="0">
                  <a:schemeClr val="bg1">
                    <a:lumMod val="50000"/>
                  </a:schemeClr>
                </a:gs>
              </a:gsLst>
              <a:lin ang="5400000" scaled="1"/>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1260000" numCol="1" spcCol="0" rtlCol="0" fromWordArt="0" anchor="ctr" anchorCtr="0" forceAA="0" compatLnSpc="1">
            <a:prstTxWarp prst="textNoShape">
              <a:avLst/>
            </a:prstTxWarp>
            <a:noAutofit/>
          </a:bodyPr>
          <a:lstStyle/>
          <a:p>
            <a:pPr algn="r">
              <a:lnSpc>
                <a:spcPct val="90000"/>
              </a:lnSpc>
              <a:spcAft>
                <a:spcPts val="1000"/>
              </a:spcAft>
            </a:pPr>
            <a:r>
              <a:rPr lang="zh-CN" altLang="en-US" sz="1600">
                <a:solidFill>
                  <a:schemeClr val="tx1">
                    <a:lumMod val="75000"/>
                    <a:lumOff val="25000"/>
                  </a:schemeClr>
                </a:solidFill>
              </a:rPr>
              <a:t>请在此输入内容</a:t>
            </a:r>
            <a:endParaRPr lang="en-US" sz="1600" dirty="0" err="1">
              <a:solidFill>
                <a:schemeClr val="tx1">
                  <a:lumMod val="75000"/>
                  <a:lumOff val="25000"/>
                </a:schemeClr>
              </a:solidFill>
            </a:endParaRPr>
          </a:p>
        </p:txBody>
      </p:sp>
      <p:sp>
        <p:nvSpPr>
          <p:cNvPr id="17" name="Rounded Rectangle 89">
            <a:extLst>
              <a:ext uri="{FF2B5EF4-FFF2-40B4-BE49-F238E27FC236}">
                <a16:creationId xmlns:a16="http://schemas.microsoft.com/office/drawing/2014/main" id="{2E5180EA-00F3-49CB-AD38-CA11548C1B89}"/>
              </a:ext>
            </a:extLst>
          </p:cNvPr>
          <p:cNvSpPr/>
          <p:nvPr/>
        </p:nvSpPr>
        <p:spPr>
          <a:xfrm>
            <a:off x="3483103" y="1572282"/>
            <a:ext cx="1529425" cy="473448"/>
          </a:xfrm>
          <a:prstGeom prst="roundRect">
            <a:avLst/>
          </a:prstGeom>
          <a:solidFill>
            <a:schemeClr val="bg1"/>
          </a:solidFill>
          <a:ln w="158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wrap="none" lIns="91412" tIns="0" rIns="91412" bIns="0" rtlCol="0" anchor="ctr" anchorCtr="0">
            <a:normAutofit/>
          </a:bodyPr>
          <a:lstStyle/>
          <a:p>
            <a:pPr algn="ctr" defTabSz="914111">
              <a:defRPr/>
            </a:pPr>
            <a:r>
              <a:rPr lang="zh-CN" altLang="en-US" b="1" kern="0" dirty="0">
                <a:solidFill>
                  <a:schemeClr val="accent1"/>
                </a:solidFill>
                <a:cs typeface="+mn-ea"/>
                <a:sym typeface="+mn-lt"/>
              </a:rPr>
              <a:t>请输入标题</a:t>
            </a:r>
            <a:endParaRPr lang="en-US" b="1" kern="0" dirty="0">
              <a:solidFill>
                <a:schemeClr val="accent1"/>
              </a:solidFill>
              <a:cs typeface="+mn-ea"/>
              <a:sym typeface="+mn-lt"/>
            </a:endParaRPr>
          </a:p>
        </p:txBody>
      </p:sp>
      <p:sp>
        <p:nvSpPr>
          <p:cNvPr id="43" name="Rounded Rectangle 129">
            <a:extLst>
              <a:ext uri="{FF2B5EF4-FFF2-40B4-BE49-F238E27FC236}">
                <a16:creationId xmlns:a16="http://schemas.microsoft.com/office/drawing/2014/main" id="{A83E8A62-3A41-49F3-A4D1-D4E07B1C46CF}"/>
              </a:ext>
            </a:extLst>
          </p:cNvPr>
          <p:cNvSpPr/>
          <p:nvPr/>
        </p:nvSpPr>
        <p:spPr>
          <a:xfrm>
            <a:off x="7217570" y="1572282"/>
            <a:ext cx="1529425" cy="473448"/>
          </a:xfrm>
          <a:prstGeom prst="roundRect">
            <a:avLst/>
          </a:prstGeom>
          <a:solidFill>
            <a:schemeClr val="bg1"/>
          </a:solidFill>
          <a:ln w="158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wrap="none" lIns="91412" tIns="0" rIns="91412" bIns="0" rtlCol="0" anchor="ctr" anchorCtr="0">
            <a:normAutofit/>
          </a:bodyPr>
          <a:lstStyle/>
          <a:p>
            <a:pPr algn="ctr" defTabSz="914111">
              <a:defRPr/>
            </a:pPr>
            <a:r>
              <a:rPr lang="zh-CN" altLang="en-US" b="1" kern="0">
                <a:solidFill>
                  <a:schemeClr val="accent1"/>
                </a:solidFill>
                <a:cs typeface="+mn-ea"/>
                <a:sym typeface="+mn-lt"/>
              </a:rPr>
              <a:t>请输入标题</a:t>
            </a:r>
            <a:endParaRPr lang="en-US" b="1" kern="0" dirty="0">
              <a:solidFill>
                <a:schemeClr val="accent1"/>
              </a:solidFill>
              <a:cs typeface="+mn-ea"/>
              <a:sym typeface="+mn-lt"/>
            </a:endParaRPr>
          </a:p>
        </p:txBody>
      </p:sp>
      <p:sp>
        <p:nvSpPr>
          <p:cNvPr id="18" name="Rounded Rectangle 126">
            <a:extLst>
              <a:ext uri="{FF2B5EF4-FFF2-40B4-BE49-F238E27FC236}">
                <a16:creationId xmlns:a16="http://schemas.microsoft.com/office/drawing/2014/main" id="{2116A0DF-FB57-4CEF-B106-5E9A2D81CD1A}"/>
              </a:ext>
            </a:extLst>
          </p:cNvPr>
          <p:cNvSpPr/>
          <p:nvPr/>
        </p:nvSpPr>
        <p:spPr>
          <a:xfrm>
            <a:off x="3027720" y="2813331"/>
            <a:ext cx="1529425" cy="473448"/>
          </a:xfrm>
          <a:prstGeom prst="roundRect">
            <a:avLst/>
          </a:prstGeom>
          <a:solidFill>
            <a:schemeClr val="bg1"/>
          </a:solidFill>
          <a:ln w="158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wrap="none" lIns="91412" tIns="0" rIns="91412" bIns="0" rtlCol="0" anchor="ctr" anchorCtr="0">
            <a:normAutofit/>
          </a:bodyPr>
          <a:lstStyle/>
          <a:p>
            <a:pPr algn="ctr" defTabSz="914111">
              <a:defRPr/>
            </a:pPr>
            <a:r>
              <a:rPr lang="zh-CN" altLang="en-US" b="1" kern="0">
                <a:solidFill>
                  <a:schemeClr val="accent1"/>
                </a:solidFill>
                <a:cs typeface="+mn-ea"/>
                <a:sym typeface="+mn-lt"/>
              </a:rPr>
              <a:t>请输入标题</a:t>
            </a:r>
            <a:endParaRPr lang="en-US" b="1" kern="0" dirty="0">
              <a:solidFill>
                <a:schemeClr val="accent1"/>
              </a:solidFill>
              <a:cs typeface="+mn-ea"/>
              <a:sym typeface="+mn-lt"/>
            </a:endParaRPr>
          </a:p>
        </p:txBody>
      </p:sp>
      <p:sp>
        <p:nvSpPr>
          <p:cNvPr id="44" name="Rounded Rectangle 130">
            <a:extLst>
              <a:ext uri="{FF2B5EF4-FFF2-40B4-BE49-F238E27FC236}">
                <a16:creationId xmlns:a16="http://schemas.microsoft.com/office/drawing/2014/main" id="{6C4DBF5B-CDE7-4824-9981-FADA8D8EE2D3}"/>
              </a:ext>
            </a:extLst>
          </p:cNvPr>
          <p:cNvSpPr/>
          <p:nvPr/>
        </p:nvSpPr>
        <p:spPr>
          <a:xfrm>
            <a:off x="7634855" y="2813331"/>
            <a:ext cx="1529425" cy="473448"/>
          </a:xfrm>
          <a:prstGeom prst="roundRect">
            <a:avLst/>
          </a:prstGeom>
          <a:solidFill>
            <a:schemeClr val="bg1"/>
          </a:solidFill>
          <a:ln w="158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wrap="none" lIns="91412" tIns="0" rIns="91412" bIns="0" rtlCol="0" anchor="ctr" anchorCtr="0">
            <a:normAutofit/>
          </a:bodyPr>
          <a:lstStyle/>
          <a:p>
            <a:pPr algn="ctr" defTabSz="914111">
              <a:defRPr/>
            </a:pPr>
            <a:r>
              <a:rPr lang="zh-CN" altLang="en-US" b="1" kern="0">
                <a:solidFill>
                  <a:schemeClr val="accent1"/>
                </a:solidFill>
                <a:cs typeface="+mn-ea"/>
                <a:sym typeface="+mn-lt"/>
              </a:rPr>
              <a:t>请输入标题</a:t>
            </a:r>
            <a:endParaRPr lang="en-US" b="1" kern="0" dirty="0">
              <a:solidFill>
                <a:schemeClr val="accent1"/>
              </a:solidFill>
              <a:cs typeface="+mn-ea"/>
              <a:sym typeface="+mn-lt"/>
            </a:endParaRPr>
          </a:p>
        </p:txBody>
      </p:sp>
      <p:sp>
        <p:nvSpPr>
          <p:cNvPr id="19" name="Rounded Rectangle 127">
            <a:extLst>
              <a:ext uri="{FF2B5EF4-FFF2-40B4-BE49-F238E27FC236}">
                <a16:creationId xmlns:a16="http://schemas.microsoft.com/office/drawing/2014/main" id="{66890C3E-99A3-4601-A858-BCE7936168DB}"/>
              </a:ext>
            </a:extLst>
          </p:cNvPr>
          <p:cNvSpPr/>
          <p:nvPr/>
        </p:nvSpPr>
        <p:spPr>
          <a:xfrm>
            <a:off x="3027720" y="4054381"/>
            <a:ext cx="1529425" cy="473448"/>
          </a:xfrm>
          <a:prstGeom prst="roundRect">
            <a:avLst/>
          </a:prstGeom>
          <a:solidFill>
            <a:schemeClr val="bg1"/>
          </a:solidFill>
          <a:ln w="158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wrap="none" lIns="91412" tIns="0" rIns="91412" bIns="0" rtlCol="0" anchor="ctr" anchorCtr="0">
            <a:normAutofit/>
          </a:bodyPr>
          <a:lstStyle/>
          <a:p>
            <a:pPr algn="ctr" defTabSz="914111">
              <a:defRPr/>
            </a:pPr>
            <a:r>
              <a:rPr lang="zh-CN" altLang="en-US" b="1" kern="0">
                <a:solidFill>
                  <a:schemeClr val="accent1"/>
                </a:solidFill>
                <a:cs typeface="+mn-ea"/>
                <a:sym typeface="+mn-lt"/>
              </a:rPr>
              <a:t>请输入标题</a:t>
            </a:r>
            <a:endParaRPr lang="en-US" b="1" kern="0" dirty="0">
              <a:solidFill>
                <a:schemeClr val="accent1"/>
              </a:solidFill>
              <a:cs typeface="+mn-ea"/>
              <a:sym typeface="+mn-lt"/>
            </a:endParaRPr>
          </a:p>
        </p:txBody>
      </p:sp>
      <p:sp>
        <p:nvSpPr>
          <p:cNvPr id="45" name="Rounded Rectangle 131">
            <a:extLst>
              <a:ext uri="{FF2B5EF4-FFF2-40B4-BE49-F238E27FC236}">
                <a16:creationId xmlns:a16="http://schemas.microsoft.com/office/drawing/2014/main" id="{9D6C60D5-DF9E-4BE4-9B44-B7A063CD67E2}"/>
              </a:ext>
            </a:extLst>
          </p:cNvPr>
          <p:cNvSpPr/>
          <p:nvPr/>
        </p:nvSpPr>
        <p:spPr>
          <a:xfrm>
            <a:off x="7634855" y="4054381"/>
            <a:ext cx="1529425" cy="473448"/>
          </a:xfrm>
          <a:prstGeom prst="roundRect">
            <a:avLst/>
          </a:prstGeom>
          <a:solidFill>
            <a:schemeClr val="bg1"/>
          </a:solidFill>
          <a:ln w="158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wrap="none" lIns="91412" tIns="0" rIns="91412" bIns="0" rtlCol="0" anchor="ctr" anchorCtr="0">
            <a:normAutofit/>
          </a:bodyPr>
          <a:lstStyle/>
          <a:p>
            <a:pPr algn="ctr" defTabSz="914111">
              <a:defRPr/>
            </a:pPr>
            <a:r>
              <a:rPr lang="zh-CN" altLang="en-US" b="1" kern="0">
                <a:solidFill>
                  <a:schemeClr val="accent1"/>
                </a:solidFill>
                <a:cs typeface="+mn-ea"/>
                <a:sym typeface="+mn-lt"/>
              </a:rPr>
              <a:t>请输入标题</a:t>
            </a:r>
            <a:endParaRPr lang="en-US" b="1" kern="0" dirty="0">
              <a:solidFill>
                <a:schemeClr val="accent1"/>
              </a:solidFill>
              <a:cs typeface="+mn-ea"/>
              <a:sym typeface="+mn-lt"/>
            </a:endParaRPr>
          </a:p>
        </p:txBody>
      </p:sp>
      <p:sp>
        <p:nvSpPr>
          <p:cNvPr id="20" name="Rounded Rectangle 128">
            <a:extLst>
              <a:ext uri="{FF2B5EF4-FFF2-40B4-BE49-F238E27FC236}">
                <a16:creationId xmlns:a16="http://schemas.microsoft.com/office/drawing/2014/main" id="{78BAA53C-1B29-4BBB-8DC9-8AEFD786D534}"/>
              </a:ext>
            </a:extLst>
          </p:cNvPr>
          <p:cNvSpPr/>
          <p:nvPr/>
        </p:nvSpPr>
        <p:spPr>
          <a:xfrm>
            <a:off x="3483103" y="5295432"/>
            <a:ext cx="1529425" cy="473448"/>
          </a:xfrm>
          <a:prstGeom prst="roundRect">
            <a:avLst/>
          </a:prstGeom>
          <a:solidFill>
            <a:schemeClr val="bg1"/>
          </a:solidFill>
          <a:ln w="158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wrap="none" lIns="91412" tIns="0" rIns="91412" bIns="0" rtlCol="0" anchor="ctr" anchorCtr="0">
            <a:normAutofit/>
          </a:bodyPr>
          <a:lstStyle/>
          <a:p>
            <a:pPr algn="ctr" defTabSz="914111">
              <a:defRPr/>
            </a:pPr>
            <a:r>
              <a:rPr lang="zh-CN" altLang="en-US" b="1" kern="0" dirty="0">
                <a:solidFill>
                  <a:schemeClr val="accent1"/>
                </a:solidFill>
                <a:cs typeface="+mn-ea"/>
                <a:sym typeface="+mn-lt"/>
              </a:rPr>
              <a:t>请输入标题</a:t>
            </a:r>
            <a:endParaRPr lang="en-US" b="1" kern="0" dirty="0">
              <a:solidFill>
                <a:schemeClr val="accent1"/>
              </a:solidFill>
              <a:cs typeface="+mn-ea"/>
              <a:sym typeface="+mn-lt"/>
            </a:endParaRPr>
          </a:p>
        </p:txBody>
      </p:sp>
      <p:sp>
        <p:nvSpPr>
          <p:cNvPr id="46" name="Rounded Rectangle 132">
            <a:extLst>
              <a:ext uri="{FF2B5EF4-FFF2-40B4-BE49-F238E27FC236}">
                <a16:creationId xmlns:a16="http://schemas.microsoft.com/office/drawing/2014/main" id="{730D0525-071E-4FD0-8F82-6B3B5A75F9D3}"/>
              </a:ext>
            </a:extLst>
          </p:cNvPr>
          <p:cNvSpPr/>
          <p:nvPr/>
        </p:nvSpPr>
        <p:spPr>
          <a:xfrm>
            <a:off x="7217570" y="5295432"/>
            <a:ext cx="1529425" cy="473448"/>
          </a:xfrm>
          <a:prstGeom prst="roundRect">
            <a:avLst/>
          </a:prstGeom>
          <a:solidFill>
            <a:schemeClr val="bg1"/>
          </a:solidFill>
          <a:ln w="158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wrap="none" lIns="91412" tIns="0" rIns="91412" bIns="0" rtlCol="0" anchor="ctr" anchorCtr="0">
            <a:normAutofit/>
          </a:bodyPr>
          <a:lstStyle/>
          <a:p>
            <a:pPr algn="ctr" defTabSz="914111">
              <a:defRPr/>
            </a:pPr>
            <a:r>
              <a:rPr lang="zh-CN" altLang="en-US" b="1" kern="0">
                <a:solidFill>
                  <a:schemeClr val="accent1"/>
                </a:solidFill>
                <a:cs typeface="+mn-ea"/>
                <a:sym typeface="+mn-lt"/>
              </a:rPr>
              <a:t>请输入标题</a:t>
            </a:r>
            <a:endParaRPr lang="en-US" b="1" kern="0" dirty="0">
              <a:solidFill>
                <a:schemeClr val="accent1"/>
              </a:solidFill>
              <a:cs typeface="+mn-ea"/>
              <a:sym typeface="+mn-lt"/>
            </a:endParaRPr>
          </a:p>
        </p:txBody>
      </p:sp>
      <p:sp>
        <p:nvSpPr>
          <p:cNvPr id="113" name="标题 112">
            <a:extLst>
              <a:ext uri="{FF2B5EF4-FFF2-40B4-BE49-F238E27FC236}">
                <a16:creationId xmlns:a16="http://schemas.microsoft.com/office/drawing/2014/main" id="{0C8B23DC-8180-4D9D-90BE-5AA8AFD21682}"/>
              </a:ext>
            </a:extLst>
          </p:cNvPr>
          <p:cNvSpPr>
            <a:spLocks noGrp="1"/>
          </p:cNvSpPr>
          <p:nvPr>
            <p:ph type="title"/>
          </p:nvPr>
        </p:nvSpPr>
        <p:spPr/>
        <p:txBody>
          <a:bodyPr/>
          <a:lstStyle/>
          <a:p>
            <a:r>
              <a:rPr lang="zh-CN" altLang="en-US" dirty="0"/>
              <a:t>特点展示页</a:t>
            </a:r>
            <a:endParaRPr lang="en-US" dirty="0"/>
          </a:p>
        </p:txBody>
      </p:sp>
      <p:sp>
        <p:nvSpPr>
          <p:cNvPr id="112" name="灯片编号占位符 2">
            <a:extLst>
              <a:ext uri="{FF2B5EF4-FFF2-40B4-BE49-F238E27FC236}">
                <a16:creationId xmlns:a16="http://schemas.microsoft.com/office/drawing/2014/main" id="{CC5F3D68-1011-4D16-961C-77A98D65F6E8}"/>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28</a:t>
            </a:fld>
            <a:endParaRPr lang="en-US" dirty="0">
              <a:solidFill>
                <a:srgbClr val="000000">
                  <a:tint val="75000"/>
                </a:srgbClr>
              </a:solidFill>
            </a:endParaRPr>
          </a:p>
        </p:txBody>
      </p:sp>
      <p:pic>
        <p:nvPicPr>
          <p:cNvPr id="7" name="图片占位符 6">
            <a:extLst>
              <a:ext uri="{FF2B5EF4-FFF2-40B4-BE49-F238E27FC236}">
                <a16:creationId xmlns:a16="http://schemas.microsoft.com/office/drawing/2014/main" id="{82D78D3B-A11E-43F7-90ED-76CD7D1120D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69" b="169"/>
          <a:stretch>
            <a:fillRect/>
          </a:stretch>
        </p:blipFill>
        <p:spPr/>
      </p:pic>
      <p:grpSp>
        <p:nvGrpSpPr>
          <p:cNvPr id="21" name="组合 20">
            <a:extLst>
              <a:ext uri="{FF2B5EF4-FFF2-40B4-BE49-F238E27FC236}">
                <a16:creationId xmlns:a16="http://schemas.microsoft.com/office/drawing/2014/main" id="{6AECD7B2-EB20-4FA6-9D9D-DE0FE241704A}"/>
              </a:ext>
            </a:extLst>
          </p:cNvPr>
          <p:cNvGrpSpPr/>
          <p:nvPr/>
        </p:nvGrpSpPr>
        <p:grpSpPr>
          <a:xfrm>
            <a:off x="0" y="-715587"/>
            <a:ext cx="676656" cy="602672"/>
            <a:chOff x="0" y="6950133"/>
            <a:chExt cx="676656" cy="602672"/>
          </a:xfrm>
        </p:grpSpPr>
        <p:sp>
          <p:nvSpPr>
            <p:cNvPr id="22" name="矩形 21">
              <a:extLst>
                <a:ext uri="{FF2B5EF4-FFF2-40B4-BE49-F238E27FC236}">
                  <a16:creationId xmlns:a16="http://schemas.microsoft.com/office/drawing/2014/main" id="{992670C1-EA4F-4B03-82F5-09AAB3EC42E6}"/>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23" name="组合 22">
              <a:extLst>
                <a:ext uri="{FF2B5EF4-FFF2-40B4-BE49-F238E27FC236}">
                  <a16:creationId xmlns:a16="http://schemas.microsoft.com/office/drawing/2014/main" id="{4BDDF305-FCB3-4328-90C6-6F583A94F576}"/>
                </a:ext>
              </a:extLst>
            </p:cNvPr>
            <p:cNvGrpSpPr/>
            <p:nvPr/>
          </p:nvGrpSpPr>
          <p:grpSpPr>
            <a:xfrm>
              <a:off x="47544" y="7038552"/>
              <a:ext cx="581568" cy="425834"/>
              <a:chOff x="84575" y="6977592"/>
              <a:chExt cx="581568" cy="425834"/>
            </a:xfrm>
          </p:grpSpPr>
          <p:grpSp>
            <p:nvGrpSpPr>
              <p:cNvPr id="24" name="组合 23">
                <a:extLst>
                  <a:ext uri="{FF2B5EF4-FFF2-40B4-BE49-F238E27FC236}">
                    <a16:creationId xmlns:a16="http://schemas.microsoft.com/office/drawing/2014/main" id="{9B6F5D32-315D-4DBA-A5CC-6411774C00E6}"/>
                  </a:ext>
                </a:extLst>
              </p:cNvPr>
              <p:cNvGrpSpPr/>
              <p:nvPr/>
            </p:nvGrpSpPr>
            <p:grpSpPr>
              <a:xfrm>
                <a:off x="84575" y="6979654"/>
                <a:ext cx="317380" cy="421711"/>
                <a:chOff x="14690033" y="2185397"/>
                <a:chExt cx="583830" cy="775754"/>
              </a:xfrm>
            </p:grpSpPr>
            <p:sp>
              <p:nvSpPr>
                <p:cNvPr id="26" name="iŝļíḑe">
                  <a:extLst>
                    <a:ext uri="{FF2B5EF4-FFF2-40B4-BE49-F238E27FC236}">
                      <a16:creationId xmlns:a16="http://schemas.microsoft.com/office/drawing/2014/main" id="{71EFF1E7-8283-491E-896C-60ABCC3C95B4}"/>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şḷíḍé">
                  <a:extLst>
                    <a:ext uri="{FF2B5EF4-FFF2-40B4-BE49-F238E27FC236}">
                      <a16:creationId xmlns:a16="http://schemas.microsoft.com/office/drawing/2014/main" id="{8D44B807-E647-4CCA-893D-284C47EC2A81}"/>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Sľïḓe">
                  <a:extLst>
                    <a:ext uri="{FF2B5EF4-FFF2-40B4-BE49-F238E27FC236}">
                      <a16:creationId xmlns:a16="http://schemas.microsoft.com/office/drawing/2014/main" id="{51DCA1DB-9E34-4475-B646-1DD6C7BB4A16}"/>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sḻídê">
                  <a:extLst>
                    <a:ext uri="{FF2B5EF4-FFF2-40B4-BE49-F238E27FC236}">
                      <a16:creationId xmlns:a16="http://schemas.microsoft.com/office/drawing/2014/main" id="{E801B108-673A-4084-BADD-F72938A8BD01}"/>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S1íḋè">
                  <a:extLst>
                    <a:ext uri="{FF2B5EF4-FFF2-40B4-BE49-F238E27FC236}">
                      <a16:creationId xmlns:a16="http://schemas.microsoft.com/office/drawing/2014/main" id="{3D39AAF6-6B78-4BC9-9011-B6E9A9C8A784}"/>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şļíde">
                  <a:extLst>
                    <a:ext uri="{FF2B5EF4-FFF2-40B4-BE49-F238E27FC236}">
                      <a16:creationId xmlns:a16="http://schemas.microsoft.com/office/drawing/2014/main" id="{202FAE82-49A3-4484-99FB-EAD297D32447}"/>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5" name="文本框 24">
                <a:extLst>
                  <a:ext uri="{FF2B5EF4-FFF2-40B4-BE49-F238E27FC236}">
                    <a16:creationId xmlns:a16="http://schemas.microsoft.com/office/drawing/2014/main" id="{726F42E7-A068-4BE2-9674-0778A411E1A2}"/>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2" name="矩形 31">
            <a:extLst>
              <a:ext uri="{FF2B5EF4-FFF2-40B4-BE49-F238E27FC236}">
                <a16:creationId xmlns:a16="http://schemas.microsoft.com/office/drawing/2014/main" id="{E96D282B-2E4D-437C-9431-22C12EC584CA}"/>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extLst>
      <p:ext uri="{BB962C8B-B14F-4D97-AF65-F5344CB8AC3E}">
        <p14:creationId xmlns:p14="http://schemas.microsoft.com/office/powerpoint/2010/main" val="24624560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标题 112">
            <a:extLst>
              <a:ext uri="{FF2B5EF4-FFF2-40B4-BE49-F238E27FC236}">
                <a16:creationId xmlns:a16="http://schemas.microsoft.com/office/drawing/2014/main" id="{0C8B23DC-8180-4D9D-90BE-5AA8AFD21682}"/>
              </a:ext>
            </a:extLst>
          </p:cNvPr>
          <p:cNvSpPr>
            <a:spLocks noGrp="1"/>
          </p:cNvSpPr>
          <p:nvPr>
            <p:ph type="title"/>
          </p:nvPr>
        </p:nvSpPr>
        <p:spPr/>
        <p:txBody>
          <a:bodyPr/>
          <a:lstStyle/>
          <a:p>
            <a:r>
              <a:rPr lang="zh-CN" altLang="en-US" dirty="0"/>
              <a:t>特点展示页</a:t>
            </a:r>
            <a:endParaRPr lang="en-US" dirty="0"/>
          </a:p>
        </p:txBody>
      </p:sp>
      <p:sp>
        <p:nvSpPr>
          <p:cNvPr id="112" name="灯片编号占位符 2">
            <a:extLst>
              <a:ext uri="{FF2B5EF4-FFF2-40B4-BE49-F238E27FC236}">
                <a16:creationId xmlns:a16="http://schemas.microsoft.com/office/drawing/2014/main" id="{CC5F3D68-1011-4D16-961C-77A98D65F6E8}"/>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29</a:t>
            </a:fld>
            <a:endParaRPr lang="en-US" dirty="0">
              <a:solidFill>
                <a:srgbClr val="000000">
                  <a:tint val="75000"/>
                </a:srgbClr>
              </a:solidFill>
            </a:endParaRPr>
          </a:p>
        </p:txBody>
      </p:sp>
      <p:pic>
        <p:nvPicPr>
          <p:cNvPr id="4" name="图片占位符 3">
            <a:extLst>
              <a:ext uri="{FF2B5EF4-FFF2-40B4-BE49-F238E27FC236}">
                <a16:creationId xmlns:a16="http://schemas.microsoft.com/office/drawing/2014/main" id="{7380557D-05E3-4383-AE01-6687283249B8}"/>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36" b="36"/>
          <a:stretch>
            <a:fillRect/>
          </a:stretch>
        </p:blipFill>
        <p:spPr/>
      </p:pic>
      <p:sp>
        <p:nvSpPr>
          <p:cNvPr id="48" name="TextBox 53">
            <a:extLst>
              <a:ext uri="{FF2B5EF4-FFF2-40B4-BE49-F238E27FC236}">
                <a16:creationId xmlns:a16="http://schemas.microsoft.com/office/drawing/2014/main" id="{F922604A-B7AC-4841-A76D-08838A0E01DF}"/>
              </a:ext>
            </a:extLst>
          </p:cNvPr>
          <p:cNvSpPr txBox="1"/>
          <p:nvPr/>
        </p:nvSpPr>
        <p:spPr bwMode="gray">
          <a:xfrm>
            <a:off x="515938" y="1556928"/>
            <a:ext cx="5651292" cy="1262863"/>
          </a:xfrm>
          <a:prstGeom prst="rect">
            <a:avLst/>
          </a:prstGeom>
          <a:solidFill>
            <a:schemeClr val="bg1"/>
          </a:solidFill>
          <a:ln w="6350">
            <a:solidFill>
              <a:schemeClr val="bg1">
                <a:lumMod val="75000"/>
              </a:schemeClr>
            </a:solidFill>
            <a:miter lim="800000"/>
            <a:headEnd/>
            <a:tailEnd/>
          </a:ln>
        </p:spPr>
        <p:txBody>
          <a:bodyPr wrap="square" lIns="108000" tIns="360000" rIns="36000" bIns="0" rtlCol="0" anchor="t" anchorCtr="0">
            <a:noAutofit/>
          </a:bodyPr>
          <a:lstStyle/>
          <a:p>
            <a:pPr>
              <a:lnSpc>
                <a:spcPct val="120000"/>
              </a:lnSpc>
              <a:spcAft>
                <a:spcPts val="1200"/>
              </a:spcAft>
            </a:pPr>
            <a:r>
              <a:rPr lang="zh-CN" altLang="en-US" dirty="0">
                <a:solidFill>
                  <a:schemeClr val="tx1">
                    <a:lumMod val="75000"/>
                    <a:lumOff val="25000"/>
                  </a:schemeClr>
                </a:solidFill>
                <a:cs typeface="+mn-ea"/>
                <a:sym typeface="+mn-lt"/>
              </a:rPr>
              <a:t>上海大学是上海市属、国家“</a:t>
            </a:r>
            <a:r>
              <a:rPr lang="en-US" altLang="zh-CN" dirty="0">
                <a:solidFill>
                  <a:schemeClr val="tx1">
                    <a:lumMod val="75000"/>
                    <a:lumOff val="25000"/>
                  </a:schemeClr>
                </a:solidFill>
                <a:cs typeface="+mn-ea"/>
                <a:sym typeface="+mn-lt"/>
              </a:rPr>
              <a:t>211</a:t>
            </a:r>
            <a:r>
              <a:rPr lang="zh-CN" altLang="en-US" dirty="0">
                <a:solidFill>
                  <a:schemeClr val="tx1">
                    <a:lumMod val="75000"/>
                    <a:lumOff val="25000"/>
                  </a:schemeClr>
                </a:solidFill>
                <a:cs typeface="+mn-ea"/>
                <a:sym typeface="+mn-lt"/>
              </a:rPr>
              <a:t>工程”重点建设的综合性大学，是教育部与上海市人民政府共建高校</a:t>
            </a:r>
            <a:endParaRPr lang="en-US" altLang="zh-CN" dirty="0">
              <a:solidFill>
                <a:schemeClr val="tx1">
                  <a:lumMod val="75000"/>
                  <a:lumOff val="25000"/>
                </a:schemeClr>
              </a:solidFill>
              <a:cs typeface="+mn-ea"/>
              <a:sym typeface="+mn-lt"/>
            </a:endParaRPr>
          </a:p>
        </p:txBody>
      </p:sp>
      <p:sp>
        <p:nvSpPr>
          <p:cNvPr id="49" name="TextBox 54">
            <a:extLst>
              <a:ext uri="{FF2B5EF4-FFF2-40B4-BE49-F238E27FC236}">
                <a16:creationId xmlns:a16="http://schemas.microsoft.com/office/drawing/2014/main" id="{081D194D-2503-4437-8311-B0BBBC756C6B}"/>
              </a:ext>
            </a:extLst>
          </p:cNvPr>
          <p:cNvSpPr txBox="1"/>
          <p:nvPr/>
        </p:nvSpPr>
        <p:spPr bwMode="gray">
          <a:xfrm>
            <a:off x="515938" y="3086813"/>
            <a:ext cx="5651292" cy="1262863"/>
          </a:xfrm>
          <a:prstGeom prst="rect">
            <a:avLst/>
          </a:prstGeom>
          <a:solidFill>
            <a:schemeClr val="bg1"/>
          </a:solidFill>
          <a:ln w="6350">
            <a:solidFill>
              <a:schemeClr val="bg1">
                <a:lumMod val="75000"/>
              </a:schemeClr>
            </a:solidFill>
            <a:miter lim="800000"/>
            <a:headEnd/>
            <a:tailEnd/>
          </a:ln>
        </p:spPr>
        <p:txBody>
          <a:bodyPr wrap="square" lIns="108000" tIns="360000" rIns="36000" bIns="0" rtlCol="0" anchor="t" anchorCtr="0">
            <a:noAutofit/>
          </a:bodyPr>
          <a:lstStyle/>
          <a:p>
            <a:pPr>
              <a:lnSpc>
                <a:spcPct val="120000"/>
              </a:lnSpc>
              <a:spcAft>
                <a:spcPts val="1200"/>
              </a:spcAft>
            </a:pPr>
            <a:r>
              <a:rPr lang="zh-CN" altLang="en-US" dirty="0">
                <a:solidFill>
                  <a:schemeClr val="tx1">
                    <a:lumMod val="75000"/>
                    <a:lumOff val="25000"/>
                  </a:schemeClr>
                </a:solidFill>
                <a:cs typeface="+mn-ea"/>
                <a:sym typeface="+mn-lt"/>
              </a:rPr>
              <a:t>上海大学是上海市属、国家“</a:t>
            </a:r>
            <a:r>
              <a:rPr lang="en-US" altLang="zh-CN" dirty="0">
                <a:solidFill>
                  <a:schemeClr val="tx1">
                    <a:lumMod val="75000"/>
                    <a:lumOff val="25000"/>
                  </a:schemeClr>
                </a:solidFill>
                <a:cs typeface="+mn-ea"/>
                <a:sym typeface="+mn-lt"/>
              </a:rPr>
              <a:t>211</a:t>
            </a:r>
            <a:r>
              <a:rPr lang="zh-CN" altLang="en-US" dirty="0">
                <a:solidFill>
                  <a:schemeClr val="tx1">
                    <a:lumMod val="75000"/>
                    <a:lumOff val="25000"/>
                  </a:schemeClr>
                </a:solidFill>
                <a:cs typeface="+mn-ea"/>
                <a:sym typeface="+mn-lt"/>
              </a:rPr>
              <a:t>工程”重点建设的综合性大学，是教育部与上海市人民政府共建高校</a:t>
            </a:r>
            <a:endParaRPr lang="en-US" altLang="zh-CN" dirty="0">
              <a:solidFill>
                <a:schemeClr val="tx1">
                  <a:lumMod val="75000"/>
                  <a:lumOff val="25000"/>
                </a:schemeClr>
              </a:solidFill>
              <a:cs typeface="+mn-ea"/>
              <a:sym typeface="+mn-lt"/>
            </a:endParaRPr>
          </a:p>
        </p:txBody>
      </p:sp>
      <p:sp>
        <p:nvSpPr>
          <p:cNvPr id="50" name="TextBox 55">
            <a:extLst>
              <a:ext uri="{FF2B5EF4-FFF2-40B4-BE49-F238E27FC236}">
                <a16:creationId xmlns:a16="http://schemas.microsoft.com/office/drawing/2014/main" id="{AD1A80F0-630E-4CA8-A347-B11BD6ABD9A1}"/>
              </a:ext>
            </a:extLst>
          </p:cNvPr>
          <p:cNvSpPr txBox="1"/>
          <p:nvPr/>
        </p:nvSpPr>
        <p:spPr bwMode="gray">
          <a:xfrm>
            <a:off x="515938" y="4616698"/>
            <a:ext cx="5651292" cy="1262863"/>
          </a:xfrm>
          <a:prstGeom prst="rect">
            <a:avLst/>
          </a:prstGeom>
          <a:solidFill>
            <a:schemeClr val="bg1"/>
          </a:solidFill>
          <a:ln w="6350">
            <a:solidFill>
              <a:schemeClr val="bg1">
                <a:lumMod val="75000"/>
              </a:schemeClr>
            </a:solidFill>
            <a:miter lim="800000"/>
            <a:headEnd/>
            <a:tailEnd/>
          </a:ln>
        </p:spPr>
        <p:txBody>
          <a:bodyPr wrap="square" lIns="108000" tIns="360000" rIns="36000" bIns="0" rtlCol="0" anchor="t" anchorCtr="0">
            <a:noAutofit/>
          </a:bodyPr>
          <a:lstStyle/>
          <a:p>
            <a:pPr>
              <a:lnSpc>
                <a:spcPct val="120000"/>
              </a:lnSpc>
              <a:spcAft>
                <a:spcPts val="1200"/>
              </a:spcAft>
            </a:pPr>
            <a:r>
              <a:rPr lang="zh-CN" altLang="en-US" dirty="0">
                <a:solidFill>
                  <a:schemeClr val="tx1">
                    <a:lumMod val="75000"/>
                    <a:lumOff val="25000"/>
                  </a:schemeClr>
                </a:solidFill>
                <a:cs typeface="+mn-ea"/>
                <a:sym typeface="+mn-lt"/>
              </a:rPr>
              <a:t>上海大学是上海市属、国家“</a:t>
            </a:r>
            <a:r>
              <a:rPr lang="en-US" altLang="zh-CN" dirty="0">
                <a:solidFill>
                  <a:schemeClr val="tx1">
                    <a:lumMod val="75000"/>
                    <a:lumOff val="25000"/>
                  </a:schemeClr>
                </a:solidFill>
                <a:cs typeface="+mn-ea"/>
                <a:sym typeface="+mn-lt"/>
              </a:rPr>
              <a:t>211</a:t>
            </a:r>
            <a:r>
              <a:rPr lang="zh-CN" altLang="en-US" dirty="0">
                <a:solidFill>
                  <a:schemeClr val="tx1">
                    <a:lumMod val="75000"/>
                    <a:lumOff val="25000"/>
                  </a:schemeClr>
                </a:solidFill>
                <a:cs typeface="+mn-ea"/>
                <a:sym typeface="+mn-lt"/>
              </a:rPr>
              <a:t>工程”重点建设的综合性大学，是教育部与上海市人民政府共建高校</a:t>
            </a:r>
            <a:endParaRPr lang="en-US" altLang="zh-CN" dirty="0">
              <a:solidFill>
                <a:schemeClr val="tx1">
                  <a:lumMod val="75000"/>
                  <a:lumOff val="25000"/>
                </a:schemeClr>
              </a:solidFill>
              <a:cs typeface="+mn-ea"/>
              <a:sym typeface="+mn-lt"/>
            </a:endParaRPr>
          </a:p>
        </p:txBody>
      </p:sp>
      <p:sp>
        <p:nvSpPr>
          <p:cNvPr id="51" name="Rectangle 90">
            <a:extLst>
              <a:ext uri="{FF2B5EF4-FFF2-40B4-BE49-F238E27FC236}">
                <a16:creationId xmlns:a16="http://schemas.microsoft.com/office/drawing/2014/main" id="{00D9A7C2-C73D-403A-996D-7CC74F62A141}"/>
              </a:ext>
            </a:extLst>
          </p:cNvPr>
          <p:cNvSpPr/>
          <p:nvPr/>
        </p:nvSpPr>
        <p:spPr>
          <a:xfrm>
            <a:off x="668208" y="4456608"/>
            <a:ext cx="1602119" cy="392754"/>
          </a:xfrm>
          <a:prstGeom prst="roundRect">
            <a:avLst>
              <a:gd name="adj" fmla="val 50000"/>
            </a:avLst>
          </a:prstGeom>
          <a:solidFill>
            <a:schemeClr val="accent1"/>
          </a:solidFill>
          <a:ln w="190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1">
              <a:defRPr/>
            </a:pPr>
            <a:r>
              <a:rPr lang="zh-CN" altLang="en-US" sz="2000" b="1" kern="0" dirty="0">
                <a:solidFill>
                  <a:schemeClr val="bg1"/>
                </a:solidFill>
                <a:cs typeface="+mn-ea"/>
                <a:sym typeface="+mn-lt"/>
              </a:rPr>
              <a:t>请输入标题</a:t>
            </a:r>
            <a:endParaRPr lang="en-US" altLang="zh-CN" sz="2000" b="1" kern="0" dirty="0">
              <a:solidFill>
                <a:schemeClr val="bg1"/>
              </a:solidFill>
              <a:cs typeface="+mn-ea"/>
              <a:sym typeface="+mn-lt"/>
            </a:endParaRPr>
          </a:p>
        </p:txBody>
      </p:sp>
      <p:sp>
        <p:nvSpPr>
          <p:cNvPr id="52" name="Rectangle 91">
            <a:extLst>
              <a:ext uri="{FF2B5EF4-FFF2-40B4-BE49-F238E27FC236}">
                <a16:creationId xmlns:a16="http://schemas.microsoft.com/office/drawing/2014/main" id="{9C11A338-7F27-4AFD-ABC8-E738A857B8F5}"/>
              </a:ext>
            </a:extLst>
          </p:cNvPr>
          <p:cNvSpPr/>
          <p:nvPr/>
        </p:nvSpPr>
        <p:spPr>
          <a:xfrm>
            <a:off x="668208" y="2934801"/>
            <a:ext cx="1602119" cy="392754"/>
          </a:xfrm>
          <a:prstGeom prst="roundRect">
            <a:avLst>
              <a:gd name="adj" fmla="val 50000"/>
            </a:avLst>
          </a:prstGeom>
          <a:solidFill>
            <a:schemeClr val="accent1"/>
          </a:solidFill>
          <a:ln w="190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1">
              <a:defRPr/>
            </a:pPr>
            <a:r>
              <a:rPr lang="zh-CN" altLang="en-US" sz="2000" b="1" kern="0" dirty="0">
                <a:solidFill>
                  <a:schemeClr val="bg1"/>
                </a:solidFill>
                <a:cs typeface="+mn-ea"/>
                <a:sym typeface="+mn-lt"/>
              </a:rPr>
              <a:t>请输入标题</a:t>
            </a:r>
            <a:endParaRPr lang="en-US" altLang="zh-CN" sz="2000" b="1" kern="0" dirty="0">
              <a:solidFill>
                <a:schemeClr val="bg1"/>
              </a:solidFill>
              <a:cs typeface="+mn-ea"/>
              <a:sym typeface="+mn-lt"/>
            </a:endParaRPr>
          </a:p>
        </p:txBody>
      </p:sp>
      <p:sp>
        <p:nvSpPr>
          <p:cNvPr id="53" name="Rectangle 92">
            <a:extLst>
              <a:ext uri="{FF2B5EF4-FFF2-40B4-BE49-F238E27FC236}">
                <a16:creationId xmlns:a16="http://schemas.microsoft.com/office/drawing/2014/main" id="{74D0C6D1-2A0C-489E-89E8-121CC3A328C5}"/>
              </a:ext>
            </a:extLst>
          </p:cNvPr>
          <p:cNvSpPr/>
          <p:nvPr/>
        </p:nvSpPr>
        <p:spPr>
          <a:xfrm>
            <a:off x="656633" y="1381927"/>
            <a:ext cx="1602119" cy="392754"/>
          </a:xfrm>
          <a:prstGeom prst="roundRect">
            <a:avLst>
              <a:gd name="adj" fmla="val 50000"/>
            </a:avLst>
          </a:prstGeom>
          <a:solidFill>
            <a:schemeClr val="accent1"/>
          </a:solidFill>
          <a:ln w="190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1">
              <a:defRPr/>
            </a:pPr>
            <a:r>
              <a:rPr lang="zh-CN" altLang="en-US" sz="2000" b="1" kern="0" dirty="0">
                <a:solidFill>
                  <a:schemeClr val="bg1"/>
                </a:solidFill>
                <a:cs typeface="+mn-ea"/>
                <a:sym typeface="+mn-lt"/>
              </a:rPr>
              <a:t>请输入标题</a:t>
            </a:r>
            <a:endParaRPr lang="en-US" altLang="zh-CN" sz="2000" b="1" kern="0" dirty="0">
              <a:solidFill>
                <a:schemeClr val="bg1"/>
              </a:solidFill>
              <a:cs typeface="+mn-ea"/>
              <a:sym typeface="+mn-lt"/>
            </a:endParaRPr>
          </a:p>
        </p:txBody>
      </p:sp>
      <p:grpSp>
        <p:nvGrpSpPr>
          <p:cNvPr id="11" name="组合 10">
            <a:extLst>
              <a:ext uri="{FF2B5EF4-FFF2-40B4-BE49-F238E27FC236}">
                <a16:creationId xmlns:a16="http://schemas.microsoft.com/office/drawing/2014/main" id="{B5CB366D-CB32-44C8-99BD-4E3E5B6E160E}"/>
              </a:ext>
            </a:extLst>
          </p:cNvPr>
          <p:cNvGrpSpPr/>
          <p:nvPr/>
        </p:nvGrpSpPr>
        <p:grpSpPr>
          <a:xfrm>
            <a:off x="0" y="-715587"/>
            <a:ext cx="676656" cy="602672"/>
            <a:chOff x="0" y="6950133"/>
            <a:chExt cx="676656" cy="602672"/>
          </a:xfrm>
        </p:grpSpPr>
        <p:sp>
          <p:nvSpPr>
            <p:cNvPr id="12" name="矩形 11">
              <a:extLst>
                <a:ext uri="{FF2B5EF4-FFF2-40B4-BE49-F238E27FC236}">
                  <a16:creationId xmlns:a16="http://schemas.microsoft.com/office/drawing/2014/main" id="{CF0CE94F-C213-4EE3-9832-B130CA0F19C7}"/>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3" name="组合 12">
              <a:extLst>
                <a:ext uri="{FF2B5EF4-FFF2-40B4-BE49-F238E27FC236}">
                  <a16:creationId xmlns:a16="http://schemas.microsoft.com/office/drawing/2014/main" id="{2916A062-0656-44F5-ADD2-16B01D9A0930}"/>
                </a:ext>
              </a:extLst>
            </p:cNvPr>
            <p:cNvGrpSpPr/>
            <p:nvPr/>
          </p:nvGrpSpPr>
          <p:grpSpPr>
            <a:xfrm>
              <a:off x="47544" y="7038552"/>
              <a:ext cx="581568" cy="425834"/>
              <a:chOff x="84575" y="6977592"/>
              <a:chExt cx="581568" cy="425834"/>
            </a:xfrm>
          </p:grpSpPr>
          <p:grpSp>
            <p:nvGrpSpPr>
              <p:cNvPr id="14" name="组合 13">
                <a:extLst>
                  <a:ext uri="{FF2B5EF4-FFF2-40B4-BE49-F238E27FC236}">
                    <a16:creationId xmlns:a16="http://schemas.microsoft.com/office/drawing/2014/main" id="{556C216F-A908-4DEC-BF44-6270CB059866}"/>
                  </a:ext>
                </a:extLst>
              </p:cNvPr>
              <p:cNvGrpSpPr/>
              <p:nvPr/>
            </p:nvGrpSpPr>
            <p:grpSpPr>
              <a:xfrm>
                <a:off x="84575" y="6979654"/>
                <a:ext cx="317380" cy="421711"/>
                <a:chOff x="14690033" y="2185397"/>
                <a:chExt cx="583830" cy="775754"/>
              </a:xfrm>
            </p:grpSpPr>
            <p:sp>
              <p:nvSpPr>
                <p:cNvPr id="16" name="iŝļíḑe">
                  <a:extLst>
                    <a:ext uri="{FF2B5EF4-FFF2-40B4-BE49-F238E27FC236}">
                      <a16:creationId xmlns:a16="http://schemas.microsoft.com/office/drawing/2014/main" id="{E6AF01BA-D421-422D-9AD1-D8A43C8034E5}"/>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şḷíḍé">
                  <a:extLst>
                    <a:ext uri="{FF2B5EF4-FFF2-40B4-BE49-F238E27FC236}">
                      <a16:creationId xmlns:a16="http://schemas.microsoft.com/office/drawing/2014/main" id="{F9AA2507-05AB-49A9-9909-B86E7B463475}"/>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ľïḓe">
                  <a:extLst>
                    <a:ext uri="{FF2B5EF4-FFF2-40B4-BE49-F238E27FC236}">
                      <a16:creationId xmlns:a16="http://schemas.microsoft.com/office/drawing/2014/main" id="{FE09B970-1A4A-422A-BC53-06F92737E817}"/>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sḻídê">
                  <a:extLst>
                    <a:ext uri="{FF2B5EF4-FFF2-40B4-BE49-F238E27FC236}">
                      <a16:creationId xmlns:a16="http://schemas.microsoft.com/office/drawing/2014/main" id="{C62B5848-6C73-4CFB-A5E6-410BD5F11E49}"/>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îS1íḋè">
                  <a:extLst>
                    <a:ext uri="{FF2B5EF4-FFF2-40B4-BE49-F238E27FC236}">
                      <a16:creationId xmlns:a16="http://schemas.microsoft.com/office/drawing/2014/main" id="{B85D4ECC-3B04-43B8-A9DA-F3DA64B28DDC}"/>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şļíde">
                  <a:extLst>
                    <a:ext uri="{FF2B5EF4-FFF2-40B4-BE49-F238E27FC236}">
                      <a16:creationId xmlns:a16="http://schemas.microsoft.com/office/drawing/2014/main" id="{B524ED58-ED37-46DA-A5FE-BF89F8BEFB83}"/>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5" name="文本框 14">
                <a:extLst>
                  <a:ext uri="{FF2B5EF4-FFF2-40B4-BE49-F238E27FC236}">
                    <a16:creationId xmlns:a16="http://schemas.microsoft.com/office/drawing/2014/main" id="{92FAB6CA-67AD-4E39-8867-53219EFB2D41}"/>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a:extLst>
              <a:ext uri="{FF2B5EF4-FFF2-40B4-BE49-F238E27FC236}">
                <a16:creationId xmlns:a16="http://schemas.microsoft.com/office/drawing/2014/main" id="{BA7DC902-DC8E-440C-80A1-25A092EAD19F}"/>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extLst>
      <p:ext uri="{BB962C8B-B14F-4D97-AF65-F5344CB8AC3E}">
        <p14:creationId xmlns:p14="http://schemas.microsoft.com/office/powerpoint/2010/main" val="1960921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1CA114A-D4F4-407B-9104-857E3EAB6292}"/>
              </a:ext>
            </a:extLst>
          </p:cNvPr>
          <p:cNvSpPr>
            <a:spLocks noGrp="1"/>
          </p:cNvSpPr>
          <p:nvPr>
            <p:ph type="ctrTitle"/>
          </p:nvPr>
        </p:nvSpPr>
        <p:spPr/>
        <p:txBody>
          <a:bodyPr/>
          <a:lstStyle/>
          <a:p>
            <a:pPr algn="dist"/>
            <a:r>
              <a:rPr lang="zh-CN" altLang="en-US" dirty="0">
                <a:cs typeface="+mn-ea"/>
                <a:sym typeface="+mn-lt"/>
              </a:rPr>
              <a:t>上海大学汇报答辩通用模板</a:t>
            </a:r>
            <a:endParaRPr lang="en-US" dirty="0">
              <a:cs typeface="+mn-ea"/>
              <a:sym typeface="+mn-lt"/>
            </a:endParaRPr>
          </a:p>
        </p:txBody>
      </p:sp>
      <p:sp>
        <p:nvSpPr>
          <p:cNvPr id="3" name="副标题 2">
            <a:extLst>
              <a:ext uri="{FF2B5EF4-FFF2-40B4-BE49-F238E27FC236}">
                <a16:creationId xmlns:a16="http://schemas.microsoft.com/office/drawing/2014/main" id="{ED8454BD-4559-49CD-A793-D15A2D766AC2}"/>
              </a:ext>
            </a:extLst>
          </p:cNvPr>
          <p:cNvSpPr>
            <a:spLocks noGrp="1"/>
          </p:cNvSpPr>
          <p:nvPr>
            <p:ph type="subTitle" idx="1"/>
          </p:nvPr>
        </p:nvSpPr>
        <p:spPr/>
        <p:txBody>
          <a:bodyPr/>
          <a:lstStyle/>
          <a:p>
            <a:pPr algn="dist"/>
            <a:r>
              <a:rPr lang="en-US" altLang="zh-CN" dirty="0">
                <a:cs typeface="+mn-ea"/>
                <a:sym typeface="+mn-lt"/>
              </a:rPr>
              <a:t>GENERAL REPORTING TEMPLATE FOR SHANGHAI UNIVERSITY</a:t>
            </a:r>
          </a:p>
        </p:txBody>
      </p:sp>
      <p:sp>
        <p:nvSpPr>
          <p:cNvPr id="5" name="文本占位符 4">
            <a:extLst>
              <a:ext uri="{FF2B5EF4-FFF2-40B4-BE49-F238E27FC236}">
                <a16:creationId xmlns:a16="http://schemas.microsoft.com/office/drawing/2014/main" id="{9222CCD5-33EB-403C-8B35-2481E00DAAEA}"/>
              </a:ext>
            </a:extLst>
          </p:cNvPr>
          <p:cNvSpPr>
            <a:spLocks noGrp="1"/>
          </p:cNvSpPr>
          <p:nvPr>
            <p:ph type="body" sz="quarter" idx="15"/>
          </p:nvPr>
        </p:nvSpPr>
        <p:spPr/>
        <p:txBody>
          <a:bodyPr/>
          <a:lstStyle/>
          <a:p>
            <a:r>
              <a:rPr lang="zh-CN" altLang="en-US" dirty="0">
                <a:cs typeface="+mn-ea"/>
                <a:sym typeface="+mn-lt"/>
              </a:rPr>
              <a:t>指导教师：林利蒙</a:t>
            </a:r>
          </a:p>
        </p:txBody>
      </p:sp>
      <p:sp>
        <p:nvSpPr>
          <p:cNvPr id="7" name="文本占位符 6">
            <a:extLst>
              <a:ext uri="{FF2B5EF4-FFF2-40B4-BE49-F238E27FC236}">
                <a16:creationId xmlns:a16="http://schemas.microsoft.com/office/drawing/2014/main" id="{157FDF79-8A14-4A4C-96DB-B0452E47E148}"/>
              </a:ext>
            </a:extLst>
          </p:cNvPr>
          <p:cNvSpPr>
            <a:spLocks noGrp="1"/>
          </p:cNvSpPr>
          <p:nvPr>
            <p:ph type="body" sz="quarter" idx="16"/>
          </p:nvPr>
        </p:nvSpPr>
        <p:spPr/>
        <p:txBody>
          <a:bodyPr/>
          <a:lstStyle/>
          <a:p>
            <a:r>
              <a:rPr lang="zh-CN" altLang="en-US" dirty="0">
                <a:cs typeface="+mn-ea"/>
                <a:sym typeface="+mn-lt"/>
              </a:rPr>
              <a:t>答辩人：林利蒙</a:t>
            </a:r>
          </a:p>
        </p:txBody>
      </p:sp>
      <p:grpSp>
        <p:nvGrpSpPr>
          <p:cNvPr id="6" name="组合 5">
            <a:extLst>
              <a:ext uri="{FF2B5EF4-FFF2-40B4-BE49-F238E27FC236}">
                <a16:creationId xmlns:a16="http://schemas.microsoft.com/office/drawing/2014/main" id="{D69F2EF7-732D-468D-8011-660E788A72E0}"/>
              </a:ext>
            </a:extLst>
          </p:cNvPr>
          <p:cNvGrpSpPr/>
          <p:nvPr/>
        </p:nvGrpSpPr>
        <p:grpSpPr>
          <a:xfrm>
            <a:off x="0" y="6950133"/>
            <a:ext cx="676656" cy="602672"/>
            <a:chOff x="0" y="6950133"/>
            <a:chExt cx="676656" cy="602672"/>
          </a:xfrm>
        </p:grpSpPr>
        <p:sp>
          <p:nvSpPr>
            <p:cNvPr id="8" name="矩形 7">
              <a:extLst>
                <a:ext uri="{FF2B5EF4-FFF2-40B4-BE49-F238E27FC236}">
                  <a16:creationId xmlns:a16="http://schemas.microsoft.com/office/drawing/2014/main" id="{130F2AEC-EC2C-42A3-9D4A-B9A1494CBA8F}"/>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9" name="组合 8">
              <a:extLst>
                <a:ext uri="{FF2B5EF4-FFF2-40B4-BE49-F238E27FC236}">
                  <a16:creationId xmlns:a16="http://schemas.microsoft.com/office/drawing/2014/main" id="{A0646934-713D-4360-9F0C-FDD800A5FD95}"/>
                </a:ext>
              </a:extLst>
            </p:cNvPr>
            <p:cNvGrpSpPr/>
            <p:nvPr/>
          </p:nvGrpSpPr>
          <p:grpSpPr>
            <a:xfrm>
              <a:off x="47544" y="7038552"/>
              <a:ext cx="581568" cy="425834"/>
              <a:chOff x="84575" y="6977592"/>
              <a:chExt cx="581568" cy="425834"/>
            </a:xfrm>
          </p:grpSpPr>
          <p:grpSp>
            <p:nvGrpSpPr>
              <p:cNvPr id="10" name="组合 9">
                <a:extLst>
                  <a:ext uri="{FF2B5EF4-FFF2-40B4-BE49-F238E27FC236}">
                    <a16:creationId xmlns:a16="http://schemas.microsoft.com/office/drawing/2014/main" id="{FD0D5242-8D0D-4B3E-B2DF-46B945FF3E1E}"/>
                  </a:ext>
                </a:extLst>
              </p:cNvPr>
              <p:cNvGrpSpPr/>
              <p:nvPr/>
            </p:nvGrpSpPr>
            <p:grpSpPr>
              <a:xfrm>
                <a:off x="84575" y="6979654"/>
                <a:ext cx="317380" cy="421711"/>
                <a:chOff x="14690033" y="2185397"/>
                <a:chExt cx="583830" cy="775754"/>
              </a:xfrm>
            </p:grpSpPr>
            <p:sp>
              <p:nvSpPr>
                <p:cNvPr id="12" name="iŝļíḑe">
                  <a:extLst>
                    <a:ext uri="{FF2B5EF4-FFF2-40B4-BE49-F238E27FC236}">
                      <a16:creationId xmlns:a16="http://schemas.microsoft.com/office/drawing/2014/main" id="{A97F888F-1078-4930-A913-E9ED2D80D96A}"/>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şḷíḍé">
                  <a:extLst>
                    <a:ext uri="{FF2B5EF4-FFF2-40B4-BE49-F238E27FC236}">
                      <a16:creationId xmlns:a16="http://schemas.microsoft.com/office/drawing/2014/main" id="{8D60D3D7-B640-46F6-9BF6-0C4B36D3B038}"/>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ľïḓe">
                  <a:extLst>
                    <a:ext uri="{FF2B5EF4-FFF2-40B4-BE49-F238E27FC236}">
                      <a16:creationId xmlns:a16="http://schemas.microsoft.com/office/drawing/2014/main" id="{6CA9CE8B-474D-47FF-B954-CE2D876CD213}"/>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ḻídê">
                  <a:extLst>
                    <a:ext uri="{FF2B5EF4-FFF2-40B4-BE49-F238E27FC236}">
                      <a16:creationId xmlns:a16="http://schemas.microsoft.com/office/drawing/2014/main" id="{83657803-31BE-42CC-8428-652747038709}"/>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S1íḋè">
                  <a:extLst>
                    <a:ext uri="{FF2B5EF4-FFF2-40B4-BE49-F238E27FC236}">
                      <a16:creationId xmlns:a16="http://schemas.microsoft.com/office/drawing/2014/main" id="{271BC30C-1434-48EC-8523-700EE1EA0F8A}"/>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şļíde">
                  <a:extLst>
                    <a:ext uri="{FF2B5EF4-FFF2-40B4-BE49-F238E27FC236}">
                      <a16:creationId xmlns:a16="http://schemas.microsoft.com/office/drawing/2014/main" id="{600867E9-8D4D-4E37-98B0-4D9DCD23429E}"/>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1" name="文本框 10">
                <a:extLst>
                  <a:ext uri="{FF2B5EF4-FFF2-40B4-BE49-F238E27FC236}">
                    <a16:creationId xmlns:a16="http://schemas.microsoft.com/office/drawing/2014/main" id="{0557F12C-7BA4-4AB4-B270-B4852AA0F4BA}"/>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8" name="矩形 17">
            <a:extLst>
              <a:ext uri="{FF2B5EF4-FFF2-40B4-BE49-F238E27FC236}">
                <a16:creationId xmlns:a16="http://schemas.microsoft.com/office/drawing/2014/main" id="{1A9096D6-B512-4BDE-99BD-39B9E4E4D30B}"/>
              </a:ext>
            </a:extLst>
          </p:cNvPr>
          <p:cNvSpPr/>
          <p:nvPr/>
        </p:nvSpPr>
        <p:spPr bwMode="auto">
          <a:xfrm>
            <a:off x="812015" y="6950133"/>
            <a:ext cx="3447981"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zh-CN" spc="100" dirty="0">
                <a:solidFill>
                  <a:schemeClr val="tx1">
                    <a:lumMod val="65000"/>
                    <a:lumOff val="35000"/>
                  </a:schemeClr>
                </a:solidFill>
              </a:rPr>
              <a:t>Ctrl + </a:t>
            </a:r>
            <a:r>
              <a:rPr lang="zh-CN" altLang="en-US" spc="100" dirty="0">
                <a:solidFill>
                  <a:schemeClr val="tx1">
                    <a:lumMod val="65000"/>
                    <a:lumOff val="35000"/>
                  </a:schemeClr>
                </a:solidFill>
              </a:rPr>
              <a:t>鼠标滚轮 </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放大缩小</a:t>
            </a:r>
          </a:p>
        </p:txBody>
      </p:sp>
      <p:sp>
        <p:nvSpPr>
          <p:cNvPr id="19" name="矩形 18">
            <a:extLst>
              <a:ext uri="{FF2B5EF4-FFF2-40B4-BE49-F238E27FC236}">
                <a16:creationId xmlns:a16="http://schemas.microsoft.com/office/drawing/2014/main" id="{08E03783-0157-4349-9CEF-2F5BA8ED5228}"/>
              </a:ext>
            </a:extLst>
          </p:cNvPr>
          <p:cNvSpPr/>
          <p:nvPr/>
        </p:nvSpPr>
        <p:spPr bwMode="auto">
          <a:xfrm>
            <a:off x="4395355" y="6950133"/>
            <a:ext cx="7796644"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面类型</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40173730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iṩḻïḍe">
            <a:extLst>
              <a:ext uri="{FF2B5EF4-FFF2-40B4-BE49-F238E27FC236}">
                <a16:creationId xmlns:a16="http://schemas.microsoft.com/office/drawing/2014/main" id="{F9C03E97-BFA9-42E9-981E-057E500E3680}"/>
              </a:ext>
            </a:extLst>
          </p:cNvPr>
          <p:cNvSpPr txBox="1"/>
          <p:nvPr/>
        </p:nvSpPr>
        <p:spPr>
          <a:xfrm>
            <a:off x="6698485" y="2428008"/>
            <a:ext cx="4829900" cy="2430409"/>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indent="-342900">
              <a:lnSpc>
                <a:spcPct val="120000"/>
              </a:lnSpc>
              <a:spcAft>
                <a:spcPts val="1200"/>
              </a:spcAft>
              <a:buFont typeface="Arial" panose="020B0604020202020204" pitchFamily="34" charset="0"/>
              <a:buChar char="•"/>
            </a:pPr>
            <a:r>
              <a:rPr lang="zh-CN" altLang="en-US" sz="2000" dirty="0">
                <a:solidFill>
                  <a:schemeClr val="tx1">
                    <a:lumMod val="75000"/>
                    <a:lumOff val="25000"/>
                  </a:schemeClr>
                </a:solidFill>
                <a:cs typeface="+mn-ea"/>
                <a:sym typeface="+mn-lt"/>
              </a:rPr>
              <a:t>上海大学是上海市属、国家“</a:t>
            </a:r>
            <a:r>
              <a:rPr lang="en-US" altLang="zh-CN" sz="2000" dirty="0">
                <a:solidFill>
                  <a:schemeClr val="tx1">
                    <a:lumMod val="75000"/>
                    <a:lumOff val="25000"/>
                  </a:schemeClr>
                </a:solidFill>
                <a:cs typeface="+mn-ea"/>
                <a:sym typeface="+mn-lt"/>
              </a:rPr>
              <a:t>211</a:t>
            </a:r>
            <a:r>
              <a:rPr lang="zh-CN" altLang="en-US" sz="2000" dirty="0">
                <a:solidFill>
                  <a:schemeClr val="tx1">
                    <a:lumMod val="75000"/>
                    <a:lumOff val="25000"/>
                  </a:schemeClr>
                </a:solidFill>
                <a:cs typeface="+mn-ea"/>
                <a:sym typeface="+mn-lt"/>
              </a:rPr>
              <a:t>工程”重点建设的综合性大学，是教育部与上海市人民政府共建高校</a:t>
            </a:r>
            <a:endParaRPr lang="en-US" altLang="zh-CN" sz="2000" dirty="0">
              <a:solidFill>
                <a:schemeClr val="tx1">
                  <a:lumMod val="75000"/>
                  <a:lumOff val="25000"/>
                </a:schemeClr>
              </a:solidFill>
              <a:cs typeface="+mn-ea"/>
              <a:sym typeface="+mn-lt"/>
            </a:endParaRPr>
          </a:p>
          <a:p>
            <a:pPr marL="342900" indent="-342900">
              <a:lnSpc>
                <a:spcPct val="120000"/>
              </a:lnSpc>
              <a:spcAft>
                <a:spcPts val="1200"/>
              </a:spcAft>
              <a:buFont typeface="Arial" panose="020B0604020202020204" pitchFamily="34" charset="0"/>
              <a:buChar char="•"/>
            </a:pPr>
            <a:r>
              <a:rPr lang="zh-CN" altLang="en-US" sz="2000" dirty="0">
                <a:solidFill>
                  <a:schemeClr val="tx1">
                    <a:lumMod val="75000"/>
                    <a:lumOff val="25000"/>
                  </a:schemeClr>
                </a:solidFill>
                <a:cs typeface="+mn-ea"/>
                <a:sym typeface="+mn-lt"/>
              </a:rPr>
              <a:t>上海大学是上海市属、国家“</a:t>
            </a:r>
            <a:r>
              <a:rPr lang="en-US" altLang="zh-CN" sz="2000" dirty="0">
                <a:solidFill>
                  <a:schemeClr val="tx1">
                    <a:lumMod val="75000"/>
                    <a:lumOff val="25000"/>
                  </a:schemeClr>
                </a:solidFill>
                <a:cs typeface="+mn-ea"/>
                <a:sym typeface="+mn-lt"/>
              </a:rPr>
              <a:t>211</a:t>
            </a:r>
            <a:r>
              <a:rPr lang="zh-CN" altLang="en-US" sz="2000" dirty="0">
                <a:solidFill>
                  <a:schemeClr val="tx1">
                    <a:lumMod val="75000"/>
                    <a:lumOff val="25000"/>
                  </a:schemeClr>
                </a:solidFill>
                <a:cs typeface="+mn-ea"/>
                <a:sym typeface="+mn-lt"/>
              </a:rPr>
              <a:t>工程”重点建设的综合性大学，是教育部与上海市人民政府共建高校</a:t>
            </a:r>
            <a:endParaRPr lang="en-US" altLang="zh-CN" sz="2000" dirty="0">
              <a:solidFill>
                <a:schemeClr val="tx1">
                  <a:lumMod val="75000"/>
                  <a:lumOff val="25000"/>
                </a:schemeClr>
              </a:solidFill>
              <a:cs typeface="+mn-ea"/>
              <a:sym typeface="+mn-lt"/>
            </a:endParaRPr>
          </a:p>
        </p:txBody>
      </p:sp>
      <p:sp>
        <p:nvSpPr>
          <p:cNvPr id="25" name="îSľiḍè">
            <a:extLst>
              <a:ext uri="{FF2B5EF4-FFF2-40B4-BE49-F238E27FC236}">
                <a16:creationId xmlns:a16="http://schemas.microsoft.com/office/drawing/2014/main" id="{EA10D5C7-71D5-4243-BAD6-F839F27C5022}"/>
              </a:ext>
            </a:extLst>
          </p:cNvPr>
          <p:cNvSpPr txBox="1"/>
          <p:nvPr/>
        </p:nvSpPr>
        <p:spPr>
          <a:xfrm>
            <a:off x="6698487" y="1892891"/>
            <a:ext cx="4829900" cy="461665"/>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zh-CN" altLang="en-US" sz="2400" b="1" dirty="0">
                <a:solidFill>
                  <a:schemeClr val="accent1"/>
                </a:solidFill>
                <a:cs typeface="+mn-ea"/>
                <a:sym typeface="+mn-lt"/>
              </a:rPr>
              <a:t>请在此输入概念名称</a:t>
            </a:r>
            <a:r>
              <a:rPr lang="zh-CN" altLang="en-US" sz="2400" b="1" dirty="0">
                <a:solidFill>
                  <a:schemeClr val="accent2"/>
                </a:solidFill>
                <a:cs typeface="+mn-ea"/>
                <a:sym typeface="Webdings" panose="05030102010509060703" pitchFamily="18" charset="2"/>
              </a:rPr>
              <a:t></a:t>
            </a:r>
            <a:endParaRPr lang="en-US" sz="2400" b="1" dirty="0">
              <a:solidFill>
                <a:schemeClr val="accent1"/>
              </a:solidFill>
              <a:cs typeface="+mn-ea"/>
              <a:sym typeface="+mn-lt"/>
            </a:endParaRPr>
          </a:p>
        </p:txBody>
      </p:sp>
      <p:pic>
        <p:nvPicPr>
          <p:cNvPr id="4" name="图片占位符 3">
            <a:extLst>
              <a:ext uri="{FF2B5EF4-FFF2-40B4-BE49-F238E27FC236}">
                <a16:creationId xmlns:a16="http://schemas.microsoft.com/office/drawing/2014/main" id="{8BD827BA-399D-434C-A858-5571F4440A9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52" r="52"/>
          <a:stretch>
            <a:fillRect/>
          </a:stretch>
        </p:blipFill>
        <p:spPr/>
      </p:pic>
      <p:grpSp>
        <p:nvGrpSpPr>
          <p:cNvPr id="5" name="组合 4">
            <a:extLst>
              <a:ext uri="{FF2B5EF4-FFF2-40B4-BE49-F238E27FC236}">
                <a16:creationId xmlns:a16="http://schemas.microsoft.com/office/drawing/2014/main" id="{3D95555C-377F-42B1-BE70-A6D389E7CE9D}"/>
              </a:ext>
            </a:extLst>
          </p:cNvPr>
          <p:cNvGrpSpPr/>
          <p:nvPr/>
        </p:nvGrpSpPr>
        <p:grpSpPr>
          <a:xfrm>
            <a:off x="0" y="-715587"/>
            <a:ext cx="676656" cy="602672"/>
            <a:chOff x="0" y="6950133"/>
            <a:chExt cx="676656" cy="602672"/>
          </a:xfrm>
        </p:grpSpPr>
        <p:sp>
          <p:nvSpPr>
            <p:cNvPr id="6" name="矩形 5">
              <a:extLst>
                <a:ext uri="{FF2B5EF4-FFF2-40B4-BE49-F238E27FC236}">
                  <a16:creationId xmlns:a16="http://schemas.microsoft.com/office/drawing/2014/main" id="{F4BBDB77-4D78-4624-960B-ABD9D2E06D0B}"/>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7" name="组合 6">
              <a:extLst>
                <a:ext uri="{FF2B5EF4-FFF2-40B4-BE49-F238E27FC236}">
                  <a16:creationId xmlns:a16="http://schemas.microsoft.com/office/drawing/2014/main" id="{F19C6849-C276-438D-B38A-180F0165DA27}"/>
                </a:ext>
              </a:extLst>
            </p:cNvPr>
            <p:cNvGrpSpPr/>
            <p:nvPr/>
          </p:nvGrpSpPr>
          <p:grpSpPr>
            <a:xfrm>
              <a:off x="47544" y="7038552"/>
              <a:ext cx="581568" cy="425834"/>
              <a:chOff x="84575" y="6977592"/>
              <a:chExt cx="581568" cy="425834"/>
            </a:xfrm>
          </p:grpSpPr>
          <p:grpSp>
            <p:nvGrpSpPr>
              <p:cNvPr id="8" name="组合 7">
                <a:extLst>
                  <a:ext uri="{FF2B5EF4-FFF2-40B4-BE49-F238E27FC236}">
                    <a16:creationId xmlns:a16="http://schemas.microsoft.com/office/drawing/2014/main" id="{E16FD166-CFF9-44D8-915C-BE70C29030EC}"/>
                  </a:ext>
                </a:extLst>
              </p:cNvPr>
              <p:cNvGrpSpPr/>
              <p:nvPr/>
            </p:nvGrpSpPr>
            <p:grpSpPr>
              <a:xfrm>
                <a:off x="84575" y="6979654"/>
                <a:ext cx="317380" cy="421711"/>
                <a:chOff x="14690033" y="2185397"/>
                <a:chExt cx="583830" cy="775754"/>
              </a:xfrm>
            </p:grpSpPr>
            <p:sp>
              <p:nvSpPr>
                <p:cNvPr id="10" name="iŝļíḑe">
                  <a:extLst>
                    <a:ext uri="{FF2B5EF4-FFF2-40B4-BE49-F238E27FC236}">
                      <a16:creationId xmlns:a16="http://schemas.microsoft.com/office/drawing/2014/main" id="{098A821C-F2C6-4B98-B2D7-A892D94DB679}"/>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şḷíḍé">
                  <a:extLst>
                    <a:ext uri="{FF2B5EF4-FFF2-40B4-BE49-F238E27FC236}">
                      <a16:creationId xmlns:a16="http://schemas.microsoft.com/office/drawing/2014/main" id="{4DEC8A81-3F2F-43F6-BDC1-ACB15363D87E}"/>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Sľïḓe">
                  <a:extLst>
                    <a:ext uri="{FF2B5EF4-FFF2-40B4-BE49-F238E27FC236}">
                      <a16:creationId xmlns:a16="http://schemas.microsoft.com/office/drawing/2014/main" id="{727197E4-17F1-4DB9-9AF8-1689B7603BD6}"/>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ḻídê">
                  <a:extLst>
                    <a:ext uri="{FF2B5EF4-FFF2-40B4-BE49-F238E27FC236}">
                      <a16:creationId xmlns:a16="http://schemas.microsoft.com/office/drawing/2014/main" id="{3692FE13-029D-4A0D-B2E8-76B010D1CF0E}"/>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S1íḋè">
                  <a:extLst>
                    <a:ext uri="{FF2B5EF4-FFF2-40B4-BE49-F238E27FC236}">
                      <a16:creationId xmlns:a16="http://schemas.microsoft.com/office/drawing/2014/main" id="{32D5EB41-F586-43D1-BB72-1288811E6E62}"/>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íşļíde">
                  <a:extLst>
                    <a:ext uri="{FF2B5EF4-FFF2-40B4-BE49-F238E27FC236}">
                      <a16:creationId xmlns:a16="http://schemas.microsoft.com/office/drawing/2014/main" id="{535D8C6C-D651-475C-9E8E-CCF72748E449}"/>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 name="文本框 8">
                <a:extLst>
                  <a:ext uri="{FF2B5EF4-FFF2-40B4-BE49-F238E27FC236}">
                    <a16:creationId xmlns:a16="http://schemas.microsoft.com/office/drawing/2014/main" id="{C85A8447-6B14-4E27-B81C-4446E615D99E}"/>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6" name="矩形 15">
            <a:extLst>
              <a:ext uri="{FF2B5EF4-FFF2-40B4-BE49-F238E27FC236}">
                <a16:creationId xmlns:a16="http://schemas.microsoft.com/office/drawing/2014/main" id="{70D8F17A-3A0B-4713-974B-D89AF8A23B4C}"/>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custDataLst>
      <p:tags r:id="rId1"/>
    </p:custDataLst>
    <p:extLst>
      <p:ext uri="{BB962C8B-B14F-4D97-AF65-F5344CB8AC3E}">
        <p14:creationId xmlns:p14="http://schemas.microsoft.com/office/powerpoint/2010/main" val="15065519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a:extLst>
              <a:ext uri="{FF2B5EF4-FFF2-40B4-BE49-F238E27FC236}">
                <a16:creationId xmlns:a16="http://schemas.microsoft.com/office/drawing/2014/main" id="{68C3A003-85C5-43AA-8F84-43E793C0C8B7}"/>
              </a:ext>
            </a:extLst>
          </p:cNvPr>
          <p:cNvSpPr>
            <a:spLocks noGrp="1"/>
          </p:cNvSpPr>
          <p:nvPr>
            <p:ph type="subTitle" idx="1"/>
          </p:nvPr>
        </p:nvSpPr>
        <p:spPr/>
        <p:txBody>
          <a:bodyPr/>
          <a:lstStyle/>
          <a:p>
            <a:r>
              <a:rPr lang="en-US" altLang="zh-CN" dirty="0">
                <a:cs typeface="+mn-ea"/>
                <a:sym typeface="+mn-lt"/>
              </a:rPr>
              <a:t>RESEARCH METHODS AND IDEAS</a:t>
            </a:r>
          </a:p>
        </p:txBody>
      </p:sp>
      <p:sp>
        <p:nvSpPr>
          <p:cNvPr id="6" name="标题 5">
            <a:extLst>
              <a:ext uri="{FF2B5EF4-FFF2-40B4-BE49-F238E27FC236}">
                <a16:creationId xmlns:a16="http://schemas.microsoft.com/office/drawing/2014/main" id="{BB75BF13-98E3-4ADD-AC2A-6E8926FEF93D}"/>
              </a:ext>
            </a:extLst>
          </p:cNvPr>
          <p:cNvSpPr>
            <a:spLocks noGrp="1"/>
          </p:cNvSpPr>
          <p:nvPr>
            <p:ph type="ctrTitle"/>
          </p:nvPr>
        </p:nvSpPr>
        <p:spPr/>
        <p:txBody>
          <a:bodyPr/>
          <a:lstStyle/>
          <a:p>
            <a:r>
              <a:rPr lang="zh-CN" altLang="en-US" dirty="0">
                <a:cs typeface="+mn-ea"/>
                <a:sym typeface="+mn-lt"/>
              </a:rPr>
              <a:t>研究方法与思路</a:t>
            </a:r>
            <a:endParaRPr lang="en-US" dirty="0">
              <a:cs typeface="+mn-ea"/>
              <a:sym typeface="+mn-lt"/>
            </a:endParaRPr>
          </a:p>
        </p:txBody>
      </p:sp>
      <p:sp>
        <p:nvSpPr>
          <p:cNvPr id="9" name="文本占位符 8">
            <a:extLst>
              <a:ext uri="{FF2B5EF4-FFF2-40B4-BE49-F238E27FC236}">
                <a16:creationId xmlns:a16="http://schemas.microsoft.com/office/drawing/2014/main" id="{F17A26B9-BC55-4BC6-B6CC-D9E29DC06D29}"/>
              </a:ext>
            </a:extLst>
          </p:cNvPr>
          <p:cNvSpPr>
            <a:spLocks noGrp="1"/>
          </p:cNvSpPr>
          <p:nvPr>
            <p:ph type="body" sz="quarter" idx="12"/>
          </p:nvPr>
        </p:nvSpPr>
        <p:spPr/>
        <p:txBody>
          <a:bodyPr/>
          <a:lstStyle/>
          <a:p>
            <a:pPr marL="0" indent="0">
              <a:buNone/>
            </a:pPr>
            <a:r>
              <a:rPr lang="en-US" altLang="zh-CN" dirty="0">
                <a:cs typeface="+mn-ea"/>
                <a:sym typeface="+mn-lt"/>
              </a:rPr>
              <a:t>02</a:t>
            </a:r>
            <a:endParaRPr lang="en-US" dirty="0">
              <a:cs typeface="+mn-ea"/>
              <a:sym typeface="+mn-lt"/>
            </a:endParaRPr>
          </a:p>
        </p:txBody>
      </p:sp>
      <p:grpSp>
        <p:nvGrpSpPr>
          <p:cNvPr id="5" name="组合 4">
            <a:extLst>
              <a:ext uri="{FF2B5EF4-FFF2-40B4-BE49-F238E27FC236}">
                <a16:creationId xmlns:a16="http://schemas.microsoft.com/office/drawing/2014/main" id="{FCFDBF9F-F03D-4CD9-8151-B04577B20730}"/>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3E7D2101-ABE7-42F7-870C-97110C54C663}"/>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0" name="组合 9">
              <a:extLst>
                <a:ext uri="{FF2B5EF4-FFF2-40B4-BE49-F238E27FC236}">
                  <a16:creationId xmlns:a16="http://schemas.microsoft.com/office/drawing/2014/main" id="{66AF6DF6-B48C-4EA9-9393-5312E9BEB358}"/>
                </a:ext>
              </a:extLst>
            </p:cNvPr>
            <p:cNvGrpSpPr/>
            <p:nvPr/>
          </p:nvGrpSpPr>
          <p:grpSpPr>
            <a:xfrm>
              <a:off x="47544" y="7038552"/>
              <a:ext cx="581568" cy="425834"/>
              <a:chOff x="84575" y="6977592"/>
              <a:chExt cx="581568" cy="425834"/>
            </a:xfrm>
          </p:grpSpPr>
          <p:grpSp>
            <p:nvGrpSpPr>
              <p:cNvPr id="11" name="组合 10">
                <a:extLst>
                  <a:ext uri="{FF2B5EF4-FFF2-40B4-BE49-F238E27FC236}">
                    <a16:creationId xmlns:a16="http://schemas.microsoft.com/office/drawing/2014/main" id="{A4DEFB5C-44C9-4DD9-97EF-189534DF4218}"/>
                  </a:ext>
                </a:extLst>
              </p:cNvPr>
              <p:cNvGrpSpPr/>
              <p:nvPr/>
            </p:nvGrpSpPr>
            <p:grpSpPr>
              <a:xfrm>
                <a:off x="84575" y="6979654"/>
                <a:ext cx="317380" cy="421711"/>
                <a:chOff x="14690033" y="2185397"/>
                <a:chExt cx="583830" cy="775754"/>
              </a:xfrm>
            </p:grpSpPr>
            <p:sp>
              <p:nvSpPr>
                <p:cNvPr id="13" name="iŝļíḑe">
                  <a:extLst>
                    <a:ext uri="{FF2B5EF4-FFF2-40B4-BE49-F238E27FC236}">
                      <a16:creationId xmlns:a16="http://schemas.microsoft.com/office/drawing/2014/main" id="{32C1443E-F9C2-4049-BF32-EBEBC687F705}"/>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şḷíḍé">
                  <a:extLst>
                    <a:ext uri="{FF2B5EF4-FFF2-40B4-BE49-F238E27FC236}">
                      <a16:creationId xmlns:a16="http://schemas.microsoft.com/office/drawing/2014/main" id="{67AE974C-7833-4D23-B6C4-A7C06C517E4D}"/>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ľïḓe">
                  <a:extLst>
                    <a:ext uri="{FF2B5EF4-FFF2-40B4-BE49-F238E27FC236}">
                      <a16:creationId xmlns:a16="http://schemas.microsoft.com/office/drawing/2014/main" id="{899F1827-B28A-483D-8DEF-5B327DE3B96D}"/>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ídê">
                  <a:extLst>
                    <a:ext uri="{FF2B5EF4-FFF2-40B4-BE49-F238E27FC236}">
                      <a16:creationId xmlns:a16="http://schemas.microsoft.com/office/drawing/2014/main" id="{22E9600B-6135-4958-9499-25090D9B1E3F}"/>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îS1íḋè">
                  <a:extLst>
                    <a:ext uri="{FF2B5EF4-FFF2-40B4-BE49-F238E27FC236}">
                      <a16:creationId xmlns:a16="http://schemas.microsoft.com/office/drawing/2014/main" id="{BD50DB5E-F5C2-4CA1-98DF-9BE2B2B357F4}"/>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şļíde">
                  <a:extLst>
                    <a:ext uri="{FF2B5EF4-FFF2-40B4-BE49-F238E27FC236}">
                      <a16:creationId xmlns:a16="http://schemas.microsoft.com/office/drawing/2014/main" id="{A225277A-60DF-491A-9214-D0E63A77FF7C}"/>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2" name="文本框 11">
                <a:extLst>
                  <a:ext uri="{FF2B5EF4-FFF2-40B4-BE49-F238E27FC236}">
                    <a16:creationId xmlns:a16="http://schemas.microsoft.com/office/drawing/2014/main" id="{2338D0D0-BB3C-4785-A2EB-880D3915270E}"/>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a:extLst>
              <a:ext uri="{FF2B5EF4-FFF2-40B4-BE49-F238E27FC236}">
                <a16:creationId xmlns:a16="http://schemas.microsoft.com/office/drawing/2014/main" id="{9E2680BC-F76A-4F00-81F3-38F87DF654FB}"/>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10618027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378695C-EA7E-4433-B6C3-77EE3DF37A37}"/>
              </a:ext>
            </a:extLst>
          </p:cNvPr>
          <p:cNvSpPr>
            <a:spLocks noGrp="1"/>
          </p:cNvSpPr>
          <p:nvPr>
            <p:ph type="title"/>
          </p:nvPr>
        </p:nvSpPr>
        <p:spPr/>
        <p:txBody>
          <a:bodyPr/>
          <a:lstStyle/>
          <a:p>
            <a:r>
              <a:rPr lang="zh-CN" altLang="en-US" dirty="0">
                <a:cs typeface="+mn-ea"/>
                <a:sym typeface="+mn-lt"/>
              </a:rPr>
              <a:t>研究对象页</a:t>
            </a:r>
            <a:endParaRPr lang="en-US" dirty="0"/>
          </a:p>
        </p:txBody>
      </p:sp>
      <p:sp>
        <p:nvSpPr>
          <p:cNvPr id="3" name="灯片编号占位符 2">
            <a:extLst>
              <a:ext uri="{FF2B5EF4-FFF2-40B4-BE49-F238E27FC236}">
                <a16:creationId xmlns:a16="http://schemas.microsoft.com/office/drawing/2014/main" id="{93D5128D-AF0E-4999-8880-779064452D88}"/>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32</a:t>
            </a:fld>
            <a:endParaRPr lang="en-US" dirty="0">
              <a:solidFill>
                <a:srgbClr val="000000">
                  <a:tint val="75000"/>
                </a:srgbClr>
              </a:solidFill>
            </a:endParaRPr>
          </a:p>
        </p:txBody>
      </p:sp>
      <p:sp>
        <p:nvSpPr>
          <p:cNvPr id="130" name="íṣ1íḓè">
            <a:extLst>
              <a:ext uri="{FF2B5EF4-FFF2-40B4-BE49-F238E27FC236}">
                <a16:creationId xmlns:a16="http://schemas.microsoft.com/office/drawing/2014/main" id="{0D20D098-8255-4A02-9404-0286BD66D901}"/>
              </a:ext>
            </a:extLst>
          </p:cNvPr>
          <p:cNvSpPr txBox="1"/>
          <p:nvPr/>
        </p:nvSpPr>
        <p:spPr>
          <a:xfrm>
            <a:off x="7636976" y="1694345"/>
            <a:ext cx="2722366" cy="461665"/>
          </a:xfrm>
          <a:prstGeom prst="rect">
            <a:avLst/>
          </a:prstGeom>
          <a:solidFill>
            <a:schemeClr val="bg1"/>
          </a:solidFill>
        </p:spPr>
        <p:txBody>
          <a:bodyPr wrap="square" lIns="91440" tIns="45720" rIns="91440" bIns="45720" anchor="ctr" anchorCtr="0">
            <a:spAutoFit/>
          </a:bodyPr>
          <a:lstStyle/>
          <a:p>
            <a:pPr>
              <a:spcAft>
                <a:spcPts val="1200"/>
              </a:spcAft>
              <a:buSzPct val="100000"/>
            </a:pPr>
            <a:r>
              <a:rPr lang="zh-CN" altLang="en-US" sz="2400" b="1" dirty="0">
                <a:solidFill>
                  <a:schemeClr val="accent1"/>
                </a:solidFill>
                <a:cs typeface="+mn-ea"/>
                <a:sym typeface="+mn-lt"/>
              </a:rPr>
              <a:t>此处为已知领域</a:t>
            </a:r>
            <a:endParaRPr lang="en-US" altLang="zh-CN" sz="2400" b="1" dirty="0">
              <a:solidFill>
                <a:schemeClr val="accent1"/>
              </a:solidFill>
              <a:cs typeface="+mn-ea"/>
              <a:sym typeface="+mn-lt"/>
            </a:endParaRPr>
          </a:p>
        </p:txBody>
      </p:sp>
      <p:sp>
        <p:nvSpPr>
          <p:cNvPr id="132" name="íšḷîḓè">
            <a:extLst>
              <a:ext uri="{FF2B5EF4-FFF2-40B4-BE49-F238E27FC236}">
                <a16:creationId xmlns:a16="http://schemas.microsoft.com/office/drawing/2014/main" id="{071D7DFB-1DDF-4BC2-909F-B755F9B06B4E}"/>
              </a:ext>
            </a:extLst>
          </p:cNvPr>
          <p:cNvSpPr/>
          <p:nvPr/>
        </p:nvSpPr>
        <p:spPr>
          <a:xfrm rot="18012005" flipH="1">
            <a:off x="6962070" y="1882528"/>
            <a:ext cx="488196" cy="351798"/>
          </a:xfrm>
          <a:prstGeom prst="bentArrow">
            <a:avLst>
              <a:gd name="adj1" fmla="val 6094"/>
              <a:gd name="adj2" fmla="val 13500"/>
              <a:gd name="adj3" fmla="val 25000"/>
              <a:gd name="adj4" fmla="val 43750"/>
            </a:avLst>
          </a:prstGeom>
          <a:solidFill>
            <a:schemeClr val="tx1"/>
          </a:solidFill>
          <a:ln w="12700" cap="flat" cmpd="sng" algn="ctr">
            <a:solidFill>
              <a:schemeClr val="bg1">
                <a:lumMod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33" name="iS1ïḓé">
            <a:extLst>
              <a:ext uri="{FF2B5EF4-FFF2-40B4-BE49-F238E27FC236}">
                <a16:creationId xmlns:a16="http://schemas.microsoft.com/office/drawing/2014/main" id="{085BE2D4-54CE-4485-9AAD-0F2ECE62B616}"/>
              </a:ext>
            </a:extLst>
          </p:cNvPr>
          <p:cNvSpPr/>
          <p:nvPr/>
        </p:nvSpPr>
        <p:spPr>
          <a:xfrm>
            <a:off x="515938" y="4091011"/>
            <a:ext cx="11196637" cy="2"/>
          </a:xfrm>
          <a:prstGeom prst="line">
            <a:avLst/>
          </a:prstGeom>
          <a:ln w="12700">
            <a:solidFill>
              <a:schemeClr val="bg1">
                <a:lumMod val="65000"/>
              </a:schemeClr>
            </a:solidFill>
            <a:custDash>
              <a:ds d="200000" sp="200000"/>
            </a:custDash>
            <a:miter lim="400000"/>
          </a:ln>
        </p:spPr>
        <p:txBody>
          <a:bodyPr anchor="ctr"/>
          <a:lstStyle/>
          <a:p>
            <a:pPr algn="ctr"/>
            <a:endParaRPr>
              <a:solidFill>
                <a:schemeClr val="tx1">
                  <a:lumMod val="75000"/>
                  <a:lumOff val="25000"/>
                </a:schemeClr>
              </a:solidFill>
            </a:endParaRPr>
          </a:p>
        </p:txBody>
      </p:sp>
      <p:sp>
        <p:nvSpPr>
          <p:cNvPr id="134" name="íṡľiḍé">
            <a:extLst>
              <a:ext uri="{FF2B5EF4-FFF2-40B4-BE49-F238E27FC236}">
                <a16:creationId xmlns:a16="http://schemas.microsoft.com/office/drawing/2014/main" id="{63CD9D72-82DD-4914-B1B5-2144DCEC4834}"/>
              </a:ext>
            </a:extLst>
          </p:cNvPr>
          <p:cNvSpPr/>
          <p:nvPr/>
        </p:nvSpPr>
        <p:spPr>
          <a:xfrm>
            <a:off x="515938" y="5148555"/>
            <a:ext cx="11196637" cy="1"/>
          </a:xfrm>
          <a:prstGeom prst="line">
            <a:avLst/>
          </a:prstGeom>
          <a:ln w="12700">
            <a:solidFill>
              <a:schemeClr val="bg1">
                <a:lumMod val="65000"/>
              </a:schemeClr>
            </a:solidFill>
            <a:custDash>
              <a:ds d="200000" sp="200000"/>
            </a:custDash>
            <a:miter lim="400000"/>
          </a:ln>
        </p:spPr>
        <p:txBody>
          <a:bodyPr anchor="ctr"/>
          <a:lstStyle/>
          <a:p>
            <a:pPr algn="ctr"/>
            <a:endParaRPr>
              <a:solidFill>
                <a:schemeClr val="tx1">
                  <a:lumMod val="75000"/>
                  <a:lumOff val="25000"/>
                </a:schemeClr>
              </a:solidFill>
            </a:endParaRPr>
          </a:p>
        </p:txBody>
      </p:sp>
      <p:sp>
        <p:nvSpPr>
          <p:cNvPr id="135" name="ïSliḋé">
            <a:extLst>
              <a:ext uri="{FF2B5EF4-FFF2-40B4-BE49-F238E27FC236}">
                <a16:creationId xmlns:a16="http://schemas.microsoft.com/office/drawing/2014/main" id="{4685AE10-AA61-41AF-A140-0BA6A9A4FAA1}"/>
              </a:ext>
            </a:extLst>
          </p:cNvPr>
          <p:cNvSpPr/>
          <p:nvPr/>
        </p:nvSpPr>
        <p:spPr>
          <a:xfrm>
            <a:off x="8052955" y="4298455"/>
            <a:ext cx="3659620" cy="642658"/>
          </a:xfrm>
          <a:prstGeom prst="rect">
            <a:avLst/>
          </a:prstGeom>
          <a:ln w="12700">
            <a:miter lim="400000"/>
          </a:ln>
          <a:extLst>
            <a:ext uri="{C572A759-6A51-4108-AA02-DFA0A04FC94B}">
              <ma14:wrappingTextBoxFlag xmlns:ma14="http://schemas.microsoft.com/office/mac/drawingml/2011/main" xmlns:p14="http://schemas.microsoft.com/office/powerpoint/2010/main" xmlns:lc="http://schemas.openxmlformats.org/drawingml/2006/lockedCanvas" xmlns="" val="1"/>
            </a:ext>
          </a:extLst>
        </p:spPr>
        <p:txBody>
          <a:bodyPr wrap="square" lIns="0" tIns="0" rIns="0" bIns="0" anchor="ctr">
            <a:noAutofit/>
          </a:bodyPr>
          <a:lstStyle/>
          <a:p>
            <a:pPr lvl="0">
              <a:lnSpc>
                <a:spcPct val="120000"/>
              </a:lnSpc>
              <a:defRPr sz="1800"/>
            </a:pPr>
            <a:r>
              <a:rPr lang="zh-CN" altLang="en-US" sz="1600" dirty="0">
                <a:solidFill>
                  <a:schemeClr val="tx1">
                    <a:lumMod val="75000"/>
                    <a:lumOff val="25000"/>
                  </a:schemeClr>
                </a:solidFill>
              </a:rPr>
              <a:t>此处为未知领域的细节描述</a:t>
            </a:r>
          </a:p>
        </p:txBody>
      </p:sp>
      <p:sp>
        <p:nvSpPr>
          <p:cNvPr id="136" name="î$ľïḑè">
            <a:extLst>
              <a:ext uri="{FF2B5EF4-FFF2-40B4-BE49-F238E27FC236}">
                <a16:creationId xmlns:a16="http://schemas.microsoft.com/office/drawing/2014/main" id="{1A5652B2-6A68-4043-BA57-C1F41CD5F4E0}"/>
              </a:ext>
            </a:extLst>
          </p:cNvPr>
          <p:cNvSpPr/>
          <p:nvPr/>
        </p:nvSpPr>
        <p:spPr>
          <a:xfrm>
            <a:off x="908162" y="4450507"/>
            <a:ext cx="2247900" cy="338554"/>
          </a:xfrm>
          <a:prstGeom prst="rect">
            <a:avLst/>
          </a:prstGeom>
          <a:ln w="12700">
            <a:miter lim="400000"/>
          </a:ln>
          <a:extLst>
            <a:ext uri="{C572A759-6A51-4108-AA02-DFA0A04FC94B}">
              <ma14:wrappingTextBoxFlag xmlns:ma14="http://schemas.microsoft.com/office/mac/drawingml/2011/main" xmlns:p14="http://schemas.microsoft.com/office/powerpoint/2010/main" xmlns:lc="http://schemas.openxmlformats.org/drawingml/2006/lockedCanvas" xmlns="" val="1"/>
            </a:ext>
          </a:extLst>
        </p:spPr>
        <p:txBody>
          <a:bodyPr wrap="none" lIns="0" tIns="0" rIns="0" bIns="0" anchor="ctr" anchorCtr="0">
            <a:normAutofit/>
          </a:bodyPr>
          <a:lstStyle/>
          <a:p>
            <a:pPr lvl="0">
              <a:defRPr sz="1800"/>
            </a:pPr>
            <a:r>
              <a:rPr lang="zh-CN" altLang="en-US" sz="2000" b="1" dirty="0">
                <a:solidFill>
                  <a:schemeClr val="tx1">
                    <a:lumMod val="75000"/>
                    <a:lumOff val="25000"/>
                  </a:schemeClr>
                </a:solidFill>
              </a:rPr>
              <a:t>此处为未知领域</a:t>
            </a:r>
          </a:p>
        </p:txBody>
      </p:sp>
      <p:sp>
        <p:nvSpPr>
          <p:cNvPr id="138" name="îṩḻîdè">
            <a:extLst>
              <a:ext uri="{FF2B5EF4-FFF2-40B4-BE49-F238E27FC236}">
                <a16:creationId xmlns:a16="http://schemas.microsoft.com/office/drawing/2014/main" id="{DDA04949-D2AB-4BAD-9FC8-0E06F9C898A3}"/>
              </a:ext>
            </a:extLst>
          </p:cNvPr>
          <p:cNvSpPr/>
          <p:nvPr/>
        </p:nvSpPr>
        <p:spPr>
          <a:xfrm>
            <a:off x="522350" y="4342785"/>
            <a:ext cx="232436" cy="553998"/>
          </a:xfrm>
          <a:prstGeom prst="rect">
            <a:avLst/>
          </a:prstGeom>
          <a:ln w="12700">
            <a:miter lim="400000"/>
          </a:ln>
          <a:extLst>
            <a:ext uri="{C572A759-6A51-4108-AA02-DFA0A04FC94B}">
              <ma14:wrappingTextBoxFlag xmlns:ma14="http://schemas.microsoft.com/office/mac/drawingml/2011/main" xmlns:p14="http://schemas.microsoft.com/office/powerpoint/2010/main" xmlns:lc="http://schemas.openxmlformats.org/drawingml/2006/lockedCanvas" xmlns="" val="1"/>
            </a:ext>
          </a:extLst>
        </p:spPr>
        <p:txBody>
          <a:bodyPr wrap="none" lIns="0" tIns="0" rIns="0" bIns="0" anchor="ctr" anchorCtr="1">
            <a:normAutofit/>
          </a:bodyPr>
          <a:lstStyle/>
          <a:p>
            <a:pPr lvl="0" algn="ctr">
              <a:defRPr sz="1800">
                <a:solidFill>
                  <a:srgbClr val="000000"/>
                </a:solidFill>
              </a:defRPr>
            </a:pPr>
            <a:r>
              <a:rPr lang="en-US" altLang="zh-CN" sz="3600" b="1">
                <a:solidFill>
                  <a:schemeClr val="tx1">
                    <a:lumMod val="75000"/>
                    <a:lumOff val="25000"/>
                  </a:schemeClr>
                </a:solidFill>
                <a:latin typeface="Impact" panose="020B0806030902050204" pitchFamily="34" charset="0"/>
              </a:rPr>
              <a:t>2</a:t>
            </a:r>
          </a:p>
        </p:txBody>
      </p:sp>
      <p:sp>
        <p:nvSpPr>
          <p:cNvPr id="137" name="í$ḷïḓè">
            <a:extLst>
              <a:ext uri="{FF2B5EF4-FFF2-40B4-BE49-F238E27FC236}">
                <a16:creationId xmlns:a16="http://schemas.microsoft.com/office/drawing/2014/main" id="{3FA0E3C6-52D3-442A-8403-5C351B29804B}"/>
              </a:ext>
            </a:extLst>
          </p:cNvPr>
          <p:cNvSpPr/>
          <p:nvPr/>
        </p:nvSpPr>
        <p:spPr>
          <a:xfrm>
            <a:off x="550403" y="3285241"/>
            <a:ext cx="176330" cy="553998"/>
          </a:xfrm>
          <a:prstGeom prst="rect">
            <a:avLst/>
          </a:prstGeom>
          <a:ln w="12700">
            <a:miter lim="400000"/>
          </a:ln>
          <a:extLst>
            <a:ext uri="{C572A759-6A51-4108-AA02-DFA0A04FC94B}">
              <ma14:wrappingTextBoxFlag xmlns:ma14="http://schemas.microsoft.com/office/mac/drawingml/2011/main" xmlns:p14="http://schemas.microsoft.com/office/powerpoint/2010/main" xmlns:lc="http://schemas.openxmlformats.org/drawingml/2006/lockedCanvas" xmlns="" val="1"/>
            </a:ext>
          </a:extLst>
        </p:spPr>
        <p:txBody>
          <a:bodyPr wrap="none" lIns="0" tIns="0" rIns="0" bIns="0" anchor="ctr" anchorCtr="1">
            <a:normAutofit/>
          </a:bodyPr>
          <a:lstStyle/>
          <a:p>
            <a:pPr lvl="0" algn="ctr">
              <a:defRPr sz="1800">
                <a:solidFill>
                  <a:srgbClr val="000000"/>
                </a:solidFill>
              </a:defRPr>
            </a:pPr>
            <a:r>
              <a:rPr lang="en-US" altLang="zh-CN" sz="3600" b="1">
                <a:solidFill>
                  <a:schemeClr val="tx1">
                    <a:lumMod val="75000"/>
                    <a:lumOff val="25000"/>
                  </a:schemeClr>
                </a:solidFill>
                <a:latin typeface="Impact" panose="020B0806030902050204" pitchFamily="34" charset="0"/>
              </a:rPr>
              <a:t>1</a:t>
            </a:r>
          </a:p>
        </p:txBody>
      </p:sp>
      <p:sp>
        <p:nvSpPr>
          <p:cNvPr id="140" name="i$ḻîdé">
            <a:extLst>
              <a:ext uri="{FF2B5EF4-FFF2-40B4-BE49-F238E27FC236}">
                <a16:creationId xmlns:a16="http://schemas.microsoft.com/office/drawing/2014/main" id="{D3194053-54BB-4AC8-BAD0-B07B0782DE6C}"/>
              </a:ext>
            </a:extLst>
          </p:cNvPr>
          <p:cNvSpPr/>
          <p:nvPr/>
        </p:nvSpPr>
        <p:spPr>
          <a:xfrm>
            <a:off x="908162" y="3392963"/>
            <a:ext cx="2247900" cy="338554"/>
          </a:xfrm>
          <a:prstGeom prst="rect">
            <a:avLst/>
          </a:prstGeom>
          <a:ln w="12700">
            <a:miter lim="400000"/>
          </a:ln>
          <a:extLst>
            <a:ext uri="{C572A759-6A51-4108-AA02-DFA0A04FC94B}">
              <ma14:wrappingTextBoxFlag xmlns:ma14="http://schemas.microsoft.com/office/mac/drawingml/2011/main" xmlns:p14="http://schemas.microsoft.com/office/powerpoint/2010/main" xmlns:lc="http://schemas.openxmlformats.org/drawingml/2006/lockedCanvas" xmlns="" val="1"/>
            </a:ext>
          </a:extLst>
        </p:spPr>
        <p:txBody>
          <a:bodyPr wrap="none" lIns="0" tIns="0" rIns="0" bIns="0" anchor="ctr" anchorCtr="0">
            <a:normAutofit/>
          </a:bodyPr>
          <a:lstStyle/>
          <a:p>
            <a:pPr lvl="0">
              <a:defRPr sz="1800"/>
            </a:pPr>
            <a:r>
              <a:rPr lang="zh-CN" altLang="en-US" sz="2000" b="1" dirty="0">
                <a:solidFill>
                  <a:schemeClr val="tx1">
                    <a:lumMod val="75000"/>
                    <a:lumOff val="25000"/>
                  </a:schemeClr>
                </a:solidFill>
              </a:rPr>
              <a:t>此处为未知领域</a:t>
            </a:r>
          </a:p>
        </p:txBody>
      </p:sp>
      <p:sp>
        <p:nvSpPr>
          <p:cNvPr id="142" name="isľïḑé">
            <a:extLst>
              <a:ext uri="{FF2B5EF4-FFF2-40B4-BE49-F238E27FC236}">
                <a16:creationId xmlns:a16="http://schemas.microsoft.com/office/drawing/2014/main" id="{C4F0F739-7E06-4971-8E30-AA957047B50B}"/>
              </a:ext>
            </a:extLst>
          </p:cNvPr>
          <p:cNvSpPr/>
          <p:nvPr/>
        </p:nvSpPr>
        <p:spPr>
          <a:xfrm>
            <a:off x="8052955" y="3240911"/>
            <a:ext cx="3659620" cy="642658"/>
          </a:xfrm>
          <a:prstGeom prst="rect">
            <a:avLst/>
          </a:prstGeom>
          <a:ln w="12700">
            <a:miter lim="400000"/>
          </a:ln>
          <a:extLst>
            <a:ext uri="{C572A759-6A51-4108-AA02-DFA0A04FC94B}">
              <ma14:wrappingTextBoxFlag xmlns:ma14="http://schemas.microsoft.com/office/mac/drawingml/2011/main" xmlns:p14="http://schemas.microsoft.com/office/powerpoint/2010/main" xmlns:lc="http://schemas.openxmlformats.org/drawingml/2006/lockedCanvas" xmlns="" val="1"/>
            </a:ext>
          </a:extLst>
        </p:spPr>
        <p:txBody>
          <a:bodyPr wrap="square" lIns="0" tIns="0" rIns="0" bIns="0" anchor="ctr">
            <a:noAutofit/>
          </a:bodyPr>
          <a:lstStyle/>
          <a:p>
            <a:pPr lvl="0">
              <a:lnSpc>
                <a:spcPct val="120000"/>
              </a:lnSpc>
              <a:defRPr sz="1800"/>
            </a:pPr>
            <a:r>
              <a:rPr lang="zh-CN" altLang="en-US" sz="1600" dirty="0">
                <a:solidFill>
                  <a:schemeClr val="tx1">
                    <a:lumMod val="75000"/>
                    <a:lumOff val="25000"/>
                  </a:schemeClr>
                </a:solidFill>
              </a:rPr>
              <a:t>此处为未知领域的细节描述</a:t>
            </a:r>
          </a:p>
        </p:txBody>
      </p:sp>
      <p:sp>
        <p:nvSpPr>
          <p:cNvPr id="139" name="iṧlîḍé">
            <a:extLst>
              <a:ext uri="{FF2B5EF4-FFF2-40B4-BE49-F238E27FC236}">
                <a16:creationId xmlns:a16="http://schemas.microsoft.com/office/drawing/2014/main" id="{F634979C-1310-4D33-97BE-289122DA8164}"/>
              </a:ext>
            </a:extLst>
          </p:cNvPr>
          <p:cNvSpPr/>
          <p:nvPr/>
        </p:nvSpPr>
        <p:spPr>
          <a:xfrm>
            <a:off x="515938" y="5400328"/>
            <a:ext cx="245260" cy="553998"/>
          </a:xfrm>
          <a:prstGeom prst="rect">
            <a:avLst/>
          </a:prstGeom>
          <a:ln w="12700">
            <a:miter lim="400000"/>
          </a:ln>
          <a:extLst>
            <a:ext uri="{C572A759-6A51-4108-AA02-DFA0A04FC94B}">
              <ma14:wrappingTextBoxFlag xmlns:ma14="http://schemas.microsoft.com/office/mac/drawingml/2011/main" xmlns:p14="http://schemas.microsoft.com/office/powerpoint/2010/main" xmlns:lc="http://schemas.openxmlformats.org/drawingml/2006/lockedCanvas" xmlns="" val="1"/>
            </a:ext>
          </a:extLst>
        </p:spPr>
        <p:txBody>
          <a:bodyPr wrap="none" lIns="0" tIns="0" rIns="0" bIns="0" anchor="ctr" anchorCtr="1">
            <a:normAutofit/>
          </a:bodyPr>
          <a:lstStyle/>
          <a:p>
            <a:pPr lvl="0" algn="ctr">
              <a:defRPr sz="1800">
                <a:solidFill>
                  <a:srgbClr val="000000"/>
                </a:solidFill>
              </a:defRPr>
            </a:pPr>
            <a:r>
              <a:rPr lang="en-US" altLang="zh-CN" sz="3600" b="1">
                <a:solidFill>
                  <a:schemeClr val="tx1">
                    <a:lumMod val="75000"/>
                    <a:lumOff val="25000"/>
                  </a:schemeClr>
                </a:solidFill>
                <a:latin typeface="Impact" panose="020B0806030902050204" pitchFamily="34" charset="0"/>
              </a:rPr>
              <a:t>3</a:t>
            </a:r>
          </a:p>
        </p:txBody>
      </p:sp>
      <p:sp>
        <p:nvSpPr>
          <p:cNvPr id="141" name="iSḷíḑe">
            <a:extLst>
              <a:ext uri="{FF2B5EF4-FFF2-40B4-BE49-F238E27FC236}">
                <a16:creationId xmlns:a16="http://schemas.microsoft.com/office/drawing/2014/main" id="{75AD9A50-A8E6-498C-98FE-3C6C01F59999}"/>
              </a:ext>
            </a:extLst>
          </p:cNvPr>
          <p:cNvSpPr/>
          <p:nvPr/>
        </p:nvSpPr>
        <p:spPr>
          <a:xfrm>
            <a:off x="908162" y="5508050"/>
            <a:ext cx="2247900" cy="338554"/>
          </a:xfrm>
          <a:prstGeom prst="rect">
            <a:avLst/>
          </a:prstGeom>
          <a:ln w="12700">
            <a:miter lim="400000"/>
          </a:ln>
          <a:extLst>
            <a:ext uri="{C572A759-6A51-4108-AA02-DFA0A04FC94B}">
              <ma14:wrappingTextBoxFlag xmlns:ma14="http://schemas.microsoft.com/office/mac/drawingml/2011/main" xmlns:p14="http://schemas.microsoft.com/office/powerpoint/2010/main" xmlns:lc="http://schemas.openxmlformats.org/drawingml/2006/lockedCanvas" xmlns="" val="1"/>
            </a:ext>
          </a:extLst>
        </p:spPr>
        <p:txBody>
          <a:bodyPr wrap="none" lIns="0" tIns="0" rIns="0" bIns="0" anchor="ctr" anchorCtr="0">
            <a:normAutofit/>
          </a:bodyPr>
          <a:lstStyle/>
          <a:p>
            <a:pPr lvl="0">
              <a:defRPr sz="1800"/>
            </a:pPr>
            <a:r>
              <a:rPr lang="zh-CN" altLang="en-US" sz="2000" b="1" dirty="0">
                <a:solidFill>
                  <a:schemeClr val="tx1">
                    <a:lumMod val="75000"/>
                    <a:lumOff val="25000"/>
                  </a:schemeClr>
                </a:solidFill>
              </a:rPr>
              <a:t>此处为未知领域</a:t>
            </a:r>
          </a:p>
        </p:txBody>
      </p:sp>
      <p:sp>
        <p:nvSpPr>
          <p:cNvPr id="143" name="ïṩḷiḑê">
            <a:extLst>
              <a:ext uri="{FF2B5EF4-FFF2-40B4-BE49-F238E27FC236}">
                <a16:creationId xmlns:a16="http://schemas.microsoft.com/office/drawing/2014/main" id="{000A4D14-E40B-433E-A18A-FAE0ABB936B1}"/>
              </a:ext>
            </a:extLst>
          </p:cNvPr>
          <p:cNvSpPr/>
          <p:nvPr/>
        </p:nvSpPr>
        <p:spPr>
          <a:xfrm>
            <a:off x="8052955" y="5355998"/>
            <a:ext cx="3659620" cy="642658"/>
          </a:xfrm>
          <a:prstGeom prst="rect">
            <a:avLst/>
          </a:prstGeom>
          <a:ln w="12700">
            <a:miter lim="400000"/>
          </a:ln>
          <a:extLst>
            <a:ext uri="{C572A759-6A51-4108-AA02-DFA0A04FC94B}">
              <ma14:wrappingTextBoxFlag xmlns:ma14="http://schemas.microsoft.com/office/mac/drawingml/2011/main" xmlns:p14="http://schemas.microsoft.com/office/powerpoint/2010/main" xmlns:lc="http://schemas.openxmlformats.org/drawingml/2006/lockedCanvas" xmlns="" val="1"/>
            </a:ext>
          </a:extLst>
        </p:spPr>
        <p:txBody>
          <a:bodyPr wrap="square" lIns="0" tIns="0" rIns="0" bIns="0" anchor="ctr">
            <a:noAutofit/>
          </a:bodyPr>
          <a:lstStyle/>
          <a:p>
            <a:pPr lvl="0">
              <a:lnSpc>
                <a:spcPct val="120000"/>
              </a:lnSpc>
              <a:defRPr sz="1800"/>
            </a:pPr>
            <a:r>
              <a:rPr lang="zh-CN" altLang="en-US" sz="1600" dirty="0">
                <a:solidFill>
                  <a:schemeClr val="tx1">
                    <a:lumMod val="75000"/>
                    <a:lumOff val="25000"/>
                  </a:schemeClr>
                </a:solidFill>
              </a:rPr>
              <a:t>此处为未知领域的细节描述</a:t>
            </a:r>
          </a:p>
        </p:txBody>
      </p:sp>
    </p:spTree>
    <p:extLst>
      <p:ext uri="{BB962C8B-B14F-4D97-AF65-F5344CB8AC3E}">
        <p14:creationId xmlns:p14="http://schemas.microsoft.com/office/powerpoint/2010/main" val="24085553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1005E9F7-8C1C-4353-B830-9726E078FBA5}"/>
              </a:ext>
            </a:extLst>
          </p:cNvPr>
          <p:cNvGrpSpPr/>
          <p:nvPr/>
        </p:nvGrpSpPr>
        <p:grpSpPr>
          <a:xfrm>
            <a:off x="8431598" y="0"/>
            <a:ext cx="3760402" cy="4528788"/>
            <a:chOff x="8431598" y="0"/>
            <a:chExt cx="3760402" cy="4528788"/>
          </a:xfrm>
        </p:grpSpPr>
        <p:sp>
          <p:nvSpPr>
            <p:cNvPr id="7" name="任意多边形: 形状 6">
              <a:extLst>
                <a:ext uri="{FF2B5EF4-FFF2-40B4-BE49-F238E27FC236}">
                  <a16:creationId xmlns:a16="http://schemas.microsoft.com/office/drawing/2014/main" id="{649EFBFE-EA9D-4F89-A8FC-3D2514157818}"/>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5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任意多边形: 形状 7">
              <a:extLst>
                <a:ext uri="{FF2B5EF4-FFF2-40B4-BE49-F238E27FC236}">
                  <a16:creationId xmlns:a16="http://schemas.microsoft.com/office/drawing/2014/main" id="{01F93D25-6E39-4444-B6FC-BEB8A96B6F39}"/>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任意多边形: 形状 8">
              <a:extLst>
                <a:ext uri="{FF2B5EF4-FFF2-40B4-BE49-F238E27FC236}">
                  <a16:creationId xmlns:a16="http://schemas.microsoft.com/office/drawing/2014/main" id="{732E5B98-79BF-4371-9A03-3E03D7A854A7}"/>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 name="标题 1">
            <a:extLst>
              <a:ext uri="{FF2B5EF4-FFF2-40B4-BE49-F238E27FC236}">
                <a16:creationId xmlns:a16="http://schemas.microsoft.com/office/drawing/2014/main" id="{419697AC-370E-4844-AC1E-44314DB60035}"/>
              </a:ext>
            </a:extLst>
          </p:cNvPr>
          <p:cNvSpPr>
            <a:spLocks noGrp="1"/>
          </p:cNvSpPr>
          <p:nvPr>
            <p:ph type="title"/>
          </p:nvPr>
        </p:nvSpPr>
        <p:spPr/>
        <p:txBody>
          <a:bodyPr/>
          <a:lstStyle/>
          <a:p>
            <a:r>
              <a:rPr lang="zh-CN" altLang="en-US" dirty="0"/>
              <a:t>组织架构页</a:t>
            </a:r>
            <a:endParaRPr lang="en-US" dirty="0"/>
          </a:p>
        </p:txBody>
      </p:sp>
      <p:sp>
        <p:nvSpPr>
          <p:cNvPr id="3" name="灯片编号占位符 2">
            <a:extLst>
              <a:ext uri="{FF2B5EF4-FFF2-40B4-BE49-F238E27FC236}">
                <a16:creationId xmlns:a16="http://schemas.microsoft.com/office/drawing/2014/main" id="{EB986A1C-3625-48CF-BCDE-5FBB2A13C3D9}"/>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33</a:t>
            </a:fld>
            <a:endParaRPr lang="en-US" dirty="0">
              <a:solidFill>
                <a:srgbClr val="000000">
                  <a:tint val="75000"/>
                </a:srgbClr>
              </a:solidFill>
            </a:endParaRPr>
          </a:p>
        </p:txBody>
      </p:sp>
      <p:graphicFrame>
        <p:nvGraphicFramePr>
          <p:cNvPr id="4" name="图示 3">
            <a:extLst>
              <a:ext uri="{FF2B5EF4-FFF2-40B4-BE49-F238E27FC236}">
                <a16:creationId xmlns:a16="http://schemas.microsoft.com/office/drawing/2014/main" id="{15939DA0-F58C-4388-B59D-43203203D827}"/>
              </a:ext>
            </a:extLst>
          </p:cNvPr>
          <p:cNvGraphicFramePr/>
          <p:nvPr>
            <p:extLst>
              <p:ext uri="{D42A27DB-BD31-4B8C-83A1-F6EECF244321}">
                <p14:modId xmlns:p14="http://schemas.microsoft.com/office/powerpoint/2010/main" val="1301770627"/>
              </p:ext>
            </p:extLst>
          </p:nvPr>
        </p:nvGraphicFramePr>
        <p:xfrm>
          <a:off x="943987" y="1196975"/>
          <a:ext cx="10340540" cy="40088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文本框 4">
            <a:extLst>
              <a:ext uri="{FF2B5EF4-FFF2-40B4-BE49-F238E27FC236}">
                <a16:creationId xmlns:a16="http://schemas.microsoft.com/office/drawing/2014/main" id="{521C3886-A6DE-4D33-8B1C-80DF8B1B158E}"/>
              </a:ext>
            </a:extLst>
          </p:cNvPr>
          <p:cNvSpPr txBox="1"/>
          <p:nvPr/>
        </p:nvSpPr>
        <p:spPr>
          <a:xfrm>
            <a:off x="515938" y="5226626"/>
            <a:ext cx="11217722" cy="902711"/>
          </a:xfrm>
          <a:prstGeom prst="rect">
            <a:avLst/>
          </a:prstGeom>
          <a:solidFill>
            <a:schemeClr val="bg1"/>
          </a:solidFill>
          <a:ln w="19050" cap="flat" cmpd="sng" algn="ctr">
            <a:solidFill>
              <a:schemeClr val="accent1"/>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用于对某个项目的拆解分析。可配合回车键和</a:t>
            </a:r>
            <a:r>
              <a:rPr lang="en-US" altLang="zh-CN" sz="1600" dirty="0">
                <a:solidFill>
                  <a:schemeClr val="tx1">
                    <a:lumMod val="75000"/>
                    <a:lumOff val="25000"/>
                  </a:schemeClr>
                </a:solidFill>
                <a:cs typeface="+mn-ea"/>
                <a:sym typeface="+mn-lt"/>
              </a:rPr>
              <a:t>TAB</a:t>
            </a:r>
            <a:r>
              <a:rPr lang="zh-CN" altLang="en-US" sz="1600" dirty="0">
                <a:solidFill>
                  <a:schemeClr val="tx1">
                    <a:lumMod val="75000"/>
                    <a:lumOff val="25000"/>
                  </a:schemeClr>
                </a:solidFill>
                <a:cs typeface="+mn-ea"/>
                <a:sym typeface="+mn-lt"/>
              </a:rPr>
              <a:t>键动态调整模块数量及层次关系。从上到下通过颜色和文字大小做了层级的区分。而且里面文字和线型都是可编辑的，方便灵活，可以尝试一下噢</a:t>
            </a:r>
            <a:endParaRPr lang="en-US" altLang="zh-CN" sz="1600" dirty="0">
              <a:solidFill>
                <a:schemeClr val="tx1">
                  <a:lumMod val="75000"/>
                  <a:lumOff val="25000"/>
                </a:schemeClr>
              </a:solidFill>
              <a:cs typeface="+mn-ea"/>
              <a:sym typeface="+mn-lt"/>
            </a:endParaRPr>
          </a:p>
        </p:txBody>
      </p:sp>
      <p:grpSp>
        <p:nvGrpSpPr>
          <p:cNvPr id="10" name="组合 9">
            <a:extLst>
              <a:ext uri="{FF2B5EF4-FFF2-40B4-BE49-F238E27FC236}">
                <a16:creationId xmlns:a16="http://schemas.microsoft.com/office/drawing/2014/main" id="{3866105E-AD2C-4D56-9710-2642FD796EF0}"/>
              </a:ext>
            </a:extLst>
          </p:cNvPr>
          <p:cNvGrpSpPr/>
          <p:nvPr/>
        </p:nvGrpSpPr>
        <p:grpSpPr>
          <a:xfrm>
            <a:off x="0" y="-715587"/>
            <a:ext cx="676656" cy="602672"/>
            <a:chOff x="0" y="6950133"/>
            <a:chExt cx="676656" cy="602672"/>
          </a:xfrm>
        </p:grpSpPr>
        <p:sp>
          <p:nvSpPr>
            <p:cNvPr id="11" name="矩形 10">
              <a:extLst>
                <a:ext uri="{FF2B5EF4-FFF2-40B4-BE49-F238E27FC236}">
                  <a16:creationId xmlns:a16="http://schemas.microsoft.com/office/drawing/2014/main" id="{14F770CC-676D-49DF-B35C-E10610455F84}"/>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2" name="组合 11">
              <a:extLst>
                <a:ext uri="{FF2B5EF4-FFF2-40B4-BE49-F238E27FC236}">
                  <a16:creationId xmlns:a16="http://schemas.microsoft.com/office/drawing/2014/main" id="{C6E8048F-AA72-405A-9051-F8515096EC59}"/>
                </a:ext>
              </a:extLst>
            </p:cNvPr>
            <p:cNvGrpSpPr/>
            <p:nvPr/>
          </p:nvGrpSpPr>
          <p:grpSpPr>
            <a:xfrm>
              <a:off x="47544" y="7038552"/>
              <a:ext cx="581568" cy="425834"/>
              <a:chOff x="84575" y="6977592"/>
              <a:chExt cx="581568" cy="425834"/>
            </a:xfrm>
          </p:grpSpPr>
          <p:grpSp>
            <p:nvGrpSpPr>
              <p:cNvPr id="13" name="组合 12">
                <a:extLst>
                  <a:ext uri="{FF2B5EF4-FFF2-40B4-BE49-F238E27FC236}">
                    <a16:creationId xmlns:a16="http://schemas.microsoft.com/office/drawing/2014/main" id="{496289FB-05D6-42E1-B85C-82618758FA3A}"/>
                  </a:ext>
                </a:extLst>
              </p:cNvPr>
              <p:cNvGrpSpPr/>
              <p:nvPr/>
            </p:nvGrpSpPr>
            <p:grpSpPr>
              <a:xfrm>
                <a:off x="84575" y="6979654"/>
                <a:ext cx="317380" cy="421711"/>
                <a:chOff x="14690033" y="2185397"/>
                <a:chExt cx="583830" cy="775754"/>
              </a:xfrm>
            </p:grpSpPr>
            <p:sp>
              <p:nvSpPr>
                <p:cNvPr id="15" name="iŝļíḑe">
                  <a:extLst>
                    <a:ext uri="{FF2B5EF4-FFF2-40B4-BE49-F238E27FC236}">
                      <a16:creationId xmlns:a16="http://schemas.microsoft.com/office/drawing/2014/main" id="{80555002-2148-438F-BC86-293AD4CA4ED4}"/>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şḷíḍé">
                  <a:extLst>
                    <a:ext uri="{FF2B5EF4-FFF2-40B4-BE49-F238E27FC236}">
                      <a16:creationId xmlns:a16="http://schemas.microsoft.com/office/drawing/2014/main" id="{50721787-D9D0-42B4-94C9-9D58DE120DE7}"/>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Sľïḓe">
                  <a:extLst>
                    <a:ext uri="{FF2B5EF4-FFF2-40B4-BE49-F238E27FC236}">
                      <a16:creationId xmlns:a16="http://schemas.microsoft.com/office/drawing/2014/main" id="{93D646AC-DF7D-4C66-BF6C-B5B9B9299D83}"/>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ḻídê">
                  <a:extLst>
                    <a:ext uri="{FF2B5EF4-FFF2-40B4-BE49-F238E27FC236}">
                      <a16:creationId xmlns:a16="http://schemas.microsoft.com/office/drawing/2014/main" id="{2210524F-B7AD-4413-B37B-F03DEEA41ADF}"/>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S1íḋè">
                  <a:extLst>
                    <a:ext uri="{FF2B5EF4-FFF2-40B4-BE49-F238E27FC236}">
                      <a16:creationId xmlns:a16="http://schemas.microsoft.com/office/drawing/2014/main" id="{12F89479-72D2-437A-A8FE-DBBC81434BDC}"/>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şļíde">
                  <a:extLst>
                    <a:ext uri="{FF2B5EF4-FFF2-40B4-BE49-F238E27FC236}">
                      <a16:creationId xmlns:a16="http://schemas.microsoft.com/office/drawing/2014/main" id="{03907824-6800-4E9D-8803-8F952EEB588B}"/>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 name="文本框 13">
                <a:extLst>
                  <a:ext uri="{FF2B5EF4-FFF2-40B4-BE49-F238E27FC236}">
                    <a16:creationId xmlns:a16="http://schemas.microsoft.com/office/drawing/2014/main" id="{B5E665BB-DF8F-499B-8DF2-C31A3724306A}"/>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1" name="矩形 20">
            <a:extLst>
              <a:ext uri="{FF2B5EF4-FFF2-40B4-BE49-F238E27FC236}">
                <a16:creationId xmlns:a16="http://schemas.microsoft.com/office/drawing/2014/main" id="{2B0548AE-5FBA-4F45-AEA3-060C2491E80B}"/>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具体子模块，在弹出的左侧编辑区域，回车可添加项目；按</a:t>
            </a:r>
            <a:r>
              <a:rPr lang="en-US" altLang="zh-CN" spc="100" dirty="0">
                <a:solidFill>
                  <a:schemeClr val="tx1">
                    <a:lumMod val="65000"/>
                    <a:lumOff val="35000"/>
                  </a:schemeClr>
                </a:solidFill>
              </a:rPr>
              <a:t>TAB</a:t>
            </a:r>
            <a:r>
              <a:rPr lang="zh-CN" altLang="en-US" spc="100" dirty="0">
                <a:solidFill>
                  <a:schemeClr val="tx1">
                    <a:lumMod val="65000"/>
                    <a:lumOff val="35000"/>
                  </a:schemeClr>
                </a:solidFill>
              </a:rPr>
              <a:t>可改变层级</a:t>
            </a:r>
          </a:p>
        </p:txBody>
      </p:sp>
    </p:spTree>
    <p:extLst>
      <p:ext uri="{BB962C8B-B14F-4D97-AF65-F5344CB8AC3E}">
        <p14:creationId xmlns:p14="http://schemas.microsoft.com/office/powerpoint/2010/main" val="29883224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444B78E9-20AF-4F57-BC24-07672386DF40}"/>
              </a:ext>
            </a:extLst>
          </p:cNvPr>
          <p:cNvGrpSpPr/>
          <p:nvPr/>
        </p:nvGrpSpPr>
        <p:grpSpPr>
          <a:xfrm>
            <a:off x="8431598" y="0"/>
            <a:ext cx="3760402" cy="4528788"/>
            <a:chOff x="8431598" y="0"/>
            <a:chExt cx="3760402" cy="4528788"/>
          </a:xfrm>
        </p:grpSpPr>
        <p:sp>
          <p:nvSpPr>
            <p:cNvPr id="13" name="任意多边形: 形状 12">
              <a:extLst>
                <a:ext uri="{FF2B5EF4-FFF2-40B4-BE49-F238E27FC236}">
                  <a16:creationId xmlns:a16="http://schemas.microsoft.com/office/drawing/2014/main" id="{7CC55621-0BFA-4FF4-AE8C-F0248D32F972}"/>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5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任意多边形: 形状 13">
              <a:extLst>
                <a:ext uri="{FF2B5EF4-FFF2-40B4-BE49-F238E27FC236}">
                  <a16:creationId xmlns:a16="http://schemas.microsoft.com/office/drawing/2014/main" id="{2E66361C-9452-4BA0-9F5E-1A2A752CF3BE}"/>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任意多边形: 形状 14">
              <a:extLst>
                <a:ext uri="{FF2B5EF4-FFF2-40B4-BE49-F238E27FC236}">
                  <a16:creationId xmlns:a16="http://schemas.microsoft.com/office/drawing/2014/main" id="{8BFFD84E-92EE-4034-9311-A0BDDCF97BA2}"/>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4" name="标题 3">
            <a:extLst>
              <a:ext uri="{FF2B5EF4-FFF2-40B4-BE49-F238E27FC236}">
                <a16:creationId xmlns:a16="http://schemas.microsoft.com/office/drawing/2014/main" id="{AE560721-EBA4-4D68-B5B5-D6BC00A746B3}"/>
              </a:ext>
            </a:extLst>
          </p:cNvPr>
          <p:cNvSpPr>
            <a:spLocks noGrp="1"/>
          </p:cNvSpPr>
          <p:nvPr>
            <p:ph type="title"/>
          </p:nvPr>
        </p:nvSpPr>
        <p:spPr/>
        <p:txBody>
          <a:bodyPr/>
          <a:lstStyle/>
          <a:p>
            <a:r>
              <a:rPr lang="zh-CN" altLang="en-US" dirty="0"/>
              <a:t>团队分工页</a:t>
            </a:r>
            <a:endParaRPr lang="en-US" dirty="0"/>
          </a:p>
        </p:txBody>
      </p:sp>
      <p:sp>
        <p:nvSpPr>
          <p:cNvPr id="3" name="灯片编号占位符 2">
            <a:extLst>
              <a:ext uri="{FF2B5EF4-FFF2-40B4-BE49-F238E27FC236}">
                <a16:creationId xmlns:a16="http://schemas.microsoft.com/office/drawing/2014/main" id="{8BC29A4A-01E0-431E-8602-B137CDE0BD67}"/>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34</a:t>
            </a:fld>
            <a:endParaRPr lang="en-US" dirty="0">
              <a:solidFill>
                <a:srgbClr val="000000">
                  <a:tint val="75000"/>
                </a:srgbClr>
              </a:solidFill>
            </a:endParaRPr>
          </a:p>
        </p:txBody>
      </p:sp>
      <p:graphicFrame>
        <p:nvGraphicFramePr>
          <p:cNvPr id="5" name="图示 4">
            <a:extLst>
              <a:ext uri="{FF2B5EF4-FFF2-40B4-BE49-F238E27FC236}">
                <a16:creationId xmlns:a16="http://schemas.microsoft.com/office/drawing/2014/main" id="{358E4E62-0762-45CB-9648-7B858CF83609}"/>
              </a:ext>
            </a:extLst>
          </p:cNvPr>
          <p:cNvGraphicFramePr/>
          <p:nvPr>
            <p:extLst>
              <p:ext uri="{D42A27DB-BD31-4B8C-83A1-F6EECF244321}">
                <p14:modId xmlns:p14="http://schemas.microsoft.com/office/powerpoint/2010/main" val="2954706067"/>
              </p:ext>
            </p:extLst>
          </p:nvPr>
        </p:nvGraphicFramePr>
        <p:xfrm>
          <a:off x="772391" y="833294"/>
          <a:ext cx="10940184" cy="49413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文本框 6">
            <a:extLst>
              <a:ext uri="{FF2B5EF4-FFF2-40B4-BE49-F238E27FC236}">
                <a16:creationId xmlns:a16="http://schemas.microsoft.com/office/drawing/2014/main" id="{C1E39B6F-3E4A-4B44-AC3F-4C27AAF27324}"/>
              </a:ext>
            </a:extLst>
          </p:cNvPr>
          <p:cNvSpPr txBox="1"/>
          <p:nvPr/>
        </p:nvSpPr>
        <p:spPr>
          <a:xfrm>
            <a:off x="515938" y="5226626"/>
            <a:ext cx="11217722" cy="902711"/>
          </a:xfrm>
          <a:prstGeom prst="rect">
            <a:avLst/>
          </a:prstGeom>
          <a:solidFill>
            <a:schemeClr val="bg1"/>
          </a:solidFill>
          <a:ln w="19050" cap="flat" cmpd="sng" algn="ctr">
            <a:solidFill>
              <a:schemeClr val="accent1"/>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配合回车键和</a:t>
            </a:r>
            <a:r>
              <a:rPr lang="en-US" altLang="zh-CN" sz="1600" dirty="0">
                <a:solidFill>
                  <a:schemeClr val="tx1">
                    <a:lumMod val="75000"/>
                    <a:lumOff val="25000"/>
                  </a:schemeClr>
                </a:solidFill>
                <a:cs typeface="+mn-ea"/>
                <a:sym typeface="+mn-lt"/>
              </a:rPr>
              <a:t>TAB</a:t>
            </a:r>
            <a:r>
              <a:rPr lang="zh-CN" altLang="en-US" sz="1600" dirty="0">
                <a:solidFill>
                  <a:schemeClr val="tx1">
                    <a:lumMod val="75000"/>
                    <a:lumOff val="25000"/>
                  </a:schemeClr>
                </a:solidFill>
                <a:cs typeface="+mn-ea"/>
                <a:sym typeface="+mn-lt"/>
              </a:rPr>
              <a:t>键动态调整人物数量及层次关系。每张圆形都设置了占位符，如需替换照片，只需删除现有照片，并点击占位符标识即可更换照片；而且里面文字和线型都是可编辑的，方便灵活，可以尝试一下噢</a:t>
            </a:r>
            <a:endParaRPr lang="en-US" altLang="zh-CN" sz="1600" dirty="0">
              <a:solidFill>
                <a:schemeClr val="tx1">
                  <a:lumMod val="75000"/>
                  <a:lumOff val="25000"/>
                </a:schemeClr>
              </a:solidFill>
              <a:cs typeface="+mn-ea"/>
              <a:sym typeface="+mn-lt"/>
            </a:endParaRPr>
          </a:p>
        </p:txBody>
      </p:sp>
      <p:grpSp>
        <p:nvGrpSpPr>
          <p:cNvPr id="27" name="组合 26">
            <a:extLst>
              <a:ext uri="{FF2B5EF4-FFF2-40B4-BE49-F238E27FC236}">
                <a16:creationId xmlns:a16="http://schemas.microsoft.com/office/drawing/2014/main" id="{C7B06536-9B5C-4F09-A9AA-EA8A9DEF2BBA}"/>
              </a:ext>
            </a:extLst>
          </p:cNvPr>
          <p:cNvGrpSpPr/>
          <p:nvPr/>
        </p:nvGrpSpPr>
        <p:grpSpPr>
          <a:xfrm>
            <a:off x="0" y="-715587"/>
            <a:ext cx="676656" cy="602672"/>
            <a:chOff x="0" y="6950133"/>
            <a:chExt cx="676656" cy="602672"/>
          </a:xfrm>
        </p:grpSpPr>
        <p:sp>
          <p:nvSpPr>
            <p:cNvPr id="28" name="矩形 27">
              <a:extLst>
                <a:ext uri="{FF2B5EF4-FFF2-40B4-BE49-F238E27FC236}">
                  <a16:creationId xmlns:a16="http://schemas.microsoft.com/office/drawing/2014/main" id="{892C2EC3-2692-421A-B46B-9C269D887E86}"/>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29" name="组合 28">
              <a:extLst>
                <a:ext uri="{FF2B5EF4-FFF2-40B4-BE49-F238E27FC236}">
                  <a16:creationId xmlns:a16="http://schemas.microsoft.com/office/drawing/2014/main" id="{C578C9AA-8515-40EC-A6A0-4F5BB66ABC85}"/>
                </a:ext>
              </a:extLst>
            </p:cNvPr>
            <p:cNvGrpSpPr/>
            <p:nvPr/>
          </p:nvGrpSpPr>
          <p:grpSpPr>
            <a:xfrm>
              <a:off x="47544" y="7038552"/>
              <a:ext cx="581568" cy="425834"/>
              <a:chOff x="84575" y="6977592"/>
              <a:chExt cx="581568" cy="425834"/>
            </a:xfrm>
          </p:grpSpPr>
          <p:grpSp>
            <p:nvGrpSpPr>
              <p:cNvPr id="30" name="组合 29">
                <a:extLst>
                  <a:ext uri="{FF2B5EF4-FFF2-40B4-BE49-F238E27FC236}">
                    <a16:creationId xmlns:a16="http://schemas.microsoft.com/office/drawing/2014/main" id="{037DCA0D-9F05-43E2-8F1F-7904DFEF6A16}"/>
                  </a:ext>
                </a:extLst>
              </p:cNvPr>
              <p:cNvGrpSpPr/>
              <p:nvPr/>
            </p:nvGrpSpPr>
            <p:grpSpPr>
              <a:xfrm>
                <a:off x="84575" y="6979654"/>
                <a:ext cx="317380" cy="421711"/>
                <a:chOff x="14690033" y="2185397"/>
                <a:chExt cx="583830" cy="775754"/>
              </a:xfrm>
            </p:grpSpPr>
            <p:sp>
              <p:nvSpPr>
                <p:cNvPr id="32" name="iŝļíḑe">
                  <a:extLst>
                    <a:ext uri="{FF2B5EF4-FFF2-40B4-BE49-F238E27FC236}">
                      <a16:creationId xmlns:a16="http://schemas.microsoft.com/office/drawing/2014/main" id="{454E6073-E631-443A-BE43-29619FDC8258}"/>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şḷíḍé">
                  <a:extLst>
                    <a:ext uri="{FF2B5EF4-FFF2-40B4-BE49-F238E27FC236}">
                      <a16:creationId xmlns:a16="http://schemas.microsoft.com/office/drawing/2014/main" id="{FAD33B94-32AF-423C-8088-F11A56B76AEB}"/>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ïSľïḓe">
                  <a:extLst>
                    <a:ext uri="{FF2B5EF4-FFF2-40B4-BE49-F238E27FC236}">
                      <a16:creationId xmlns:a16="http://schemas.microsoft.com/office/drawing/2014/main" id="{39D1EE7A-A13B-40C8-AC26-FD919608CA25}"/>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sḻídê">
                  <a:extLst>
                    <a:ext uri="{FF2B5EF4-FFF2-40B4-BE49-F238E27FC236}">
                      <a16:creationId xmlns:a16="http://schemas.microsoft.com/office/drawing/2014/main" id="{2704D1E2-8954-4B38-AEBA-6F5C136A20C1}"/>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îS1íḋè">
                  <a:extLst>
                    <a:ext uri="{FF2B5EF4-FFF2-40B4-BE49-F238E27FC236}">
                      <a16:creationId xmlns:a16="http://schemas.microsoft.com/office/drawing/2014/main" id="{D682E121-96FB-4F03-A118-8F7818ACB4B7}"/>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íşļíde">
                  <a:extLst>
                    <a:ext uri="{FF2B5EF4-FFF2-40B4-BE49-F238E27FC236}">
                      <a16:creationId xmlns:a16="http://schemas.microsoft.com/office/drawing/2014/main" id="{0C3BBBE9-428C-4E64-AEC7-CEA0FA1F0896}"/>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1" name="文本框 30">
                <a:extLst>
                  <a:ext uri="{FF2B5EF4-FFF2-40B4-BE49-F238E27FC236}">
                    <a16:creationId xmlns:a16="http://schemas.microsoft.com/office/drawing/2014/main" id="{B9C9D3F9-F2D1-42A2-A010-DE8C7DD92A2B}"/>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8" name="矩形 37">
            <a:extLst>
              <a:ext uri="{FF2B5EF4-FFF2-40B4-BE49-F238E27FC236}">
                <a16:creationId xmlns:a16="http://schemas.microsoft.com/office/drawing/2014/main" id="{5B906303-0B7A-4C4D-A8CC-B6CA41BE6474}"/>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具体子模块，在弹出的左侧编辑区域，回车可添加项目；按</a:t>
            </a:r>
            <a:r>
              <a:rPr lang="en-US" altLang="zh-CN" spc="100" dirty="0">
                <a:solidFill>
                  <a:schemeClr val="tx1">
                    <a:lumMod val="65000"/>
                    <a:lumOff val="35000"/>
                  </a:schemeClr>
                </a:solidFill>
              </a:rPr>
              <a:t>TAB</a:t>
            </a:r>
            <a:r>
              <a:rPr lang="zh-CN" altLang="en-US" spc="100" dirty="0">
                <a:solidFill>
                  <a:schemeClr val="tx1">
                    <a:lumMod val="65000"/>
                    <a:lumOff val="35000"/>
                  </a:schemeClr>
                </a:solidFill>
              </a:rPr>
              <a:t>可改变层级</a:t>
            </a:r>
          </a:p>
        </p:txBody>
      </p:sp>
    </p:spTree>
    <p:extLst>
      <p:ext uri="{BB962C8B-B14F-4D97-AF65-F5344CB8AC3E}">
        <p14:creationId xmlns:p14="http://schemas.microsoft.com/office/powerpoint/2010/main" val="33627730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标题 65">
            <a:extLst>
              <a:ext uri="{FF2B5EF4-FFF2-40B4-BE49-F238E27FC236}">
                <a16:creationId xmlns:a16="http://schemas.microsoft.com/office/drawing/2014/main" id="{AFE05D36-C2D4-40C6-81D4-B09A203C37BB}"/>
              </a:ext>
            </a:extLst>
          </p:cNvPr>
          <p:cNvSpPr>
            <a:spLocks noGrp="1"/>
          </p:cNvSpPr>
          <p:nvPr>
            <p:ph type="title"/>
          </p:nvPr>
        </p:nvSpPr>
        <p:spPr/>
        <p:txBody>
          <a:bodyPr/>
          <a:lstStyle/>
          <a:p>
            <a:r>
              <a:rPr lang="zh-CN" altLang="en-US" dirty="0">
                <a:latin typeface="+mn-lt"/>
                <a:ea typeface="+mn-ea"/>
                <a:cs typeface="+mn-ea"/>
                <a:sym typeface="+mn-lt"/>
              </a:rPr>
              <a:t>方案对比页</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E8A5C07A-E5EA-4F32-B24D-186EEECB6991}"/>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35</a:t>
            </a:fld>
            <a:endParaRPr lang="en-US" dirty="0">
              <a:solidFill>
                <a:srgbClr val="000000">
                  <a:tint val="75000"/>
                </a:srgbClr>
              </a:solidFill>
              <a:cs typeface="+mn-ea"/>
              <a:sym typeface="+mn-lt"/>
            </a:endParaRPr>
          </a:p>
        </p:txBody>
      </p:sp>
      <p:pic>
        <p:nvPicPr>
          <p:cNvPr id="17" name="图片占位符 16">
            <a:extLst>
              <a:ext uri="{FF2B5EF4-FFF2-40B4-BE49-F238E27FC236}">
                <a16:creationId xmlns:a16="http://schemas.microsoft.com/office/drawing/2014/main" id="{5DA2A9B0-B039-4C8A-AC35-3EEE75E8B89B}"/>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7" r="17"/>
          <a:stretch>
            <a:fillRect/>
          </a:stretch>
        </p:blipFill>
        <p:spPr/>
      </p:pic>
      <p:pic>
        <p:nvPicPr>
          <p:cNvPr id="19" name="图片占位符 18">
            <a:extLst>
              <a:ext uri="{FF2B5EF4-FFF2-40B4-BE49-F238E27FC236}">
                <a16:creationId xmlns:a16="http://schemas.microsoft.com/office/drawing/2014/main" id="{8AF8B688-F894-43E5-B654-62FE8B26F265}"/>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7" r="17"/>
          <a:stretch>
            <a:fillRect/>
          </a:stretch>
        </p:blipFill>
        <p:spPr/>
      </p:pic>
      <p:grpSp>
        <p:nvGrpSpPr>
          <p:cNvPr id="7" name="îṡḻîḍé">
            <a:extLst>
              <a:ext uri="{FF2B5EF4-FFF2-40B4-BE49-F238E27FC236}">
                <a16:creationId xmlns:a16="http://schemas.microsoft.com/office/drawing/2014/main" id="{45ACE037-8AEA-41F3-93CB-2A75BE14E23F}"/>
              </a:ext>
            </a:extLst>
          </p:cNvPr>
          <p:cNvGrpSpPr/>
          <p:nvPr/>
        </p:nvGrpSpPr>
        <p:grpSpPr>
          <a:xfrm>
            <a:off x="2368872" y="2712315"/>
            <a:ext cx="612240" cy="612240"/>
            <a:chOff x="2276275" y="2639253"/>
            <a:chExt cx="612240" cy="612240"/>
          </a:xfrm>
        </p:grpSpPr>
        <p:sp>
          <p:nvSpPr>
            <p:cNvPr id="64" name="ïṣḷîḋè">
              <a:extLst>
                <a:ext uri="{FF2B5EF4-FFF2-40B4-BE49-F238E27FC236}">
                  <a16:creationId xmlns:a16="http://schemas.microsoft.com/office/drawing/2014/main" id="{5C093CC2-65AA-4F93-B02F-58832679893C}"/>
                </a:ext>
              </a:extLst>
            </p:cNvPr>
            <p:cNvSpPr/>
            <p:nvPr/>
          </p:nvSpPr>
          <p:spPr>
            <a:xfrm>
              <a:off x="2276275" y="2639253"/>
              <a:ext cx="612240" cy="6122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65" name="îš1íḓe">
              <a:extLst>
                <a:ext uri="{FF2B5EF4-FFF2-40B4-BE49-F238E27FC236}">
                  <a16:creationId xmlns:a16="http://schemas.microsoft.com/office/drawing/2014/main" id="{E8540440-400D-45BD-A96C-F52B2B6F1788}"/>
                </a:ext>
              </a:extLst>
            </p:cNvPr>
            <p:cNvSpPr/>
            <p:nvPr/>
          </p:nvSpPr>
          <p:spPr bwMode="auto">
            <a:xfrm>
              <a:off x="2408783" y="2778355"/>
              <a:ext cx="347224" cy="334037"/>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bg1"/>
            </a:solidFill>
            <a:ln>
              <a:noFill/>
            </a:ln>
          </p:spPr>
          <p:txBody>
            <a:bodyPr/>
            <a:lstStyle/>
            <a:p>
              <a:endParaRPr lang="zh-CN" altLang="en-US">
                <a:cs typeface="+mn-ea"/>
                <a:sym typeface="+mn-lt"/>
              </a:endParaRPr>
            </a:p>
          </p:txBody>
        </p:sp>
      </p:grpSp>
      <p:grpSp>
        <p:nvGrpSpPr>
          <p:cNvPr id="8" name="iṥḻiḑè">
            <a:extLst>
              <a:ext uri="{FF2B5EF4-FFF2-40B4-BE49-F238E27FC236}">
                <a16:creationId xmlns:a16="http://schemas.microsoft.com/office/drawing/2014/main" id="{420D041B-468C-4453-9A2D-1B043CE91352}"/>
              </a:ext>
            </a:extLst>
          </p:cNvPr>
          <p:cNvGrpSpPr/>
          <p:nvPr/>
        </p:nvGrpSpPr>
        <p:grpSpPr>
          <a:xfrm>
            <a:off x="2368872" y="5362844"/>
            <a:ext cx="612240" cy="612240"/>
            <a:chOff x="2276275" y="5320327"/>
            <a:chExt cx="612240" cy="612240"/>
          </a:xfrm>
        </p:grpSpPr>
        <p:sp>
          <p:nvSpPr>
            <p:cNvPr id="62" name="îṧļïḑe">
              <a:extLst>
                <a:ext uri="{FF2B5EF4-FFF2-40B4-BE49-F238E27FC236}">
                  <a16:creationId xmlns:a16="http://schemas.microsoft.com/office/drawing/2014/main" id="{D7871810-33DB-409E-8D8E-5B359F0CE15E}"/>
                </a:ext>
              </a:extLst>
            </p:cNvPr>
            <p:cNvSpPr/>
            <p:nvPr/>
          </p:nvSpPr>
          <p:spPr>
            <a:xfrm>
              <a:off x="2276275" y="5320327"/>
              <a:ext cx="612240" cy="6122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63" name="îŝḻíďè">
              <a:extLst>
                <a:ext uri="{FF2B5EF4-FFF2-40B4-BE49-F238E27FC236}">
                  <a16:creationId xmlns:a16="http://schemas.microsoft.com/office/drawing/2014/main" id="{B072D5DC-C71A-41D7-8C18-A523ADF811C1}"/>
                </a:ext>
              </a:extLst>
            </p:cNvPr>
            <p:cNvSpPr/>
            <p:nvPr/>
          </p:nvSpPr>
          <p:spPr bwMode="auto">
            <a:xfrm>
              <a:off x="2408786" y="5459483"/>
              <a:ext cx="347219" cy="333928"/>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bg1"/>
            </a:solidFill>
            <a:ln>
              <a:noFill/>
            </a:ln>
          </p:spPr>
          <p:txBody>
            <a:bodyPr/>
            <a:lstStyle/>
            <a:p>
              <a:endParaRPr lang="zh-CN" altLang="en-US">
                <a:cs typeface="+mn-ea"/>
                <a:sym typeface="+mn-lt"/>
              </a:endParaRPr>
            </a:p>
          </p:txBody>
        </p:sp>
      </p:grpSp>
      <p:grpSp>
        <p:nvGrpSpPr>
          <p:cNvPr id="9" name="ïś1iḋè">
            <a:extLst>
              <a:ext uri="{FF2B5EF4-FFF2-40B4-BE49-F238E27FC236}">
                <a16:creationId xmlns:a16="http://schemas.microsoft.com/office/drawing/2014/main" id="{C9FBEF34-37CA-4316-B83A-15C8EF94F0D7}"/>
              </a:ext>
            </a:extLst>
          </p:cNvPr>
          <p:cNvGrpSpPr/>
          <p:nvPr/>
        </p:nvGrpSpPr>
        <p:grpSpPr>
          <a:xfrm>
            <a:off x="2368872" y="4037580"/>
            <a:ext cx="612240" cy="612240"/>
            <a:chOff x="2276275" y="4025607"/>
            <a:chExt cx="612240" cy="612240"/>
          </a:xfrm>
        </p:grpSpPr>
        <p:sp>
          <p:nvSpPr>
            <p:cNvPr id="60" name="ï$ļiḍê">
              <a:extLst>
                <a:ext uri="{FF2B5EF4-FFF2-40B4-BE49-F238E27FC236}">
                  <a16:creationId xmlns:a16="http://schemas.microsoft.com/office/drawing/2014/main" id="{329D7480-04A1-47AA-8013-B0663B105276}"/>
                </a:ext>
              </a:extLst>
            </p:cNvPr>
            <p:cNvSpPr/>
            <p:nvPr/>
          </p:nvSpPr>
          <p:spPr>
            <a:xfrm>
              <a:off x="2276275" y="4025607"/>
              <a:ext cx="612240" cy="6122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61" name="íš1ïdé">
              <a:extLst>
                <a:ext uri="{FF2B5EF4-FFF2-40B4-BE49-F238E27FC236}">
                  <a16:creationId xmlns:a16="http://schemas.microsoft.com/office/drawing/2014/main" id="{BE35E9AB-8E12-4ABD-AE81-34FD8B637DFF}"/>
                </a:ext>
              </a:extLst>
            </p:cNvPr>
            <p:cNvSpPr/>
            <p:nvPr/>
          </p:nvSpPr>
          <p:spPr bwMode="auto">
            <a:xfrm>
              <a:off x="2408786" y="4158443"/>
              <a:ext cx="347219" cy="346569"/>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bg1"/>
            </a:solidFill>
            <a:ln>
              <a:noFill/>
            </a:ln>
          </p:spPr>
          <p:txBody>
            <a:bodyPr wrap="square" lIns="91440" tIns="45720" rIns="91440" bIns="45720">
              <a:normAutofit lnSpcReduction="10000"/>
            </a:bodyPr>
            <a:lstStyle/>
            <a:p>
              <a:endParaRPr lang="zh-CN" altLang="en-US">
                <a:cs typeface="+mn-ea"/>
                <a:sym typeface="+mn-lt"/>
              </a:endParaRPr>
            </a:p>
          </p:txBody>
        </p:sp>
      </p:grpSp>
      <p:grpSp>
        <p:nvGrpSpPr>
          <p:cNvPr id="10" name="ïŝļíḓé">
            <a:extLst>
              <a:ext uri="{FF2B5EF4-FFF2-40B4-BE49-F238E27FC236}">
                <a16:creationId xmlns:a16="http://schemas.microsoft.com/office/drawing/2014/main" id="{6DA8371D-22C1-4B1B-A614-01DDB2443B23}"/>
              </a:ext>
            </a:extLst>
          </p:cNvPr>
          <p:cNvGrpSpPr/>
          <p:nvPr/>
        </p:nvGrpSpPr>
        <p:grpSpPr>
          <a:xfrm>
            <a:off x="2368872" y="1387050"/>
            <a:ext cx="612240" cy="612240"/>
            <a:chOff x="2276275" y="1344533"/>
            <a:chExt cx="612240" cy="612240"/>
          </a:xfrm>
        </p:grpSpPr>
        <p:sp>
          <p:nvSpPr>
            <p:cNvPr id="58" name="iṥḻiďe">
              <a:extLst>
                <a:ext uri="{FF2B5EF4-FFF2-40B4-BE49-F238E27FC236}">
                  <a16:creationId xmlns:a16="http://schemas.microsoft.com/office/drawing/2014/main" id="{DF65B104-00A9-4226-BD3C-18654CC381BF}"/>
                </a:ext>
              </a:extLst>
            </p:cNvPr>
            <p:cNvSpPr/>
            <p:nvPr/>
          </p:nvSpPr>
          <p:spPr>
            <a:xfrm>
              <a:off x="2276275" y="1344533"/>
              <a:ext cx="612240" cy="6122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59" name="íṩľíďe">
              <a:extLst>
                <a:ext uri="{FF2B5EF4-FFF2-40B4-BE49-F238E27FC236}">
                  <a16:creationId xmlns:a16="http://schemas.microsoft.com/office/drawing/2014/main" id="{457CF88C-FD87-4B4C-A0C0-94D9D8031162}"/>
                </a:ext>
              </a:extLst>
            </p:cNvPr>
            <p:cNvSpPr/>
            <p:nvPr/>
          </p:nvSpPr>
          <p:spPr bwMode="auto">
            <a:xfrm>
              <a:off x="2387963" y="1493278"/>
              <a:ext cx="388864" cy="314750"/>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a:cs typeface="+mn-ea"/>
                <a:sym typeface="+mn-lt"/>
              </a:endParaRPr>
            </a:p>
          </p:txBody>
        </p:sp>
      </p:grpSp>
      <p:grpSp>
        <p:nvGrpSpPr>
          <p:cNvPr id="11" name="ïsļidé">
            <a:extLst>
              <a:ext uri="{FF2B5EF4-FFF2-40B4-BE49-F238E27FC236}">
                <a16:creationId xmlns:a16="http://schemas.microsoft.com/office/drawing/2014/main" id="{52BAF0CA-78F9-4245-8346-16AA2E593B43}"/>
              </a:ext>
            </a:extLst>
          </p:cNvPr>
          <p:cNvGrpSpPr/>
          <p:nvPr/>
        </p:nvGrpSpPr>
        <p:grpSpPr>
          <a:xfrm>
            <a:off x="9107678" y="2712315"/>
            <a:ext cx="612240" cy="612240"/>
            <a:chOff x="9304448" y="2639253"/>
            <a:chExt cx="612240" cy="612240"/>
          </a:xfrm>
        </p:grpSpPr>
        <p:sp>
          <p:nvSpPr>
            <p:cNvPr id="56" name="iṥḻîḓè">
              <a:extLst>
                <a:ext uri="{FF2B5EF4-FFF2-40B4-BE49-F238E27FC236}">
                  <a16:creationId xmlns:a16="http://schemas.microsoft.com/office/drawing/2014/main" id="{33644A38-3146-4170-AFC2-03B32649D367}"/>
                </a:ext>
              </a:extLst>
            </p:cNvPr>
            <p:cNvSpPr/>
            <p:nvPr/>
          </p:nvSpPr>
          <p:spPr>
            <a:xfrm>
              <a:off x="9304448" y="2639253"/>
              <a:ext cx="612240" cy="6122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dirty="0">
                <a:cs typeface="+mn-ea"/>
                <a:sym typeface="+mn-lt"/>
              </a:endParaRPr>
            </a:p>
          </p:txBody>
        </p:sp>
        <p:sp>
          <p:nvSpPr>
            <p:cNvPr id="57" name="ïṩḷíďe">
              <a:extLst>
                <a:ext uri="{FF2B5EF4-FFF2-40B4-BE49-F238E27FC236}">
                  <a16:creationId xmlns:a16="http://schemas.microsoft.com/office/drawing/2014/main" id="{D51671E1-BAA0-42FB-B89A-BA764B0ECA27}"/>
                </a:ext>
              </a:extLst>
            </p:cNvPr>
            <p:cNvSpPr/>
            <p:nvPr/>
          </p:nvSpPr>
          <p:spPr bwMode="auto">
            <a:xfrm>
              <a:off x="9436956" y="2778355"/>
              <a:ext cx="347224" cy="334037"/>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bg1"/>
            </a:solidFill>
            <a:ln>
              <a:noFill/>
            </a:ln>
          </p:spPr>
          <p:txBody>
            <a:bodyPr/>
            <a:lstStyle/>
            <a:p>
              <a:endParaRPr lang="zh-CN" altLang="en-US">
                <a:cs typeface="+mn-ea"/>
                <a:sym typeface="+mn-lt"/>
              </a:endParaRPr>
            </a:p>
          </p:txBody>
        </p:sp>
      </p:grpSp>
      <p:grpSp>
        <p:nvGrpSpPr>
          <p:cNvPr id="12" name="îṥlïdè">
            <a:extLst>
              <a:ext uri="{FF2B5EF4-FFF2-40B4-BE49-F238E27FC236}">
                <a16:creationId xmlns:a16="http://schemas.microsoft.com/office/drawing/2014/main" id="{157D77DE-B84B-44E7-BD7E-252CCA934191}"/>
              </a:ext>
            </a:extLst>
          </p:cNvPr>
          <p:cNvGrpSpPr/>
          <p:nvPr/>
        </p:nvGrpSpPr>
        <p:grpSpPr>
          <a:xfrm>
            <a:off x="9107678" y="5362844"/>
            <a:ext cx="612240" cy="612240"/>
            <a:chOff x="9304448" y="5320327"/>
            <a:chExt cx="612240" cy="612240"/>
          </a:xfrm>
        </p:grpSpPr>
        <p:sp>
          <p:nvSpPr>
            <p:cNvPr id="54" name="ïṩľíďê">
              <a:extLst>
                <a:ext uri="{FF2B5EF4-FFF2-40B4-BE49-F238E27FC236}">
                  <a16:creationId xmlns:a16="http://schemas.microsoft.com/office/drawing/2014/main" id="{0BB3127E-CD8A-4D53-8BBE-4A490AEB84A5}"/>
                </a:ext>
              </a:extLst>
            </p:cNvPr>
            <p:cNvSpPr/>
            <p:nvPr/>
          </p:nvSpPr>
          <p:spPr>
            <a:xfrm>
              <a:off x="9304448" y="5320327"/>
              <a:ext cx="612240" cy="6122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55" name="išḷïďe">
              <a:extLst>
                <a:ext uri="{FF2B5EF4-FFF2-40B4-BE49-F238E27FC236}">
                  <a16:creationId xmlns:a16="http://schemas.microsoft.com/office/drawing/2014/main" id="{FAE2711E-5B8B-4E3B-9876-98D104D9A410}"/>
                </a:ext>
              </a:extLst>
            </p:cNvPr>
            <p:cNvSpPr/>
            <p:nvPr/>
          </p:nvSpPr>
          <p:spPr bwMode="auto">
            <a:xfrm>
              <a:off x="9436959" y="5459483"/>
              <a:ext cx="347219" cy="333928"/>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bg1"/>
            </a:solidFill>
            <a:ln>
              <a:noFill/>
            </a:ln>
          </p:spPr>
          <p:txBody>
            <a:bodyPr/>
            <a:lstStyle/>
            <a:p>
              <a:endParaRPr lang="zh-CN" altLang="en-US">
                <a:cs typeface="+mn-ea"/>
                <a:sym typeface="+mn-lt"/>
              </a:endParaRPr>
            </a:p>
          </p:txBody>
        </p:sp>
      </p:grpSp>
      <p:grpSp>
        <p:nvGrpSpPr>
          <p:cNvPr id="13" name="îṥlïḓé">
            <a:extLst>
              <a:ext uri="{FF2B5EF4-FFF2-40B4-BE49-F238E27FC236}">
                <a16:creationId xmlns:a16="http://schemas.microsoft.com/office/drawing/2014/main" id="{6F6CC88B-B9A4-45DF-8865-E1151146BBEC}"/>
              </a:ext>
            </a:extLst>
          </p:cNvPr>
          <p:cNvGrpSpPr/>
          <p:nvPr/>
        </p:nvGrpSpPr>
        <p:grpSpPr>
          <a:xfrm>
            <a:off x="9107678" y="4037580"/>
            <a:ext cx="612240" cy="612240"/>
            <a:chOff x="9304448" y="4025607"/>
            <a:chExt cx="612240" cy="612240"/>
          </a:xfrm>
        </p:grpSpPr>
        <p:sp>
          <p:nvSpPr>
            <p:cNvPr id="52" name="iṥḷïdè">
              <a:extLst>
                <a:ext uri="{FF2B5EF4-FFF2-40B4-BE49-F238E27FC236}">
                  <a16:creationId xmlns:a16="http://schemas.microsoft.com/office/drawing/2014/main" id="{91FBFD5B-6574-4764-A2E6-DC168219370E}"/>
                </a:ext>
              </a:extLst>
            </p:cNvPr>
            <p:cNvSpPr/>
            <p:nvPr/>
          </p:nvSpPr>
          <p:spPr>
            <a:xfrm>
              <a:off x="9304448" y="4025607"/>
              <a:ext cx="612240" cy="6122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53" name="ïṣlídê">
              <a:extLst>
                <a:ext uri="{FF2B5EF4-FFF2-40B4-BE49-F238E27FC236}">
                  <a16:creationId xmlns:a16="http://schemas.microsoft.com/office/drawing/2014/main" id="{D92CD68C-4452-4EE2-8466-08F4055440CE}"/>
                </a:ext>
              </a:extLst>
            </p:cNvPr>
            <p:cNvSpPr/>
            <p:nvPr/>
          </p:nvSpPr>
          <p:spPr bwMode="auto">
            <a:xfrm>
              <a:off x="9436959" y="4158443"/>
              <a:ext cx="347219" cy="346569"/>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bg1"/>
            </a:solidFill>
            <a:ln>
              <a:noFill/>
            </a:ln>
          </p:spPr>
          <p:txBody>
            <a:bodyPr wrap="square" lIns="91440" tIns="45720" rIns="91440" bIns="45720">
              <a:normAutofit lnSpcReduction="10000"/>
            </a:bodyPr>
            <a:lstStyle/>
            <a:p>
              <a:endParaRPr lang="zh-CN" altLang="en-US">
                <a:cs typeface="+mn-ea"/>
                <a:sym typeface="+mn-lt"/>
              </a:endParaRPr>
            </a:p>
          </p:txBody>
        </p:sp>
      </p:grpSp>
      <p:grpSp>
        <p:nvGrpSpPr>
          <p:cNvPr id="14" name="išļide">
            <a:extLst>
              <a:ext uri="{FF2B5EF4-FFF2-40B4-BE49-F238E27FC236}">
                <a16:creationId xmlns:a16="http://schemas.microsoft.com/office/drawing/2014/main" id="{82F6D83F-58A7-4BCD-8A17-CC8E5B185F90}"/>
              </a:ext>
            </a:extLst>
          </p:cNvPr>
          <p:cNvGrpSpPr/>
          <p:nvPr/>
        </p:nvGrpSpPr>
        <p:grpSpPr>
          <a:xfrm>
            <a:off x="9107678" y="1387050"/>
            <a:ext cx="612240" cy="612240"/>
            <a:chOff x="9304448" y="1344533"/>
            <a:chExt cx="612240" cy="612240"/>
          </a:xfrm>
        </p:grpSpPr>
        <p:sp>
          <p:nvSpPr>
            <p:cNvPr id="50" name="ïṥ1îďé">
              <a:extLst>
                <a:ext uri="{FF2B5EF4-FFF2-40B4-BE49-F238E27FC236}">
                  <a16:creationId xmlns:a16="http://schemas.microsoft.com/office/drawing/2014/main" id="{9931228A-42EA-41C9-AD19-6842283F53F9}"/>
                </a:ext>
              </a:extLst>
            </p:cNvPr>
            <p:cNvSpPr/>
            <p:nvPr/>
          </p:nvSpPr>
          <p:spPr>
            <a:xfrm>
              <a:off x="9304448" y="1344533"/>
              <a:ext cx="612240" cy="6122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51" name="ïṣļïḋè">
              <a:extLst>
                <a:ext uri="{FF2B5EF4-FFF2-40B4-BE49-F238E27FC236}">
                  <a16:creationId xmlns:a16="http://schemas.microsoft.com/office/drawing/2014/main" id="{2E6B9859-5300-42BA-BB35-F2C7FF5B02F6}"/>
                </a:ext>
              </a:extLst>
            </p:cNvPr>
            <p:cNvSpPr/>
            <p:nvPr/>
          </p:nvSpPr>
          <p:spPr bwMode="auto">
            <a:xfrm>
              <a:off x="9416136" y="1493278"/>
              <a:ext cx="388864" cy="314750"/>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a:cs typeface="+mn-ea"/>
                <a:sym typeface="+mn-lt"/>
              </a:endParaRPr>
            </a:p>
          </p:txBody>
        </p:sp>
      </p:grpSp>
      <p:sp>
        <p:nvSpPr>
          <p:cNvPr id="48" name="ïşľîḋe">
            <a:extLst>
              <a:ext uri="{FF2B5EF4-FFF2-40B4-BE49-F238E27FC236}">
                <a16:creationId xmlns:a16="http://schemas.microsoft.com/office/drawing/2014/main" id="{A3A19610-C5A3-41F1-8AF2-B884B381D9DA}"/>
              </a:ext>
            </a:extLst>
          </p:cNvPr>
          <p:cNvSpPr/>
          <p:nvPr/>
        </p:nvSpPr>
        <p:spPr bwMode="auto">
          <a:xfrm>
            <a:off x="3043176" y="1581609"/>
            <a:ext cx="2234879" cy="52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zh-CN" altLang="en-US" sz="1600" dirty="0">
                <a:solidFill>
                  <a:schemeClr val="tx1">
                    <a:lumMod val="75000"/>
                    <a:lumOff val="25000"/>
                  </a:schemeClr>
                </a:solidFill>
                <a:cs typeface="+mn-ea"/>
                <a:sym typeface="+mn-lt"/>
              </a:rPr>
              <a:t>请在此输入内容请在此输入内容请在此输入</a:t>
            </a:r>
            <a:endParaRPr lang="en-US" altLang="zh-CN" sz="1600" dirty="0">
              <a:solidFill>
                <a:schemeClr val="tx1">
                  <a:lumMod val="75000"/>
                  <a:lumOff val="25000"/>
                </a:schemeClr>
              </a:solidFill>
              <a:cs typeface="+mn-ea"/>
              <a:sym typeface="+mn-lt"/>
            </a:endParaRPr>
          </a:p>
        </p:txBody>
      </p:sp>
      <p:sp>
        <p:nvSpPr>
          <p:cNvPr id="49" name="íSḷïḑe">
            <a:extLst>
              <a:ext uri="{FF2B5EF4-FFF2-40B4-BE49-F238E27FC236}">
                <a16:creationId xmlns:a16="http://schemas.microsoft.com/office/drawing/2014/main" id="{D0ABF00F-0A27-48F7-9A28-54A0269CAB34}"/>
              </a:ext>
            </a:extLst>
          </p:cNvPr>
          <p:cNvSpPr txBox="1"/>
          <p:nvPr/>
        </p:nvSpPr>
        <p:spPr bwMode="auto">
          <a:xfrm>
            <a:off x="3043176" y="1194010"/>
            <a:ext cx="22348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b="1" dirty="0">
                <a:solidFill>
                  <a:schemeClr val="tx1">
                    <a:lumMod val="75000"/>
                    <a:lumOff val="25000"/>
                  </a:schemeClr>
                </a:solidFill>
                <a:cs typeface="+mn-ea"/>
                <a:sym typeface="+mn-lt"/>
              </a:rPr>
              <a:t>请在此输入标题</a:t>
            </a:r>
            <a:endParaRPr lang="en-US" altLang="zh-CN" sz="2000" b="1" dirty="0">
              <a:solidFill>
                <a:schemeClr val="tx1">
                  <a:lumMod val="75000"/>
                  <a:lumOff val="25000"/>
                </a:schemeClr>
              </a:solidFill>
              <a:cs typeface="+mn-ea"/>
              <a:sym typeface="+mn-lt"/>
            </a:endParaRPr>
          </a:p>
        </p:txBody>
      </p:sp>
      <p:sp>
        <p:nvSpPr>
          <p:cNvPr id="46" name="îSľiḑè">
            <a:extLst>
              <a:ext uri="{FF2B5EF4-FFF2-40B4-BE49-F238E27FC236}">
                <a16:creationId xmlns:a16="http://schemas.microsoft.com/office/drawing/2014/main" id="{0CC1EC99-6A55-42AD-AD08-824A1426C6D9}"/>
              </a:ext>
            </a:extLst>
          </p:cNvPr>
          <p:cNvSpPr/>
          <p:nvPr/>
        </p:nvSpPr>
        <p:spPr bwMode="auto">
          <a:xfrm>
            <a:off x="3043176" y="2906873"/>
            <a:ext cx="2234879" cy="52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zh-CN" altLang="en-US" sz="1600" dirty="0">
                <a:solidFill>
                  <a:schemeClr val="tx1">
                    <a:lumMod val="75000"/>
                    <a:lumOff val="25000"/>
                  </a:schemeClr>
                </a:solidFill>
                <a:cs typeface="+mn-ea"/>
                <a:sym typeface="+mn-lt"/>
              </a:rPr>
              <a:t>请在此输入内容请在此输入内容请在此输入</a:t>
            </a:r>
            <a:endParaRPr lang="en-US" altLang="zh-CN" sz="1600" dirty="0">
              <a:solidFill>
                <a:schemeClr val="tx1">
                  <a:lumMod val="75000"/>
                  <a:lumOff val="25000"/>
                </a:schemeClr>
              </a:solidFill>
              <a:cs typeface="+mn-ea"/>
              <a:sym typeface="+mn-lt"/>
            </a:endParaRPr>
          </a:p>
        </p:txBody>
      </p:sp>
      <p:sp>
        <p:nvSpPr>
          <p:cNvPr id="47" name="ïṩľíḍè">
            <a:extLst>
              <a:ext uri="{FF2B5EF4-FFF2-40B4-BE49-F238E27FC236}">
                <a16:creationId xmlns:a16="http://schemas.microsoft.com/office/drawing/2014/main" id="{EC7989A6-396D-4DC1-8E64-1A811396A193}"/>
              </a:ext>
            </a:extLst>
          </p:cNvPr>
          <p:cNvSpPr txBox="1"/>
          <p:nvPr/>
        </p:nvSpPr>
        <p:spPr bwMode="auto">
          <a:xfrm>
            <a:off x="3043176" y="2519274"/>
            <a:ext cx="22348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b="1">
                <a:solidFill>
                  <a:schemeClr val="tx1">
                    <a:lumMod val="75000"/>
                    <a:lumOff val="25000"/>
                  </a:schemeClr>
                </a:solidFill>
                <a:cs typeface="+mn-ea"/>
                <a:sym typeface="+mn-lt"/>
              </a:rPr>
              <a:t>请在此输入标题</a:t>
            </a:r>
            <a:endParaRPr lang="en-US" altLang="zh-CN" sz="2000" b="1" dirty="0">
              <a:solidFill>
                <a:schemeClr val="tx1">
                  <a:lumMod val="75000"/>
                  <a:lumOff val="25000"/>
                </a:schemeClr>
              </a:solidFill>
              <a:cs typeface="+mn-ea"/>
              <a:sym typeface="+mn-lt"/>
            </a:endParaRPr>
          </a:p>
        </p:txBody>
      </p:sp>
      <p:sp>
        <p:nvSpPr>
          <p:cNvPr id="44" name="îṡḻïde">
            <a:extLst>
              <a:ext uri="{FF2B5EF4-FFF2-40B4-BE49-F238E27FC236}">
                <a16:creationId xmlns:a16="http://schemas.microsoft.com/office/drawing/2014/main" id="{1B693EBB-EFDC-4440-B3DB-8055A5BBE843}"/>
              </a:ext>
            </a:extLst>
          </p:cNvPr>
          <p:cNvSpPr/>
          <p:nvPr/>
        </p:nvSpPr>
        <p:spPr bwMode="auto">
          <a:xfrm>
            <a:off x="3043176" y="4232137"/>
            <a:ext cx="2234879" cy="52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zh-CN" altLang="en-US" sz="1600" dirty="0">
                <a:solidFill>
                  <a:schemeClr val="tx1">
                    <a:lumMod val="75000"/>
                    <a:lumOff val="25000"/>
                  </a:schemeClr>
                </a:solidFill>
                <a:cs typeface="+mn-ea"/>
                <a:sym typeface="+mn-lt"/>
              </a:rPr>
              <a:t>请在此输入内容请在此输入内容请在此输入</a:t>
            </a:r>
            <a:endParaRPr lang="en-US" altLang="zh-CN" sz="1600" dirty="0">
              <a:solidFill>
                <a:schemeClr val="tx1">
                  <a:lumMod val="75000"/>
                  <a:lumOff val="25000"/>
                </a:schemeClr>
              </a:solidFill>
              <a:cs typeface="+mn-ea"/>
              <a:sym typeface="+mn-lt"/>
            </a:endParaRPr>
          </a:p>
        </p:txBody>
      </p:sp>
      <p:sp>
        <p:nvSpPr>
          <p:cNvPr id="45" name="íślíde">
            <a:extLst>
              <a:ext uri="{FF2B5EF4-FFF2-40B4-BE49-F238E27FC236}">
                <a16:creationId xmlns:a16="http://schemas.microsoft.com/office/drawing/2014/main" id="{4793FBEF-4E76-4F25-A85C-4641D046D316}"/>
              </a:ext>
            </a:extLst>
          </p:cNvPr>
          <p:cNvSpPr txBox="1"/>
          <p:nvPr/>
        </p:nvSpPr>
        <p:spPr bwMode="auto">
          <a:xfrm>
            <a:off x="3043176" y="3844538"/>
            <a:ext cx="22348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b="1">
                <a:solidFill>
                  <a:schemeClr val="tx1">
                    <a:lumMod val="75000"/>
                    <a:lumOff val="25000"/>
                  </a:schemeClr>
                </a:solidFill>
                <a:cs typeface="+mn-ea"/>
                <a:sym typeface="+mn-lt"/>
              </a:rPr>
              <a:t>请在此输入标题</a:t>
            </a:r>
            <a:endParaRPr lang="en-US" altLang="zh-CN" sz="2000" b="1" dirty="0">
              <a:solidFill>
                <a:schemeClr val="tx1">
                  <a:lumMod val="75000"/>
                  <a:lumOff val="25000"/>
                </a:schemeClr>
              </a:solidFill>
              <a:cs typeface="+mn-ea"/>
              <a:sym typeface="+mn-lt"/>
            </a:endParaRPr>
          </a:p>
        </p:txBody>
      </p:sp>
      <p:sp>
        <p:nvSpPr>
          <p:cNvPr id="42" name="ïśľiďe">
            <a:extLst>
              <a:ext uri="{FF2B5EF4-FFF2-40B4-BE49-F238E27FC236}">
                <a16:creationId xmlns:a16="http://schemas.microsoft.com/office/drawing/2014/main" id="{A95891CF-B1FD-46CE-B22A-C0BC69BABEE5}"/>
              </a:ext>
            </a:extLst>
          </p:cNvPr>
          <p:cNvSpPr/>
          <p:nvPr/>
        </p:nvSpPr>
        <p:spPr bwMode="auto">
          <a:xfrm>
            <a:off x="3043176" y="5557403"/>
            <a:ext cx="2234879" cy="52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zh-CN" altLang="en-US" sz="1600" dirty="0">
                <a:solidFill>
                  <a:schemeClr val="tx1">
                    <a:lumMod val="75000"/>
                    <a:lumOff val="25000"/>
                  </a:schemeClr>
                </a:solidFill>
                <a:cs typeface="+mn-ea"/>
                <a:sym typeface="+mn-lt"/>
              </a:rPr>
              <a:t>请在此输入内容请在此输入内容请在此输入</a:t>
            </a:r>
            <a:endParaRPr lang="en-US" altLang="zh-CN" sz="1600" dirty="0">
              <a:solidFill>
                <a:schemeClr val="tx1">
                  <a:lumMod val="75000"/>
                  <a:lumOff val="25000"/>
                </a:schemeClr>
              </a:solidFill>
              <a:cs typeface="+mn-ea"/>
              <a:sym typeface="+mn-lt"/>
            </a:endParaRPr>
          </a:p>
        </p:txBody>
      </p:sp>
      <p:sp>
        <p:nvSpPr>
          <p:cNvPr id="43" name="íSḻïdê">
            <a:extLst>
              <a:ext uri="{FF2B5EF4-FFF2-40B4-BE49-F238E27FC236}">
                <a16:creationId xmlns:a16="http://schemas.microsoft.com/office/drawing/2014/main" id="{569E71C4-FA26-4E00-A8A0-378E9D1A0728}"/>
              </a:ext>
            </a:extLst>
          </p:cNvPr>
          <p:cNvSpPr txBox="1"/>
          <p:nvPr/>
        </p:nvSpPr>
        <p:spPr bwMode="auto">
          <a:xfrm>
            <a:off x="3043176" y="5169804"/>
            <a:ext cx="22348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b="1">
                <a:solidFill>
                  <a:schemeClr val="tx1">
                    <a:lumMod val="75000"/>
                    <a:lumOff val="25000"/>
                  </a:schemeClr>
                </a:solidFill>
                <a:cs typeface="+mn-ea"/>
                <a:sym typeface="+mn-lt"/>
              </a:rPr>
              <a:t>请在此输入标题</a:t>
            </a:r>
            <a:endParaRPr lang="en-US" altLang="zh-CN" sz="2000" b="1" dirty="0">
              <a:solidFill>
                <a:schemeClr val="tx1">
                  <a:lumMod val="75000"/>
                  <a:lumOff val="25000"/>
                </a:schemeClr>
              </a:solidFill>
              <a:cs typeface="+mn-ea"/>
              <a:sym typeface="+mn-lt"/>
            </a:endParaRPr>
          </a:p>
        </p:txBody>
      </p:sp>
      <p:cxnSp>
        <p:nvCxnSpPr>
          <p:cNvPr id="39" name="直接连接符 38">
            <a:extLst>
              <a:ext uri="{FF2B5EF4-FFF2-40B4-BE49-F238E27FC236}">
                <a16:creationId xmlns:a16="http://schemas.microsoft.com/office/drawing/2014/main" id="{E41697E6-4FD8-42D2-9482-E39D6DB1EC2B}"/>
              </a:ext>
            </a:extLst>
          </p:cNvPr>
          <p:cNvCxnSpPr/>
          <p:nvPr/>
        </p:nvCxnSpPr>
        <p:spPr>
          <a:xfrm>
            <a:off x="3043177" y="2313285"/>
            <a:ext cx="2234879" cy="0"/>
          </a:xfrm>
          <a:prstGeom prst="line">
            <a:avLst/>
          </a:prstGeom>
          <a:ln w="12700">
            <a:solidFill>
              <a:schemeClr val="bg1">
                <a:lumMod val="65000"/>
              </a:schemeClr>
            </a:solidFill>
            <a:custDash>
              <a:ds d="200000" sp="200000"/>
            </a:custDash>
            <a:miter lim="400000"/>
          </a:ln>
        </p:spPr>
      </p:cxnSp>
      <p:cxnSp>
        <p:nvCxnSpPr>
          <p:cNvPr id="40" name="直接连接符 39">
            <a:extLst>
              <a:ext uri="{FF2B5EF4-FFF2-40B4-BE49-F238E27FC236}">
                <a16:creationId xmlns:a16="http://schemas.microsoft.com/office/drawing/2014/main" id="{42B20F4A-0EEC-486B-82CF-78E5CB2A3AFF}"/>
              </a:ext>
            </a:extLst>
          </p:cNvPr>
          <p:cNvCxnSpPr/>
          <p:nvPr/>
        </p:nvCxnSpPr>
        <p:spPr>
          <a:xfrm>
            <a:off x="3043177" y="3638549"/>
            <a:ext cx="2234879" cy="0"/>
          </a:xfrm>
          <a:prstGeom prst="line">
            <a:avLst/>
          </a:prstGeom>
          <a:ln w="12700">
            <a:solidFill>
              <a:schemeClr val="bg1">
                <a:lumMod val="65000"/>
              </a:schemeClr>
            </a:solidFill>
            <a:custDash>
              <a:ds d="200000" sp="200000"/>
            </a:custDash>
            <a:miter lim="400000"/>
          </a:ln>
        </p:spPr>
      </p:cxnSp>
      <p:cxnSp>
        <p:nvCxnSpPr>
          <p:cNvPr id="41" name="直接连接符 40">
            <a:extLst>
              <a:ext uri="{FF2B5EF4-FFF2-40B4-BE49-F238E27FC236}">
                <a16:creationId xmlns:a16="http://schemas.microsoft.com/office/drawing/2014/main" id="{77686C66-F521-4BCC-941E-FF1984A5FBA8}"/>
              </a:ext>
            </a:extLst>
          </p:cNvPr>
          <p:cNvCxnSpPr/>
          <p:nvPr/>
        </p:nvCxnSpPr>
        <p:spPr>
          <a:xfrm>
            <a:off x="3043177" y="4963813"/>
            <a:ext cx="2234879" cy="0"/>
          </a:xfrm>
          <a:prstGeom prst="line">
            <a:avLst/>
          </a:prstGeom>
          <a:ln w="12700">
            <a:solidFill>
              <a:schemeClr val="bg1">
                <a:lumMod val="65000"/>
              </a:schemeClr>
            </a:solidFill>
            <a:custDash>
              <a:ds d="200000" sp="200000"/>
            </a:custDash>
            <a:miter lim="400000"/>
          </a:ln>
        </p:spPr>
      </p:cxnSp>
      <p:sp>
        <p:nvSpPr>
          <p:cNvPr id="33" name="íŝ1ídê">
            <a:extLst>
              <a:ext uri="{FF2B5EF4-FFF2-40B4-BE49-F238E27FC236}">
                <a16:creationId xmlns:a16="http://schemas.microsoft.com/office/drawing/2014/main" id="{0000E273-0C8C-4C6D-A71C-D56136C92691}"/>
              </a:ext>
            </a:extLst>
          </p:cNvPr>
          <p:cNvSpPr/>
          <p:nvPr/>
        </p:nvSpPr>
        <p:spPr bwMode="auto">
          <a:xfrm>
            <a:off x="6748040" y="1581609"/>
            <a:ext cx="2287722" cy="52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r>
              <a:rPr lang="zh-CN" altLang="en-US" sz="1600" dirty="0">
                <a:solidFill>
                  <a:schemeClr val="tx1">
                    <a:lumMod val="75000"/>
                    <a:lumOff val="25000"/>
                  </a:schemeClr>
                </a:solidFill>
                <a:cs typeface="+mn-ea"/>
                <a:sym typeface="+mn-lt"/>
              </a:rPr>
              <a:t>请在此输入内容请在此输入内容请在此输入</a:t>
            </a:r>
            <a:endParaRPr lang="en-US" altLang="zh-CN" sz="1600" dirty="0">
              <a:solidFill>
                <a:schemeClr val="tx1">
                  <a:lumMod val="75000"/>
                  <a:lumOff val="25000"/>
                </a:schemeClr>
              </a:solidFill>
              <a:cs typeface="+mn-ea"/>
              <a:sym typeface="+mn-lt"/>
            </a:endParaRPr>
          </a:p>
        </p:txBody>
      </p:sp>
      <p:sp>
        <p:nvSpPr>
          <p:cNvPr id="34" name="iṡļiďê">
            <a:extLst>
              <a:ext uri="{FF2B5EF4-FFF2-40B4-BE49-F238E27FC236}">
                <a16:creationId xmlns:a16="http://schemas.microsoft.com/office/drawing/2014/main" id="{33DB4915-04C7-43F7-8807-1A84241ECE11}"/>
              </a:ext>
            </a:extLst>
          </p:cNvPr>
          <p:cNvSpPr txBox="1"/>
          <p:nvPr/>
        </p:nvSpPr>
        <p:spPr bwMode="auto">
          <a:xfrm>
            <a:off x="6748040" y="1194010"/>
            <a:ext cx="2287722"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zh-CN" altLang="en-US" sz="2000" b="1" dirty="0">
                <a:solidFill>
                  <a:schemeClr val="tx1">
                    <a:lumMod val="75000"/>
                    <a:lumOff val="25000"/>
                  </a:schemeClr>
                </a:solidFill>
                <a:cs typeface="+mn-ea"/>
                <a:sym typeface="+mn-lt"/>
              </a:rPr>
              <a:t>请在此输入标题</a:t>
            </a:r>
            <a:endParaRPr lang="en-US" altLang="zh-CN" sz="2000" b="1" dirty="0">
              <a:solidFill>
                <a:schemeClr val="tx1">
                  <a:lumMod val="75000"/>
                  <a:lumOff val="25000"/>
                </a:schemeClr>
              </a:solidFill>
              <a:cs typeface="+mn-ea"/>
              <a:sym typeface="+mn-lt"/>
            </a:endParaRPr>
          </a:p>
        </p:txBody>
      </p:sp>
      <p:sp>
        <p:nvSpPr>
          <p:cNvPr id="31" name="íṩḻîḑè">
            <a:extLst>
              <a:ext uri="{FF2B5EF4-FFF2-40B4-BE49-F238E27FC236}">
                <a16:creationId xmlns:a16="http://schemas.microsoft.com/office/drawing/2014/main" id="{1B0E4EC9-EDA6-48E3-B239-63B9EA099824}"/>
              </a:ext>
            </a:extLst>
          </p:cNvPr>
          <p:cNvSpPr/>
          <p:nvPr/>
        </p:nvSpPr>
        <p:spPr bwMode="auto">
          <a:xfrm>
            <a:off x="6748040" y="2906873"/>
            <a:ext cx="2287722" cy="52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r>
              <a:rPr lang="zh-CN" altLang="en-US" sz="1600" dirty="0">
                <a:solidFill>
                  <a:schemeClr val="tx1">
                    <a:lumMod val="75000"/>
                    <a:lumOff val="25000"/>
                  </a:schemeClr>
                </a:solidFill>
                <a:cs typeface="+mn-ea"/>
                <a:sym typeface="+mn-lt"/>
              </a:rPr>
              <a:t>请在此输入内容请在此输入内容请在此输入</a:t>
            </a:r>
            <a:endParaRPr lang="en-US" altLang="zh-CN" sz="1600" dirty="0">
              <a:solidFill>
                <a:schemeClr val="tx1">
                  <a:lumMod val="75000"/>
                  <a:lumOff val="25000"/>
                </a:schemeClr>
              </a:solidFill>
              <a:cs typeface="+mn-ea"/>
              <a:sym typeface="+mn-lt"/>
            </a:endParaRPr>
          </a:p>
        </p:txBody>
      </p:sp>
      <p:sp>
        <p:nvSpPr>
          <p:cNvPr id="32" name="ï$ḻiḋe">
            <a:extLst>
              <a:ext uri="{FF2B5EF4-FFF2-40B4-BE49-F238E27FC236}">
                <a16:creationId xmlns:a16="http://schemas.microsoft.com/office/drawing/2014/main" id="{A6E96031-4CDE-4292-9537-713F686B3192}"/>
              </a:ext>
            </a:extLst>
          </p:cNvPr>
          <p:cNvSpPr txBox="1"/>
          <p:nvPr/>
        </p:nvSpPr>
        <p:spPr bwMode="auto">
          <a:xfrm>
            <a:off x="6748040" y="2519274"/>
            <a:ext cx="2287722"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zh-CN" altLang="en-US" sz="2000" b="1">
                <a:solidFill>
                  <a:schemeClr val="tx1">
                    <a:lumMod val="75000"/>
                    <a:lumOff val="25000"/>
                  </a:schemeClr>
                </a:solidFill>
                <a:cs typeface="+mn-ea"/>
                <a:sym typeface="+mn-lt"/>
              </a:rPr>
              <a:t>请在此输入标题</a:t>
            </a:r>
            <a:endParaRPr lang="en-US" altLang="zh-CN" sz="2000" b="1" dirty="0">
              <a:solidFill>
                <a:schemeClr val="tx1">
                  <a:lumMod val="75000"/>
                  <a:lumOff val="25000"/>
                </a:schemeClr>
              </a:solidFill>
              <a:cs typeface="+mn-ea"/>
              <a:sym typeface="+mn-lt"/>
            </a:endParaRPr>
          </a:p>
        </p:txBody>
      </p:sp>
      <p:sp>
        <p:nvSpPr>
          <p:cNvPr id="29" name="ïṧļídè">
            <a:extLst>
              <a:ext uri="{FF2B5EF4-FFF2-40B4-BE49-F238E27FC236}">
                <a16:creationId xmlns:a16="http://schemas.microsoft.com/office/drawing/2014/main" id="{99D5738D-4B4C-4A34-B660-82C6EFB13662}"/>
              </a:ext>
            </a:extLst>
          </p:cNvPr>
          <p:cNvSpPr/>
          <p:nvPr/>
        </p:nvSpPr>
        <p:spPr bwMode="auto">
          <a:xfrm>
            <a:off x="6748040" y="4232137"/>
            <a:ext cx="2287722" cy="52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r>
              <a:rPr lang="zh-CN" altLang="en-US" sz="1600" dirty="0">
                <a:solidFill>
                  <a:schemeClr val="tx1">
                    <a:lumMod val="75000"/>
                    <a:lumOff val="25000"/>
                  </a:schemeClr>
                </a:solidFill>
                <a:cs typeface="+mn-ea"/>
                <a:sym typeface="+mn-lt"/>
              </a:rPr>
              <a:t>请在此输入内容请在此输入内容请在此输入</a:t>
            </a:r>
            <a:endParaRPr lang="en-US" altLang="zh-CN" sz="1600" dirty="0">
              <a:solidFill>
                <a:schemeClr val="tx1">
                  <a:lumMod val="75000"/>
                  <a:lumOff val="25000"/>
                </a:schemeClr>
              </a:solidFill>
              <a:cs typeface="+mn-ea"/>
              <a:sym typeface="+mn-lt"/>
            </a:endParaRPr>
          </a:p>
        </p:txBody>
      </p:sp>
      <p:sp>
        <p:nvSpPr>
          <p:cNvPr id="30" name="íṣlïḑè">
            <a:extLst>
              <a:ext uri="{FF2B5EF4-FFF2-40B4-BE49-F238E27FC236}">
                <a16:creationId xmlns:a16="http://schemas.microsoft.com/office/drawing/2014/main" id="{8ECDCB82-5CCC-4DBC-9993-62B1D1AB0CD7}"/>
              </a:ext>
            </a:extLst>
          </p:cNvPr>
          <p:cNvSpPr txBox="1"/>
          <p:nvPr/>
        </p:nvSpPr>
        <p:spPr bwMode="auto">
          <a:xfrm>
            <a:off x="6748040" y="3844538"/>
            <a:ext cx="2287722"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zh-CN" altLang="en-US" sz="2000" b="1">
                <a:solidFill>
                  <a:schemeClr val="tx1">
                    <a:lumMod val="75000"/>
                    <a:lumOff val="25000"/>
                  </a:schemeClr>
                </a:solidFill>
                <a:cs typeface="+mn-ea"/>
                <a:sym typeface="+mn-lt"/>
              </a:rPr>
              <a:t>请在此输入标题</a:t>
            </a:r>
            <a:endParaRPr lang="en-US" altLang="zh-CN" sz="2000" b="1" dirty="0">
              <a:solidFill>
                <a:schemeClr val="tx1">
                  <a:lumMod val="75000"/>
                  <a:lumOff val="25000"/>
                </a:schemeClr>
              </a:solidFill>
              <a:cs typeface="+mn-ea"/>
              <a:sym typeface="+mn-lt"/>
            </a:endParaRPr>
          </a:p>
        </p:txBody>
      </p:sp>
      <p:sp>
        <p:nvSpPr>
          <p:cNvPr id="27" name="işlíḋê">
            <a:extLst>
              <a:ext uri="{FF2B5EF4-FFF2-40B4-BE49-F238E27FC236}">
                <a16:creationId xmlns:a16="http://schemas.microsoft.com/office/drawing/2014/main" id="{98B2F5F1-8A36-42C4-8592-C0AECBD7CA9C}"/>
              </a:ext>
            </a:extLst>
          </p:cNvPr>
          <p:cNvSpPr/>
          <p:nvPr/>
        </p:nvSpPr>
        <p:spPr bwMode="auto">
          <a:xfrm>
            <a:off x="6748040" y="5557403"/>
            <a:ext cx="2287722" cy="52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r>
              <a:rPr lang="zh-CN" altLang="en-US" sz="1600" dirty="0">
                <a:solidFill>
                  <a:schemeClr val="tx1">
                    <a:lumMod val="75000"/>
                    <a:lumOff val="25000"/>
                  </a:schemeClr>
                </a:solidFill>
                <a:cs typeface="+mn-ea"/>
                <a:sym typeface="+mn-lt"/>
              </a:rPr>
              <a:t>请在此输入内容请在此输入内容请在此输入</a:t>
            </a:r>
            <a:endParaRPr lang="en-US" altLang="zh-CN" sz="1600" dirty="0">
              <a:solidFill>
                <a:schemeClr val="tx1">
                  <a:lumMod val="75000"/>
                  <a:lumOff val="25000"/>
                </a:schemeClr>
              </a:solidFill>
              <a:cs typeface="+mn-ea"/>
              <a:sym typeface="+mn-lt"/>
            </a:endParaRPr>
          </a:p>
        </p:txBody>
      </p:sp>
      <p:sp>
        <p:nvSpPr>
          <p:cNvPr id="28" name="îşlîḓè">
            <a:extLst>
              <a:ext uri="{FF2B5EF4-FFF2-40B4-BE49-F238E27FC236}">
                <a16:creationId xmlns:a16="http://schemas.microsoft.com/office/drawing/2014/main" id="{54F7934E-F526-494E-8A55-D51A32F12A22}"/>
              </a:ext>
            </a:extLst>
          </p:cNvPr>
          <p:cNvSpPr txBox="1"/>
          <p:nvPr/>
        </p:nvSpPr>
        <p:spPr bwMode="auto">
          <a:xfrm>
            <a:off x="6748040" y="5169804"/>
            <a:ext cx="2287722"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zh-CN" altLang="en-US" sz="2000" b="1">
                <a:solidFill>
                  <a:schemeClr val="tx1">
                    <a:lumMod val="75000"/>
                    <a:lumOff val="25000"/>
                  </a:schemeClr>
                </a:solidFill>
                <a:cs typeface="+mn-ea"/>
                <a:sym typeface="+mn-lt"/>
              </a:rPr>
              <a:t>请在此输入标题</a:t>
            </a:r>
            <a:endParaRPr lang="en-US" altLang="zh-CN" sz="2000" b="1" dirty="0">
              <a:solidFill>
                <a:schemeClr val="tx1">
                  <a:lumMod val="75000"/>
                  <a:lumOff val="25000"/>
                </a:schemeClr>
              </a:solidFill>
              <a:cs typeface="+mn-ea"/>
              <a:sym typeface="+mn-lt"/>
            </a:endParaRPr>
          </a:p>
        </p:txBody>
      </p:sp>
      <p:cxnSp>
        <p:nvCxnSpPr>
          <p:cNvPr id="24" name="直接连接符 23">
            <a:extLst>
              <a:ext uri="{FF2B5EF4-FFF2-40B4-BE49-F238E27FC236}">
                <a16:creationId xmlns:a16="http://schemas.microsoft.com/office/drawing/2014/main" id="{4B3AE137-352A-4349-A69F-1D812EA60C22}"/>
              </a:ext>
            </a:extLst>
          </p:cNvPr>
          <p:cNvCxnSpPr/>
          <p:nvPr/>
        </p:nvCxnSpPr>
        <p:spPr>
          <a:xfrm>
            <a:off x="6748040" y="2313285"/>
            <a:ext cx="2287722" cy="0"/>
          </a:xfrm>
          <a:prstGeom prst="line">
            <a:avLst/>
          </a:prstGeom>
          <a:ln w="12700">
            <a:solidFill>
              <a:schemeClr val="bg1">
                <a:lumMod val="65000"/>
              </a:schemeClr>
            </a:solidFill>
            <a:custDash>
              <a:ds d="200000" sp="200000"/>
            </a:custDash>
            <a:miter lim="400000"/>
          </a:ln>
        </p:spPr>
      </p:cxnSp>
      <p:cxnSp>
        <p:nvCxnSpPr>
          <p:cNvPr id="25" name="直接连接符 24">
            <a:extLst>
              <a:ext uri="{FF2B5EF4-FFF2-40B4-BE49-F238E27FC236}">
                <a16:creationId xmlns:a16="http://schemas.microsoft.com/office/drawing/2014/main" id="{4D10CFD6-35B2-4FE0-8D44-51E36388BE27}"/>
              </a:ext>
            </a:extLst>
          </p:cNvPr>
          <p:cNvCxnSpPr/>
          <p:nvPr/>
        </p:nvCxnSpPr>
        <p:spPr>
          <a:xfrm>
            <a:off x="6748040" y="3638549"/>
            <a:ext cx="2287722" cy="0"/>
          </a:xfrm>
          <a:prstGeom prst="line">
            <a:avLst/>
          </a:prstGeom>
          <a:ln w="12700">
            <a:solidFill>
              <a:schemeClr val="bg1">
                <a:lumMod val="65000"/>
              </a:schemeClr>
            </a:solidFill>
            <a:custDash>
              <a:ds d="200000" sp="200000"/>
            </a:custDash>
            <a:miter lim="400000"/>
          </a:ln>
        </p:spPr>
      </p:cxnSp>
      <p:cxnSp>
        <p:nvCxnSpPr>
          <p:cNvPr id="26" name="直接连接符 25">
            <a:extLst>
              <a:ext uri="{FF2B5EF4-FFF2-40B4-BE49-F238E27FC236}">
                <a16:creationId xmlns:a16="http://schemas.microsoft.com/office/drawing/2014/main" id="{3F71C22E-3B98-460B-967D-05211484A241}"/>
              </a:ext>
            </a:extLst>
          </p:cNvPr>
          <p:cNvCxnSpPr/>
          <p:nvPr/>
        </p:nvCxnSpPr>
        <p:spPr>
          <a:xfrm>
            <a:off x="6748040" y="4963813"/>
            <a:ext cx="2287722" cy="0"/>
          </a:xfrm>
          <a:prstGeom prst="line">
            <a:avLst/>
          </a:prstGeom>
          <a:ln w="12700">
            <a:solidFill>
              <a:schemeClr val="bg1">
                <a:lumMod val="65000"/>
              </a:schemeClr>
            </a:solidFill>
            <a:custDash>
              <a:ds d="200000" sp="200000"/>
            </a:custDash>
            <a:miter lim="400000"/>
          </a:ln>
        </p:spPr>
      </p:cxnSp>
      <p:sp>
        <p:nvSpPr>
          <p:cNvPr id="67" name="i$ḷiďè">
            <a:extLst>
              <a:ext uri="{FF2B5EF4-FFF2-40B4-BE49-F238E27FC236}">
                <a16:creationId xmlns:a16="http://schemas.microsoft.com/office/drawing/2014/main" id="{1A50E5DD-E34F-4907-B99B-3B51F329C990}"/>
              </a:ext>
            </a:extLst>
          </p:cNvPr>
          <p:cNvSpPr/>
          <p:nvPr/>
        </p:nvSpPr>
        <p:spPr bwMode="auto">
          <a:xfrm>
            <a:off x="5676900" y="3131318"/>
            <a:ext cx="838200" cy="1014464"/>
          </a:xfrm>
          <a:custGeom>
            <a:avLst/>
            <a:gdLst>
              <a:gd name="T0" fmla="*/ 15844 w 16360"/>
              <a:gd name="T1" fmla="*/ 4512 h 19808"/>
              <a:gd name="T2" fmla="*/ 13323 w 16360"/>
              <a:gd name="T3" fmla="*/ 3996 h 19808"/>
              <a:gd name="T4" fmla="*/ 8940 w 16360"/>
              <a:gd name="T5" fmla="*/ 4980 h 19808"/>
              <a:gd name="T6" fmla="*/ 8674 w 16360"/>
              <a:gd name="T7" fmla="*/ 4340 h 19808"/>
              <a:gd name="T8" fmla="*/ 9895 w 16360"/>
              <a:gd name="T9" fmla="*/ 1811 h 19808"/>
              <a:gd name="T10" fmla="*/ 8783 w 16360"/>
              <a:gd name="T11" fmla="*/ 16 h 19808"/>
              <a:gd name="T12" fmla="*/ 7014 w 16360"/>
              <a:gd name="T13" fmla="*/ 4995 h 19808"/>
              <a:gd name="T14" fmla="*/ 5449 w 16360"/>
              <a:gd name="T15" fmla="*/ 8461 h 19808"/>
              <a:gd name="T16" fmla="*/ 4728 w 16360"/>
              <a:gd name="T17" fmla="*/ 10146 h 19808"/>
              <a:gd name="T18" fmla="*/ 3695 w 16360"/>
              <a:gd name="T19" fmla="*/ 12113 h 19808"/>
              <a:gd name="T20" fmla="*/ 3507 w 16360"/>
              <a:gd name="T21" fmla="*/ 11442 h 19808"/>
              <a:gd name="T22" fmla="*/ 3366 w 16360"/>
              <a:gd name="T23" fmla="*/ 11348 h 19808"/>
              <a:gd name="T24" fmla="*/ 3507 w 16360"/>
              <a:gd name="T25" fmla="*/ 9069 h 19808"/>
              <a:gd name="T26" fmla="*/ 3570 w 16360"/>
              <a:gd name="T27" fmla="*/ 7946 h 19808"/>
              <a:gd name="T28" fmla="*/ 3570 w 16360"/>
              <a:gd name="T29" fmla="*/ 6135 h 19808"/>
              <a:gd name="T30" fmla="*/ 3726 w 16360"/>
              <a:gd name="T31" fmla="*/ 2904 h 19808"/>
              <a:gd name="T32" fmla="*/ 2662 w 16360"/>
              <a:gd name="T33" fmla="*/ 734 h 19808"/>
              <a:gd name="T34" fmla="*/ 0 w 16360"/>
              <a:gd name="T35" fmla="*/ 812 h 19808"/>
              <a:gd name="T36" fmla="*/ 298 w 16360"/>
              <a:gd name="T37" fmla="*/ 3154 h 19808"/>
              <a:gd name="T38" fmla="*/ 408 w 16360"/>
              <a:gd name="T39" fmla="*/ 4433 h 19808"/>
              <a:gd name="T40" fmla="*/ 533 w 16360"/>
              <a:gd name="T41" fmla="*/ 6135 h 19808"/>
              <a:gd name="T42" fmla="*/ 674 w 16360"/>
              <a:gd name="T43" fmla="*/ 7243 h 19808"/>
              <a:gd name="T44" fmla="*/ 736 w 16360"/>
              <a:gd name="T45" fmla="*/ 9132 h 19808"/>
              <a:gd name="T46" fmla="*/ 768 w 16360"/>
              <a:gd name="T47" fmla="*/ 10849 h 19808"/>
              <a:gd name="T48" fmla="*/ 1222 w 16360"/>
              <a:gd name="T49" fmla="*/ 13409 h 19808"/>
              <a:gd name="T50" fmla="*/ 1128 w 16360"/>
              <a:gd name="T51" fmla="*/ 13315 h 19808"/>
              <a:gd name="T52" fmla="*/ 862 w 16360"/>
              <a:gd name="T53" fmla="*/ 11333 h 19808"/>
              <a:gd name="T54" fmla="*/ 2161 w 16360"/>
              <a:gd name="T55" fmla="*/ 14938 h 19808"/>
              <a:gd name="T56" fmla="*/ 3867 w 16360"/>
              <a:gd name="T57" fmla="*/ 14564 h 19808"/>
              <a:gd name="T58" fmla="*/ 5762 w 16360"/>
              <a:gd name="T59" fmla="*/ 10911 h 19808"/>
              <a:gd name="T60" fmla="*/ 8736 w 16360"/>
              <a:gd name="T61" fmla="*/ 11817 h 19808"/>
              <a:gd name="T62" fmla="*/ 11914 w 16360"/>
              <a:gd name="T63" fmla="*/ 11879 h 19808"/>
              <a:gd name="T64" fmla="*/ 13323 w 16360"/>
              <a:gd name="T65" fmla="*/ 13893 h 19808"/>
              <a:gd name="T66" fmla="*/ 10302 w 16360"/>
              <a:gd name="T67" fmla="*/ 15532 h 19808"/>
              <a:gd name="T68" fmla="*/ 5167 w 16360"/>
              <a:gd name="T69" fmla="*/ 15719 h 19808"/>
              <a:gd name="T70" fmla="*/ 4024 w 16360"/>
              <a:gd name="T71" fmla="*/ 15594 h 19808"/>
              <a:gd name="T72" fmla="*/ 3335 w 16360"/>
              <a:gd name="T73" fmla="*/ 16593 h 19808"/>
              <a:gd name="T74" fmla="*/ 3429 w 16360"/>
              <a:gd name="T75" fmla="*/ 17342 h 19808"/>
              <a:gd name="T76" fmla="*/ 3586 w 16360"/>
              <a:gd name="T77" fmla="*/ 17779 h 19808"/>
              <a:gd name="T78" fmla="*/ 4180 w 16360"/>
              <a:gd name="T79" fmla="*/ 18029 h 19808"/>
              <a:gd name="T80" fmla="*/ 4713 w 16360"/>
              <a:gd name="T81" fmla="*/ 18809 h 19808"/>
              <a:gd name="T82" fmla="*/ 4744 w 16360"/>
              <a:gd name="T83" fmla="*/ 19184 h 19808"/>
              <a:gd name="T84" fmla="*/ 6028 w 16360"/>
              <a:gd name="T85" fmla="*/ 19606 h 19808"/>
              <a:gd name="T86" fmla="*/ 6905 w 16360"/>
              <a:gd name="T87" fmla="*/ 19746 h 19808"/>
              <a:gd name="T88" fmla="*/ 7045 w 16360"/>
              <a:gd name="T89" fmla="*/ 19496 h 19808"/>
              <a:gd name="T90" fmla="*/ 7452 w 16360"/>
              <a:gd name="T91" fmla="*/ 19559 h 19808"/>
              <a:gd name="T92" fmla="*/ 8000 w 16360"/>
              <a:gd name="T93" fmla="*/ 19730 h 19808"/>
              <a:gd name="T94" fmla="*/ 10505 w 16360"/>
              <a:gd name="T95" fmla="*/ 19590 h 19808"/>
              <a:gd name="T96" fmla="*/ 15218 w 16360"/>
              <a:gd name="T97" fmla="*/ 17061 h 19808"/>
              <a:gd name="T98" fmla="*/ 11633 w 16360"/>
              <a:gd name="T99" fmla="*/ 11067 h 19808"/>
              <a:gd name="T100" fmla="*/ 8940 w 16360"/>
              <a:gd name="T101" fmla="*/ 8211 h 19808"/>
              <a:gd name="T102" fmla="*/ 10020 w 16360"/>
              <a:gd name="T103" fmla="*/ 7805 h 19808"/>
              <a:gd name="T104" fmla="*/ 8861 w 16360"/>
              <a:gd name="T105" fmla="*/ 8476 h 19808"/>
              <a:gd name="T106" fmla="*/ 9362 w 16360"/>
              <a:gd name="T107" fmla="*/ 8242 h 19808"/>
              <a:gd name="T108" fmla="*/ 10224 w 16360"/>
              <a:gd name="T109" fmla="*/ 7899 h 19808"/>
              <a:gd name="T110" fmla="*/ 12149 w 16360"/>
              <a:gd name="T111" fmla="*/ 7680 h 19808"/>
              <a:gd name="T112" fmla="*/ 14544 w 16360"/>
              <a:gd name="T113" fmla="*/ 8102 h 19808"/>
              <a:gd name="T114" fmla="*/ 15703 w 16360"/>
              <a:gd name="T115" fmla="*/ 7946 h 19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60" h="19808">
                <a:moveTo>
                  <a:pt x="16251" y="6291"/>
                </a:moveTo>
                <a:cubicBezTo>
                  <a:pt x="16235" y="6260"/>
                  <a:pt x="16235" y="6229"/>
                  <a:pt x="16235" y="6197"/>
                </a:cubicBezTo>
                <a:cubicBezTo>
                  <a:pt x="16235" y="6182"/>
                  <a:pt x="16235" y="6150"/>
                  <a:pt x="16235" y="6135"/>
                </a:cubicBezTo>
                <a:cubicBezTo>
                  <a:pt x="16235" y="6057"/>
                  <a:pt x="16220" y="5979"/>
                  <a:pt x="16220" y="5916"/>
                </a:cubicBezTo>
                <a:cubicBezTo>
                  <a:pt x="16204" y="5838"/>
                  <a:pt x="16188" y="5776"/>
                  <a:pt x="16188" y="5698"/>
                </a:cubicBezTo>
                <a:cubicBezTo>
                  <a:pt x="16188" y="5635"/>
                  <a:pt x="16188" y="5573"/>
                  <a:pt x="16173" y="5495"/>
                </a:cubicBezTo>
                <a:cubicBezTo>
                  <a:pt x="16126" y="5370"/>
                  <a:pt x="16110" y="5230"/>
                  <a:pt x="16079" y="5105"/>
                </a:cubicBezTo>
                <a:cubicBezTo>
                  <a:pt x="16079" y="5089"/>
                  <a:pt x="16079" y="5073"/>
                  <a:pt x="16079" y="5058"/>
                </a:cubicBezTo>
                <a:cubicBezTo>
                  <a:pt x="16032" y="4995"/>
                  <a:pt x="16016" y="4933"/>
                  <a:pt x="15969" y="4871"/>
                </a:cubicBezTo>
                <a:cubicBezTo>
                  <a:pt x="15922" y="4792"/>
                  <a:pt x="15906" y="4699"/>
                  <a:pt x="15891" y="4605"/>
                </a:cubicBezTo>
                <a:cubicBezTo>
                  <a:pt x="15891" y="4574"/>
                  <a:pt x="15891" y="4558"/>
                  <a:pt x="15875" y="4527"/>
                </a:cubicBezTo>
                <a:cubicBezTo>
                  <a:pt x="15859" y="4512"/>
                  <a:pt x="15859" y="4512"/>
                  <a:pt x="15844" y="4512"/>
                </a:cubicBezTo>
                <a:cubicBezTo>
                  <a:pt x="15813" y="4512"/>
                  <a:pt x="15781" y="4543"/>
                  <a:pt x="15766" y="4512"/>
                </a:cubicBezTo>
                <a:cubicBezTo>
                  <a:pt x="15750" y="4480"/>
                  <a:pt x="15719" y="4465"/>
                  <a:pt x="15703" y="4449"/>
                </a:cubicBezTo>
                <a:cubicBezTo>
                  <a:pt x="15703" y="4418"/>
                  <a:pt x="15703" y="4402"/>
                  <a:pt x="15672" y="4387"/>
                </a:cubicBezTo>
                <a:cubicBezTo>
                  <a:pt x="15609" y="4355"/>
                  <a:pt x="15593" y="4309"/>
                  <a:pt x="15546" y="4262"/>
                </a:cubicBezTo>
                <a:cubicBezTo>
                  <a:pt x="15515" y="4231"/>
                  <a:pt x="15499" y="4215"/>
                  <a:pt x="15452" y="4215"/>
                </a:cubicBezTo>
                <a:cubicBezTo>
                  <a:pt x="15421" y="4199"/>
                  <a:pt x="15374" y="4215"/>
                  <a:pt x="15359" y="4168"/>
                </a:cubicBezTo>
                <a:cubicBezTo>
                  <a:pt x="15343" y="4168"/>
                  <a:pt x="15327" y="4168"/>
                  <a:pt x="15312" y="4168"/>
                </a:cubicBezTo>
                <a:cubicBezTo>
                  <a:pt x="15233" y="4184"/>
                  <a:pt x="15139" y="4168"/>
                  <a:pt x="15061" y="4153"/>
                </a:cubicBezTo>
                <a:cubicBezTo>
                  <a:pt x="14795" y="4090"/>
                  <a:pt x="14529" y="4059"/>
                  <a:pt x="14278" y="4043"/>
                </a:cubicBezTo>
                <a:cubicBezTo>
                  <a:pt x="14169" y="4043"/>
                  <a:pt x="14075" y="4028"/>
                  <a:pt x="13981" y="4043"/>
                </a:cubicBezTo>
                <a:cubicBezTo>
                  <a:pt x="13856" y="4059"/>
                  <a:pt x="13746" y="4028"/>
                  <a:pt x="13621" y="4028"/>
                </a:cubicBezTo>
                <a:cubicBezTo>
                  <a:pt x="13527" y="4012"/>
                  <a:pt x="13417" y="3996"/>
                  <a:pt x="13323" y="3996"/>
                </a:cubicBezTo>
                <a:cubicBezTo>
                  <a:pt x="13182" y="3996"/>
                  <a:pt x="13057" y="3996"/>
                  <a:pt x="12916" y="4012"/>
                </a:cubicBezTo>
                <a:cubicBezTo>
                  <a:pt x="12760" y="4012"/>
                  <a:pt x="12603" y="4028"/>
                  <a:pt x="12462" y="4043"/>
                </a:cubicBezTo>
                <a:cubicBezTo>
                  <a:pt x="12259" y="4059"/>
                  <a:pt x="12071" y="4090"/>
                  <a:pt x="11883" y="4137"/>
                </a:cubicBezTo>
                <a:cubicBezTo>
                  <a:pt x="11523" y="4215"/>
                  <a:pt x="11163" y="4293"/>
                  <a:pt x="10803" y="4371"/>
                </a:cubicBezTo>
                <a:cubicBezTo>
                  <a:pt x="10756" y="4387"/>
                  <a:pt x="10693" y="4402"/>
                  <a:pt x="10631" y="4433"/>
                </a:cubicBezTo>
                <a:cubicBezTo>
                  <a:pt x="10552" y="4449"/>
                  <a:pt x="10474" y="4480"/>
                  <a:pt x="10396" y="4496"/>
                </a:cubicBezTo>
                <a:cubicBezTo>
                  <a:pt x="10364" y="4512"/>
                  <a:pt x="10317" y="4496"/>
                  <a:pt x="10270" y="4527"/>
                </a:cubicBezTo>
                <a:cubicBezTo>
                  <a:pt x="10208" y="4558"/>
                  <a:pt x="10130" y="4558"/>
                  <a:pt x="10067" y="4590"/>
                </a:cubicBezTo>
                <a:cubicBezTo>
                  <a:pt x="9957" y="4636"/>
                  <a:pt x="9848" y="4668"/>
                  <a:pt x="9738" y="4699"/>
                </a:cubicBezTo>
                <a:cubicBezTo>
                  <a:pt x="9629" y="4730"/>
                  <a:pt x="9519" y="4777"/>
                  <a:pt x="9409" y="4808"/>
                </a:cubicBezTo>
                <a:cubicBezTo>
                  <a:pt x="9300" y="4855"/>
                  <a:pt x="9190" y="4902"/>
                  <a:pt x="9065" y="4949"/>
                </a:cubicBezTo>
                <a:cubicBezTo>
                  <a:pt x="9034" y="4964"/>
                  <a:pt x="8987" y="4980"/>
                  <a:pt x="8940" y="4980"/>
                </a:cubicBezTo>
                <a:cubicBezTo>
                  <a:pt x="8877" y="4995"/>
                  <a:pt x="8815" y="5042"/>
                  <a:pt x="8752" y="5073"/>
                </a:cubicBezTo>
                <a:cubicBezTo>
                  <a:pt x="8705" y="5167"/>
                  <a:pt x="8580" y="5151"/>
                  <a:pt x="8517" y="5214"/>
                </a:cubicBezTo>
                <a:cubicBezTo>
                  <a:pt x="8454" y="5214"/>
                  <a:pt x="8423" y="5261"/>
                  <a:pt x="8376" y="5292"/>
                </a:cubicBezTo>
                <a:cubicBezTo>
                  <a:pt x="8361" y="5292"/>
                  <a:pt x="8345" y="5308"/>
                  <a:pt x="8329" y="5323"/>
                </a:cubicBezTo>
                <a:cubicBezTo>
                  <a:pt x="8235" y="5339"/>
                  <a:pt x="8173" y="5386"/>
                  <a:pt x="8094" y="5417"/>
                </a:cubicBezTo>
                <a:cubicBezTo>
                  <a:pt x="8126" y="5370"/>
                  <a:pt x="8157" y="5308"/>
                  <a:pt x="8173" y="5245"/>
                </a:cubicBezTo>
                <a:cubicBezTo>
                  <a:pt x="8188" y="5230"/>
                  <a:pt x="8188" y="5214"/>
                  <a:pt x="8188" y="5214"/>
                </a:cubicBezTo>
                <a:cubicBezTo>
                  <a:pt x="8282" y="5105"/>
                  <a:pt x="8329" y="4964"/>
                  <a:pt x="8392" y="4839"/>
                </a:cubicBezTo>
                <a:cubicBezTo>
                  <a:pt x="8392" y="4808"/>
                  <a:pt x="8407" y="4777"/>
                  <a:pt x="8423" y="4777"/>
                </a:cubicBezTo>
                <a:cubicBezTo>
                  <a:pt x="8470" y="4761"/>
                  <a:pt x="8470" y="4730"/>
                  <a:pt x="8486" y="4699"/>
                </a:cubicBezTo>
                <a:cubicBezTo>
                  <a:pt x="8548" y="4621"/>
                  <a:pt x="8580" y="4543"/>
                  <a:pt x="8611" y="4465"/>
                </a:cubicBezTo>
                <a:cubicBezTo>
                  <a:pt x="8627" y="4418"/>
                  <a:pt x="8642" y="4387"/>
                  <a:pt x="8674" y="4340"/>
                </a:cubicBezTo>
                <a:cubicBezTo>
                  <a:pt x="8721" y="4277"/>
                  <a:pt x="8752" y="4215"/>
                  <a:pt x="8799" y="4137"/>
                </a:cubicBezTo>
                <a:cubicBezTo>
                  <a:pt x="8846" y="4028"/>
                  <a:pt x="8877" y="3887"/>
                  <a:pt x="9002" y="3809"/>
                </a:cubicBezTo>
                <a:cubicBezTo>
                  <a:pt x="9018" y="3793"/>
                  <a:pt x="9018" y="3778"/>
                  <a:pt x="9018" y="3778"/>
                </a:cubicBezTo>
                <a:cubicBezTo>
                  <a:pt x="9049" y="3731"/>
                  <a:pt x="9049" y="3684"/>
                  <a:pt x="9096" y="3669"/>
                </a:cubicBezTo>
                <a:cubicBezTo>
                  <a:pt x="9143" y="3637"/>
                  <a:pt x="9159" y="3591"/>
                  <a:pt x="9175" y="3544"/>
                </a:cubicBezTo>
                <a:cubicBezTo>
                  <a:pt x="9190" y="3466"/>
                  <a:pt x="9222" y="3403"/>
                  <a:pt x="9253" y="3325"/>
                </a:cubicBezTo>
                <a:cubicBezTo>
                  <a:pt x="9284" y="3263"/>
                  <a:pt x="9300" y="3169"/>
                  <a:pt x="9362" y="3122"/>
                </a:cubicBezTo>
                <a:cubicBezTo>
                  <a:pt x="9362" y="3122"/>
                  <a:pt x="9362" y="3122"/>
                  <a:pt x="9362" y="3122"/>
                </a:cubicBezTo>
                <a:cubicBezTo>
                  <a:pt x="9409" y="3044"/>
                  <a:pt x="9425" y="2966"/>
                  <a:pt x="9472" y="2888"/>
                </a:cubicBezTo>
                <a:cubicBezTo>
                  <a:pt x="9535" y="2763"/>
                  <a:pt x="9566" y="2623"/>
                  <a:pt x="9613" y="2498"/>
                </a:cubicBezTo>
                <a:cubicBezTo>
                  <a:pt x="9660" y="2404"/>
                  <a:pt x="9707" y="2311"/>
                  <a:pt x="9754" y="2217"/>
                </a:cubicBezTo>
                <a:cubicBezTo>
                  <a:pt x="9816" y="2092"/>
                  <a:pt x="9848" y="1952"/>
                  <a:pt x="9895" y="1811"/>
                </a:cubicBezTo>
                <a:cubicBezTo>
                  <a:pt x="9942" y="1702"/>
                  <a:pt x="9957" y="1593"/>
                  <a:pt x="10004" y="1483"/>
                </a:cubicBezTo>
                <a:cubicBezTo>
                  <a:pt x="10020" y="1437"/>
                  <a:pt x="10036" y="1390"/>
                  <a:pt x="10036" y="1343"/>
                </a:cubicBezTo>
                <a:cubicBezTo>
                  <a:pt x="10036" y="1249"/>
                  <a:pt x="10051" y="1171"/>
                  <a:pt x="10083" y="1093"/>
                </a:cubicBezTo>
                <a:cubicBezTo>
                  <a:pt x="10114" y="1031"/>
                  <a:pt x="10130" y="953"/>
                  <a:pt x="10130" y="875"/>
                </a:cubicBezTo>
                <a:cubicBezTo>
                  <a:pt x="10114" y="718"/>
                  <a:pt x="10051" y="609"/>
                  <a:pt x="9910" y="547"/>
                </a:cubicBezTo>
                <a:cubicBezTo>
                  <a:pt x="9895" y="547"/>
                  <a:pt x="9879" y="531"/>
                  <a:pt x="9848" y="516"/>
                </a:cubicBezTo>
                <a:cubicBezTo>
                  <a:pt x="9785" y="453"/>
                  <a:pt x="9707" y="406"/>
                  <a:pt x="9629" y="359"/>
                </a:cubicBezTo>
                <a:cubicBezTo>
                  <a:pt x="9582" y="344"/>
                  <a:pt x="9550" y="328"/>
                  <a:pt x="9519" y="281"/>
                </a:cubicBezTo>
                <a:cubicBezTo>
                  <a:pt x="9488" y="250"/>
                  <a:pt x="9456" y="235"/>
                  <a:pt x="9409" y="235"/>
                </a:cubicBezTo>
                <a:cubicBezTo>
                  <a:pt x="9394" y="235"/>
                  <a:pt x="9362" y="235"/>
                  <a:pt x="9362" y="235"/>
                </a:cubicBezTo>
                <a:cubicBezTo>
                  <a:pt x="9237" y="188"/>
                  <a:pt x="9112" y="141"/>
                  <a:pt x="8987" y="94"/>
                </a:cubicBezTo>
                <a:cubicBezTo>
                  <a:pt x="8924" y="79"/>
                  <a:pt x="8861" y="47"/>
                  <a:pt x="8783" y="16"/>
                </a:cubicBezTo>
                <a:cubicBezTo>
                  <a:pt x="8752" y="0"/>
                  <a:pt x="8721" y="16"/>
                  <a:pt x="8689" y="47"/>
                </a:cubicBezTo>
                <a:cubicBezTo>
                  <a:pt x="8658" y="63"/>
                  <a:pt x="8658" y="79"/>
                  <a:pt x="8642" y="125"/>
                </a:cubicBezTo>
                <a:cubicBezTo>
                  <a:pt x="8642" y="172"/>
                  <a:pt x="8642" y="219"/>
                  <a:pt x="8611" y="281"/>
                </a:cubicBezTo>
                <a:cubicBezTo>
                  <a:pt x="8595" y="328"/>
                  <a:pt x="8548" y="359"/>
                  <a:pt x="8548" y="422"/>
                </a:cubicBezTo>
                <a:cubicBezTo>
                  <a:pt x="8548" y="547"/>
                  <a:pt x="8501" y="672"/>
                  <a:pt x="8470" y="797"/>
                </a:cubicBezTo>
                <a:cubicBezTo>
                  <a:pt x="8407" y="999"/>
                  <a:pt x="8361" y="1202"/>
                  <a:pt x="8298" y="1390"/>
                </a:cubicBezTo>
                <a:cubicBezTo>
                  <a:pt x="8220" y="1624"/>
                  <a:pt x="8157" y="1858"/>
                  <a:pt x="8079" y="2092"/>
                </a:cubicBezTo>
                <a:cubicBezTo>
                  <a:pt x="7985" y="2404"/>
                  <a:pt x="7891" y="2716"/>
                  <a:pt x="7781" y="3029"/>
                </a:cubicBezTo>
                <a:cubicBezTo>
                  <a:pt x="7719" y="3232"/>
                  <a:pt x="7640" y="3434"/>
                  <a:pt x="7562" y="3637"/>
                </a:cubicBezTo>
                <a:cubicBezTo>
                  <a:pt x="7515" y="3762"/>
                  <a:pt x="7484" y="3887"/>
                  <a:pt x="7421" y="4012"/>
                </a:cubicBezTo>
                <a:cubicBezTo>
                  <a:pt x="7312" y="4262"/>
                  <a:pt x="7218" y="4527"/>
                  <a:pt x="7108" y="4792"/>
                </a:cubicBezTo>
                <a:cubicBezTo>
                  <a:pt x="7077" y="4855"/>
                  <a:pt x="7045" y="4917"/>
                  <a:pt x="7014" y="4995"/>
                </a:cubicBezTo>
                <a:cubicBezTo>
                  <a:pt x="6920" y="5198"/>
                  <a:pt x="6842" y="5417"/>
                  <a:pt x="6748" y="5620"/>
                </a:cubicBezTo>
                <a:cubicBezTo>
                  <a:pt x="6607" y="5916"/>
                  <a:pt x="6498" y="6213"/>
                  <a:pt x="6357" y="6509"/>
                </a:cubicBezTo>
                <a:cubicBezTo>
                  <a:pt x="6310" y="6619"/>
                  <a:pt x="6263" y="6744"/>
                  <a:pt x="6216" y="6853"/>
                </a:cubicBezTo>
                <a:cubicBezTo>
                  <a:pt x="6200" y="6868"/>
                  <a:pt x="6200" y="6900"/>
                  <a:pt x="6184" y="6915"/>
                </a:cubicBezTo>
                <a:cubicBezTo>
                  <a:pt x="6184" y="6915"/>
                  <a:pt x="6184" y="6915"/>
                  <a:pt x="6169" y="6915"/>
                </a:cubicBezTo>
                <a:cubicBezTo>
                  <a:pt x="6169" y="6947"/>
                  <a:pt x="6137" y="6978"/>
                  <a:pt x="6122" y="7009"/>
                </a:cubicBezTo>
                <a:cubicBezTo>
                  <a:pt x="6090" y="7071"/>
                  <a:pt x="6028" y="7134"/>
                  <a:pt x="5997" y="7212"/>
                </a:cubicBezTo>
                <a:cubicBezTo>
                  <a:pt x="5965" y="7274"/>
                  <a:pt x="5871" y="7306"/>
                  <a:pt x="5871" y="7399"/>
                </a:cubicBezTo>
                <a:cubicBezTo>
                  <a:pt x="5871" y="7399"/>
                  <a:pt x="5856" y="7415"/>
                  <a:pt x="5856" y="7415"/>
                </a:cubicBezTo>
                <a:cubicBezTo>
                  <a:pt x="5793" y="7462"/>
                  <a:pt x="5777" y="7524"/>
                  <a:pt x="5746" y="7587"/>
                </a:cubicBezTo>
                <a:cubicBezTo>
                  <a:pt x="5668" y="7743"/>
                  <a:pt x="5621" y="7914"/>
                  <a:pt x="5558" y="8070"/>
                </a:cubicBezTo>
                <a:cubicBezTo>
                  <a:pt x="5511" y="8195"/>
                  <a:pt x="5464" y="8320"/>
                  <a:pt x="5449" y="8461"/>
                </a:cubicBezTo>
                <a:cubicBezTo>
                  <a:pt x="5433" y="8539"/>
                  <a:pt x="5417" y="8617"/>
                  <a:pt x="5386" y="8695"/>
                </a:cubicBezTo>
                <a:cubicBezTo>
                  <a:pt x="5355" y="8757"/>
                  <a:pt x="5339" y="8820"/>
                  <a:pt x="5339" y="8898"/>
                </a:cubicBezTo>
                <a:cubicBezTo>
                  <a:pt x="5323" y="8929"/>
                  <a:pt x="5292" y="8960"/>
                  <a:pt x="5276" y="8991"/>
                </a:cubicBezTo>
                <a:cubicBezTo>
                  <a:pt x="5261" y="9101"/>
                  <a:pt x="5198" y="9179"/>
                  <a:pt x="5167" y="9288"/>
                </a:cubicBezTo>
                <a:cubicBezTo>
                  <a:pt x="5135" y="9319"/>
                  <a:pt x="5120" y="9366"/>
                  <a:pt x="5057" y="9382"/>
                </a:cubicBezTo>
                <a:cubicBezTo>
                  <a:pt x="5057" y="9382"/>
                  <a:pt x="5042" y="9397"/>
                  <a:pt x="5042" y="9413"/>
                </a:cubicBezTo>
                <a:cubicBezTo>
                  <a:pt x="5057" y="9428"/>
                  <a:pt x="5073" y="9397"/>
                  <a:pt x="5089" y="9397"/>
                </a:cubicBezTo>
                <a:cubicBezTo>
                  <a:pt x="5057" y="9491"/>
                  <a:pt x="4995" y="9569"/>
                  <a:pt x="4963" y="9678"/>
                </a:cubicBezTo>
                <a:cubicBezTo>
                  <a:pt x="4948" y="9694"/>
                  <a:pt x="4948" y="9725"/>
                  <a:pt x="4916" y="9741"/>
                </a:cubicBezTo>
                <a:cubicBezTo>
                  <a:pt x="4901" y="9756"/>
                  <a:pt x="4885" y="9787"/>
                  <a:pt x="4885" y="9803"/>
                </a:cubicBezTo>
                <a:cubicBezTo>
                  <a:pt x="4885" y="9834"/>
                  <a:pt x="4885" y="9850"/>
                  <a:pt x="4869" y="9865"/>
                </a:cubicBezTo>
                <a:cubicBezTo>
                  <a:pt x="4807" y="9959"/>
                  <a:pt x="4775" y="10053"/>
                  <a:pt x="4728" y="10146"/>
                </a:cubicBezTo>
                <a:cubicBezTo>
                  <a:pt x="4666" y="10256"/>
                  <a:pt x="4619" y="10349"/>
                  <a:pt x="4588" y="10474"/>
                </a:cubicBezTo>
                <a:cubicBezTo>
                  <a:pt x="4588" y="10490"/>
                  <a:pt x="4588" y="10505"/>
                  <a:pt x="4572" y="10521"/>
                </a:cubicBezTo>
                <a:cubicBezTo>
                  <a:pt x="4525" y="10599"/>
                  <a:pt x="4478" y="10693"/>
                  <a:pt x="4431" y="10786"/>
                </a:cubicBezTo>
                <a:cubicBezTo>
                  <a:pt x="4384" y="10880"/>
                  <a:pt x="4353" y="10989"/>
                  <a:pt x="4274" y="11067"/>
                </a:cubicBezTo>
                <a:cubicBezTo>
                  <a:pt x="4259" y="11083"/>
                  <a:pt x="4259" y="11099"/>
                  <a:pt x="4259" y="11099"/>
                </a:cubicBezTo>
                <a:cubicBezTo>
                  <a:pt x="4259" y="11130"/>
                  <a:pt x="4243" y="11145"/>
                  <a:pt x="4243" y="11177"/>
                </a:cubicBezTo>
                <a:cubicBezTo>
                  <a:pt x="4196" y="11286"/>
                  <a:pt x="4134" y="11380"/>
                  <a:pt x="4102" y="11489"/>
                </a:cubicBezTo>
                <a:cubicBezTo>
                  <a:pt x="4087" y="11520"/>
                  <a:pt x="4055" y="11536"/>
                  <a:pt x="4040" y="11582"/>
                </a:cubicBezTo>
                <a:cubicBezTo>
                  <a:pt x="4024" y="11629"/>
                  <a:pt x="4008" y="11707"/>
                  <a:pt x="3930" y="11723"/>
                </a:cubicBezTo>
                <a:cubicBezTo>
                  <a:pt x="3914" y="11723"/>
                  <a:pt x="3914" y="11739"/>
                  <a:pt x="3899" y="11754"/>
                </a:cubicBezTo>
                <a:cubicBezTo>
                  <a:pt x="3852" y="11817"/>
                  <a:pt x="3820" y="11895"/>
                  <a:pt x="3789" y="11973"/>
                </a:cubicBezTo>
                <a:cubicBezTo>
                  <a:pt x="3758" y="12020"/>
                  <a:pt x="3742" y="12066"/>
                  <a:pt x="3695" y="12113"/>
                </a:cubicBezTo>
                <a:cubicBezTo>
                  <a:pt x="3680" y="12066"/>
                  <a:pt x="3664" y="12035"/>
                  <a:pt x="3680" y="12004"/>
                </a:cubicBezTo>
                <a:cubicBezTo>
                  <a:pt x="3680" y="11941"/>
                  <a:pt x="3664" y="11879"/>
                  <a:pt x="3648" y="11817"/>
                </a:cubicBezTo>
                <a:cubicBezTo>
                  <a:pt x="3648" y="11770"/>
                  <a:pt x="3617" y="11723"/>
                  <a:pt x="3617" y="11660"/>
                </a:cubicBezTo>
                <a:cubicBezTo>
                  <a:pt x="3633" y="11645"/>
                  <a:pt x="3601" y="11645"/>
                  <a:pt x="3586" y="11645"/>
                </a:cubicBezTo>
                <a:cubicBezTo>
                  <a:pt x="3586" y="11676"/>
                  <a:pt x="3586" y="11707"/>
                  <a:pt x="3586" y="11723"/>
                </a:cubicBezTo>
                <a:cubicBezTo>
                  <a:pt x="3601" y="11848"/>
                  <a:pt x="3617" y="11973"/>
                  <a:pt x="3633" y="12098"/>
                </a:cubicBezTo>
                <a:cubicBezTo>
                  <a:pt x="3648" y="12160"/>
                  <a:pt x="3633" y="12207"/>
                  <a:pt x="3617" y="12254"/>
                </a:cubicBezTo>
                <a:cubicBezTo>
                  <a:pt x="3586" y="12222"/>
                  <a:pt x="3586" y="12191"/>
                  <a:pt x="3586" y="12160"/>
                </a:cubicBezTo>
                <a:cubicBezTo>
                  <a:pt x="3570" y="12035"/>
                  <a:pt x="3539" y="11895"/>
                  <a:pt x="3523" y="11770"/>
                </a:cubicBezTo>
                <a:cubicBezTo>
                  <a:pt x="3523" y="11707"/>
                  <a:pt x="3539" y="11629"/>
                  <a:pt x="3507" y="11567"/>
                </a:cubicBezTo>
                <a:cubicBezTo>
                  <a:pt x="3492" y="11567"/>
                  <a:pt x="3507" y="11551"/>
                  <a:pt x="3507" y="11551"/>
                </a:cubicBezTo>
                <a:cubicBezTo>
                  <a:pt x="3539" y="11520"/>
                  <a:pt x="3523" y="11473"/>
                  <a:pt x="3507" y="11442"/>
                </a:cubicBezTo>
                <a:cubicBezTo>
                  <a:pt x="3492" y="11348"/>
                  <a:pt x="3507" y="11255"/>
                  <a:pt x="3476" y="11161"/>
                </a:cubicBezTo>
                <a:cubicBezTo>
                  <a:pt x="3445" y="11052"/>
                  <a:pt x="3460" y="10927"/>
                  <a:pt x="3445" y="10818"/>
                </a:cubicBezTo>
                <a:cubicBezTo>
                  <a:pt x="3445" y="10755"/>
                  <a:pt x="3429" y="10677"/>
                  <a:pt x="3445" y="10599"/>
                </a:cubicBezTo>
                <a:cubicBezTo>
                  <a:pt x="3460" y="10537"/>
                  <a:pt x="3460" y="10459"/>
                  <a:pt x="3398" y="10381"/>
                </a:cubicBezTo>
                <a:cubicBezTo>
                  <a:pt x="3398" y="10474"/>
                  <a:pt x="3351" y="10537"/>
                  <a:pt x="3398" y="10599"/>
                </a:cubicBezTo>
                <a:cubicBezTo>
                  <a:pt x="3398" y="10615"/>
                  <a:pt x="3398" y="10615"/>
                  <a:pt x="3398" y="10630"/>
                </a:cubicBezTo>
                <a:cubicBezTo>
                  <a:pt x="3382" y="10740"/>
                  <a:pt x="3382" y="10849"/>
                  <a:pt x="3382" y="10974"/>
                </a:cubicBezTo>
                <a:cubicBezTo>
                  <a:pt x="3382" y="10974"/>
                  <a:pt x="3366" y="10989"/>
                  <a:pt x="3382" y="10989"/>
                </a:cubicBezTo>
                <a:cubicBezTo>
                  <a:pt x="3445" y="11036"/>
                  <a:pt x="3398" y="11099"/>
                  <a:pt x="3413" y="11145"/>
                </a:cubicBezTo>
                <a:cubicBezTo>
                  <a:pt x="3429" y="11192"/>
                  <a:pt x="3413" y="11255"/>
                  <a:pt x="3445" y="11317"/>
                </a:cubicBezTo>
                <a:cubicBezTo>
                  <a:pt x="3476" y="11364"/>
                  <a:pt x="3445" y="11458"/>
                  <a:pt x="3382" y="11520"/>
                </a:cubicBezTo>
                <a:cubicBezTo>
                  <a:pt x="3413" y="11442"/>
                  <a:pt x="3366" y="11395"/>
                  <a:pt x="3366" y="11348"/>
                </a:cubicBezTo>
                <a:cubicBezTo>
                  <a:pt x="3351" y="11208"/>
                  <a:pt x="3335" y="11067"/>
                  <a:pt x="3335" y="10927"/>
                </a:cubicBezTo>
                <a:cubicBezTo>
                  <a:pt x="3335" y="10911"/>
                  <a:pt x="3335" y="10896"/>
                  <a:pt x="3335" y="10864"/>
                </a:cubicBezTo>
                <a:cubicBezTo>
                  <a:pt x="3257" y="10724"/>
                  <a:pt x="3351" y="10599"/>
                  <a:pt x="3335" y="10459"/>
                </a:cubicBezTo>
                <a:cubicBezTo>
                  <a:pt x="3335" y="10459"/>
                  <a:pt x="3351" y="10443"/>
                  <a:pt x="3351" y="10427"/>
                </a:cubicBezTo>
                <a:cubicBezTo>
                  <a:pt x="3382" y="10381"/>
                  <a:pt x="3366" y="10318"/>
                  <a:pt x="3398" y="10271"/>
                </a:cubicBezTo>
                <a:cubicBezTo>
                  <a:pt x="3398" y="10271"/>
                  <a:pt x="3398" y="10256"/>
                  <a:pt x="3398" y="10256"/>
                </a:cubicBezTo>
                <a:cubicBezTo>
                  <a:pt x="3366" y="10178"/>
                  <a:pt x="3398" y="10115"/>
                  <a:pt x="3398" y="10053"/>
                </a:cubicBezTo>
                <a:cubicBezTo>
                  <a:pt x="3429" y="9912"/>
                  <a:pt x="3413" y="9787"/>
                  <a:pt x="3398" y="9647"/>
                </a:cubicBezTo>
                <a:cubicBezTo>
                  <a:pt x="3398" y="9491"/>
                  <a:pt x="3398" y="9335"/>
                  <a:pt x="3382" y="9179"/>
                </a:cubicBezTo>
                <a:cubicBezTo>
                  <a:pt x="3382" y="9163"/>
                  <a:pt x="3366" y="9147"/>
                  <a:pt x="3398" y="9132"/>
                </a:cubicBezTo>
                <a:cubicBezTo>
                  <a:pt x="3429" y="9163"/>
                  <a:pt x="3445" y="9163"/>
                  <a:pt x="3460" y="9116"/>
                </a:cubicBezTo>
                <a:cubicBezTo>
                  <a:pt x="3476" y="9101"/>
                  <a:pt x="3492" y="9085"/>
                  <a:pt x="3507" y="9069"/>
                </a:cubicBezTo>
                <a:cubicBezTo>
                  <a:pt x="3523" y="9069"/>
                  <a:pt x="3539" y="9054"/>
                  <a:pt x="3539" y="9038"/>
                </a:cubicBezTo>
                <a:cubicBezTo>
                  <a:pt x="3523" y="9007"/>
                  <a:pt x="3539" y="8960"/>
                  <a:pt x="3539" y="8929"/>
                </a:cubicBezTo>
                <a:cubicBezTo>
                  <a:pt x="3539" y="8913"/>
                  <a:pt x="3539" y="8898"/>
                  <a:pt x="3523" y="8882"/>
                </a:cubicBezTo>
                <a:cubicBezTo>
                  <a:pt x="3476" y="8882"/>
                  <a:pt x="3492" y="8851"/>
                  <a:pt x="3492" y="8820"/>
                </a:cubicBezTo>
                <a:cubicBezTo>
                  <a:pt x="3492" y="8773"/>
                  <a:pt x="3507" y="8726"/>
                  <a:pt x="3476" y="8679"/>
                </a:cubicBezTo>
                <a:cubicBezTo>
                  <a:pt x="3476" y="8664"/>
                  <a:pt x="3460" y="8664"/>
                  <a:pt x="3476" y="8648"/>
                </a:cubicBezTo>
                <a:cubicBezTo>
                  <a:pt x="3507" y="8617"/>
                  <a:pt x="3476" y="8554"/>
                  <a:pt x="3523" y="8523"/>
                </a:cubicBezTo>
                <a:cubicBezTo>
                  <a:pt x="3523" y="8523"/>
                  <a:pt x="3523" y="8492"/>
                  <a:pt x="3507" y="8492"/>
                </a:cubicBezTo>
                <a:cubicBezTo>
                  <a:pt x="3492" y="8461"/>
                  <a:pt x="3492" y="8414"/>
                  <a:pt x="3507" y="8383"/>
                </a:cubicBezTo>
                <a:cubicBezTo>
                  <a:pt x="3507" y="8351"/>
                  <a:pt x="3507" y="8305"/>
                  <a:pt x="3539" y="8289"/>
                </a:cubicBezTo>
                <a:cubicBezTo>
                  <a:pt x="3554" y="8289"/>
                  <a:pt x="3554" y="8273"/>
                  <a:pt x="3554" y="8258"/>
                </a:cubicBezTo>
                <a:cubicBezTo>
                  <a:pt x="3539" y="8148"/>
                  <a:pt x="3617" y="8055"/>
                  <a:pt x="3570" y="7946"/>
                </a:cubicBezTo>
                <a:cubicBezTo>
                  <a:pt x="3570" y="7946"/>
                  <a:pt x="3570" y="7930"/>
                  <a:pt x="3570" y="7930"/>
                </a:cubicBezTo>
                <a:cubicBezTo>
                  <a:pt x="3586" y="7883"/>
                  <a:pt x="3601" y="7836"/>
                  <a:pt x="3586" y="7789"/>
                </a:cubicBezTo>
                <a:cubicBezTo>
                  <a:pt x="3570" y="7743"/>
                  <a:pt x="3570" y="7696"/>
                  <a:pt x="3601" y="7649"/>
                </a:cubicBezTo>
                <a:cubicBezTo>
                  <a:pt x="3601" y="7649"/>
                  <a:pt x="3586" y="7633"/>
                  <a:pt x="3586" y="7618"/>
                </a:cubicBezTo>
                <a:cubicBezTo>
                  <a:pt x="3586" y="7602"/>
                  <a:pt x="3586" y="7602"/>
                  <a:pt x="3586" y="7571"/>
                </a:cubicBezTo>
                <a:cubicBezTo>
                  <a:pt x="3601" y="7540"/>
                  <a:pt x="3601" y="7493"/>
                  <a:pt x="3586" y="7462"/>
                </a:cubicBezTo>
                <a:cubicBezTo>
                  <a:pt x="3586" y="7430"/>
                  <a:pt x="3586" y="7415"/>
                  <a:pt x="3601" y="7384"/>
                </a:cubicBezTo>
                <a:cubicBezTo>
                  <a:pt x="3633" y="7306"/>
                  <a:pt x="3617" y="7212"/>
                  <a:pt x="3617" y="7134"/>
                </a:cubicBezTo>
                <a:cubicBezTo>
                  <a:pt x="3617" y="7009"/>
                  <a:pt x="3617" y="6900"/>
                  <a:pt x="3601" y="6790"/>
                </a:cubicBezTo>
                <a:cubicBezTo>
                  <a:pt x="3601" y="6697"/>
                  <a:pt x="3617" y="6588"/>
                  <a:pt x="3601" y="6494"/>
                </a:cubicBezTo>
                <a:cubicBezTo>
                  <a:pt x="3586" y="6416"/>
                  <a:pt x="3586" y="6338"/>
                  <a:pt x="3586" y="6260"/>
                </a:cubicBezTo>
                <a:cubicBezTo>
                  <a:pt x="3586" y="6213"/>
                  <a:pt x="3586" y="6182"/>
                  <a:pt x="3570" y="6135"/>
                </a:cubicBezTo>
                <a:cubicBezTo>
                  <a:pt x="3554" y="6088"/>
                  <a:pt x="3554" y="6041"/>
                  <a:pt x="3570" y="5994"/>
                </a:cubicBezTo>
                <a:cubicBezTo>
                  <a:pt x="3586" y="5916"/>
                  <a:pt x="3570" y="5838"/>
                  <a:pt x="3570" y="5760"/>
                </a:cubicBezTo>
                <a:cubicBezTo>
                  <a:pt x="3586" y="5651"/>
                  <a:pt x="3570" y="5542"/>
                  <a:pt x="3570" y="5432"/>
                </a:cubicBezTo>
                <a:cubicBezTo>
                  <a:pt x="3570" y="5339"/>
                  <a:pt x="3554" y="5245"/>
                  <a:pt x="3570" y="5151"/>
                </a:cubicBezTo>
                <a:cubicBezTo>
                  <a:pt x="3586" y="5058"/>
                  <a:pt x="3570" y="4964"/>
                  <a:pt x="3586" y="4871"/>
                </a:cubicBezTo>
                <a:cubicBezTo>
                  <a:pt x="3601" y="4714"/>
                  <a:pt x="3586" y="4558"/>
                  <a:pt x="3570" y="4418"/>
                </a:cubicBezTo>
                <a:cubicBezTo>
                  <a:pt x="3570" y="4340"/>
                  <a:pt x="3554" y="4277"/>
                  <a:pt x="3586" y="4215"/>
                </a:cubicBezTo>
                <a:cubicBezTo>
                  <a:pt x="3601" y="4199"/>
                  <a:pt x="3586" y="4184"/>
                  <a:pt x="3586" y="4168"/>
                </a:cubicBezTo>
                <a:cubicBezTo>
                  <a:pt x="3601" y="4106"/>
                  <a:pt x="3586" y="4043"/>
                  <a:pt x="3601" y="3996"/>
                </a:cubicBezTo>
                <a:cubicBezTo>
                  <a:pt x="3633" y="3856"/>
                  <a:pt x="3648" y="3715"/>
                  <a:pt x="3648" y="3575"/>
                </a:cubicBezTo>
                <a:cubicBezTo>
                  <a:pt x="3648" y="3450"/>
                  <a:pt x="3664" y="3325"/>
                  <a:pt x="3695" y="3200"/>
                </a:cubicBezTo>
                <a:cubicBezTo>
                  <a:pt x="3726" y="3107"/>
                  <a:pt x="3726" y="3013"/>
                  <a:pt x="3726" y="2904"/>
                </a:cubicBezTo>
                <a:cubicBezTo>
                  <a:pt x="3742" y="2732"/>
                  <a:pt x="3742" y="2560"/>
                  <a:pt x="3742" y="2389"/>
                </a:cubicBezTo>
                <a:cubicBezTo>
                  <a:pt x="3742" y="2357"/>
                  <a:pt x="3742" y="2342"/>
                  <a:pt x="3742" y="2311"/>
                </a:cubicBezTo>
                <a:cubicBezTo>
                  <a:pt x="3726" y="2279"/>
                  <a:pt x="3726" y="2233"/>
                  <a:pt x="3726" y="2186"/>
                </a:cubicBezTo>
                <a:cubicBezTo>
                  <a:pt x="3742" y="2123"/>
                  <a:pt x="3726" y="2076"/>
                  <a:pt x="3711" y="2014"/>
                </a:cubicBezTo>
                <a:cubicBezTo>
                  <a:pt x="3695" y="1889"/>
                  <a:pt x="3664" y="1780"/>
                  <a:pt x="3633" y="1655"/>
                </a:cubicBezTo>
                <a:cubicBezTo>
                  <a:pt x="3617" y="1561"/>
                  <a:pt x="3586" y="1483"/>
                  <a:pt x="3523" y="1405"/>
                </a:cubicBezTo>
                <a:cubicBezTo>
                  <a:pt x="3398" y="1280"/>
                  <a:pt x="3257" y="1171"/>
                  <a:pt x="3132" y="1046"/>
                </a:cubicBezTo>
                <a:cubicBezTo>
                  <a:pt x="3116" y="1031"/>
                  <a:pt x="3100" y="1015"/>
                  <a:pt x="3085" y="1031"/>
                </a:cubicBezTo>
                <a:cubicBezTo>
                  <a:pt x="3038" y="1031"/>
                  <a:pt x="3006" y="999"/>
                  <a:pt x="2975" y="953"/>
                </a:cubicBezTo>
                <a:cubicBezTo>
                  <a:pt x="2959" y="921"/>
                  <a:pt x="2944" y="890"/>
                  <a:pt x="2912" y="859"/>
                </a:cubicBezTo>
                <a:cubicBezTo>
                  <a:pt x="2881" y="812"/>
                  <a:pt x="2834" y="765"/>
                  <a:pt x="2771" y="765"/>
                </a:cubicBezTo>
                <a:cubicBezTo>
                  <a:pt x="2740" y="750"/>
                  <a:pt x="2693" y="750"/>
                  <a:pt x="2662" y="734"/>
                </a:cubicBezTo>
                <a:cubicBezTo>
                  <a:pt x="2615" y="703"/>
                  <a:pt x="2584" y="687"/>
                  <a:pt x="2537" y="672"/>
                </a:cubicBezTo>
                <a:cubicBezTo>
                  <a:pt x="2411" y="640"/>
                  <a:pt x="2271" y="625"/>
                  <a:pt x="2161" y="562"/>
                </a:cubicBezTo>
                <a:cubicBezTo>
                  <a:pt x="2004" y="500"/>
                  <a:pt x="1848" y="469"/>
                  <a:pt x="1691" y="438"/>
                </a:cubicBezTo>
                <a:cubicBezTo>
                  <a:pt x="1550" y="391"/>
                  <a:pt x="1378" y="391"/>
                  <a:pt x="1222" y="391"/>
                </a:cubicBezTo>
                <a:cubicBezTo>
                  <a:pt x="1128" y="391"/>
                  <a:pt x="1018" y="406"/>
                  <a:pt x="908" y="406"/>
                </a:cubicBezTo>
                <a:cubicBezTo>
                  <a:pt x="799" y="406"/>
                  <a:pt x="674" y="422"/>
                  <a:pt x="564" y="422"/>
                </a:cubicBezTo>
                <a:cubicBezTo>
                  <a:pt x="517" y="422"/>
                  <a:pt x="470" y="438"/>
                  <a:pt x="439" y="469"/>
                </a:cubicBezTo>
                <a:cubicBezTo>
                  <a:pt x="408" y="500"/>
                  <a:pt x="408" y="531"/>
                  <a:pt x="376" y="547"/>
                </a:cubicBezTo>
                <a:cubicBezTo>
                  <a:pt x="345" y="609"/>
                  <a:pt x="314" y="656"/>
                  <a:pt x="251" y="656"/>
                </a:cubicBezTo>
                <a:cubicBezTo>
                  <a:pt x="204" y="656"/>
                  <a:pt x="188" y="687"/>
                  <a:pt x="188" y="734"/>
                </a:cubicBezTo>
                <a:cubicBezTo>
                  <a:pt x="188" y="781"/>
                  <a:pt x="173" y="781"/>
                  <a:pt x="141" y="781"/>
                </a:cubicBezTo>
                <a:cubicBezTo>
                  <a:pt x="94" y="781"/>
                  <a:pt x="47" y="797"/>
                  <a:pt x="0" y="812"/>
                </a:cubicBezTo>
                <a:cubicBezTo>
                  <a:pt x="0" y="812"/>
                  <a:pt x="0" y="828"/>
                  <a:pt x="0" y="828"/>
                </a:cubicBezTo>
                <a:cubicBezTo>
                  <a:pt x="110" y="968"/>
                  <a:pt x="126" y="1140"/>
                  <a:pt x="173" y="1296"/>
                </a:cubicBezTo>
                <a:cubicBezTo>
                  <a:pt x="204" y="1358"/>
                  <a:pt x="188" y="1421"/>
                  <a:pt x="204" y="1483"/>
                </a:cubicBezTo>
                <a:cubicBezTo>
                  <a:pt x="204" y="1593"/>
                  <a:pt x="220" y="1686"/>
                  <a:pt x="235" y="1780"/>
                </a:cubicBezTo>
                <a:cubicBezTo>
                  <a:pt x="251" y="1874"/>
                  <a:pt x="267" y="1952"/>
                  <a:pt x="267" y="2045"/>
                </a:cubicBezTo>
                <a:cubicBezTo>
                  <a:pt x="282" y="2201"/>
                  <a:pt x="282" y="2357"/>
                  <a:pt x="282" y="2498"/>
                </a:cubicBezTo>
                <a:cubicBezTo>
                  <a:pt x="282" y="2514"/>
                  <a:pt x="282" y="2514"/>
                  <a:pt x="298" y="2514"/>
                </a:cubicBezTo>
                <a:cubicBezTo>
                  <a:pt x="298" y="2514"/>
                  <a:pt x="298" y="2498"/>
                  <a:pt x="298" y="2482"/>
                </a:cubicBezTo>
                <a:cubicBezTo>
                  <a:pt x="298" y="2482"/>
                  <a:pt x="298" y="2467"/>
                  <a:pt x="314" y="2467"/>
                </a:cubicBezTo>
                <a:cubicBezTo>
                  <a:pt x="345" y="2638"/>
                  <a:pt x="329" y="2810"/>
                  <a:pt x="314" y="2966"/>
                </a:cubicBezTo>
                <a:cubicBezTo>
                  <a:pt x="314" y="3013"/>
                  <a:pt x="329" y="3075"/>
                  <a:pt x="282" y="3107"/>
                </a:cubicBezTo>
                <a:cubicBezTo>
                  <a:pt x="282" y="3122"/>
                  <a:pt x="267" y="3138"/>
                  <a:pt x="298" y="3154"/>
                </a:cubicBezTo>
                <a:cubicBezTo>
                  <a:pt x="298" y="3154"/>
                  <a:pt x="298" y="3122"/>
                  <a:pt x="314" y="3138"/>
                </a:cubicBezTo>
                <a:cubicBezTo>
                  <a:pt x="329" y="3154"/>
                  <a:pt x="329" y="3169"/>
                  <a:pt x="329" y="3169"/>
                </a:cubicBezTo>
                <a:cubicBezTo>
                  <a:pt x="329" y="3247"/>
                  <a:pt x="345" y="3325"/>
                  <a:pt x="345" y="3403"/>
                </a:cubicBezTo>
                <a:cubicBezTo>
                  <a:pt x="345" y="3450"/>
                  <a:pt x="361" y="3513"/>
                  <a:pt x="345" y="3559"/>
                </a:cubicBezTo>
                <a:cubicBezTo>
                  <a:pt x="329" y="3622"/>
                  <a:pt x="314" y="3653"/>
                  <a:pt x="376" y="3700"/>
                </a:cubicBezTo>
                <a:cubicBezTo>
                  <a:pt x="376" y="3700"/>
                  <a:pt x="423" y="3747"/>
                  <a:pt x="345" y="3731"/>
                </a:cubicBezTo>
                <a:cubicBezTo>
                  <a:pt x="345" y="3731"/>
                  <a:pt x="329" y="3762"/>
                  <a:pt x="329" y="3762"/>
                </a:cubicBezTo>
                <a:cubicBezTo>
                  <a:pt x="345" y="3840"/>
                  <a:pt x="345" y="3903"/>
                  <a:pt x="329" y="3965"/>
                </a:cubicBezTo>
                <a:cubicBezTo>
                  <a:pt x="329" y="3981"/>
                  <a:pt x="345" y="3981"/>
                  <a:pt x="345" y="3981"/>
                </a:cubicBezTo>
                <a:cubicBezTo>
                  <a:pt x="392" y="3996"/>
                  <a:pt x="376" y="4043"/>
                  <a:pt x="376" y="4074"/>
                </a:cubicBezTo>
                <a:cubicBezTo>
                  <a:pt x="376" y="4184"/>
                  <a:pt x="392" y="4277"/>
                  <a:pt x="392" y="4387"/>
                </a:cubicBezTo>
                <a:cubicBezTo>
                  <a:pt x="392" y="4402"/>
                  <a:pt x="408" y="4433"/>
                  <a:pt x="408" y="4433"/>
                </a:cubicBezTo>
                <a:cubicBezTo>
                  <a:pt x="439" y="4465"/>
                  <a:pt x="423" y="4496"/>
                  <a:pt x="423" y="4527"/>
                </a:cubicBezTo>
                <a:cubicBezTo>
                  <a:pt x="439" y="4590"/>
                  <a:pt x="423" y="4668"/>
                  <a:pt x="439" y="4730"/>
                </a:cubicBezTo>
                <a:cubicBezTo>
                  <a:pt x="454" y="4871"/>
                  <a:pt x="454" y="5011"/>
                  <a:pt x="454" y="5151"/>
                </a:cubicBezTo>
                <a:cubicBezTo>
                  <a:pt x="454" y="5214"/>
                  <a:pt x="439" y="5261"/>
                  <a:pt x="454" y="5308"/>
                </a:cubicBezTo>
                <a:cubicBezTo>
                  <a:pt x="454" y="5370"/>
                  <a:pt x="454" y="5417"/>
                  <a:pt x="454" y="5464"/>
                </a:cubicBezTo>
                <a:cubicBezTo>
                  <a:pt x="470" y="5510"/>
                  <a:pt x="470" y="5557"/>
                  <a:pt x="486" y="5604"/>
                </a:cubicBezTo>
                <a:cubicBezTo>
                  <a:pt x="486" y="5729"/>
                  <a:pt x="470" y="5870"/>
                  <a:pt x="486" y="6010"/>
                </a:cubicBezTo>
                <a:cubicBezTo>
                  <a:pt x="501" y="6057"/>
                  <a:pt x="501" y="6104"/>
                  <a:pt x="501" y="6150"/>
                </a:cubicBezTo>
                <a:cubicBezTo>
                  <a:pt x="486" y="6338"/>
                  <a:pt x="517" y="6525"/>
                  <a:pt x="517" y="6712"/>
                </a:cubicBezTo>
                <a:cubicBezTo>
                  <a:pt x="517" y="6712"/>
                  <a:pt x="517" y="6712"/>
                  <a:pt x="533" y="6712"/>
                </a:cubicBezTo>
                <a:cubicBezTo>
                  <a:pt x="533" y="6650"/>
                  <a:pt x="533" y="6588"/>
                  <a:pt x="533" y="6509"/>
                </a:cubicBezTo>
                <a:cubicBezTo>
                  <a:pt x="533" y="6385"/>
                  <a:pt x="517" y="6260"/>
                  <a:pt x="533" y="6135"/>
                </a:cubicBezTo>
                <a:cubicBezTo>
                  <a:pt x="548" y="6041"/>
                  <a:pt x="533" y="5932"/>
                  <a:pt x="533" y="5838"/>
                </a:cubicBezTo>
                <a:cubicBezTo>
                  <a:pt x="533" y="5776"/>
                  <a:pt x="548" y="5713"/>
                  <a:pt x="533" y="5635"/>
                </a:cubicBezTo>
                <a:cubicBezTo>
                  <a:pt x="533" y="5604"/>
                  <a:pt x="533" y="5557"/>
                  <a:pt x="533" y="5526"/>
                </a:cubicBezTo>
                <a:cubicBezTo>
                  <a:pt x="548" y="5448"/>
                  <a:pt x="533" y="5386"/>
                  <a:pt x="517" y="5323"/>
                </a:cubicBezTo>
                <a:cubicBezTo>
                  <a:pt x="501" y="5276"/>
                  <a:pt x="501" y="5230"/>
                  <a:pt x="517" y="5167"/>
                </a:cubicBezTo>
                <a:cubicBezTo>
                  <a:pt x="548" y="5214"/>
                  <a:pt x="564" y="5261"/>
                  <a:pt x="564" y="5323"/>
                </a:cubicBezTo>
                <a:cubicBezTo>
                  <a:pt x="580" y="5604"/>
                  <a:pt x="595" y="5885"/>
                  <a:pt x="595" y="6166"/>
                </a:cubicBezTo>
                <a:cubicBezTo>
                  <a:pt x="611" y="6447"/>
                  <a:pt x="611" y="6712"/>
                  <a:pt x="627" y="6993"/>
                </a:cubicBezTo>
                <a:cubicBezTo>
                  <a:pt x="627" y="7196"/>
                  <a:pt x="627" y="7399"/>
                  <a:pt x="627" y="7602"/>
                </a:cubicBezTo>
                <a:cubicBezTo>
                  <a:pt x="627" y="7618"/>
                  <a:pt x="627" y="7633"/>
                  <a:pt x="642" y="7633"/>
                </a:cubicBezTo>
                <a:cubicBezTo>
                  <a:pt x="658" y="7633"/>
                  <a:pt x="658" y="7602"/>
                  <a:pt x="658" y="7587"/>
                </a:cubicBezTo>
                <a:cubicBezTo>
                  <a:pt x="658" y="7477"/>
                  <a:pt x="658" y="7368"/>
                  <a:pt x="674" y="7243"/>
                </a:cubicBezTo>
                <a:cubicBezTo>
                  <a:pt x="674" y="7181"/>
                  <a:pt x="674" y="7181"/>
                  <a:pt x="752" y="7165"/>
                </a:cubicBezTo>
                <a:cubicBezTo>
                  <a:pt x="752" y="7711"/>
                  <a:pt x="768" y="8258"/>
                  <a:pt x="768" y="8788"/>
                </a:cubicBezTo>
                <a:cubicBezTo>
                  <a:pt x="752" y="8788"/>
                  <a:pt x="736" y="8788"/>
                  <a:pt x="736" y="8773"/>
                </a:cubicBezTo>
                <a:cubicBezTo>
                  <a:pt x="736" y="8757"/>
                  <a:pt x="736" y="8757"/>
                  <a:pt x="705" y="8757"/>
                </a:cubicBezTo>
                <a:cubicBezTo>
                  <a:pt x="658" y="8773"/>
                  <a:pt x="642" y="8788"/>
                  <a:pt x="642" y="8835"/>
                </a:cubicBezTo>
                <a:cubicBezTo>
                  <a:pt x="642" y="8913"/>
                  <a:pt x="642" y="9007"/>
                  <a:pt x="642" y="9101"/>
                </a:cubicBezTo>
                <a:cubicBezTo>
                  <a:pt x="642" y="9116"/>
                  <a:pt x="642" y="9132"/>
                  <a:pt x="658" y="9132"/>
                </a:cubicBezTo>
                <a:cubicBezTo>
                  <a:pt x="674" y="9116"/>
                  <a:pt x="689" y="9101"/>
                  <a:pt x="689" y="9085"/>
                </a:cubicBezTo>
                <a:cubicBezTo>
                  <a:pt x="689" y="9038"/>
                  <a:pt x="705" y="9023"/>
                  <a:pt x="752" y="9038"/>
                </a:cubicBezTo>
                <a:cubicBezTo>
                  <a:pt x="752" y="9038"/>
                  <a:pt x="768" y="9023"/>
                  <a:pt x="783" y="9038"/>
                </a:cubicBezTo>
                <a:cubicBezTo>
                  <a:pt x="783" y="9054"/>
                  <a:pt x="799" y="9085"/>
                  <a:pt x="768" y="9085"/>
                </a:cubicBezTo>
                <a:cubicBezTo>
                  <a:pt x="736" y="9101"/>
                  <a:pt x="736" y="9116"/>
                  <a:pt x="736" y="9132"/>
                </a:cubicBezTo>
                <a:cubicBezTo>
                  <a:pt x="736" y="9179"/>
                  <a:pt x="721" y="9225"/>
                  <a:pt x="736" y="9272"/>
                </a:cubicBezTo>
                <a:cubicBezTo>
                  <a:pt x="752" y="9319"/>
                  <a:pt x="736" y="9350"/>
                  <a:pt x="721" y="9382"/>
                </a:cubicBezTo>
                <a:cubicBezTo>
                  <a:pt x="705" y="9350"/>
                  <a:pt x="705" y="9335"/>
                  <a:pt x="705" y="9304"/>
                </a:cubicBezTo>
                <a:cubicBezTo>
                  <a:pt x="705" y="9257"/>
                  <a:pt x="721" y="9225"/>
                  <a:pt x="658" y="9210"/>
                </a:cubicBezTo>
                <a:cubicBezTo>
                  <a:pt x="658" y="9210"/>
                  <a:pt x="674" y="9194"/>
                  <a:pt x="642" y="9179"/>
                </a:cubicBezTo>
                <a:cubicBezTo>
                  <a:pt x="642" y="9428"/>
                  <a:pt x="658" y="9663"/>
                  <a:pt x="658" y="9897"/>
                </a:cubicBezTo>
                <a:cubicBezTo>
                  <a:pt x="674" y="10131"/>
                  <a:pt x="689" y="10365"/>
                  <a:pt x="705" y="10599"/>
                </a:cubicBezTo>
                <a:cubicBezTo>
                  <a:pt x="721" y="10833"/>
                  <a:pt x="721" y="11067"/>
                  <a:pt x="768" y="11301"/>
                </a:cubicBezTo>
                <a:cubicBezTo>
                  <a:pt x="799" y="11270"/>
                  <a:pt x="799" y="11223"/>
                  <a:pt x="830" y="11208"/>
                </a:cubicBezTo>
                <a:cubicBezTo>
                  <a:pt x="862" y="11192"/>
                  <a:pt x="830" y="11161"/>
                  <a:pt x="830" y="11130"/>
                </a:cubicBezTo>
                <a:cubicBezTo>
                  <a:pt x="783" y="11161"/>
                  <a:pt x="783" y="11114"/>
                  <a:pt x="783" y="11099"/>
                </a:cubicBezTo>
                <a:cubicBezTo>
                  <a:pt x="768" y="11021"/>
                  <a:pt x="768" y="10942"/>
                  <a:pt x="768" y="10849"/>
                </a:cubicBezTo>
                <a:cubicBezTo>
                  <a:pt x="768" y="10833"/>
                  <a:pt x="783" y="10833"/>
                  <a:pt x="799" y="10818"/>
                </a:cubicBezTo>
                <a:cubicBezTo>
                  <a:pt x="846" y="10818"/>
                  <a:pt x="846" y="10771"/>
                  <a:pt x="830" y="10724"/>
                </a:cubicBezTo>
                <a:cubicBezTo>
                  <a:pt x="830" y="10693"/>
                  <a:pt x="830" y="10662"/>
                  <a:pt x="799" y="10630"/>
                </a:cubicBezTo>
                <a:cubicBezTo>
                  <a:pt x="783" y="10615"/>
                  <a:pt x="783" y="10583"/>
                  <a:pt x="799" y="10568"/>
                </a:cubicBezTo>
                <a:cubicBezTo>
                  <a:pt x="830" y="10552"/>
                  <a:pt x="815" y="10521"/>
                  <a:pt x="815" y="10490"/>
                </a:cubicBezTo>
                <a:cubicBezTo>
                  <a:pt x="830" y="10412"/>
                  <a:pt x="815" y="10334"/>
                  <a:pt x="815" y="10271"/>
                </a:cubicBezTo>
                <a:cubicBezTo>
                  <a:pt x="830" y="10303"/>
                  <a:pt x="830" y="10334"/>
                  <a:pt x="830" y="10365"/>
                </a:cubicBezTo>
                <a:cubicBezTo>
                  <a:pt x="846" y="10474"/>
                  <a:pt x="846" y="10583"/>
                  <a:pt x="846" y="10693"/>
                </a:cubicBezTo>
                <a:cubicBezTo>
                  <a:pt x="877" y="10989"/>
                  <a:pt x="893" y="11286"/>
                  <a:pt x="924" y="11567"/>
                </a:cubicBezTo>
                <a:cubicBezTo>
                  <a:pt x="955" y="11817"/>
                  <a:pt x="987" y="12051"/>
                  <a:pt x="1018" y="12300"/>
                </a:cubicBezTo>
                <a:cubicBezTo>
                  <a:pt x="1065" y="12581"/>
                  <a:pt x="1112" y="12862"/>
                  <a:pt x="1159" y="13143"/>
                </a:cubicBezTo>
                <a:cubicBezTo>
                  <a:pt x="1175" y="13221"/>
                  <a:pt x="1190" y="13315"/>
                  <a:pt x="1222" y="13409"/>
                </a:cubicBezTo>
                <a:cubicBezTo>
                  <a:pt x="1237" y="13502"/>
                  <a:pt x="1269" y="13596"/>
                  <a:pt x="1284" y="13705"/>
                </a:cubicBezTo>
                <a:cubicBezTo>
                  <a:pt x="1316" y="13815"/>
                  <a:pt x="1331" y="13908"/>
                  <a:pt x="1362" y="14017"/>
                </a:cubicBezTo>
                <a:cubicBezTo>
                  <a:pt x="1378" y="14033"/>
                  <a:pt x="1378" y="14049"/>
                  <a:pt x="1362" y="14064"/>
                </a:cubicBezTo>
                <a:cubicBezTo>
                  <a:pt x="1347" y="14096"/>
                  <a:pt x="1362" y="14111"/>
                  <a:pt x="1378" y="14142"/>
                </a:cubicBezTo>
                <a:cubicBezTo>
                  <a:pt x="1409" y="14189"/>
                  <a:pt x="1425" y="14252"/>
                  <a:pt x="1456" y="14314"/>
                </a:cubicBezTo>
                <a:cubicBezTo>
                  <a:pt x="1456" y="14314"/>
                  <a:pt x="1456" y="14314"/>
                  <a:pt x="1441" y="14314"/>
                </a:cubicBezTo>
                <a:cubicBezTo>
                  <a:pt x="1441" y="14314"/>
                  <a:pt x="1441" y="14298"/>
                  <a:pt x="1441" y="14298"/>
                </a:cubicBezTo>
                <a:cubicBezTo>
                  <a:pt x="1378" y="14205"/>
                  <a:pt x="1331" y="14127"/>
                  <a:pt x="1316" y="14002"/>
                </a:cubicBezTo>
                <a:cubicBezTo>
                  <a:pt x="1316" y="13893"/>
                  <a:pt x="1269" y="13783"/>
                  <a:pt x="1222" y="13690"/>
                </a:cubicBezTo>
                <a:cubicBezTo>
                  <a:pt x="1206" y="13643"/>
                  <a:pt x="1175" y="13612"/>
                  <a:pt x="1175" y="13580"/>
                </a:cubicBezTo>
                <a:cubicBezTo>
                  <a:pt x="1206" y="13518"/>
                  <a:pt x="1175" y="13487"/>
                  <a:pt x="1143" y="13424"/>
                </a:cubicBezTo>
                <a:cubicBezTo>
                  <a:pt x="1128" y="13393"/>
                  <a:pt x="1128" y="13362"/>
                  <a:pt x="1128" y="13315"/>
                </a:cubicBezTo>
                <a:cubicBezTo>
                  <a:pt x="1112" y="13221"/>
                  <a:pt x="1096" y="13112"/>
                  <a:pt x="1096" y="13003"/>
                </a:cubicBezTo>
                <a:cubicBezTo>
                  <a:pt x="1081" y="12909"/>
                  <a:pt x="1065" y="12816"/>
                  <a:pt x="1018" y="12722"/>
                </a:cubicBezTo>
                <a:cubicBezTo>
                  <a:pt x="1018" y="12722"/>
                  <a:pt x="1018" y="12706"/>
                  <a:pt x="1018" y="12691"/>
                </a:cubicBezTo>
                <a:cubicBezTo>
                  <a:pt x="1018" y="12613"/>
                  <a:pt x="1018" y="12535"/>
                  <a:pt x="1002" y="12457"/>
                </a:cubicBezTo>
                <a:cubicBezTo>
                  <a:pt x="987" y="12394"/>
                  <a:pt x="971" y="12347"/>
                  <a:pt x="955" y="12285"/>
                </a:cubicBezTo>
                <a:cubicBezTo>
                  <a:pt x="955" y="12269"/>
                  <a:pt x="955" y="12254"/>
                  <a:pt x="924" y="12254"/>
                </a:cubicBezTo>
                <a:cubicBezTo>
                  <a:pt x="908" y="12269"/>
                  <a:pt x="908" y="12254"/>
                  <a:pt x="893" y="12238"/>
                </a:cubicBezTo>
                <a:cubicBezTo>
                  <a:pt x="862" y="12129"/>
                  <a:pt x="862" y="12020"/>
                  <a:pt x="862" y="11910"/>
                </a:cubicBezTo>
                <a:cubicBezTo>
                  <a:pt x="862" y="11879"/>
                  <a:pt x="846" y="11832"/>
                  <a:pt x="893" y="11817"/>
                </a:cubicBezTo>
                <a:cubicBezTo>
                  <a:pt x="908" y="11801"/>
                  <a:pt x="908" y="11770"/>
                  <a:pt x="908" y="11739"/>
                </a:cubicBezTo>
                <a:cubicBezTo>
                  <a:pt x="908" y="11660"/>
                  <a:pt x="908" y="11582"/>
                  <a:pt x="908" y="11504"/>
                </a:cubicBezTo>
                <a:cubicBezTo>
                  <a:pt x="908" y="11442"/>
                  <a:pt x="893" y="11380"/>
                  <a:pt x="862" y="11333"/>
                </a:cubicBezTo>
                <a:cubicBezTo>
                  <a:pt x="830" y="11301"/>
                  <a:pt x="830" y="11411"/>
                  <a:pt x="799" y="11333"/>
                </a:cubicBezTo>
                <a:cubicBezTo>
                  <a:pt x="799" y="11333"/>
                  <a:pt x="783" y="11317"/>
                  <a:pt x="783" y="11333"/>
                </a:cubicBezTo>
                <a:cubicBezTo>
                  <a:pt x="768" y="11333"/>
                  <a:pt x="768" y="11348"/>
                  <a:pt x="768" y="11348"/>
                </a:cubicBezTo>
                <a:cubicBezTo>
                  <a:pt x="768" y="11489"/>
                  <a:pt x="783" y="11614"/>
                  <a:pt x="799" y="11739"/>
                </a:cubicBezTo>
                <a:cubicBezTo>
                  <a:pt x="815" y="11957"/>
                  <a:pt x="846" y="12160"/>
                  <a:pt x="877" y="12363"/>
                </a:cubicBezTo>
                <a:cubicBezTo>
                  <a:pt x="940" y="12816"/>
                  <a:pt x="1034" y="13284"/>
                  <a:pt x="1128" y="13737"/>
                </a:cubicBezTo>
                <a:cubicBezTo>
                  <a:pt x="1143" y="13815"/>
                  <a:pt x="1159" y="13908"/>
                  <a:pt x="1190" y="13986"/>
                </a:cubicBezTo>
                <a:cubicBezTo>
                  <a:pt x="1237" y="14080"/>
                  <a:pt x="1253" y="14189"/>
                  <a:pt x="1300" y="14298"/>
                </a:cubicBezTo>
                <a:cubicBezTo>
                  <a:pt x="1316" y="14345"/>
                  <a:pt x="1331" y="14408"/>
                  <a:pt x="1347" y="14470"/>
                </a:cubicBezTo>
                <a:cubicBezTo>
                  <a:pt x="1362" y="14548"/>
                  <a:pt x="1394" y="14611"/>
                  <a:pt x="1488" y="14642"/>
                </a:cubicBezTo>
                <a:cubicBezTo>
                  <a:pt x="1566" y="14673"/>
                  <a:pt x="1644" y="14689"/>
                  <a:pt x="1707" y="14735"/>
                </a:cubicBezTo>
                <a:cubicBezTo>
                  <a:pt x="1848" y="14829"/>
                  <a:pt x="2004" y="14907"/>
                  <a:pt x="2161" y="14938"/>
                </a:cubicBezTo>
                <a:cubicBezTo>
                  <a:pt x="2208" y="14938"/>
                  <a:pt x="2255" y="14954"/>
                  <a:pt x="2302" y="14970"/>
                </a:cubicBezTo>
                <a:cubicBezTo>
                  <a:pt x="2349" y="15001"/>
                  <a:pt x="2411" y="15016"/>
                  <a:pt x="2474" y="14985"/>
                </a:cubicBezTo>
                <a:cubicBezTo>
                  <a:pt x="2490" y="14985"/>
                  <a:pt x="2505" y="14985"/>
                  <a:pt x="2521" y="15001"/>
                </a:cubicBezTo>
                <a:cubicBezTo>
                  <a:pt x="2599" y="15016"/>
                  <a:pt x="2693" y="15032"/>
                  <a:pt x="2756" y="15095"/>
                </a:cubicBezTo>
                <a:cubicBezTo>
                  <a:pt x="2771" y="15095"/>
                  <a:pt x="2771" y="15095"/>
                  <a:pt x="2787" y="15095"/>
                </a:cubicBezTo>
                <a:cubicBezTo>
                  <a:pt x="2803" y="15095"/>
                  <a:pt x="2803" y="15079"/>
                  <a:pt x="2803" y="15079"/>
                </a:cubicBezTo>
                <a:cubicBezTo>
                  <a:pt x="2850" y="15001"/>
                  <a:pt x="2928" y="14970"/>
                  <a:pt x="3006" y="15016"/>
                </a:cubicBezTo>
                <a:cubicBezTo>
                  <a:pt x="3038" y="15032"/>
                  <a:pt x="3069" y="15032"/>
                  <a:pt x="3100" y="15016"/>
                </a:cubicBezTo>
                <a:cubicBezTo>
                  <a:pt x="3147" y="14985"/>
                  <a:pt x="3194" y="14985"/>
                  <a:pt x="3241" y="15001"/>
                </a:cubicBezTo>
                <a:cubicBezTo>
                  <a:pt x="3335" y="15001"/>
                  <a:pt x="3398" y="14970"/>
                  <a:pt x="3460" y="14923"/>
                </a:cubicBezTo>
                <a:cubicBezTo>
                  <a:pt x="3507" y="14876"/>
                  <a:pt x="3554" y="14829"/>
                  <a:pt x="3601" y="14814"/>
                </a:cubicBezTo>
                <a:cubicBezTo>
                  <a:pt x="3711" y="14751"/>
                  <a:pt x="3789" y="14657"/>
                  <a:pt x="3867" y="14564"/>
                </a:cubicBezTo>
                <a:cubicBezTo>
                  <a:pt x="3930" y="14470"/>
                  <a:pt x="3993" y="14376"/>
                  <a:pt x="4055" y="14283"/>
                </a:cubicBezTo>
                <a:cubicBezTo>
                  <a:pt x="4149" y="14127"/>
                  <a:pt x="4274" y="13955"/>
                  <a:pt x="4353" y="13783"/>
                </a:cubicBezTo>
                <a:cubicBezTo>
                  <a:pt x="4478" y="13534"/>
                  <a:pt x="4619" y="13268"/>
                  <a:pt x="4728" y="13018"/>
                </a:cubicBezTo>
                <a:cubicBezTo>
                  <a:pt x="4760" y="12956"/>
                  <a:pt x="4791" y="12909"/>
                  <a:pt x="4807" y="12847"/>
                </a:cubicBezTo>
                <a:cubicBezTo>
                  <a:pt x="4838" y="12738"/>
                  <a:pt x="4885" y="12628"/>
                  <a:pt x="4932" y="12519"/>
                </a:cubicBezTo>
                <a:cubicBezTo>
                  <a:pt x="5042" y="12316"/>
                  <a:pt x="5104" y="12113"/>
                  <a:pt x="5182" y="11910"/>
                </a:cubicBezTo>
                <a:cubicBezTo>
                  <a:pt x="5198" y="11895"/>
                  <a:pt x="5198" y="11879"/>
                  <a:pt x="5214" y="11863"/>
                </a:cubicBezTo>
                <a:cubicBezTo>
                  <a:pt x="5276" y="11770"/>
                  <a:pt x="5323" y="11676"/>
                  <a:pt x="5370" y="11567"/>
                </a:cubicBezTo>
                <a:cubicBezTo>
                  <a:pt x="5417" y="11489"/>
                  <a:pt x="5480" y="11411"/>
                  <a:pt x="5496" y="11301"/>
                </a:cubicBezTo>
                <a:cubicBezTo>
                  <a:pt x="5511" y="11239"/>
                  <a:pt x="5558" y="11192"/>
                  <a:pt x="5589" y="11130"/>
                </a:cubicBezTo>
                <a:cubicBezTo>
                  <a:pt x="5621" y="11036"/>
                  <a:pt x="5668" y="10942"/>
                  <a:pt x="5715" y="10849"/>
                </a:cubicBezTo>
                <a:cubicBezTo>
                  <a:pt x="5730" y="10880"/>
                  <a:pt x="5746" y="10896"/>
                  <a:pt x="5762" y="10911"/>
                </a:cubicBezTo>
                <a:cubicBezTo>
                  <a:pt x="5793" y="10942"/>
                  <a:pt x="5824" y="10974"/>
                  <a:pt x="5856" y="10989"/>
                </a:cubicBezTo>
                <a:cubicBezTo>
                  <a:pt x="5887" y="11021"/>
                  <a:pt x="5918" y="11052"/>
                  <a:pt x="5950" y="11083"/>
                </a:cubicBezTo>
                <a:cubicBezTo>
                  <a:pt x="6075" y="11192"/>
                  <a:pt x="6216" y="11286"/>
                  <a:pt x="6357" y="11364"/>
                </a:cubicBezTo>
                <a:cubicBezTo>
                  <a:pt x="6482" y="11426"/>
                  <a:pt x="6623" y="11489"/>
                  <a:pt x="6764" y="11536"/>
                </a:cubicBezTo>
                <a:cubicBezTo>
                  <a:pt x="6889" y="11567"/>
                  <a:pt x="6998" y="11614"/>
                  <a:pt x="7124" y="11645"/>
                </a:cubicBezTo>
                <a:cubicBezTo>
                  <a:pt x="7186" y="11676"/>
                  <a:pt x="7249" y="11676"/>
                  <a:pt x="7312" y="11676"/>
                </a:cubicBezTo>
                <a:cubicBezTo>
                  <a:pt x="7359" y="11676"/>
                  <a:pt x="7421" y="11676"/>
                  <a:pt x="7484" y="11676"/>
                </a:cubicBezTo>
                <a:cubicBezTo>
                  <a:pt x="7562" y="11676"/>
                  <a:pt x="7640" y="11692"/>
                  <a:pt x="7719" y="11692"/>
                </a:cubicBezTo>
                <a:cubicBezTo>
                  <a:pt x="7828" y="11707"/>
                  <a:pt x="7922" y="11739"/>
                  <a:pt x="8032" y="11754"/>
                </a:cubicBezTo>
                <a:cubicBezTo>
                  <a:pt x="8110" y="11754"/>
                  <a:pt x="8173" y="11754"/>
                  <a:pt x="8235" y="11770"/>
                </a:cubicBezTo>
                <a:cubicBezTo>
                  <a:pt x="8392" y="11785"/>
                  <a:pt x="8548" y="11801"/>
                  <a:pt x="8689" y="11817"/>
                </a:cubicBezTo>
                <a:cubicBezTo>
                  <a:pt x="8705" y="11817"/>
                  <a:pt x="8736" y="11832"/>
                  <a:pt x="8736" y="11817"/>
                </a:cubicBezTo>
                <a:cubicBezTo>
                  <a:pt x="8768" y="11770"/>
                  <a:pt x="8815" y="11785"/>
                  <a:pt x="8861" y="11785"/>
                </a:cubicBezTo>
                <a:cubicBezTo>
                  <a:pt x="8877" y="11785"/>
                  <a:pt x="8908" y="11785"/>
                  <a:pt x="8940" y="11785"/>
                </a:cubicBezTo>
                <a:cubicBezTo>
                  <a:pt x="8955" y="11770"/>
                  <a:pt x="8987" y="11770"/>
                  <a:pt x="9018" y="11770"/>
                </a:cubicBezTo>
                <a:cubicBezTo>
                  <a:pt x="9143" y="11801"/>
                  <a:pt x="9269" y="11785"/>
                  <a:pt x="9394" y="11785"/>
                </a:cubicBezTo>
                <a:cubicBezTo>
                  <a:pt x="9535" y="11801"/>
                  <a:pt x="9676" y="11785"/>
                  <a:pt x="9816" y="11801"/>
                </a:cubicBezTo>
                <a:cubicBezTo>
                  <a:pt x="9895" y="11801"/>
                  <a:pt x="9957" y="11801"/>
                  <a:pt x="10020" y="11801"/>
                </a:cubicBezTo>
                <a:cubicBezTo>
                  <a:pt x="10098" y="11785"/>
                  <a:pt x="10177" y="11785"/>
                  <a:pt x="10255" y="11785"/>
                </a:cubicBezTo>
                <a:cubicBezTo>
                  <a:pt x="10302" y="11785"/>
                  <a:pt x="10364" y="11785"/>
                  <a:pt x="10411" y="11785"/>
                </a:cubicBezTo>
                <a:cubicBezTo>
                  <a:pt x="10584" y="11754"/>
                  <a:pt x="10756" y="11739"/>
                  <a:pt x="10928" y="11739"/>
                </a:cubicBezTo>
                <a:cubicBezTo>
                  <a:pt x="10944" y="11739"/>
                  <a:pt x="10959" y="11739"/>
                  <a:pt x="10991" y="11739"/>
                </a:cubicBezTo>
                <a:cubicBezTo>
                  <a:pt x="11069" y="11723"/>
                  <a:pt x="11147" y="11723"/>
                  <a:pt x="11225" y="11723"/>
                </a:cubicBezTo>
                <a:cubicBezTo>
                  <a:pt x="11460" y="11754"/>
                  <a:pt x="11695" y="11770"/>
                  <a:pt x="11914" y="11879"/>
                </a:cubicBezTo>
                <a:cubicBezTo>
                  <a:pt x="11977" y="11910"/>
                  <a:pt x="12024" y="11941"/>
                  <a:pt x="12087" y="11957"/>
                </a:cubicBezTo>
                <a:cubicBezTo>
                  <a:pt x="12227" y="12004"/>
                  <a:pt x="12353" y="12066"/>
                  <a:pt x="12462" y="12144"/>
                </a:cubicBezTo>
                <a:cubicBezTo>
                  <a:pt x="12478" y="12160"/>
                  <a:pt x="12494" y="12160"/>
                  <a:pt x="12509" y="12176"/>
                </a:cubicBezTo>
                <a:cubicBezTo>
                  <a:pt x="12681" y="12222"/>
                  <a:pt x="12807" y="12332"/>
                  <a:pt x="12979" y="12363"/>
                </a:cubicBezTo>
                <a:cubicBezTo>
                  <a:pt x="12995" y="12363"/>
                  <a:pt x="12995" y="12363"/>
                  <a:pt x="13010" y="12363"/>
                </a:cubicBezTo>
                <a:cubicBezTo>
                  <a:pt x="13104" y="12410"/>
                  <a:pt x="13198" y="12457"/>
                  <a:pt x="13292" y="12488"/>
                </a:cubicBezTo>
                <a:cubicBezTo>
                  <a:pt x="13402" y="12535"/>
                  <a:pt x="13511" y="12597"/>
                  <a:pt x="13605" y="12659"/>
                </a:cubicBezTo>
                <a:cubicBezTo>
                  <a:pt x="13683" y="12722"/>
                  <a:pt x="13762" y="12800"/>
                  <a:pt x="13840" y="12878"/>
                </a:cubicBezTo>
                <a:cubicBezTo>
                  <a:pt x="13871" y="12909"/>
                  <a:pt x="13887" y="12925"/>
                  <a:pt x="13871" y="12972"/>
                </a:cubicBezTo>
                <a:cubicBezTo>
                  <a:pt x="13871" y="13097"/>
                  <a:pt x="13824" y="13206"/>
                  <a:pt x="13762" y="13315"/>
                </a:cubicBezTo>
                <a:cubicBezTo>
                  <a:pt x="13715" y="13378"/>
                  <a:pt x="13668" y="13440"/>
                  <a:pt x="13621" y="13502"/>
                </a:cubicBezTo>
                <a:cubicBezTo>
                  <a:pt x="13542" y="13643"/>
                  <a:pt x="13433" y="13768"/>
                  <a:pt x="13323" y="13893"/>
                </a:cubicBezTo>
                <a:cubicBezTo>
                  <a:pt x="13151" y="14064"/>
                  <a:pt x="12963" y="14205"/>
                  <a:pt x="12760" y="14330"/>
                </a:cubicBezTo>
                <a:cubicBezTo>
                  <a:pt x="12462" y="14517"/>
                  <a:pt x="12149" y="14673"/>
                  <a:pt x="11836" y="14829"/>
                </a:cubicBezTo>
                <a:cubicBezTo>
                  <a:pt x="11789" y="14845"/>
                  <a:pt x="11726" y="14860"/>
                  <a:pt x="11679" y="14892"/>
                </a:cubicBezTo>
                <a:cubicBezTo>
                  <a:pt x="11679" y="14892"/>
                  <a:pt x="11648" y="14892"/>
                  <a:pt x="11664" y="14907"/>
                </a:cubicBezTo>
                <a:cubicBezTo>
                  <a:pt x="11695" y="14970"/>
                  <a:pt x="11617" y="14970"/>
                  <a:pt x="11586" y="14970"/>
                </a:cubicBezTo>
                <a:cubicBezTo>
                  <a:pt x="11319" y="15095"/>
                  <a:pt x="11053" y="15204"/>
                  <a:pt x="10771" y="15297"/>
                </a:cubicBezTo>
                <a:cubicBezTo>
                  <a:pt x="10724" y="15313"/>
                  <a:pt x="10662" y="15313"/>
                  <a:pt x="10631" y="15344"/>
                </a:cubicBezTo>
                <a:cubicBezTo>
                  <a:pt x="10584" y="15391"/>
                  <a:pt x="10537" y="15391"/>
                  <a:pt x="10490" y="15375"/>
                </a:cubicBezTo>
                <a:cubicBezTo>
                  <a:pt x="10521" y="15422"/>
                  <a:pt x="10521" y="15422"/>
                  <a:pt x="10490" y="15438"/>
                </a:cubicBezTo>
                <a:cubicBezTo>
                  <a:pt x="10474" y="15454"/>
                  <a:pt x="10458" y="15454"/>
                  <a:pt x="10458" y="15454"/>
                </a:cubicBezTo>
                <a:cubicBezTo>
                  <a:pt x="10411" y="15469"/>
                  <a:pt x="10380" y="15469"/>
                  <a:pt x="10349" y="15500"/>
                </a:cubicBezTo>
                <a:cubicBezTo>
                  <a:pt x="10349" y="15516"/>
                  <a:pt x="10317" y="15532"/>
                  <a:pt x="10302" y="15532"/>
                </a:cubicBezTo>
                <a:cubicBezTo>
                  <a:pt x="10114" y="15578"/>
                  <a:pt x="9926" y="15641"/>
                  <a:pt x="9723" y="15656"/>
                </a:cubicBezTo>
                <a:cubicBezTo>
                  <a:pt x="9660" y="15672"/>
                  <a:pt x="9597" y="15672"/>
                  <a:pt x="9535" y="15688"/>
                </a:cubicBezTo>
                <a:cubicBezTo>
                  <a:pt x="9441" y="15703"/>
                  <a:pt x="9347" y="15719"/>
                  <a:pt x="9253" y="15734"/>
                </a:cubicBezTo>
                <a:cubicBezTo>
                  <a:pt x="9112" y="15750"/>
                  <a:pt x="8971" y="15766"/>
                  <a:pt x="8815" y="15781"/>
                </a:cubicBezTo>
                <a:cubicBezTo>
                  <a:pt x="8595" y="15813"/>
                  <a:pt x="8361" y="15828"/>
                  <a:pt x="8126" y="15844"/>
                </a:cubicBezTo>
                <a:cubicBezTo>
                  <a:pt x="7828" y="15859"/>
                  <a:pt x="7531" y="15875"/>
                  <a:pt x="7233" y="15859"/>
                </a:cubicBezTo>
                <a:cubicBezTo>
                  <a:pt x="7014" y="15859"/>
                  <a:pt x="6795" y="15859"/>
                  <a:pt x="6576" y="15844"/>
                </a:cubicBezTo>
                <a:cubicBezTo>
                  <a:pt x="6325" y="15813"/>
                  <a:pt x="6247" y="15797"/>
                  <a:pt x="5997" y="15859"/>
                </a:cubicBezTo>
                <a:cubicBezTo>
                  <a:pt x="5965" y="15859"/>
                  <a:pt x="5950" y="15859"/>
                  <a:pt x="5918" y="15859"/>
                </a:cubicBezTo>
                <a:cubicBezTo>
                  <a:pt x="5903" y="15844"/>
                  <a:pt x="5871" y="15844"/>
                  <a:pt x="5856" y="15844"/>
                </a:cubicBezTo>
                <a:cubicBezTo>
                  <a:pt x="5715" y="15844"/>
                  <a:pt x="5574" y="15797"/>
                  <a:pt x="5433" y="15766"/>
                </a:cubicBezTo>
                <a:cubicBezTo>
                  <a:pt x="5339" y="15750"/>
                  <a:pt x="5261" y="15703"/>
                  <a:pt x="5167" y="15719"/>
                </a:cubicBezTo>
                <a:cubicBezTo>
                  <a:pt x="5167" y="15719"/>
                  <a:pt x="5151" y="15719"/>
                  <a:pt x="5135" y="15703"/>
                </a:cubicBezTo>
                <a:cubicBezTo>
                  <a:pt x="5089" y="15688"/>
                  <a:pt x="5042" y="15672"/>
                  <a:pt x="4995" y="15688"/>
                </a:cubicBezTo>
                <a:cubicBezTo>
                  <a:pt x="4963" y="15688"/>
                  <a:pt x="4932" y="15672"/>
                  <a:pt x="4916" y="15641"/>
                </a:cubicBezTo>
                <a:cubicBezTo>
                  <a:pt x="4916" y="15578"/>
                  <a:pt x="4885" y="15578"/>
                  <a:pt x="4838" y="15563"/>
                </a:cubicBezTo>
                <a:cubicBezTo>
                  <a:pt x="4791" y="15563"/>
                  <a:pt x="4760" y="15563"/>
                  <a:pt x="4728" y="15594"/>
                </a:cubicBezTo>
                <a:cubicBezTo>
                  <a:pt x="4713" y="15610"/>
                  <a:pt x="4681" y="15610"/>
                  <a:pt x="4650" y="15625"/>
                </a:cubicBezTo>
                <a:cubicBezTo>
                  <a:pt x="4603" y="15625"/>
                  <a:pt x="4572" y="15656"/>
                  <a:pt x="4525" y="15672"/>
                </a:cubicBezTo>
                <a:cubicBezTo>
                  <a:pt x="4400" y="15734"/>
                  <a:pt x="4400" y="15734"/>
                  <a:pt x="4400" y="15734"/>
                </a:cubicBezTo>
                <a:cubicBezTo>
                  <a:pt x="4384" y="15766"/>
                  <a:pt x="4368" y="15750"/>
                  <a:pt x="4353" y="15734"/>
                </a:cubicBezTo>
                <a:cubicBezTo>
                  <a:pt x="4321" y="15688"/>
                  <a:pt x="4290" y="15688"/>
                  <a:pt x="4243" y="15703"/>
                </a:cubicBezTo>
                <a:cubicBezTo>
                  <a:pt x="4165" y="15734"/>
                  <a:pt x="4118" y="15719"/>
                  <a:pt x="4071" y="15656"/>
                </a:cubicBezTo>
                <a:cubicBezTo>
                  <a:pt x="4055" y="15625"/>
                  <a:pt x="4055" y="15610"/>
                  <a:pt x="4024" y="15594"/>
                </a:cubicBezTo>
                <a:cubicBezTo>
                  <a:pt x="3993" y="15610"/>
                  <a:pt x="3993" y="15641"/>
                  <a:pt x="3977" y="15656"/>
                </a:cubicBezTo>
                <a:cubicBezTo>
                  <a:pt x="3961" y="15703"/>
                  <a:pt x="3946" y="15766"/>
                  <a:pt x="3914" y="15813"/>
                </a:cubicBezTo>
                <a:cubicBezTo>
                  <a:pt x="3899" y="15844"/>
                  <a:pt x="3883" y="15844"/>
                  <a:pt x="3852" y="15828"/>
                </a:cubicBezTo>
                <a:cubicBezTo>
                  <a:pt x="3836" y="15828"/>
                  <a:pt x="3836" y="15813"/>
                  <a:pt x="3820" y="15813"/>
                </a:cubicBezTo>
                <a:cubicBezTo>
                  <a:pt x="3773" y="15766"/>
                  <a:pt x="3758" y="15766"/>
                  <a:pt x="3711" y="15828"/>
                </a:cubicBezTo>
                <a:cubicBezTo>
                  <a:pt x="3711" y="15844"/>
                  <a:pt x="3711" y="15859"/>
                  <a:pt x="3680" y="15875"/>
                </a:cubicBezTo>
                <a:cubicBezTo>
                  <a:pt x="3648" y="15891"/>
                  <a:pt x="3633" y="15922"/>
                  <a:pt x="3617" y="15969"/>
                </a:cubicBezTo>
                <a:cubicBezTo>
                  <a:pt x="3601" y="16000"/>
                  <a:pt x="3601" y="16047"/>
                  <a:pt x="3570" y="16078"/>
                </a:cubicBezTo>
                <a:cubicBezTo>
                  <a:pt x="3507" y="16125"/>
                  <a:pt x="3476" y="16203"/>
                  <a:pt x="3460" y="16281"/>
                </a:cubicBezTo>
                <a:cubicBezTo>
                  <a:pt x="3429" y="16343"/>
                  <a:pt x="3413" y="16406"/>
                  <a:pt x="3366" y="16468"/>
                </a:cubicBezTo>
                <a:cubicBezTo>
                  <a:pt x="3351" y="16499"/>
                  <a:pt x="3335" y="16531"/>
                  <a:pt x="3319" y="16562"/>
                </a:cubicBezTo>
                <a:cubicBezTo>
                  <a:pt x="3319" y="16562"/>
                  <a:pt x="3319" y="16577"/>
                  <a:pt x="3335" y="16593"/>
                </a:cubicBezTo>
                <a:cubicBezTo>
                  <a:pt x="3382" y="16624"/>
                  <a:pt x="3398" y="16640"/>
                  <a:pt x="3366" y="16702"/>
                </a:cubicBezTo>
                <a:cubicBezTo>
                  <a:pt x="3335" y="16765"/>
                  <a:pt x="3304" y="16812"/>
                  <a:pt x="3272" y="16874"/>
                </a:cubicBezTo>
                <a:cubicBezTo>
                  <a:pt x="3257" y="16905"/>
                  <a:pt x="3226" y="16921"/>
                  <a:pt x="3226" y="16968"/>
                </a:cubicBezTo>
                <a:cubicBezTo>
                  <a:pt x="3304" y="16952"/>
                  <a:pt x="3319" y="17014"/>
                  <a:pt x="3319" y="17061"/>
                </a:cubicBezTo>
                <a:cubicBezTo>
                  <a:pt x="3319" y="17092"/>
                  <a:pt x="3319" y="17124"/>
                  <a:pt x="3366" y="17139"/>
                </a:cubicBezTo>
                <a:cubicBezTo>
                  <a:pt x="3398" y="17155"/>
                  <a:pt x="3413" y="17186"/>
                  <a:pt x="3460" y="17171"/>
                </a:cubicBezTo>
                <a:cubicBezTo>
                  <a:pt x="3476" y="17171"/>
                  <a:pt x="3507" y="17171"/>
                  <a:pt x="3507" y="17217"/>
                </a:cubicBezTo>
                <a:cubicBezTo>
                  <a:pt x="3492" y="17233"/>
                  <a:pt x="3507" y="17233"/>
                  <a:pt x="3507" y="17249"/>
                </a:cubicBezTo>
                <a:cubicBezTo>
                  <a:pt x="3539" y="17280"/>
                  <a:pt x="3523" y="17295"/>
                  <a:pt x="3492" y="17311"/>
                </a:cubicBezTo>
                <a:cubicBezTo>
                  <a:pt x="3476" y="17311"/>
                  <a:pt x="3460" y="17311"/>
                  <a:pt x="3445" y="17311"/>
                </a:cubicBezTo>
                <a:cubicBezTo>
                  <a:pt x="3429" y="17311"/>
                  <a:pt x="3413" y="17311"/>
                  <a:pt x="3413" y="17327"/>
                </a:cubicBezTo>
                <a:cubicBezTo>
                  <a:pt x="3413" y="17342"/>
                  <a:pt x="3429" y="17342"/>
                  <a:pt x="3429" y="17342"/>
                </a:cubicBezTo>
                <a:cubicBezTo>
                  <a:pt x="3476" y="17358"/>
                  <a:pt x="3507" y="17358"/>
                  <a:pt x="3554" y="17358"/>
                </a:cubicBezTo>
                <a:cubicBezTo>
                  <a:pt x="3539" y="17389"/>
                  <a:pt x="3539" y="17420"/>
                  <a:pt x="3507" y="17451"/>
                </a:cubicBezTo>
                <a:cubicBezTo>
                  <a:pt x="3476" y="17436"/>
                  <a:pt x="3507" y="17405"/>
                  <a:pt x="3476" y="17389"/>
                </a:cubicBezTo>
                <a:cubicBezTo>
                  <a:pt x="3445" y="17420"/>
                  <a:pt x="3413" y="17420"/>
                  <a:pt x="3382" y="17373"/>
                </a:cubicBezTo>
                <a:cubicBezTo>
                  <a:pt x="3382" y="17373"/>
                  <a:pt x="3366" y="17373"/>
                  <a:pt x="3366" y="17373"/>
                </a:cubicBezTo>
                <a:cubicBezTo>
                  <a:pt x="3351" y="17373"/>
                  <a:pt x="3335" y="17358"/>
                  <a:pt x="3319" y="17389"/>
                </a:cubicBezTo>
                <a:cubicBezTo>
                  <a:pt x="3304" y="17405"/>
                  <a:pt x="3335" y="17420"/>
                  <a:pt x="3351" y="17420"/>
                </a:cubicBezTo>
                <a:cubicBezTo>
                  <a:pt x="3429" y="17420"/>
                  <a:pt x="3460" y="17483"/>
                  <a:pt x="3507" y="17514"/>
                </a:cubicBezTo>
                <a:cubicBezTo>
                  <a:pt x="3523" y="17514"/>
                  <a:pt x="3523" y="17530"/>
                  <a:pt x="3523" y="17530"/>
                </a:cubicBezTo>
                <a:cubicBezTo>
                  <a:pt x="3523" y="17545"/>
                  <a:pt x="3507" y="17576"/>
                  <a:pt x="3507" y="17576"/>
                </a:cubicBezTo>
                <a:cubicBezTo>
                  <a:pt x="3554" y="17592"/>
                  <a:pt x="3601" y="17608"/>
                  <a:pt x="3648" y="17623"/>
                </a:cubicBezTo>
                <a:cubicBezTo>
                  <a:pt x="3601" y="17670"/>
                  <a:pt x="3601" y="17732"/>
                  <a:pt x="3586" y="17779"/>
                </a:cubicBezTo>
                <a:cubicBezTo>
                  <a:pt x="3586" y="17795"/>
                  <a:pt x="3601" y="17810"/>
                  <a:pt x="3601" y="17810"/>
                </a:cubicBezTo>
                <a:cubicBezTo>
                  <a:pt x="3617" y="17810"/>
                  <a:pt x="3633" y="17810"/>
                  <a:pt x="3648" y="17810"/>
                </a:cubicBezTo>
                <a:cubicBezTo>
                  <a:pt x="3648" y="17779"/>
                  <a:pt x="3680" y="17764"/>
                  <a:pt x="3664" y="17748"/>
                </a:cubicBezTo>
                <a:cubicBezTo>
                  <a:pt x="3664" y="17717"/>
                  <a:pt x="3633" y="17717"/>
                  <a:pt x="3648" y="17686"/>
                </a:cubicBezTo>
                <a:cubicBezTo>
                  <a:pt x="3664" y="17686"/>
                  <a:pt x="3664" y="17686"/>
                  <a:pt x="3680" y="17686"/>
                </a:cubicBezTo>
                <a:cubicBezTo>
                  <a:pt x="3742" y="17701"/>
                  <a:pt x="3742" y="17701"/>
                  <a:pt x="3742" y="17764"/>
                </a:cubicBezTo>
                <a:cubicBezTo>
                  <a:pt x="3742" y="17795"/>
                  <a:pt x="3742" y="17826"/>
                  <a:pt x="3789" y="17857"/>
                </a:cubicBezTo>
                <a:cubicBezTo>
                  <a:pt x="3836" y="17889"/>
                  <a:pt x="3883" y="17889"/>
                  <a:pt x="3946" y="17873"/>
                </a:cubicBezTo>
                <a:cubicBezTo>
                  <a:pt x="3961" y="17873"/>
                  <a:pt x="3961" y="17857"/>
                  <a:pt x="3977" y="17873"/>
                </a:cubicBezTo>
                <a:cubicBezTo>
                  <a:pt x="4008" y="17920"/>
                  <a:pt x="4040" y="17935"/>
                  <a:pt x="4087" y="17935"/>
                </a:cubicBezTo>
                <a:cubicBezTo>
                  <a:pt x="4102" y="17935"/>
                  <a:pt x="4118" y="17935"/>
                  <a:pt x="4118" y="17951"/>
                </a:cubicBezTo>
                <a:cubicBezTo>
                  <a:pt x="4149" y="17982"/>
                  <a:pt x="4165" y="17998"/>
                  <a:pt x="4180" y="18029"/>
                </a:cubicBezTo>
                <a:cubicBezTo>
                  <a:pt x="4165" y="18045"/>
                  <a:pt x="4149" y="18045"/>
                  <a:pt x="4134" y="18045"/>
                </a:cubicBezTo>
                <a:cubicBezTo>
                  <a:pt x="4102" y="18029"/>
                  <a:pt x="4087" y="18060"/>
                  <a:pt x="4087" y="18076"/>
                </a:cubicBezTo>
                <a:cubicBezTo>
                  <a:pt x="4102" y="18107"/>
                  <a:pt x="4118" y="18138"/>
                  <a:pt x="4149" y="18154"/>
                </a:cubicBezTo>
                <a:cubicBezTo>
                  <a:pt x="4212" y="18170"/>
                  <a:pt x="4274" y="18201"/>
                  <a:pt x="4337" y="18216"/>
                </a:cubicBezTo>
                <a:cubicBezTo>
                  <a:pt x="4400" y="18216"/>
                  <a:pt x="4431" y="18248"/>
                  <a:pt x="4462" y="18279"/>
                </a:cubicBezTo>
                <a:cubicBezTo>
                  <a:pt x="4509" y="18326"/>
                  <a:pt x="4509" y="18357"/>
                  <a:pt x="4462" y="18404"/>
                </a:cubicBezTo>
                <a:cubicBezTo>
                  <a:pt x="4462" y="18419"/>
                  <a:pt x="4447" y="18419"/>
                  <a:pt x="4431" y="18435"/>
                </a:cubicBezTo>
                <a:cubicBezTo>
                  <a:pt x="4415" y="18450"/>
                  <a:pt x="4415" y="18450"/>
                  <a:pt x="4431" y="18482"/>
                </a:cubicBezTo>
                <a:cubicBezTo>
                  <a:pt x="4462" y="18497"/>
                  <a:pt x="4494" y="18513"/>
                  <a:pt x="4525" y="18513"/>
                </a:cubicBezTo>
                <a:cubicBezTo>
                  <a:pt x="4572" y="18513"/>
                  <a:pt x="4619" y="18544"/>
                  <a:pt x="4619" y="18591"/>
                </a:cubicBezTo>
                <a:cubicBezTo>
                  <a:pt x="4619" y="18653"/>
                  <a:pt x="4666" y="18685"/>
                  <a:pt x="4713" y="18700"/>
                </a:cubicBezTo>
                <a:cubicBezTo>
                  <a:pt x="4697" y="18731"/>
                  <a:pt x="4666" y="18763"/>
                  <a:pt x="4713" y="18809"/>
                </a:cubicBezTo>
                <a:cubicBezTo>
                  <a:pt x="4650" y="18794"/>
                  <a:pt x="4588" y="18794"/>
                  <a:pt x="4541" y="18825"/>
                </a:cubicBezTo>
                <a:cubicBezTo>
                  <a:pt x="4572" y="18841"/>
                  <a:pt x="4603" y="18856"/>
                  <a:pt x="4619" y="18856"/>
                </a:cubicBezTo>
                <a:cubicBezTo>
                  <a:pt x="4634" y="18856"/>
                  <a:pt x="4666" y="18872"/>
                  <a:pt x="4650" y="18888"/>
                </a:cubicBezTo>
                <a:cubicBezTo>
                  <a:pt x="4650" y="18903"/>
                  <a:pt x="4634" y="18919"/>
                  <a:pt x="4634" y="18919"/>
                </a:cubicBezTo>
                <a:cubicBezTo>
                  <a:pt x="4572" y="18903"/>
                  <a:pt x="4556" y="18997"/>
                  <a:pt x="4509" y="18997"/>
                </a:cubicBezTo>
                <a:cubicBezTo>
                  <a:pt x="4541" y="19012"/>
                  <a:pt x="4588" y="19028"/>
                  <a:pt x="4634" y="19044"/>
                </a:cubicBezTo>
                <a:cubicBezTo>
                  <a:pt x="4681" y="19059"/>
                  <a:pt x="4728" y="19044"/>
                  <a:pt x="4775" y="19075"/>
                </a:cubicBezTo>
                <a:cubicBezTo>
                  <a:pt x="4822" y="19106"/>
                  <a:pt x="4854" y="19168"/>
                  <a:pt x="4916" y="19168"/>
                </a:cubicBezTo>
                <a:cubicBezTo>
                  <a:pt x="4916" y="19168"/>
                  <a:pt x="4932" y="19184"/>
                  <a:pt x="4916" y="19184"/>
                </a:cubicBezTo>
                <a:cubicBezTo>
                  <a:pt x="4916" y="19200"/>
                  <a:pt x="4916" y="19200"/>
                  <a:pt x="4901" y="19200"/>
                </a:cubicBezTo>
                <a:cubicBezTo>
                  <a:pt x="4854" y="19184"/>
                  <a:pt x="4807" y="19200"/>
                  <a:pt x="4760" y="19184"/>
                </a:cubicBezTo>
                <a:cubicBezTo>
                  <a:pt x="4760" y="19184"/>
                  <a:pt x="4744" y="19168"/>
                  <a:pt x="4744" y="19184"/>
                </a:cubicBezTo>
                <a:cubicBezTo>
                  <a:pt x="4728" y="19200"/>
                  <a:pt x="4728" y="19215"/>
                  <a:pt x="4744" y="19215"/>
                </a:cubicBezTo>
                <a:cubicBezTo>
                  <a:pt x="4775" y="19231"/>
                  <a:pt x="4791" y="19262"/>
                  <a:pt x="4822" y="19231"/>
                </a:cubicBezTo>
                <a:cubicBezTo>
                  <a:pt x="4838" y="19231"/>
                  <a:pt x="4854" y="19231"/>
                  <a:pt x="4854" y="19231"/>
                </a:cubicBezTo>
                <a:cubicBezTo>
                  <a:pt x="4932" y="19262"/>
                  <a:pt x="5010" y="19278"/>
                  <a:pt x="5089" y="19293"/>
                </a:cubicBezTo>
                <a:cubicBezTo>
                  <a:pt x="5214" y="19340"/>
                  <a:pt x="5339" y="19356"/>
                  <a:pt x="5464" y="19387"/>
                </a:cubicBezTo>
                <a:cubicBezTo>
                  <a:pt x="5496" y="19403"/>
                  <a:pt x="5527" y="19418"/>
                  <a:pt x="5543" y="19449"/>
                </a:cubicBezTo>
                <a:cubicBezTo>
                  <a:pt x="5496" y="19481"/>
                  <a:pt x="5433" y="19449"/>
                  <a:pt x="5370" y="19449"/>
                </a:cubicBezTo>
                <a:cubicBezTo>
                  <a:pt x="5417" y="19496"/>
                  <a:pt x="5449" y="19512"/>
                  <a:pt x="5496" y="19512"/>
                </a:cubicBezTo>
                <a:cubicBezTo>
                  <a:pt x="5605" y="19512"/>
                  <a:pt x="5699" y="19559"/>
                  <a:pt x="5809" y="19559"/>
                </a:cubicBezTo>
                <a:cubicBezTo>
                  <a:pt x="5840" y="19559"/>
                  <a:pt x="5856" y="19559"/>
                  <a:pt x="5871" y="19590"/>
                </a:cubicBezTo>
                <a:cubicBezTo>
                  <a:pt x="5887" y="19606"/>
                  <a:pt x="5903" y="19606"/>
                  <a:pt x="5918" y="19590"/>
                </a:cubicBezTo>
                <a:cubicBezTo>
                  <a:pt x="5965" y="19543"/>
                  <a:pt x="6012" y="19559"/>
                  <a:pt x="6028" y="19606"/>
                </a:cubicBezTo>
                <a:cubicBezTo>
                  <a:pt x="6059" y="19652"/>
                  <a:pt x="6122" y="19668"/>
                  <a:pt x="6153" y="19621"/>
                </a:cubicBezTo>
                <a:cubicBezTo>
                  <a:pt x="6169" y="19606"/>
                  <a:pt x="6184" y="19606"/>
                  <a:pt x="6200" y="19621"/>
                </a:cubicBezTo>
                <a:cubicBezTo>
                  <a:pt x="6231" y="19637"/>
                  <a:pt x="6263" y="19637"/>
                  <a:pt x="6310" y="19621"/>
                </a:cubicBezTo>
                <a:cubicBezTo>
                  <a:pt x="6341" y="19606"/>
                  <a:pt x="6388" y="19574"/>
                  <a:pt x="6419" y="19606"/>
                </a:cubicBezTo>
                <a:cubicBezTo>
                  <a:pt x="6451" y="19637"/>
                  <a:pt x="6482" y="19637"/>
                  <a:pt x="6529" y="19621"/>
                </a:cubicBezTo>
                <a:cubicBezTo>
                  <a:pt x="6560" y="19621"/>
                  <a:pt x="6591" y="19637"/>
                  <a:pt x="6607" y="19668"/>
                </a:cubicBezTo>
                <a:cubicBezTo>
                  <a:pt x="6623" y="19684"/>
                  <a:pt x="6638" y="19699"/>
                  <a:pt x="6670" y="19699"/>
                </a:cubicBezTo>
                <a:cubicBezTo>
                  <a:pt x="6701" y="19684"/>
                  <a:pt x="6701" y="19746"/>
                  <a:pt x="6732" y="19746"/>
                </a:cubicBezTo>
                <a:cubicBezTo>
                  <a:pt x="6764" y="19762"/>
                  <a:pt x="6795" y="19730"/>
                  <a:pt x="6826" y="19762"/>
                </a:cubicBezTo>
                <a:cubicBezTo>
                  <a:pt x="6842" y="19762"/>
                  <a:pt x="6842" y="19777"/>
                  <a:pt x="6858" y="19777"/>
                </a:cubicBezTo>
                <a:cubicBezTo>
                  <a:pt x="6889" y="19793"/>
                  <a:pt x="6920" y="19808"/>
                  <a:pt x="6967" y="19808"/>
                </a:cubicBezTo>
                <a:cubicBezTo>
                  <a:pt x="6967" y="19762"/>
                  <a:pt x="6936" y="19762"/>
                  <a:pt x="6905" y="19746"/>
                </a:cubicBezTo>
                <a:cubicBezTo>
                  <a:pt x="6889" y="19730"/>
                  <a:pt x="6858" y="19746"/>
                  <a:pt x="6858" y="19699"/>
                </a:cubicBezTo>
                <a:cubicBezTo>
                  <a:pt x="6905" y="19699"/>
                  <a:pt x="6936" y="19730"/>
                  <a:pt x="6998" y="19715"/>
                </a:cubicBezTo>
                <a:cubicBezTo>
                  <a:pt x="6920" y="19684"/>
                  <a:pt x="6842" y="19668"/>
                  <a:pt x="6764" y="19652"/>
                </a:cubicBezTo>
                <a:cubicBezTo>
                  <a:pt x="6873" y="19621"/>
                  <a:pt x="6983" y="19652"/>
                  <a:pt x="7092" y="19637"/>
                </a:cubicBezTo>
                <a:cubicBezTo>
                  <a:pt x="6983" y="19590"/>
                  <a:pt x="6858" y="19574"/>
                  <a:pt x="6732" y="19559"/>
                </a:cubicBezTo>
                <a:cubicBezTo>
                  <a:pt x="6732" y="19528"/>
                  <a:pt x="6764" y="19543"/>
                  <a:pt x="6779" y="19528"/>
                </a:cubicBezTo>
                <a:cubicBezTo>
                  <a:pt x="6732" y="19496"/>
                  <a:pt x="6701" y="19481"/>
                  <a:pt x="6638" y="19465"/>
                </a:cubicBezTo>
                <a:cubicBezTo>
                  <a:pt x="6701" y="19449"/>
                  <a:pt x="6732" y="19481"/>
                  <a:pt x="6764" y="19449"/>
                </a:cubicBezTo>
                <a:cubicBezTo>
                  <a:pt x="6764" y="19434"/>
                  <a:pt x="6764" y="19418"/>
                  <a:pt x="6748" y="19403"/>
                </a:cubicBezTo>
                <a:cubicBezTo>
                  <a:pt x="6748" y="19387"/>
                  <a:pt x="6748" y="19387"/>
                  <a:pt x="6764" y="19371"/>
                </a:cubicBezTo>
                <a:cubicBezTo>
                  <a:pt x="6779" y="19371"/>
                  <a:pt x="6779" y="19371"/>
                  <a:pt x="6795" y="19371"/>
                </a:cubicBezTo>
                <a:cubicBezTo>
                  <a:pt x="6873" y="19449"/>
                  <a:pt x="6967" y="19449"/>
                  <a:pt x="7045" y="19496"/>
                </a:cubicBezTo>
                <a:cubicBezTo>
                  <a:pt x="7077" y="19512"/>
                  <a:pt x="7124" y="19512"/>
                  <a:pt x="7108" y="19559"/>
                </a:cubicBezTo>
                <a:cubicBezTo>
                  <a:pt x="7108" y="19574"/>
                  <a:pt x="7124" y="19590"/>
                  <a:pt x="7139" y="19590"/>
                </a:cubicBezTo>
                <a:cubicBezTo>
                  <a:pt x="7155" y="19606"/>
                  <a:pt x="7171" y="19621"/>
                  <a:pt x="7171" y="19652"/>
                </a:cubicBezTo>
                <a:cubicBezTo>
                  <a:pt x="7171" y="19668"/>
                  <a:pt x="7186" y="19684"/>
                  <a:pt x="7202" y="19668"/>
                </a:cubicBezTo>
                <a:cubicBezTo>
                  <a:pt x="7218" y="19668"/>
                  <a:pt x="7202" y="19652"/>
                  <a:pt x="7202" y="19652"/>
                </a:cubicBezTo>
                <a:cubicBezTo>
                  <a:pt x="7186" y="19621"/>
                  <a:pt x="7186" y="19621"/>
                  <a:pt x="7218" y="19621"/>
                </a:cubicBezTo>
                <a:cubicBezTo>
                  <a:pt x="7233" y="19637"/>
                  <a:pt x="7249" y="19637"/>
                  <a:pt x="7249" y="19621"/>
                </a:cubicBezTo>
                <a:cubicBezTo>
                  <a:pt x="7265" y="19590"/>
                  <a:pt x="7218" y="19590"/>
                  <a:pt x="7202" y="19543"/>
                </a:cubicBezTo>
                <a:cubicBezTo>
                  <a:pt x="7233" y="19559"/>
                  <a:pt x="7249" y="19574"/>
                  <a:pt x="7265" y="19543"/>
                </a:cubicBezTo>
                <a:cubicBezTo>
                  <a:pt x="7265" y="19543"/>
                  <a:pt x="7280" y="19528"/>
                  <a:pt x="7296" y="19528"/>
                </a:cubicBezTo>
                <a:cubicBezTo>
                  <a:pt x="7343" y="19559"/>
                  <a:pt x="7374" y="19574"/>
                  <a:pt x="7437" y="19559"/>
                </a:cubicBezTo>
                <a:cubicBezTo>
                  <a:pt x="7437" y="19543"/>
                  <a:pt x="7452" y="19559"/>
                  <a:pt x="7452" y="19559"/>
                </a:cubicBezTo>
                <a:cubicBezTo>
                  <a:pt x="7499" y="19574"/>
                  <a:pt x="7531" y="19621"/>
                  <a:pt x="7578" y="19621"/>
                </a:cubicBezTo>
                <a:cubicBezTo>
                  <a:pt x="7640" y="19621"/>
                  <a:pt x="7719" y="19637"/>
                  <a:pt x="7781" y="19621"/>
                </a:cubicBezTo>
                <a:cubicBezTo>
                  <a:pt x="7828" y="19606"/>
                  <a:pt x="7860" y="19637"/>
                  <a:pt x="7891" y="19652"/>
                </a:cubicBezTo>
                <a:cubicBezTo>
                  <a:pt x="7891" y="19652"/>
                  <a:pt x="7891" y="19668"/>
                  <a:pt x="7891" y="19668"/>
                </a:cubicBezTo>
                <a:cubicBezTo>
                  <a:pt x="7891" y="19668"/>
                  <a:pt x="7875" y="19684"/>
                  <a:pt x="7875" y="19684"/>
                </a:cubicBezTo>
                <a:cubicBezTo>
                  <a:pt x="7860" y="19684"/>
                  <a:pt x="7828" y="19684"/>
                  <a:pt x="7813" y="19684"/>
                </a:cubicBezTo>
                <a:cubicBezTo>
                  <a:pt x="7766" y="19668"/>
                  <a:pt x="7734" y="19652"/>
                  <a:pt x="7687" y="19668"/>
                </a:cubicBezTo>
                <a:cubicBezTo>
                  <a:pt x="7750" y="19730"/>
                  <a:pt x="7750" y="19730"/>
                  <a:pt x="7828" y="19715"/>
                </a:cubicBezTo>
                <a:cubicBezTo>
                  <a:pt x="7844" y="19715"/>
                  <a:pt x="7860" y="19715"/>
                  <a:pt x="7875" y="19715"/>
                </a:cubicBezTo>
                <a:cubicBezTo>
                  <a:pt x="7891" y="19699"/>
                  <a:pt x="7922" y="19699"/>
                  <a:pt x="7922" y="19730"/>
                </a:cubicBezTo>
                <a:cubicBezTo>
                  <a:pt x="7922" y="19762"/>
                  <a:pt x="7953" y="19762"/>
                  <a:pt x="7969" y="19762"/>
                </a:cubicBezTo>
                <a:cubicBezTo>
                  <a:pt x="8000" y="19762"/>
                  <a:pt x="8000" y="19730"/>
                  <a:pt x="8000" y="19730"/>
                </a:cubicBezTo>
                <a:cubicBezTo>
                  <a:pt x="8032" y="19684"/>
                  <a:pt x="7985" y="19684"/>
                  <a:pt x="7985" y="19652"/>
                </a:cubicBezTo>
                <a:cubicBezTo>
                  <a:pt x="8016" y="19652"/>
                  <a:pt x="8032" y="19637"/>
                  <a:pt x="8063" y="19637"/>
                </a:cubicBezTo>
                <a:cubicBezTo>
                  <a:pt x="8079" y="19637"/>
                  <a:pt x="8110" y="19637"/>
                  <a:pt x="8110" y="19652"/>
                </a:cubicBezTo>
                <a:cubicBezTo>
                  <a:pt x="8110" y="19684"/>
                  <a:pt x="8126" y="19684"/>
                  <a:pt x="8141" y="19715"/>
                </a:cubicBezTo>
                <a:cubicBezTo>
                  <a:pt x="8188" y="19762"/>
                  <a:pt x="8188" y="19777"/>
                  <a:pt x="8235" y="19746"/>
                </a:cubicBezTo>
                <a:cubicBezTo>
                  <a:pt x="8282" y="19730"/>
                  <a:pt x="8329" y="19730"/>
                  <a:pt x="8376" y="19730"/>
                </a:cubicBezTo>
                <a:cubicBezTo>
                  <a:pt x="8423" y="19746"/>
                  <a:pt x="8470" y="19762"/>
                  <a:pt x="8517" y="19762"/>
                </a:cubicBezTo>
                <a:cubicBezTo>
                  <a:pt x="8721" y="19746"/>
                  <a:pt x="8924" y="19730"/>
                  <a:pt x="9128" y="19730"/>
                </a:cubicBezTo>
                <a:cubicBezTo>
                  <a:pt x="9159" y="19730"/>
                  <a:pt x="9190" y="19730"/>
                  <a:pt x="9237" y="19730"/>
                </a:cubicBezTo>
                <a:cubicBezTo>
                  <a:pt x="9331" y="19699"/>
                  <a:pt x="9441" y="19715"/>
                  <a:pt x="9550" y="19715"/>
                </a:cubicBezTo>
                <a:cubicBezTo>
                  <a:pt x="9691" y="19715"/>
                  <a:pt x="9816" y="19684"/>
                  <a:pt x="9957" y="19668"/>
                </a:cubicBezTo>
                <a:cubicBezTo>
                  <a:pt x="10130" y="19652"/>
                  <a:pt x="10317" y="19621"/>
                  <a:pt x="10505" y="19590"/>
                </a:cubicBezTo>
                <a:cubicBezTo>
                  <a:pt x="10615" y="19574"/>
                  <a:pt x="10724" y="19574"/>
                  <a:pt x="10834" y="19543"/>
                </a:cubicBezTo>
                <a:cubicBezTo>
                  <a:pt x="10991" y="19512"/>
                  <a:pt x="11132" y="19481"/>
                  <a:pt x="11288" y="19449"/>
                </a:cubicBezTo>
                <a:cubicBezTo>
                  <a:pt x="11445" y="19434"/>
                  <a:pt x="11586" y="19387"/>
                  <a:pt x="11726" y="19340"/>
                </a:cubicBezTo>
                <a:cubicBezTo>
                  <a:pt x="11836" y="19293"/>
                  <a:pt x="11930" y="19278"/>
                  <a:pt x="12040" y="19231"/>
                </a:cubicBezTo>
                <a:cubicBezTo>
                  <a:pt x="12165" y="19184"/>
                  <a:pt x="12306" y="19137"/>
                  <a:pt x="12447" y="19090"/>
                </a:cubicBezTo>
                <a:cubicBezTo>
                  <a:pt x="12619" y="19012"/>
                  <a:pt x="12791" y="18966"/>
                  <a:pt x="12948" y="18872"/>
                </a:cubicBezTo>
                <a:cubicBezTo>
                  <a:pt x="13151" y="18778"/>
                  <a:pt x="13339" y="18685"/>
                  <a:pt x="13527" y="18575"/>
                </a:cubicBezTo>
                <a:cubicBezTo>
                  <a:pt x="13746" y="18466"/>
                  <a:pt x="13950" y="18326"/>
                  <a:pt x="14137" y="18170"/>
                </a:cubicBezTo>
                <a:cubicBezTo>
                  <a:pt x="14278" y="18076"/>
                  <a:pt x="14404" y="17951"/>
                  <a:pt x="14529" y="17842"/>
                </a:cubicBezTo>
                <a:cubicBezTo>
                  <a:pt x="14607" y="17764"/>
                  <a:pt x="14685" y="17701"/>
                  <a:pt x="14764" y="17623"/>
                </a:cubicBezTo>
                <a:cubicBezTo>
                  <a:pt x="14858" y="17514"/>
                  <a:pt x="14951" y="17389"/>
                  <a:pt x="15045" y="17280"/>
                </a:cubicBezTo>
                <a:cubicBezTo>
                  <a:pt x="15108" y="17202"/>
                  <a:pt x="15155" y="17139"/>
                  <a:pt x="15218" y="17061"/>
                </a:cubicBezTo>
                <a:cubicBezTo>
                  <a:pt x="15312" y="16936"/>
                  <a:pt x="15405" y="16780"/>
                  <a:pt x="15499" y="16640"/>
                </a:cubicBezTo>
                <a:cubicBezTo>
                  <a:pt x="15578" y="16484"/>
                  <a:pt x="15656" y="16328"/>
                  <a:pt x="15750" y="16187"/>
                </a:cubicBezTo>
                <a:cubicBezTo>
                  <a:pt x="15797" y="16109"/>
                  <a:pt x="15828" y="16031"/>
                  <a:pt x="15859" y="15953"/>
                </a:cubicBezTo>
                <a:cubicBezTo>
                  <a:pt x="15922" y="15750"/>
                  <a:pt x="15969" y="15532"/>
                  <a:pt x="15985" y="15329"/>
                </a:cubicBezTo>
                <a:cubicBezTo>
                  <a:pt x="16032" y="14985"/>
                  <a:pt x="16016" y="14642"/>
                  <a:pt x="15969" y="14298"/>
                </a:cubicBezTo>
                <a:cubicBezTo>
                  <a:pt x="15922" y="14049"/>
                  <a:pt x="15828" y="13815"/>
                  <a:pt x="15750" y="13596"/>
                </a:cubicBezTo>
                <a:cubicBezTo>
                  <a:pt x="15672" y="13409"/>
                  <a:pt x="15562" y="13237"/>
                  <a:pt x="15484" y="13065"/>
                </a:cubicBezTo>
                <a:cubicBezTo>
                  <a:pt x="15280" y="12706"/>
                  <a:pt x="15030" y="12394"/>
                  <a:pt x="14717" y="12129"/>
                </a:cubicBezTo>
                <a:cubicBezTo>
                  <a:pt x="14450" y="11910"/>
                  <a:pt x="14169" y="11723"/>
                  <a:pt x="13871" y="11582"/>
                </a:cubicBezTo>
                <a:cubicBezTo>
                  <a:pt x="13730" y="11504"/>
                  <a:pt x="13574" y="11426"/>
                  <a:pt x="13417" y="11380"/>
                </a:cubicBezTo>
                <a:cubicBezTo>
                  <a:pt x="13073" y="11270"/>
                  <a:pt x="12697" y="11223"/>
                  <a:pt x="12353" y="11161"/>
                </a:cubicBezTo>
                <a:cubicBezTo>
                  <a:pt x="12118" y="11114"/>
                  <a:pt x="11867" y="11083"/>
                  <a:pt x="11633" y="11067"/>
                </a:cubicBezTo>
                <a:cubicBezTo>
                  <a:pt x="11429" y="11052"/>
                  <a:pt x="11241" y="11036"/>
                  <a:pt x="11038" y="11052"/>
                </a:cubicBezTo>
                <a:cubicBezTo>
                  <a:pt x="10740" y="11067"/>
                  <a:pt x="10427" y="11083"/>
                  <a:pt x="10130" y="11099"/>
                </a:cubicBezTo>
                <a:cubicBezTo>
                  <a:pt x="9707" y="11099"/>
                  <a:pt x="9284" y="11083"/>
                  <a:pt x="8877" y="11052"/>
                </a:cubicBezTo>
                <a:cubicBezTo>
                  <a:pt x="8627" y="11021"/>
                  <a:pt x="8376" y="10974"/>
                  <a:pt x="8141" y="10927"/>
                </a:cubicBezTo>
                <a:cubicBezTo>
                  <a:pt x="7891" y="10864"/>
                  <a:pt x="7703" y="10708"/>
                  <a:pt x="7593" y="10490"/>
                </a:cubicBezTo>
                <a:cubicBezTo>
                  <a:pt x="7546" y="10412"/>
                  <a:pt x="7515" y="10334"/>
                  <a:pt x="7531" y="10240"/>
                </a:cubicBezTo>
                <a:cubicBezTo>
                  <a:pt x="7546" y="10053"/>
                  <a:pt x="7593" y="9865"/>
                  <a:pt x="7656" y="9694"/>
                </a:cubicBezTo>
                <a:cubicBezTo>
                  <a:pt x="7687" y="9584"/>
                  <a:pt x="7719" y="9475"/>
                  <a:pt x="7813" y="9413"/>
                </a:cubicBezTo>
                <a:cubicBezTo>
                  <a:pt x="7860" y="9288"/>
                  <a:pt x="7938" y="9194"/>
                  <a:pt x="8016" y="9101"/>
                </a:cubicBezTo>
                <a:cubicBezTo>
                  <a:pt x="8094" y="8991"/>
                  <a:pt x="8173" y="8882"/>
                  <a:pt x="8267" y="8788"/>
                </a:cubicBezTo>
                <a:cubicBezTo>
                  <a:pt x="8407" y="8664"/>
                  <a:pt x="8533" y="8523"/>
                  <a:pt x="8689" y="8414"/>
                </a:cubicBezTo>
                <a:cubicBezTo>
                  <a:pt x="8768" y="8351"/>
                  <a:pt x="8846" y="8273"/>
                  <a:pt x="8940" y="8211"/>
                </a:cubicBezTo>
                <a:cubicBezTo>
                  <a:pt x="9018" y="8164"/>
                  <a:pt x="9128" y="8148"/>
                  <a:pt x="9190" y="8070"/>
                </a:cubicBezTo>
                <a:cubicBezTo>
                  <a:pt x="9206" y="8070"/>
                  <a:pt x="9206" y="8070"/>
                  <a:pt x="9222" y="8070"/>
                </a:cubicBezTo>
                <a:cubicBezTo>
                  <a:pt x="9253" y="8070"/>
                  <a:pt x="9269" y="8070"/>
                  <a:pt x="9269" y="8039"/>
                </a:cubicBezTo>
                <a:cubicBezTo>
                  <a:pt x="9300" y="8008"/>
                  <a:pt x="9347" y="7992"/>
                  <a:pt x="9378" y="7977"/>
                </a:cubicBezTo>
                <a:cubicBezTo>
                  <a:pt x="9409" y="7977"/>
                  <a:pt x="9441" y="7961"/>
                  <a:pt x="9472" y="7946"/>
                </a:cubicBezTo>
                <a:cubicBezTo>
                  <a:pt x="9582" y="7899"/>
                  <a:pt x="9676" y="7836"/>
                  <a:pt x="9770" y="7821"/>
                </a:cubicBezTo>
                <a:cubicBezTo>
                  <a:pt x="9926" y="7774"/>
                  <a:pt x="10067" y="7696"/>
                  <a:pt x="10224" y="7665"/>
                </a:cubicBezTo>
                <a:cubicBezTo>
                  <a:pt x="10302" y="7649"/>
                  <a:pt x="10380" y="7633"/>
                  <a:pt x="10458" y="7633"/>
                </a:cubicBezTo>
                <a:cubicBezTo>
                  <a:pt x="10443" y="7680"/>
                  <a:pt x="10427" y="7711"/>
                  <a:pt x="10380" y="7727"/>
                </a:cubicBezTo>
                <a:cubicBezTo>
                  <a:pt x="10333" y="7743"/>
                  <a:pt x="10270" y="7758"/>
                  <a:pt x="10224" y="7743"/>
                </a:cubicBezTo>
                <a:cubicBezTo>
                  <a:pt x="10177" y="7727"/>
                  <a:pt x="10145" y="7743"/>
                  <a:pt x="10114" y="7758"/>
                </a:cubicBezTo>
                <a:cubicBezTo>
                  <a:pt x="10098" y="7789"/>
                  <a:pt x="10051" y="7789"/>
                  <a:pt x="10020" y="7805"/>
                </a:cubicBezTo>
                <a:cubicBezTo>
                  <a:pt x="9989" y="7805"/>
                  <a:pt x="9926" y="7789"/>
                  <a:pt x="9957" y="7867"/>
                </a:cubicBezTo>
                <a:cubicBezTo>
                  <a:pt x="9957" y="7867"/>
                  <a:pt x="9957" y="7883"/>
                  <a:pt x="9957" y="7883"/>
                </a:cubicBezTo>
                <a:cubicBezTo>
                  <a:pt x="9910" y="7914"/>
                  <a:pt x="9879" y="7977"/>
                  <a:pt x="9816" y="7961"/>
                </a:cubicBezTo>
                <a:cubicBezTo>
                  <a:pt x="9770" y="7946"/>
                  <a:pt x="9738" y="7961"/>
                  <a:pt x="9738" y="8008"/>
                </a:cubicBezTo>
                <a:cubicBezTo>
                  <a:pt x="9723" y="8024"/>
                  <a:pt x="9723" y="8039"/>
                  <a:pt x="9691" y="8039"/>
                </a:cubicBezTo>
                <a:cubicBezTo>
                  <a:pt x="9629" y="8024"/>
                  <a:pt x="9582" y="8055"/>
                  <a:pt x="9550" y="8086"/>
                </a:cubicBezTo>
                <a:cubicBezTo>
                  <a:pt x="9519" y="8102"/>
                  <a:pt x="9472" y="8117"/>
                  <a:pt x="9441" y="8133"/>
                </a:cubicBezTo>
                <a:cubicBezTo>
                  <a:pt x="9394" y="8133"/>
                  <a:pt x="9362" y="8148"/>
                  <a:pt x="9347" y="8180"/>
                </a:cubicBezTo>
                <a:cubicBezTo>
                  <a:pt x="9315" y="8211"/>
                  <a:pt x="9269" y="8226"/>
                  <a:pt x="9237" y="8242"/>
                </a:cubicBezTo>
                <a:cubicBezTo>
                  <a:pt x="9206" y="8258"/>
                  <a:pt x="9159" y="8273"/>
                  <a:pt x="9143" y="8320"/>
                </a:cubicBezTo>
                <a:cubicBezTo>
                  <a:pt x="9143" y="8320"/>
                  <a:pt x="9128" y="8336"/>
                  <a:pt x="9112" y="8336"/>
                </a:cubicBezTo>
                <a:cubicBezTo>
                  <a:pt x="9018" y="8367"/>
                  <a:pt x="8940" y="8429"/>
                  <a:pt x="8861" y="8476"/>
                </a:cubicBezTo>
                <a:cubicBezTo>
                  <a:pt x="8736" y="8554"/>
                  <a:pt x="8642" y="8664"/>
                  <a:pt x="8533" y="8757"/>
                </a:cubicBezTo>
                <a:cubicBezTo>
                  <a:pt x="8439" y="8851"/>
                  <a:pt x="8314" y="8945"/>
                  <a:pt x="8204" y="9038"/>
                </a:cubicBezTo>
                <a:cubicBezTo>
                  <a:pt x="8173" y="9069"/>
                  <a:pt x="8173" y="9101"/>
                  <a:pt x="8188" y="9147"/>
                </a:cubicBezTo>
                <a:cubicBezTo>
                  <a:pt x="8298" y="9054"/>
                  <a:pt x="8392" y="8945"/>
                  <a:pt x="8501" y="8866"/>
                </a:cubicBezTo>
                <a:cubicBezTo>
                  <a:pt x="8501" y="8866"/>
                  <a:pt x="8501" y="8866"/>
                  <a:pt x="8501" y="8851"/>
                </a:cubicBezTo>
                <a:cubicBezTo>
                  <a:pt x="8533" y="8804"/>
                  <a:pt x="8580" y="8788"/>
                  <a:pt x="8627" y="8757"/>
                </a:cubicBezTo>
                <a:cubicBezTo>
                  <a:pt x="8689" y="8726"/>
                  <a:pt x="8736" y="8679"/>
                  <a:pt x="8799" y="8632"/>
                </a:cubicBezTo>
                <a:cubicBezTo>
                  <a:pt x="8815" y="8601"/>
                  <a:pt x="8846" y="8585"/>
                  <a:pt x="8877" y="8570"/>
                </a:cubicBezTo>
                <a:cubicBezTo>
                  <a:pt x="8893" y="8570"/>
                  <a:pt x="8908" y="8554"/>
                  <a:pt x="8924" y="8539"/>
                </a:cubicBezTo>
                <a:cubicBezTo>
                  <a:pt x="8971" y="8492"/>
                  <a:pt x="9034" y="8476"/>
                  <a:pt x="9081" y="8445"/>
                </a:cubicBezTo>
                <a:cubicBezTo>
                  <a:pt x="9128" y="8398"/>
                  <a:pt x="9190" y="8383"/>
                  <a:pt x="9237" y="8336"/>
                </a:cubicBezTo>
                <a:cubicBezTo>
                  <a:pt x="9269" y="8305"/>
                  <a:pt x="9331" y="8289"/>
                  <a:pt x="9362" y="8242"/>
                </a:cubicBezTo>
                <a:cubicBezTo>
                  <a:pt x="9362" y="8242"/>
                  <a:pt x="9362" y="8226"/>
                  <a:pt x="9378" y="8226"/>
                </a:cubicBezTo>
                <a:cubicBezTo>
                  <a:pt x="9441" y="8242"/>
                  <a:pt x="9488" y="8180"/>
                  <a:pt x="9550" y="8180"/>
                </a:cubicBezTo>
                <a:cubicBezTo>
                  <a:pt x="9582" y="8180"/>
                  <a:pt x="9597" y="8164"/>
                  <a:pt x="9629" y="8148"/>
                </a:cubicBezTo>
                <a:cubicBezTo>
                  <a:pt x="9660" y="8133"/>
                  <a:pt x="9707" y="8117"/>
                  <a:pt x="9723" y="8086"/>
                </a:cubicBezTo>
                <a:cubicBezTo>
                  <a:pt x="9738" y="8024"/>
                  <a:pt x="9785" y="8070"/>
                  <a:pt x="9816" y="8055"/>
                </a:cubicBezTo>
                <a:cubicBezTo>
                  <a:pt x="9816" y="8055"/>
                  <a:pt x="9816" y="8055"/>
                  <a:pt x="9816" y="8039"/>
                </a:cubicBezTo>
                <a:cubicBezTo>
                  <a:pt x="9863" y="8008"/>
                  <a:pt x="9910" y="7977"/>
                  <a:pt x="9973" y="7992"/>
                </a:cubicBezTo>
                <a:cubicBezTo>
                  <a:pt x="9989" y="7992"/>
                  <a:pt x="10004" y="7992"/>
                  <a:pt x="10004" y="7961"/>
                </a:cubicBezTo>
                <a:cubicBezTo>
                  <a:pt x="9973" y="7946"/>
                  <a:pt x="10004" y="7946"/>
                  <a:pt x="10020" y="7946"/>
                </a:cubicBezTo>
                <a:cubicBezTo>
                  <a:pt x="10036" y="7930"/>
                  <a:pt x="10067" y="7946"/>
                  <a:pt x="10098" y="7914"/>
                </a:cubicBezTo>
                <a:cubicBezTo>
                  <a:pt x="10098" y="7914"/>
                  <a:pt x="10130" y="7899"/>
                  <a:pt x="10145" y="7914"/>
                </a:cubicBezTo>
                <a:cubicBezTo>
                  <a:pt x="10177" y="7930"/>
                  <a:pt x="10192" y="7914"/>
                  <a:pt x="10224" y="7899"/>
                </a:cubicBezTo>
                <a:cubicBezTo>
                  <a:pt x="10239" y="7899"/>
                  <a:pt x="10255" y="7899"/>
                  <a:pt x="10270" y="7914"/>
                </a:cubicBezTo>
                <a:cubicBezTo>
                  <a:pt x="10349" y="7930"/>
                  <a:pt x="10427" y="7961"/>
                  <a:pt x="10521" y="7914"/>
                </a:cubicBezTo>
                <a:cubicBezTo>
                  <a:pt x="10552" y="7899"/>
                  <a:pt x="10599" y="7883"/>
                  <a:pt x="10646" y="7883"/>
                </a:cubicBezTo>
                <a:cubicBezTo>
                  <a:pt x="10693" y="7867"/>
                  <a:pt x="10740" y="7867"/>
                  <a:pt x="10787" y="7852"/>
                </a:cubicBezTo>
                <a:cubicBezTo>
                  <a:pt x="10865" y="7836"/>
                  <a:pt x="10944" y="7821"/>
                  <a:pt x="11022" y="7789"/>
                </a:cubicBezTo>
                <a:cubicBezTo>
                  <a:pt x="11085" y="7774"/>
                  <a:pt x="11085" y="7774"/>
                  <a:pt x="11163" y="7789"/>
                </a:cubicBezTo>
                <a:cubicBezTo>
                  <a:pt x="11194" y="7805"/>
                  <a:pt x="11225" y="7805"/>
                  <a:pt x="11241" y="7774"/>
                </a:cubicBezTo>
                <a:cubicBezTo>
                  <a:pt x="11272" y="7711"/>
                  <a:pt x="11304" y="7743"/>
                  <a:pt x="11351" y="7743"/>
                </a:cubicBezTo>
                <a:cubicBezTo>
                  <a:pt x="11413" y="7743"/>
                  <a:pt x="11476" y="7758"/>
                  <a:pt x="11523" y="7743"/>
                </a:cubicBezTo>
                <a:cubicBezTo>
                  <a:pt x="11601" y="7743"/>
                  <a:pt x="11664" y="7727"/>
                  <a:pt x="11726" y="7711"/>
                </a:cubicBezTo>
                <a:cubicBezTo>
                  <a:pt x="11805" y="7711"/>
                  <a:pt x="11883" y="7711"/>
                  <a:pt x="11961" y="7696"/>
                </a:cubicBezTo>
                <a:cubicBezTo>
                  <a:pt x="12024" y="7680"/>
                  <a:pt x="12087" y="7649"/>
                  <a:pt x="12149" y="7680"/>
                </a:cubicBezTo>
                <a:cubicBezTo>
                  <a:pt x="12165" y="7680"/>
                  <a:pt x="12165" y="7680"/>
                  <a:pt x="12180" y="7680"/>
                </a:cubicBezTo>
                <a:cubicBezTo>
                  <a:pt x="12243" y="7665"/>
                  <a:pt x="12306" y="7665"/>
                  <a:pt x="12384" y="7665"/>
                </a:cubicBezTo>
                <a:cubicBezTo>
                  <a:pt x="12556" y="7633"/>
                  <a:pt x="12713" y="7649"/>
                  <a:pt x="12885" y="7665"/>
                </a:cubicBezTo>
                <a:cubicBezTo>
                  <a:pt x="12963" y="7680"/>
                  <a:pt x="13042" y="7680"/>
                  <a:pt x="13120" y="7680"/>
                </a:cubicBezTo>
                <a:cubicBezTo>
                  <a:pt x="13182" y="7696"/>
                  <a:pt x="13245" y="7680"/>
                  <a:pt x="13292" y="7711"/>
                </a:cubicBezTo>
                <a:cubicBezTo>
                  <a:pt x="13355" y="7774"/>
                  <a:pt x="13433" y="7758"/>
                  <a:pt x="13511" y="7774"/>
                </a:cubicBezTo>
                <a:cubicBezTo>
                  <a:pt x="13574" y="7774"/>
                  <a:pt x="13652" y="7805"/>
                  <a:pt x="13715" y="7821"/>
                </a:cubicBezTo>
                <a:cubicBezTo>
                  <a:pt x="13809" y="7836"/>
                  <a:pt x="13918" y="7836"/>
                  <a:pt x="14012" y="7852"/>
                </a:cubicBezTo>
                <a:cubicBezTo>
                  <a:pt x="14028" y="7867"/>
                  <a:pt x="14043" y="7867"/>
                  <a:pt x="14075" y="7883"/>
                </a:cubicBezTo>
                <a:cubicBezTo>
                  <a:pt x="14106" y="7930"/>
                  <a:pt x="14153" y="7961"/>
                  <a:pt x="14231" y="7961"/>
                </a:cubicBezTo>
                <a:cubicBezTo>
                  <a:pt x="14294" y="7977"/>
                  <a:pt x="14372" y="7992"/>
                  <a:pt x="14450" y="8024"/>
                </a:cubicBezTo>
                <a:cubicBezTo>
                  <a:pt x="14482" y="8039"/>
                  <a:pt x="14513" y="8070"/>
                  <a:pt x="14544" y="8102"/>
                </a:cubicBezTo>
                <a:cubicBezTo>
                  <a:pt x="14576" y="8133"/>
                  <a:pt x="14638" y="8117"/>
                  <a:pt x="14685" y="8117"/>
                </a:cubicBezTo>
                <a:cubicBezTo>
                  <a:pt x="14764" y="8148"/>
                  <a:pt x="14842" y="8195"/>
                  <a:pt x="14920" y="8180"/>
                </a:cubicBezTo>
                <a:cubicBezTo>
                  <a:pt x="14936" y="8164"/>
                  <a:pt x="14936" y="8180"/>
                  <a:pt x="14951" y="8180"/>
                </a:cubicBezTo>
                <a:cubicBezTo>
                  <a:pt x="15014" y="8195"/>
                  <a:pt x="15077" y="8180"/>
                  <a:pt x="15139" y="8148"/>
                </a:cubicBezTo>
                <a:cubicBezTo>
                  <a:pt x="15155" y="8133"/>
                  <a:pt x="15155" y="8148"/>
                  <a:pt x="15171" y="8148"/>
                </a:cubicBezTo>
                <a:cubicBezTo>
                  <a:pt x="15233" y="8148"/>
                  <a:pt x="15249" y="8148"/>
                  <a:pt x="15280" y="8086"/>
                </a:cubicBezTo>
                <a:cubicBezTo>
                  <a:pt x="15280" y="8070"/>
                  <a:pt x="15296" y="8039"/>
                  <a:pt x="15327" y="8055"/>
                </a:cubicBezTo>
                <a:cubicBezTo>
                  <a:pt x="15374" y="8070"/>
                  <a:pt x="15437" y="8055"/>
                  <a:pt x="15484" y="8024"/>
                </a:cubicBezTo>
                <a:cubicBezTo>
                  <a:pt x="15499" y="8008"/>
                  <a:pt x="15531" y="8008"/>
                  <a:pt x="15546" y="7977"/>
                </a:cubicBezTo>
                <a:cubicBezTo>
                  <a:pt x="15546" y="7961"/>
                  <a:pt x="15562" y="7961"/>
                  <a:pt x="15578" y="7961"/>
                </a:cubicBezTo>
                <a:cubicBezTo>
                  <a:pt x="15593" y="7977"/>
                  <a:pt x="15609" y="7977"/>
                  <a:pt x="15625" y="7977"/>
                </a:cubicBezTo>
                <a:cubicBezTo>
                  <a:pt x="15656" y="7977"/>
                  <a:pt x="15687" y="7977"/>
                  <a:pt x="15703" y="7946"/>
                </a:cubicBezTo>
                <a:cubicBezTo>
                  <a:pt x="15703" y="7914"/>
                  <a:pt x="15719" y="7899"/>
                  <a:pt x="15750" y="7883"/>
                </a:cubicBezTo>
                <a:cubicBezTo>
                  <a:pt x="15766" y="7883"/>
                  <a:pt x="15781" y="7867"/>
                  <a:pt x="15797" y="7852"/>
                </a:cubicBezTo>
                <a:cubicBezTo>
                  <a:pt x="15828" y="7774"/>
                  <a:pt x="15875" y="7711"/>
                  <a:pt x="15938" y="7649"/>
                </a:cubicBezTo>
                <a:cubicBezTo>
                  <a:pt x="15969" y="7618"/>
                  <a:pt x="15985" y="7587"/>
                  <a:pt x="16032" y="7571"/>
                </a:cubicBezTo>
                <a:cubicBezTo>
                  <a:pt x="16079" y="7555"/>
                  <a:pt x="16110" y="7524"/>
                  <a:pt x="16126" y="7477"/>
                </a:cubicBezTo>
                <a:cubicBezTo>
                  <a:pt x="16157" y="7368"/>
                  <a:pt x="16204" y="7259"/>
                  <a:pt x="16220" y="7149"/>
                </a:cubicBezTo>
                <a:cubicBezTo>
                  <a:pt x="16220" y="7118"/>
                  <a:pt x="16235" y="7071"/>
                  <a:pt x="16251" y="7040"/>
                </a:cubicBezTo>
                <a:cubicBezTo>
                  <a:pt x="16345" y="6790"/>
                  <a:pt x="16360" y="6541"/>
                  <a:pt x="16251" y="6291"/>
                </a:cubicBezTo>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p>
            <a:endParaRPr lang="zh-CN" altLang="en-US">
              <a:solidFill>
                <a:schemeClr val="tx1">
                  <a:lumMod val="75000"/>
                  <a:lumOff val="25000"/>
                </a:schemeClr>
              </a:solidFill>
              <a:cs typeface="+mn-ea"/>
              <a:sym typeface="+mn-lt"/>
            </a:endParaRPr>
          </a:p>
        </p:txBody>
      </p:sp>
      <p:sp>
        <p:nvSpPr>
          <p:cNvPr id="2" name="矩形 1">
            <a:extLst>
              <a:ext uri="{FF2B5EF4-FFF2-40B4-BE49-F238E27FC236}">
                <a16:creationId xmlns:a16="http://schemas.microsoft.com/office/drawing/2014/main" id="{FAD39158-DC96-4698-8056-4736DA16214C}"/>
              </a:ext>
            </a:extLst>
          </p:cNvPr>
          <p:cNvSpPr/>
          <p:nvPr/>
        </p:nvSpPr>
        <p:spPr bwMode="auto">
          <a:xfrm>
            <a:off x="743193" y="1196975"/>
            <a:ext cx="1280160" cy="448945"/>
          </a:xfrm>
          <a:prstGeom prst="rect">
            <a:avLst/>
          </a:prstGeom>
          <a:solidFill>
            <a:schemeClr val="accent1"/>
          </a:solidFill>
          <a:ln>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r>
              <a:rPr lang="zh-CN" altLang="en-US" b="1" dirty="0">
                <a:solidFill>
                  <a:schemeClr val="bg1"/>
                </a:solidFill>
                <a:cs typeface="+mn-ea"/>
                <a:sym typeface="+mn-lt"/>
              </a:rPr>
              <a:t>方案一</a:t>
            </a:r>
            <a:endParaRPr lang="en-US" b="1" dirty="0">
              <a:solidFill>
                <a:schemeClr val="bg1"/>
              </a:solidFill>
              <a:cs typeface="+mn-ea"/>
              <a:sym typeface="+mn-lt"/>
            </a:endParaRPr>
          </a:p>
        </p:txBody>
      </p:sp>
      <p:sp>
        <p:nvSpPr>
          <p:cNvPr id="68" name="矩形 67">
            <a:extLst>
              <a:ext uri="{FF2B5EF4-FFF2-40B4-BE49-F238E27FC236}">
                <a16:creationId xmlns:a16="http://schemas.microsoft.com/office/drawing/2014/main" id="{821DA7BF-4308-493B-A5E9-7C8F46DC268F}"/>
              </a:ext>
            </a:extLst>
          </p:cNvPr>
          <p:cNvSpPr/>
          <p:nvPr/>
        </p:nvSpPr>
        <p:spPr bwMode="auto">
          <a:xfrm>
            <a:off x="10168646" y="1196975"/>
            <a:ext cx="1280160" cy="448945"/>
          </a:xfrm>
          <a:prstGeom prst="rect">
            <a:avLst/>
          </a:prstGeom>
          <a:solidFill>
            <a:schemeClr val="accent2"/>
          </a:solidFill>
          <a:ln>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r>
              <a:rPr lang="zh-CN" altLang="en-US" b="1" dirty="0">
                <a:solidFill>
                  <a:schemeClr val="bg1"/>
                </a:solidFill>
                <a:cs typeface="+mn-ea"/>
                <a:sym typeface="+mn-lt"/>
              </a:rPr>
              <a:t>方案二</a:t>
            </a:r>
            <a:endParaRPr lang="en-US" b="1" dirty="0">
              <a:solidFill>
                <a:schemeClr val="bg1"/>
              </a:solidFill>
              <a:cs typeface="+mn-ea"/>
              <a:sym typeface="+mn-lt"/>
            </a:endParaRPr>
          </a:p>
        </p:txBody>
      </p:sp>
      <p:grpSp>
        <p:nvGrpSpPr>
          <p:cNvPr id="69" name="组合 68">
            <a:extLst>
              <a:ext uri="{FF2B5EF4-FFF2-40B4-BE49-F238E27FC236}">
                <a16:creationId xmlns:a16="http://schemas.microsoft.com/office/drawing/2014/main" id="{63639D11-81FD-4201-AC6F-8C091A2CE69C}"/>
              </a:ext>
            </a:extLst>
          </p:cNvPr>
          <p:cNvGrpSpPr/>
          <p:nvPr/>
        </p:nvGrpSpPr>
        <p:grpSpPr>
          <a:xfrm>
            <a:off x="0" y="-715587"/>
            <a:ext cx="676656" cy="602672"/>
            <a:chOff x="0" y="6950133"/>
            <a:chExt cx="676656" cy="602672"/>
          </a:xfrm>
        </p:grpSpPr>
        <p:sp>
          <p:nvSpPr>
            <p:cNvPr id="70" name="矩形 69">
              <a:extLst>
                <a:ext uri="{FF2B5EF4-FFF2-40B4-BE49-F238E27FC236}">
                  <a16:creationId xmlns:a16="http://schemas.microsoft.com/office/drawing/2014/main" id="{367E3E20-B24C-4FE8-B3CE-963E29AD59A8}"/>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71" name="组合 70">
              <a:extLst>
                <a:ext uri="{FF2B5EF4-FFF2-40B4-BE49-F238E27FC236}">
                  <a16:creationId xmlns:a16="http://schemas.microsoft.com/office/drawing/2014/main" id="{57707888-0BCA-4B5F-A27A-450DD61FCB46}"/>
                </a:ext>
              </a:extLst>
            </p:cNvPr>
            <p:cNvGrpSpPr/>
            <p:nvPr/>
          </p:nvGrpSpPr>
          <p:grpSpPr>
            <a:xfrm>
              <a:off x="47544" y="7038552"/>
              <a:ext cx="581568" cy="425834"/>
              <a:chOff x="84575" y="6977592"/>
              <a:chExt cx="581568" cy="425834"/>
            </a:xfrm>
          </p:grpSpPr>
          <p:grpSp>
            <p:nvGrpSpPr>
              <p:cNvPr id="72" name="组合 71">
                <a:extLst>
                  <a:ext uri="{FF2B5EF4-FFF2-40B4-BE49-F238E27FC236}">
                    <a16:creationId xmlns:a16="http://schemas.microsoft.com/office/drawing/2014/main" id="{0B1BDC38-32F9-4DEA-A665-ABBE04848117}"/>
                  </a:ext>
                </a:extLst>
              </p:cNvPr>
              <p:cNvGrpSpPr/>
              <p:nvPr/>
            </p:nvGrpSpPr>
            <p:grpSpPr>
              <a:xfrm>
                <a:off x="84575" y="6979654"/>
                <a:ext cx="317380" cy="421711"/>
                <a:chOff x="14690033" y="2185397"/>
                <a:chExt cx="583830" cy="775754"/>
              </a:xfrm>
            </p:grpSpPr>
            <p:sp>
              <p:nvSpPr>
                <p:cNvPr id="74" name="iŝļíḑe">
                  <a:extLst>
                    <a:ext uri="{FF2B5EF4-FFF2-40B4-BE49-F238E27FC236}">
                      <a16:creationId xmlns:a16="http://schemas.microsoft.com/office/drawing/2014/main" id="{98DA24BE-C8B7-4FEA-B526-38344C494FF1}"/>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şḷíḍé">
                  <a:extLst>
                    <a:ext uri="{FF2B5EF4-FFF2-40B4-BE49-F238E27FC236}">
                      <a16:creationId xmlns:a16="http://schemas.microsoft.com/office/drawing/2014/main" id="{1CE95097-59BE-4316-BD14-8F5D766C9F9B}"/>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Sľïḓe">
                  <a:extLst>
                    <a:ext uri="{FF2B5EF4-FFF2-40B4-BE49-F238E27FC236}">
                      <a16:creationId xmlns:a16="http://schemas.microsoft.com/office/drawing/2014/main" id="{2EDB30D7-9205-46A4-A926-89194AFBEA0F}"/>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sḻídê">
                  <a:extLst>
                    <a:ext uri="{FF2B5EF4-FFF2-40B4-BE49-F238E27FC236}">
                      <a16:creationId xmlns:a16="http://schemas.microsoft.com/office/drawing/2014/main" id="{CA41A2E2-EC79-48FC-BD2E-ED2D5F7C73FF}"/>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S1íḋè">
                  <a:extLst>
                    <a:ext uri="{FF2B5EF4-FFF2-40B4-BE49-F238E27FC236}">
                      <a16:creationId xmlns:a16="http://schemas.microsoft.com/office/drawing/2014/main" id="{76361E65-9151-410F-BC3C-652F599B0D66}"/>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íşļíde">
                  <a:extLst>
                    <a:ext uri="{FF2B5EF4-FFF2-40B4-BE49-F238E27FC236}">
                      <a16:creationId xmlns:a16="http://schemas.microsoft.com/office/drawing/2014/main" id="{6DCDA82C-D9DF-4684-A6F7-3643066D6B5F}"/>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73" name="文本框 72">
                <a:extLst>
                  <a:ext uri="{FF2B5EF4-FFF2-40B4-BE49-F238E27FC236}">
                    <a16:creationId xmlns:a16="http://schemas.microsoft.com/office/drawing/2014/main" id="{B09E4F0B-D98C-4D58-A831-C2522572DDDF}"/>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80" name="矩形 79">
            <a:extLst>
              <a:ext uri="{FF2B5EF4-FFF2-40B4-BE49-F238E27FC236}">
                <a16:creationId xmlns:a16="http://schemas.microsoft.com/office/drawing/2014/main" id="{C4F84159-562B-4175-A12A-9F1D054A7C71}"/>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custDataLst>
      <p:tags r:id="rId1"/>
    </p:custDataLst>
    <p:extLst>
      <p:ext uri="{BB962C8B-B14F-4D97-AF65-F5344CB8AC3E}">
        <p14:creationId xmlns:p14="http://schemas.microsoft.com/office/powerpoint/2010/main" val="23034000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标题 130">
            <a:extLst>
              <a:ext uri="{FF2B5EF4-FFF2-40B4-BE49-F238E27FC236}">
                <a16:creationId xmlns:a16="http://schemas.microsoft.com/office/drawing/2014/main" id="{A0A46380-66A8-4349-834E-5FF3C679CE5F}"/>
              </a:ext>
            </a:extLst>
          </p:cNvPr>
          <p:cNvSpPr>
            <a:spLocks noGrp="1"/>
          </p:cNvSpPr>
          <p:nvPr>
            <p:ph type="title"/>
          </p:nvPr>
        </p:nvSpPr>
        <p:spPr/>
        <p:txBody>
          <a:bodyPr/>
          <a:lstStyle/>
          <a:p>
            <a:r>
              <a:rPr lang="zh-CN" altLang="en-US" dirty="0">
                <a:latin typeface="+mn-lt"/>
                <a:ea typeface="+mn-ea"/>
                <a:cs typeface="+mn-ea"/>
                <a:sym typeface="+mn-lt"/>
              </a:rPr>
              <a:t>优缺点分析页</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E3FB3FA2-8266-4A10-8F47-2E099CF93CEC}"/>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36</a:t>
            </a:fld>
            <a:endParaRPr lang="en-US" dirty="0">
              <a:solidFill>
                <a:srgbClr val="000000">
                  <a:tint val="75000"/>
                </a:srgbClr>
              </a:solidFill>
              <a:cs typeface="+mn-ea"/>
              <a:sym typeface="+mn-lt"/>
            </a:endParaRPr>
          </a:p>
        </p:txBody>
      </p:sp>
      <p:grpSp>
        <p:nvGrpSpPr>
          <p:cNvPr id="15" name="ï$ḷíḑè">
            <a:extLst>
              <a:ext uri="{FF2B5EF4-FFF2-40B4-BE49-F238E27FC236}">
                <a16:creationId xmlns:a16="http://schemas.microsoft.com/office/drawing/2014/main" id="{AB7D06B9-499D-4C7F-8D23-2BBCBD4EB423}"/>
              </a:ext>
            </a:extLst>
          </p:cNvPr>
          <p:cNvGrpSpPr/>
          <p:nvPr/>
        </p:nvGrpSpPr>
        <p:grpSpPr>
          <a:xfrm>
            <a:off x="763314" y="5385816"/>
            <a:ext cx="2554435" cy="397284"/>
            <a:chOff x="763314" y="5385816"/>
            <a:chExt cx="2554435" cy="397284"/>
          </a:xfrm>
        </p:grpSpPr>
        <p:sp>
          <p:nvSpPr>
            <p:cNvPr id="19" name="iŝḷíḋe">
              <a:extLst>
                <a:ext uri="{FF2B5EF4-FFF2-40B4-BE49-F238E27FC236}">
                  <a16:creationId xmlns:a16="http://schemas.microsoft.com/office/drawing/2014/main" id="{0A991B12-4364-4AD2-97BC-DEE8B60982BB}"/>
                </a:ext>
              </a:extLst>
            </p:cNvPr>
            <p:cNvSpPr/>
            <p:nvPr/>
          </p:nvSpPr>
          <p:spPr>
            <a:xfrm flipV="1">
              <a:off x="763314" y="5385816"/>
              <a:ext cx="2554434" cy="397284"/>
            </a:xfrm>
            <a:prstGeom prst="wedgeRoundRectCallout">
              <a:avLst>
                <a:gd name="adj1" fmla="val 62392"/>
                <a:gd name="adj2" fmla="val 110777"/>
                <a:gd name="adj3" fmla="val 16667"/>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lnSpcReduction="10000"/>
            </a:bodyPr>
            <a:lstStyle/>
            <a:p>
              <a:pPr algn="ctr"/>
              <a:endParaRPr lang="zh-CN" altLang="en-US" dirty="0">
                <a:cs typeface="+mn-ea"/>
                <a:sym typeface="+mn-lt"/>
              </a:endParaRPr>
            </a:p>
          </p:txBody>
        </p:sp>
        <p:sp>
          <p:nvSpPr>
            <p:cNvPr id="20" name="îşľîḑè">
              <a:extLst>
                <a:ext uri="{FF2B5EF4-FFF2-40B4-BE49-F238E27FC236}">
                  <a16:creationId xmlns:a16="http://schemas.microsoft.com/office/drawing/2014/main" id="{E5F27362-B02C-44DB-9416-5D8E2A708788}"/>
                </a:ext>
              </a:extLst>
            </p:cNvPr>
            <p:cNvSpPr/>
            <p:nvPr/>
          </p:nvSpPr>
          <p:spPr bwMode="auto">
            <a:xfrm>
              <a:off x="763315" y="5398447"/>
              <a:ext cx="2554434" cy="36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zh-CN" altLang="en-US" b="1" dirty="0">
                  <a:solidFill>
                    <a:schemeClr val="bg1"/>
                  </a:solidFill>
                  <a:cs typeface="+mn-ea"/>
                  <a:sym typeface="+mn-lt"/>
                </a:rPr>
                <a:t>我们这些方面做得很好</a:t>
              </a:r>
              <a:endParaRPr lang="en-US" altLang="zh-CN" b="1" dirty="0">
                <a:solidFill>
                  <a:schemeClr val="bg1"/>
                </a:solidFill>
                <a:cs typeface="+mn-ea"/>
                <a:sym typeface="+mn-lt"/>
              </a:endParaRPr>
            </a:p>
          </p:txBody>
        </p:sp>
      </p:grpSp>
      <p:grpSp>
        <p:nvGrpSpPr>
          <p:cNvPr id="16" name="ïSḻíḑe">
            <a:extLst>
              <a:ext uri="{FF2B5EF4-FFF2-40B4-BE49-F238E27FC236}">
                <a16:creationId xmlns:a16="http://schemas.microsoft.com/office/drawing/2014/main" id="{DF578381-DACB-4A7D-842C-482009BA3706}"/>
              </a:ext>
            </a:extLst>
          </p:cNvPr>
          <p:cNvGrpSpPr/>
          <p:nvPr/>
        </p:nvGrpSpPr>
        <p:grpSpPr>
          <a:xfrm flipH="1">
            <a:off x="8803825" y="5385816"/>
            <a:ext cx="2554435" cy="397284"/>
            <a:chOff x="763314" y="5385816"/>
            <a:chExt cx="2554435" cy="397284"/>
          </a:xfrm>
        </p:grpSpPr>
        <p:sp>
          <p:nvSpPr>
            <p:cNvPr id="17" name="iṣ1îďè">
              <a:extLst>
                <a:ext uri="{FF2B5EF4-FFF2-40B4-BE49-F238E27FC236}">
                  <a16:creationId xmlns:a16="http://schemas.microsoft.com/office/drawing/2014/main" id="{691406E8-DF04-488A-9CE4-978CC89BD5CD}"/>
                </a:ext>
              </a:extLst>
            </p:cNvPr>
            <p:cNvSpPr/>
            <p:nvPr/>
          </p:nvSpPr>
          <p:spPr>
            <a:xfrm flipV="1">
              <a:off x="763314" y="5385816"/>
              <a:ext cx="2554434" cy="397284"/>
            </a:xfrm>
            <a:prstGeom prst="wedgeRoundRectCallout">
              <a:avLst>
                <a:gd name="adj1" fmla="val 62392"/>
                <a:gd name="adj2" fmla="val 110777"/>
                <a:gd name="adj3" fmla="val 16667"/>
              </a:avLst>
            </a:prstGeom>
            <a:solidFill>
              <a:schemeClr val="tx1">
                <a:lumMod val="65000"/>
                <a:lumOff val="3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lnSpcReduction="10000"/>
            </a:bodyPr>
            <a:lstStyle/>
            <a:p>
              <a:pPr algn="ctr"/>
              <a:endParaRPr lang="zh-CN" altLang="en-US" dirty="0">
                <a:cs typeface="+mn-ea"/>
                <a:sym typeface="+mn-lt"/>
              </a:endParaRPr>
            </a:p>
          </p:txBody>
        </p:sp>
        <p:sp>
          <p:nvSpPr>
            <p:cNvPr id="18" name="ïṩliḑè">
              <a:extLst>
                <a:ext uri="{FF2B5EF4-FFF2-40B4-BE49-F238E27FC236}">
                  <a16:creationId xmlns:a16="http://schemas.microsoft.com/office/drawing/2014/main" id="{76B53350-85CE-491A-B374-3094F6BAE5C6}"/>
                </a:ext>
              </a:extLst>
            </p:cNvPr>
            <p:cNvSpPr/>
            <p:nvPr/>
          </p:nvSpPr>
          <p:spPr bwMode="auto">
            <a:xfrm>
              <a:off x="763315" y="5398447"/>
              <a:ext cx="2554434" cy="36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zh-CN" altLang="en-US" b="1" dirty="0">
                  <a:solidFill>
                    <a:schemeClr val="bg1"/>
                  </a:solidFill>
                  <a:cs typeface="+mn-ea"/>
                  <a:sym typeface="+mn-lt"/>
                </a:rPr>
                <a:t>我们这些方面仍有不足</a:t>
              </a:r>
              <a:endParaRPr lang="en-US" altLang="zh-CN" b="1" dirty="0">
                <a:solidFill>
                  <a:schemeClr val="bg1"/>
                </a:solidFill>
                <a:cs typeface="+mn-ea"/>
                <a:sym typeface="+mn-lt"/>
              </a:endParaRPr>
            </a:p>
          </p:txBody>
        </p:sp>
      </p:grpSp>
      <p:grpSp>
        <p:nvGrpSpPr>
          <p:cNvPr id="2" name="组合 1">
            <a:extLst>
              <a:ext uri="{FF2B5EF4-FFF2-40B4-BE49-F238E27FC236}">
                <a16:creationId xmlns:a16="http://schemas.microsoft.com/office/drawing/2014/main" id="{3471EFDE-D90E-4D4A-95E1-85E117B3C287}"/>
              </a:ext>
            </a:extLst>
          </p:cNvPr>
          <p:cNvGrpSpPr/>
          <p:nvPr/>
        </p:nvGrpSpPr>
        <p:grpSpPr>
          <a:xfrm>
            <a:off x="515938" y="1196975"/>
            <a:ext cx="3016971" cy="3811442"/>
            <a:chOff x="515938" y="1196975"/>
            <a:chExt cx="3016971" cy="3811442"/>
          </a:xfrm>
        </p:grpSpPr>
        <p:sp>
          <p:nvSpPr>
            <p:cNvPr id="8" name="íSľíďè">
              <a:extLst>
                <a:ext uri="{FF2B5EF4-FFF2-40B4-BE49-F238E27FC236}">
                  <a16:creationId xmlns:a16="http://schemas.microsoft.com/office/drawing/2014/main" id="{63D5979E-3BFC-47EF-A29D-188AEACC1DCC}"/>
                </a:ext>
              </a:extLst>
            </p:cNvPr>
            <p:cNvSpPr txBox="1"/>
            <p:nvPr/>
          </p:nvSpPr>
          <p:spPr bwMode="auto">
            <a:xfrm>
              <a:off x="515938" y="1196975"/>
              <a:ext cx="3016971" cy="487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spcBef>
                  <a:spcPct val="0"/>
                </a:spcBef>
              </a:pPr>
              <a:r>
                <a:rPr lang="zh-CN" altLang="en-US" sz="2000" b="1" dirty="0">
                  <a:solidFill>
                    <a:schemeClr val="accent1"/>
                  </a:solidFill>
                  <a:cs typeface="+mn-ea"/>
                  <a:sym typeface="+mn-lt"/>
                </a:rPr>
                <a:t>请输入具体优点</a:t>
              </a:r>
            </a:p>
          </p:txBody>
        </p:sp>
        <p:sp>
          <p:nvSpPr>
            <p:cNvPr id="133" name="îśḷidé">
              <a:extLst>
                <a:ext uri="{FF2B5EF4-FFF2-40B4-BE49-F238E27FC236}">
                  <a16:creationId xmlns:a16="http://schemas.microsoft.com/office/drawing/2014/main" id="{CB803B5A-3B33-42B1-9D4C-D94ACB13DBFB}"/>
                </a:ext>
              </a:extLst>
            </p:cNvPr>
            <p:cNvSpPr/>
            <p:nvPr/>
          </p:nvSpPr>
          <p:spPr bwMode="auto">
            <a:xfrm>
              <a:off x="515938" y="1891145"/>
              <a:ext cx="3016971" cy="3117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marL="285750" indent="-285750" defTabSz="914400">
                <a:lnSpc>
                  <a:spcPct val="120000"/>
                </a:lnSpc>
                <a:spcBef>
                  <a:spcPct val="0"/>
                </a:spcBef>
                <a:spcAft>
                  <a:spcPts val="1200"/>
                </a:spcAft>
                <a:buFont typeface="Arial" panose="020B0604020202020204" pitchFamily="34" charset="0"/>
                <a:buChar char="•"/>
              </a:pPr>
              <a:r>
                <a:rPr lang="zh-CN" altLang="en-US" sz="1600" dirty="0">
                  <a:solidFill>
                    <a:schemeClr val="tx1">
                      <a:lumMod val="75000"/>
                      <a:lumOff val="25000"/>
                    </a:schemeClr>
                  </a:solidFill>
                  <a:cs typeface="+mn-ea"/>
                  <a:sym typeface="+mn-lt"/>
                </a:rPr>
                <a:t>请在此输入内容请在此输入内容请在此输入内容</a:t>
              </a:r>
            </a:p>
            <a:p>
              <a:pPr marL="285750" indent="-285750" defTabSz="914400">
                <a:lnSpc>
                  <a:spcPct val="120000"/>
                </a:lnSpc>
                <a:spcBef>
                  <a:spcPct val="0"/>
                </a:spcBef>
                <a:spcAft>
                  <a:spcPts val="1200"/>
                </a:spcAft>
                <a:buFont typeface="Arial" panose="020B0604020202020204" pitchFamily="34" charset="0"/>
                <a:buChar char="•"/>
              </a:pPr>
              <a:r>
                <a:rPr lang="zh-CN" altLang="en-US" sz="1600" dirty="0">
                  <a:solidFill>
                    <a:schemeClr val="tx1">
                      <a:lumMod val="75000"/>
                      <a:lumOff val="25000"/>
                    </a:schemeClr>
                  </a:solidFill>
                  <a:cs typeface="+mn-ea"/>
                  <a:sym typeface="+mn-lt"/>
                </a:rPr>
                <a:t>请在此输入内容请在此输入内容请在此输入内容</a:t>
              </a:r>
            </a:p>
            <a:p>
              <a:pPr marL="285750" indent="-285750" defTabSz="914400">
                <a:lnSpc>
                  <a:spcPct val="120000"/>
                </a:lnSpc>
                <a:spcBef>
                  <a:spcPct val="0"/>
                </a:spcBef>
                <a:spcAft>
                  <a:spcPts val="1200"/>
                </a:spcAft>
                <a:buFont typeface="Arial" panose="020B0604020202020204" pitchFamily="34" charset="0"/>
                <a:buChar char="•"/>
              </a:pPr>
              <a:r>
                <a:rPr lang="zh-CN" altLang="en-US" sz="1600" dirty="0">
                  <a:solidFill>
                    <a:schemeClr val="tx1">
                      <a:lumMod val="75000"/>
                      <a:lumOff val="25000"/>
                    </a:schemeClr>
                  </a:solidFill>
                  <a:cs typeface="+mn-ea"/>
                  <a:sym typeface="+mn-lt"/>
                </a:rPr>
                <a:t>请在此输入内容请在此输入内容请在此输入内容</a:t>
              </a:r>
              <a:endParaRPr lang="en-US" altLang="zh-CN" sz="1600" dirty="0">
                <a:solidFill>
                  <a:schemeClr val="tx1">
                    <a:lumMod val="75000"/>
                    <a:lumOff val="25000"/>
                  </a:schemeClr>
                </a:solidFill>
                <a:cs typeface="+mn-ea"/>
                <a:sym typeface="+mn-lt"/>
              </a:endParaRPr>
            </a:p>
            <a:p>
              <a:pPr marL="285750" indent="-285750" defTabSz="914400">
                <a:lnSpc>
                  <a:spcPct val="120000"/>
                </a:lnSpc>
                <a:spcBef>
                  <a:spcPct val="0"/>
                </a:spcBef>
                <a:spcAft>
                  <a:spcPts val="1200"/>
                </a:spcAft>
                <a:buFont typeface="Arial" panose="020B0604020202020204" pitchFamily="34" charset="0"/>
                <a:buChar char="•"/>
              </a:pPr>
              <a:r>
                <a:rPr lang="zh-CN" altLang="en-US" sz="1600" dirty="0">
                  <a:solidFill>
                    <a:schemeClr val="tx1">
                      <a:lumMod val="75000"/>
                      <a:lumOff val="25000"/>
                    </a:schemeClr>
                  </a:solidFill>
                  <a:cs typeface="+mn-ea"/>
                  <a:sym typeface="+mn-lt"/>
                </a:rPr>
                <a:t>请在此输入内容请在此输入内容请在此输入内容</a:t>
              </a:r>
            </a:p>
          </p:txBody>
        </p:sp>
        <p:cxnSp>
          <p:nvCxnSpPr>
            <p:cNvPr id="12" name="直接连接符 11">
              <a:extLst>
                <a:ext uri="{FF2B5EF4-FFF2-40B4-BE49-F238E27FC236}">
                  <a16:creationId xmlns:a16="http://schemas.microsoft.com/office/drawing/2014/main" id="{64FDEAA5-F6B5-43C9-8A7D-0E97A1847925}"/>
                </a:ext>
              </a:extLst>
            </p:cNvPr>
            <p:cNvCxnSpPr/>
            <p:nvPr/>
          </p:nvCxnSpPr>
          <p:spPr>
            <a:xfrm>
              <a:off x="1855206" y="1767378"/>
              <a:ext cx="338436" cy="0"/>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4" name="组合 3">
            <a:extLst>
              <a:ext uri="{FF2B5EF4-FFF2-40B4-BE49-F238E27FC236}">
                <a16:creationId xmlns:a16="http://schemas.microsoft.com/office/drawing/2014/main" id="{FF1DD9C8-D11D-4FBA-A50E-9B8B923CF42B}"/>
              </a:ext>
            </a:extLst>
          </p:cNvPr>
          <p:cNvGrpSpPr/>
          <p:nvPr/>
        </p:nvGrpSpPr>
        <p:grpSpPr>
          <a:xfrm>
            <a:off x="8695604" y="1196975"/>
            <a:ext cx="3016971" cy="3811442"/>
            <a:chOff x="8695604" y="1196975"/>
            <a:chExt cx="3016971" cy="3811442"/>
          </a:xfrm>
        </p:grpSpPr>
        <p:sp>
          <p:nvSpPr>
            <p:cNvPr id="139" name="íSľíďè">
              <a:extLst>
                <a:ext uri="{FF2B5EF4-FFF2-40B4-BE49-F238E27FC236}">
                  <a16:creationId xmlns:a16="http://schemas.microsoft.com/office/drawing/2014/main" id="{D9AA8B31-8BB4-4AD1-B04F-3B73038C4E60}"/>
                </a:ext>
              </a:extLst>
            </p:cNvPr>
            <p:cNvSpPr txBox="1"/>
            <p:nvPr/>
          </p:nvSpPr>
          <p:spPr bwMode="auto">
            <a:xfrm>
              <a:off x="8708639" y="1196975"/>
              <a:ext cx="2990901" cy="487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spcBef>
                  <a:spcPct val="0"/>
                </a:spcBef>
              </a:pPr>
              <a:r>
                <a:rPr lang="zh-CN" altLang="en-US" sz="2000" b="1" dirty="0">
                  <a:solidFill>
                    <a:schemeClr val="tx1">
                      <a:lumMod val="75000"/>
                      <a:lumOff val="25000"/>
                    </a:schemeClr>
                  </a:solidFill>
                  <a:cs typeface="+mn-ea"/>
                  <a:sym typeface="+mn-lt"/>
                </a:rPr>
                <a:t>请输入具体缺点</a:t>
              </a:r>
            </a:p>
          </p:txBody>
        </p:sp>
        <p:sp>
          <p:nvSpPr>
            <p:cNvPr id="132" name="îśḷidé">
              <a:extLst>
                <a:ext uri="{FF2B5EF4-FFF2-40B4-BE49-F238E27FC236}">
                  <a16:creationId xmlns:a16="http://schemas.microsoft.com/office/drawing/2014/main" id="{B9BD5FBA-199E-4DE7-99E7-EF1A026D50CA}"/>
                </a:ext>
              </a:extLst>
            </p:cNvPr>
            <p:cNvSpPr/>
            <p:nvPr/>
          </p:nvSpPr>
          <p:spPr bwMode="auto">
            <a:xfrm>
              <a:off x="8695604" y="1891145"/>
              <a:ext cx="3016971" cy="3117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marL="285750" indent="-285750" defTabSz="914400">
                <a:lnSpc>
                  <a:spcPct val="120000"/>
                </a:lnSpc>
                <a:spcBef>
                  <a:spcPct val="0"/>
                </a:spcBef>
                <a:spcAft>
                  <a:spcPts val="1200"/>
                </a:spcAft>
                <a:buFont typeface="Arial" panose="020B0604020202020204" pitchFamily="34" charset="0"/>
                <a:buChar char="•"/>
              </a:pPr>
              <a:r>
                <a:rPr lang="zh-CN" altLang="en-US" sz="1600" dirty="0">
                  <a:solidFill>
                    <a:schemeClr val="tx1">
                      <a:lumMod val="75000"/>
                      <a:lumOff val="25000"/>
                    </a:schemeClr>
                  </a:solidFill>
                  <a:cs typeface="+mn-ea"/>
                  <a:sym typeface="+mn-lt"/>
                </a:rPr>
                <a:t>请在此输入内容请在此输入内容请在此输入内容</a:t>
              </a:r>
            </a:p>
            <a:p>
              <a:pPr marL="285750" indent="-285750" defTabSz="914400">
                <a:lnSpc>
                  <a:spcPct val="120000"/>
                </a:lnSpc>
                <a:spcBef>
                  <a:spcPct val="0"/>
                </a:spcBef>
                <a:spcAft>
                  <a:spcPts val="1200"/>
                </a:spcAft>
                <a:buFont typeface="Arial" panose="020B0604020202020204" pitchFamily="34" charset="0"/>
                <a:buChar char="•"/>
              </a:pPr>
              <a:r>
                <a:rPr lang="zh-CN" altLang="en-US" sz="1600" dirty="0">
                  <a:solidFill>
                    <a:schemeClr val="tx1">
                      <a:lumMod val="75000"/>
                      <a:lumOff val="25000"/>
                    </a:schemeClr>
                  </a:solidFill>
                  <a:cs typeface="+mn-ea"/>
                  <a:sym typeface="+mn-lt"/>
                </a:rPr>
                <a:t>请在此输入内容请在此输入内容请在此输入内容</a:t>
              </a:r>
            </a:p>
            <a:p>
              <a:pPr marL="285750" indent="-285750" defTabSz="914400">
                <a:lnSpc>
                  <a:spcPct val="120000"/>
                </a:lnSpc>
                <a:spcBef>
                  <a:spcPct val="0"/>
                </a:spcBef>
                <a:spcAft>
                  <a:spcPts val="1200"/>
                </a:spcAft>
                <a:buFont typeface="Arial" panose="020B0604020202020204" pitchFamily="34" charset="0"/>
                <a:buChar char="•"/>
              </a:pPr>
              <a:r>
                <a:rPr lang="zh-CN" altLang="en-US" sz="1600" dirty="0">
                  <a:solidFill>
                    <a:schemeClr val="tx1">
                      <a:lumMod val="75000"/>
                      <a:lumOff val="25000"/>
                    </a:schemeClr>
                  </a:solidFill>
                  <a:cs typeface="+mn-ea"/>
                  <a:sym typeface="+mn-lt"/>
                </a:rPr>
                <a:t>请在此输入内容请在此输入内容请在此输入内容</a:t>
              </a:r>
              <a:endParaRPr lang="en-US" altLang="zh-CN" sz="1600" dirty="0">
                <a:solidFill>
                  <a:schemeClr val="tx1">
                    <a:lumMod val="75000"/>
                    <a:lumOff val="25000"/>
                  </a:schemeClr>
                </a:solidFill>
                <a:cs typeface="+mn-ea"/>
                <a:sym typeface="+mn-lt"/>
              </a:endParaRPr>
            </a:p>
            <a:p>
              <a:pPr marL="285750" indent="-285750" defTabSz="914400">
                <a:lnSpc>
                  <a:spcPct val="120000"/>
                </a:lnSpc>
                <a:spcBef>
                  <a:spcPct val="0"/>
                </a:spcBef>
                <a:spcAft>
                  <a:spcPts val="1200"/>
                </a:spcAft>
                <a:buFont typeface="Arial" panose="020B0604020202020204" pitchFamily="34" charset="0"/>
                <a:buChar char="•"/>
              </a:pPr>
              <a:r>
                <a:rPr lang="zh-CN" altLang="en-US" sz="1600" dirty="0">
                  <a:solidFill>
                    <a:schemeClr val="tx1">
                      <a:lumMod val="75000"/>
                      <a:lumOff val="25000"/>
                    </a:schemeClr>
                  </a:solidFill>
                  <a:cs typeface="+mn-ea"/>
                  <a:sym typeface="+mn-lt"/>
                </a:rPr>
                <a:t>请在此输入内容请在此输入内容请在此输入内容</a:t>
              </a:r>
            </a:p>
          </p:txBody>
        </p:sp>
        <p:cxnSp>
          <p:nvCxnSpPr>
            <p:cNvPr id="148" name="直接连接符 147">
              <a:extLst>
                <a:ext uri="{FF2B5EF4-FFF2-40B4-BE49-F238E27FC236}">
                  <a16:creationId xmlns:a16="http://schemas.microsoft.com/office/drawing/2014/main" id="{C70A1F1D-2D16-4CBF-9EC2-766D6F824BE5}"/>
                </a:ext>
              </a:extLst>
            </p:cNvPr>
            <p:cNvCxnSpPr/>
            <p:nvPr/>
          </p:nvCxnSpPr>
          <p:spPr>
            <a:xfrm>
              <a:off x="10034872" y="1767378"/>
              <a:ext cx="33843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7161623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25A2147-A079-4410-88A3-429D70A7E582}"/>
              </a:ext>
            </a:extLst>
          </p:cNvPr>
          <p:cNvSpPr>
            <a:spLocks noGrp="1"/>
          </p:cNvSpPr>
          <p:nvPr>
            <p:ph type="title"/>
          </p:nvPr>
        </p:nvSpPr>
        <p:spPr/>
        <p:txBody>
          <a:bodyPr/>
          <a:lstStyle/>
          <a:p>
            <a:r>
              <a:rPr lang="zh-CN" altLang="en-US" dirty="0">
                <a:cs typeface="+mn-ea"/>
                <a:sym typeface="+mn-lt"/>
              </a:rPr>
              <a:t>优缺点分析页</a:t>
            </a:r>
            <a:endParaRPr lang="en-US" dirty="0"/>
          </a:p>
        </p:txBody>
      </p:sp>
      <p:sp>
        <p:nvSpPr>
          <p:cNvPr id="3" name="灯片编号占位符 2">
            <a:extLst>
              <a:ext uri="{FF2B5EF4-FFF2-40B4-BE49-F238E27FC236}">
                <a16:creationId xmlns:a16="http://schemas.microsoft.com/office/drawing/2014/main" id="{850E8669-A315-4114-9AB1-ED9790E876DD}"/>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37</a:t>
            </a:fld>
            <a:endParaRPr lang="en-US" dirty="0">
              <a:solidFill>
                <a:srgbClr val="000000">
                  <a:tint val="75000"/>
                </a:srgbClr>
              </a:solidFill>
            </a:endParaRPr>
          </a:p>
        </p:txBody>
      </p:sp>
      <p:graphicFrame>
        <p:nvGraphicFramePr>
          <p:cNvPr id="4" name="图示 3">
            <a:extLst>
              <a:ext uri="{FF2B5EF4-FFF2-40B4-BE49-F238E27FC236}">
                <a16:creationId xmlns:a16="http://schemas.microsoft.com/office/drawing/2014/main" id="{2D8A7F45-D998-4740-A001-213D13E5DCA7}"/>
              </a:ext>
            </a:extLst>
          </p:cNvPr>
          <p:cNvGraphicFramePr/>
          <p:nvPr>
            <p:extLst>
              <p:ext uri="{D42A27DB-BD31-4B8C-83A1-F6EECF244321}">
                <p14:modId xmlns:p14="http://schemas.microsoft.com/office/powerpoint/2010/main" val="176503561"/>
              </p:ext>
            </p:extLst>
          </p:nvPr>
        </p:nvGraphicFramePr>
        <p:xfrm>
          <a:off x="3879273" y="1729366"/>
          <a:ext cx="4287982" cy="35652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íslîḋè">
            <a:extLst>
              <a:ext uri="{FF2B5EF4-FFF2-40B4-BE49-F238E27FC236}">
                <a16:creationId xmlns:a16="http://schemas.microsoft.com/office/drawing/2014/main" id="{FCBBD6FE-6B84-463E-A4D1-A2B566192B83}"/>
              </a:ext>
            </a:extLst>
          </p:cNvPr>
          <p:cNvSpPr txBox="1"/>
          <p:nvPr/>
        </p:nvSpPr>
        <p:spPr>
          <a:xfrm>
            <a:off x="500377" y="1979850"/>
            <a:ext cx="3127902" cy="392512"/>
          </a:xfrm>
          <a:prstGeom prst="rect">
            <a:avLst/>
          </a:prstGeom>
          <a:noFill/>
          <a:ln>
            <a:noFill/>
          </a:ln>
        </p:spPr>
        <p:txBody>
          <a:bodyPr wrap="none" lIns="91440" tIns="45720" rIns="91440" bIns="45720" anchor="ctr" anchorCtr="0">
            <a:normAutofit fontScale="92500"/>
          </a:bodyPr>
          <a:lstStyle/>
          <a:p>
            <a:pPr>
              <a:lnSpc>
                <a:spcPct val="110000"/>
              </a:lnSpc>
              <a:buSzPct val="25000"/>
            </a:pPr>
            <a:r>
              <a:rPr lang="zh-CN" altLang="en-US" sz="2000" b="1" dirty="0">
                <a:solidFill>
                  <a:schemeClr val="accent1"/>
                </a:solidFill>
                <a:cs typeface="+mn-ea"/>
                <a:sym typeface="+mn-lt"/>
              </a:rPr>
              <a:t>请输入具体优点</a:t>
            </a:r>
          </a:p>
        </p:txBody>
      </p:sp>
      <p:sp>
        <p:nvSpPr>
          <p:cNvPr id="6" name="ísļïdê">
            <a:extLst>
              <a:ext uri="{FF2B5EF4-FFF2-40B4-BE49-F238E27FC236}">
                <a16:creationId xmlns:a16="http://schemas.microsoft.com/office/drawing/2014/main" id="{79FEFBB7-B573-4B77-92A8-3E8D23D282FC}"/>
              </a:ext>
            </a:extLst>
          </p:cNvPr>
          <p:cNvSpPr txBox="1"/>
          <p:nvPr/>
        </p:nvSpPr>
        <p:spPr>
          <a:xfrm>
            <a:off x="500377" y="2459182"/>
            <a:ext cx="3127902" cy="962311"/>
          </a:xfrm>
          <a:prstGeom prst="rect">
            <a:avLst/>
          </a:prstGeom>
          <a:noFill/>
          <a:ln>
            <a:noFill/>
          </a:ln>
        </p:spPr>
        <p:txBody>
          <a:bodyPr lIns="91440" tIns="45720" rIns="91440" bIns="45720" anchor="t" anchorCtr="0">
            <a:noAutofit/>
          </a:bodyPr>
          <a:lstStyle/>
          <a:p>
            <a:pPr marL="285750" indent="-285750">
              <a:lnSpc>
                <a:spcPct val="120000"/>
              </a:lnSpc>
              <a:buFont typeface="Arial" panose="020B0604020202020204" pitchFamily="34" charset="0"/>
              <a:buChar char="•"/>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优缺点的数量，天平也会因此做动态调整</a:t>
            </a:r>
            <a:endParaRPr lang="en-US" altLang="zh-CN" sz="1600" dirty="0">
              <a:solidFill>
                <a:schemeClr val="tx1">
                  <a:lumMod val="75000"/>
                  <a:lumOff val="25000"/>
                </a:schemeClr>
              </a:solidFill>
              <a:cs typeface="+mn-ea"/>
              <a:sym typeface="+mn-lt"/>
            </a:endParaRPr>
          </a:p>
        </p:txBody>
      </p:sp>
      <p:sp>
        <p:nvSpPr>
          <p:cNvPr id="7" name="îŝḷîḑê">
            <a:extLst>
              <a:ext uri="{FF2B5EF4-FFF2-40B4-BE49-F238E27FC236}">
                <a16:creationId xmlns:a16="http://schemas.microsoft.com/office/drawing/2014/main" id="{5EAA1633-6425-4B4D-8A9B-7000212339BF}"/>
              </a:ext>
            </a:extLst>
          </p:cNvPr>
          <p:cNvSpPr txBox="1"/>
          <p:nvPr/>
        </p:nvSpPr>
        <p:spPr>
          <a:xfrm>
            <a:off x="500377" y="3855608"/>
            <a:ext cx="3127902" cy="962310"/>
          </a:xfrm>
          <a:prstGeom prst="rect">
            <a:avLst/>
          </a:prstGeom>
          <a:noFill/>
          <a:ln>
            <a:noFill/>
          </a:ln>
        </p:spPr>
        <p:txBody>
          <a:bodyPr lIns="91440" tIns="45720" rIns="91440" bIns="45720" anchor="t" anchorCtr="0">
            <a:noAutofit/>
          </a:bodyPr>
          <a:lstStyle/>
          <a:p>
            <a:pPr marL="285750" indent="-285750">
              <a:lnSpc>
                <a:spcPct val="120000"/>
              </a:lnSpc>
              <a:buFont typeface="Arial" panose="020B0604020202020204" pitchFamily="34" charset="0"/>
              <a:buChar char="•"/>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优缺点的数量，天平也会因此做动态调整</a:t>
            </a:r>
            <a:endParaRPr lang="en-US" altLang="zh-CN" sz="1600" dirty="0">
              <a:solidFill>
                <a:schemeClr val="tx1">
                  <a:lumMod val="75000"/>
                  <a:lumOff val="25000"/>
                </a:schemeClr>
              </a:solidFill>
              <a:cs typeface="+mn-ea"/>
              <a:sym typeface="+mn-lt"/>
            </a:endParaRPr>
          </a:p>
        </p:txBody>
      </p:sp>
      <p:cxnSp>
        <p:nvCxnSpPr>
          <p:cNvPr id="8" name="直接连接符 7">
            <a:extLst>
              <a:ext uri="{FF2B5EF4-FFF2-40B4-BE49-F238E27FC236}">
                <a16:creationId xmlns:a16="http://schemas.microsoft.com/office/drawing/2014/main" id="{3FBC9F3C-27D2-4872-B90D-54832BE91467}"/>
              </a:ext>
            </a:extLst>
          </p:cNvPr>
          <p:cNvCxnSpPr>
            <a:cxnSpLocks/>
          </p:cNvCxnSpPr>
          <p:nvPr/>
        </p:nvCxnSpPr>
        <p:spPr>
          <a:xfrm>
            <a:off x="500377" y="3638551"/>
            <a:ext cx="3127902" cy="0"/>
          </a:xfrm>
          <a:prstGeom prst="line">
            <a:avLst/>
          </a:prstGeom>
          <a:ln w="9525" cap="rnd">
            <a:solidFill>
              <a:schemeClr val="tx2">
                <a:lumMod val="40000"/>
                <a:lumOff val="6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9" name="îsḷïdè">
            <a:extLst>
              <a:ext uri="{FF2B5EF4-FFF2-40B4-BE49-F238E27FC236}">
                <a16:creationId xmlns:a16="http://schemas.microsoft.com/office/drawing/2014/main" id="{6105C1F7-DDF6-49B1-B9EC-DCB2CC1F51EF}"/>
              </a:ext>
            </a:extLst>
          </p:cNvPr>
          <p:cNvSpPr txBox="1"/>
          <p:nvPr/>
        </p:nvSpPr>
        <p:spPr>
          <a:xfrm>
            <a:off x="8579607" y="1979850"/>
            <a:ext cx="3155737" cy="392512"/>
          </a:xfrm>
          <a:prstGeom prst="rect">
            <a:avLst/>
          </a:prstGeom>
          <a:noFill/>
          <a:ln>
            <a:noFill/>
          </a:ln>
        </p:spPr>
        <p:txBody>
          <a:bodyPr wrap="none" lIns="91440" tIns="45720" rIns="91440" bIns="45720" anchor="ctr" anchorCtr="0">
            <a:normAutofit fontScale="92500"/>
          </a:bodyPr>
          <a:lstStyle/>
          <a:p>
            <a:pPr>
              <a:lnSpc>
                <a:spcPct val="110000"/>
              </a:lnSpc>
              <a:buSzPct val="25000"/>
            </a:pPr>
            <a:r>
              <a:rPr lang="zh-CN" altLang="en-US" sz="2000" b="1" dirty="0">
                <a:solidFill>
                  <a:schemeClr val="accent6"/>
                </a:solidFill>
                <a:cs typeface="+mn-ea"/>
                <a:sym typeface="+mn-lt"/>
              </a:rPr>
              <a:t>请输入具体缺点</a:t>
            </a:r>
          </a:p>
        </p:txBody>
      </p:sp>
      <p:sp>
        <p:nvSpPr>
          <p:cNvPr id="10" name="ísļïdê">
            <a:extLst>
              <a:ext uri="{FF2B5EF4-FFF2-40B4-BE49-F238E27FC236}">
                <a16:creationId xmlns:a16="http://schemas.microsoft.com/office/drawing/2014/main" id="{D4DE7E4E-D4F0-4978-BC2C-1AD1D0D76EEC}"/>
              </a:ext>
            </a:extLst>
          </p:cNvPr>
          <p:cNvSpPr txBox="1"/>
          <p:nvPr/>
        </p:nvSpPr>
        <p:spPr>
          <a:xfrm>
            <a:off x="8579607" y="2459183"/>
            <a:ext cx="3155737" cy="874679"/>
          </a:xfrm>
          <a:prstGeom prst="rect">
            <a:avLst/>
          </a:prstGeom>
          <a:noFill/>
          <a:ln>
            <a:noFill/>
          </a:ln>
        </p:spPr>
        <p:txBody>
          <a:bodyPr lIns="91440" tIns="45720" rIns="91440" bIns="45720" anchor="t" anchorCtr="0">
            <a:noAutofit/>
          </a:bodyPr>
          <a:lstStyle/>
          <a:p>
            <a:pPr marL="285750" indent="-285750">
              <a:lnSpc>
                <a:spcPct val="120000"/>
              </a:lnSpc>
              <a:buFont typeface="Arial" panose="020B0604020202020204" pitchFamily="34" charset="0"/>
              <a:buChar char="•"/>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优缺点的数量，天平也会因此做动态调整</a:t>
            </a:r>
            <a:endParaRPr lang="en-US" altLang="zh-CN" sz="1600" dirty="0">
              <a:solidFill>
                <a:schemeClr val="tx1">
                  <a:lumMod val="75000"/>
                  <a:lumOff val="25000"/>
                </a:schemeClr>
              </a:solidFill>
              <a:cs typeface="+mn-ea"/>
              <a:sym typeface="+mn-lt"/>
            </a:endParaRPr>
          </a:p>
        </p:txBody>
      </p:sp>
      <p:sp>
        <p:nvSpPr>
          <p:cNvPr id="11" name="ísļïdê">
            <a:extLst>
              <a:ext uri="{FF2B5EF4-FFF2-40B4-BE49-F238E27FC236}">
                <a16:creationId xmlns:a16="http://schemas.microsoft.com/office/drawing/2014/main" id="{D594CE2C-5272-4BDE-8A90-91EEC5D5846D}"/>
              </a:ext>
            </a:extLst>
          </p:cNvPr>
          <p:cNvSpPr txBox="1"/>
          <p:nvPr/>
        </p:nvSpPr>
        <p:spPr>
          <a:xfrm>
            <a:off x="8579607" y="3710088"/>
            <a:ext cx="3155737" cy="874679"/>
          </a:xfrm>
          <a:prstGeom prst="rect">
            <a:avLst/>
          </a:prstGeom>
          <a:noFill/>
          <a:ln>
            <a:noFill/>
          </a:ln>
        </p:spPr>
        <p:txBody>
          <a:bodyPr lIns="91440" tIns="45720" rIns="91440" bIns="45720" anchor="t" anchorCtr="0">
            <a:noAutofit/>
          </a:bodyPr>
          <a:lstStyle/>
          <a:p>
            <a:pPr marL="285750" indent="-285750">
              <a:lnSpc>
                <a:spcPct val="120000"/>
              </a:lnSpc>
              <a:buFont typeface="Arial" panose="020B0604020202020204" pitchFamily="34" charset="0"/>
              <a:buChar char="•"/>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优缺点的数量，天平也会因此做动态调整</a:t>
            </a:r>
            <a:endParaRPr lang="en-US" altLang="zh-CN" sz="1600" dirty="0">
              <a:solidFill>
                <a:schemeClr val="tx1">
                  <a:lumMod val="75000"/>
                  <a:lumOff val="25000"/>
                </a:schemeClr>
              </a:solidFill>
              <a:cs typeface="+mn-ea"/>
              <a:sym typeface="+mn-lt"/>
            </a:endParaRPr>
          </a:p>
        </p:txBody>
      </p:sp>
      <p:sp>
        <p:nvSpPr>
          <p:cNvPr id="12" name="ísļïdê">
            <a:extLst>
              <a:ext uri="{FF2B5EF4-FFF2-40B4-BE49-F238E27FC236}">
                <a16:creationId xmlns:a16="http://schemas.microsoft.com/office/drawing/2014/main" id="{6D058D36-6F1B-4086-A766-F1F00A15C6C7}"/>
              </a:ext>
            </a:extLst>
          </p:cNvPr>
          <p:cNvSpPr txBox="1"/>
          <p:nvPr/>
        </p:nvSpPr>
        <p:spPr>
          <a:xfrm>
            <a:off x="8579607" y="4960992"/>
            <a:ext cx="3155737" cy="874679"/>
          </a:xfrm>
          <a:prstGeom prst="rect">
            <a:avLst/>
          </a:prstGeom>
          <a:noFill/>
          <a:ln>
            <a:noFill/>
          </a:ln>
        </p:spPr>
        <p:txBody>
          <a:bodyPr lIns="91440" tIns="45720" rIns="91440" bIns="45720" anchor="t" anchorCtr="0">
            <a:noAutofit/>
          </a:bodyPr>
          <a:lstStyle/>
          <a:p>
            <a:pPr marL="285750" indent="-285750">
              <a:lnSpc>
                <a:spcPct val="120000"/>
              </a:lnSpc>
              <a:buFont typeface="Arial" panose="020B0604020202020204" pitchFamily="34" charset="0"/>
              <a:buChar char="•"/>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优缺点的数量，天平也会因此做动态调整</a:t>
            </a:r>
            <a:endParaRPr lang="en-US" altLang="zh-CN" sz="1600" dirty="0">
              <a:solidFill>
                <a:schemeClr val="tx1">
                  <a:lumMod val="75000"/>
                  <a:lumOff val="25000"/>
                </a:schemeClr>
              </a:solidFill>
              <a:cs typeface="+mn-ea"/>
              <a:sym typeface="+mn-lt"/>
            </a:endParaRPr>
          </a:p>
        </p:txBody>
      </p:sp>
      <p:cxnSp>
        <p:nvCxnSpPr>
          <p:cNvPr id="13" name="直接连接符 12">
            <a:extLst>
              <a:ext uri="{FF2B5EF4-FFF2-40B4-BE49-F238E27FC236}">
                <a16:creationId xmlns:a16="http://schemas.microsoft.com/office/drawing/2014/main" id="{FDF74D5C-8990-417B-891D-467A54159FC1}"/>
              </a:ext>
            </a:extLst>
          </p:cNvPr>
          <p:cNvCxnSpPr>
            <a:cxnSpLocks/>
          </p:cNvCxnSpPr>
          <p:nvPr/>
        </p:nvCxnSpPr>
        <p:spPr>
          <a:xfrm>
            <a:off x="8579607" y="4772880"/>
            <a:ext cx="3155737" cy="0"/>
          </a:xfrm>
          <a:prstGeom prst="line">
            <a:avLst/>
          </a:prstGeom>
          <a:ln w="9525" cap="rnd">
            <a:solidFill>
              <a:schemeClr val="tx2">
                <a:lumMod val="40000"/>
                <a:lumOff val="6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38DCFBBB-4B69-458F-A131-EE4B2644B09E}"/>
              </a:ext>
            </a:extLst>
          </p:cNvPr>
          <p:cNvCxnSpPr>
            <a:cxnSpLocks/>
          </p:cNvCxnSpPr>
          <p:nvPr/>
        </p:nvCxnSpPr>
        <p:spPr>
          <a:xfrm>
            <a:off x="8579607" y="3521975"/>
            <a:ext cx="3155737" cy="0"/>
          </a:xfrm>
          <a:prstGeom prst="line">
            <a:avLst/>
          </a:prstGeom>
          <a:ln w="9525" cap="rnd">
            <a:solidFill>
              <a:schemeClr val="tx2">
                <a:lumMod val="40000"/>
                <a:lumOff val="6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28" name="组合 27">
            <a:extLst>
              <a:ext uri="{FF2B5EF4-FFF2-40B4-BE49-F238E27FC236}">
                <a16:creationId xmlns:a16="http://schemas.microsoft.com/office/drawing/2014/main" id="{CA3639CE-60F4-4256-B80F-00C196D2A008}"/>
              </a:ext>
            </a:extLst>
          </p:cNvPr>
          <p:cNvGrpSpPr/>
          <p:nvPr/>
        </p:nvGrpSpPr>
        <p:grpSpPr>
          <a:xfrm>
            <a:off x="0" y="-715587"/>
            <a:ext cx="676656" cy="602672"/>
            <a:chOff x="0" y="6950133"/>
            <a:chExt cx="676656" cy="602672"/>
          </a:xfrm>
        </p:grpSpPr>
        <p:sp>
          <p:nvSpPr>
            <p:cNvPr id="29" name="矩形 28">
              <a:extLst>
                <a:ext uri="{FF2B5EF4-FFF2-40B4-BE49-F238E27FC236}">
                  <a16:creationId xmlns:a16="http://schemas.microsoft.com/office/drawing/2014/main" id="{AAB62D41-FAC7-4FC9-B601-EC0E708F6401}"/>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30" name="组合 29">
              <a:extLst>
                <a:ext uri="{FF2B5EF4-FFF2-40B4-BE49-F238E27FC236}">
                  <a16:creationId xmlns:a16="http://schemas.microsoft.com/office/drawing/2014/main" id="{5B40C8FE-C50D-4732-87C5-0D7E7792D419}"/>
                </a:ext>
              </a:extLst>
            </p:cNvPr>
            <p:cNvGrpSpPr/>
            <p:nvPr/>
          </p:nvGrpSpPr>
          <p:grpSpPr>
            <a:xfrm>
              <a:off x="47544" y="7038552"/>
              <a:ext cx="581568" cy="425834"/>
              <a:chOff x="84575" y="6977592"/>
              <a:chExt cx="581568" cy="425834"/>
            </a:xfrm>
          </p:grpSpPr>
          <p:grpSp>
            <p:nvGrpSpPr>
              <p:cNvPr id="31" name="组合 30">
                <a:extLst>
                  <a:ext uri="{FF2B5EF4-FFF2-40B4-BE49-F238E27FC236}">
                    <a16:creationId xmlns:a16="http://schemas.microsoft.com/office/drawing/2014/main" id="{D818AB9B-79E3-4674-B226-7AD657EA675B}"/>
                  </a:ext>
                </a:extLst>
              </p:cNvPr>
              <p:cNvGrpSpPr/>
              <p:nvPr/>
            </p:nvGrpSpPr>
            <p:grpSpPr>
              <a:xfrm>
                <a:off x="84575" y="6979654"/>
                <a:ext cx="317380" cy="421711"/>
                <a:chOff x="14690033" y="2185397"/>
                <a:chExt cx="583830" cy="775754"/>
              </a:xfrm>
            </p:grpSpPr>
            <p:sp>
              <p:nvSpPr>
                <p:cNvPr id="33" name="iŝļíḑe">
                  <a:extLst>
                    <a:ext uri="{FF2B5EF4-FFF2-40B4-BE49-F238E27FC236}">
                      <a16:creationId xmlns:a16="http://schemas.microsoft.com/office/drawing/2014/main" id="{C5183D20-895E-4810-8EE0-B2DCE1A56AA8}"/>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ïşḷíḍé">
                  <a:extLst>
                    <a:ext uri="{FF2B5EF4-FFF2-40B4-BE49-F238E27FC236}">
                      <a16:creationId xmlns:a16="http://schemas.microsoft.com/office/drawing/2014/main" id="{5B13BC1B-09C2-4798-875C-3748A0D1CB23}"/>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Sľïḓe">
                  <a:extLst>
                    <a:ext uri="{FF2B5EF4-FFF2-40B4-BE49-F238E27FC236}">
                      <a16:creationId xmlns:a16="http://schemas.microsoft.com/office/drawing/2014/main" id="{54704D57-414A-47CC-9470-9B8BEF3D441A}"/>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sḻídê">
                  <a:extLst>
                    <a:ext uri="{FF2B5EF4-FFF2-40B4-BE49-F238E27FC236}">
                      <a16:creationId xmlns:a16="http://schemas.microsoft.com/office/drawing/2014/main" id="{07D4CAC0-FB59-4AA3-99AD-CED0227434D9}"/>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S1íḋè">
                  <a:extLst>
                    <a:ext uri="{FF2B5EF4-FFF2-40B4-BE49-F238E27FC236}">
                      <a16:creationId xmlns:a16="http://schemas.microsoft.com/office/drawing/2014/main" id="{3E697F26-9FCF-438C-90C1-9EBFE32D60B3}"/>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şļíde">
                  <a:extLst>
                    <a:ext uri="{FF2B5EF4-FFF2-40B4-BE49-F238E27FC236}">
                      <a16:creationId xmlns:a16="http://schemas.microsoft.com/office/drawing/2014/main" id="{DB69EEE3-BDA9-42FE-916C-BB5BC474F8F0}"/>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2" name="文本框 31">
                <a:extLst>
                  <a:ext uri="{FF2B5EF4-FFF2-40B4-BE49-F238E27FC236}">
                    <a16:creationId xmlns:a16="http://schemas.microsoft.com/office/drawing/2014/main" id="{A797B8FC-FE64-4F56-904F-E1A0CB0A5CF8}"/>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9" name="矩形 38">
            <a:extLst>
              <a:ext uri="{FF2B5EF4-FFF2-40B4-BE49-F238E27FC236}">
                <a16:creationId xmlns:a16="http://schemas.microsoft.com/office/drawing/2014/main" id="{E8DA6A55-2438-4C1C-B9B9-FAFCFA0AA89F}"/>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具体子模块，在弹出的左侧编辑区域，回车可添加项目；按</a:t>
            </a:r>
            <a:r>
              <a:rPr lang="en-US" altLang="zh-CN" spc="100" dirty="0">
                <a:solidFill>
                  <a:schemeClr val="tx1">
                    <a:lumMod val="65000"/>
                    <a:lumOff val="35000"/>
                  </a:schemeClr>
                </a:solidFill>
              </a:rPr>
              <a:t>TAB</a:t>
            </a:r>
            <a:r>
              <a:rPr lang="zh-CN" altLang="en-US" spc="100" dirty="0">
                <a:solidFill>
                  <a:schemeClr val="tx1">
                    <a:lumMod val="65000"/>
                    <a:lumOff val="35000"/>
                  </a:schemeClr>
                </a:solidFill>
              </a:rPr>
              <a:t>可改变层级</a:t>
            </a:r>
          </a:p>
        </p:txBody>
      </p:sp>
    </p:spTree>
    <p:extLst>
      <p:ext uri="{BB962C8B-B14F-4D97-AF65-F5344CB8AC3E}">
        <p14:creationId xmlns:p14="http://schemas.microsoft.com/office/powerpoint/2010/main" val="21194881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a:extLst>
              <a:ext uri="{FF2B5EF4-FFF2-40B4-BE49-F238E27FC236}">
                <a16:creationId xmlns:a16="http://schemas.microsoft.com/office/drawing/2014/main" id="{68C3A003-85C5-43AA-8F84-43E793C0C8B7}"/>
              </a:ext>
            </a:extLst>
          </p:cNvPr>
          <p:cNvSpPr>
            <a:spLocks noGrp="1"/>
          </p:cNvSpPr>
          <p:nvPr>
            <p:ph type="subTitle" idx="1"/>
          </p:nvPr>
        </p:nvSpPr>
        <p:spPr/>
        <p:txBody>
          <a:bodyPr/>
          <a:lstStyle/>
          <a:p>
            <a:r>
              <a:rPr lang="en-US" altLang="zh-CN" dirty="0">
                <a:cs typeface="+mn-ea"/>
                <a:sym typeface="+mn-lt"/>
              </a:rPr>
              <a:t>KEY TECHNOLOGIES AND STEPS</a:t>
            </a:r>
          </a:p>
        </p:txBody>
      </p:sp>
      <p:sp>
        <p:nvSpPr>
          <p:cNvPr id="6" name="标题 5">
            <a:extLst>
              <a:ext uri="{FF2B5EF4-FFF2-40B4-BE49-F238E27FC236}">
                <a16:creationId xmlns:a16="http://schemas.microsoft.com/office/drawing/2014/main" id="{BB75BF13-98E3-4ADD-AC2A-6E8926FEF93D}"/>
              </a:ext>
            </a:extLst>
          </p:cNvPr>
          <p:cNvSpPr>
            <a:spLocks noGrp="1"/>
          </p:cNvSpPr>
          <p:nvPr>
            <p:ph type="ctrTitle"/>
          </p:nvPr>
        </p:nvSpPr>
        <p:spPr/>
        <p:txBody>
          <a:bodyPr/>
          <a:lstStyle/>
          <a:p>
            <a:r>
              <a:rPr lang="zh-CN" altLang="en-US" dirty="0">
                <a:cs typeface="+mn-ea"/>
                <a:sym typeface="+mn-lt"/>
              </a:rPr>
              <a:t>关键技术与步骤</a:t>
            </a:r>
            <a:endParaRPr lang="en-US" dirty="0">
              <a:cs typeface="+mn-ea"/>
              <a:sym typeface="+mn-lt"/>
            </a:endParaRPr>
          </a:p>
        </p:txBody>
      </p:sp>
      <p:sp>
        <p:nvSpPr>
          <p:cNvPr id="9" name="文本占位符 8">
            <a:extLst>
              <a:ext uri="{FF2B5EF4-FFF2-40B4-BE49-F238E27FC236}">
                <a16:creationId xmlns:a16="http://schemas.microsoft.com/office/drawing/2014/main" id="{F17A26B9-BC55-4BC6-B6CC-D9E29DC06D29}"/>
              </a:ext>
            </a:extLst>
          </p:cNvPr>
          <p:cNvSpPr>
            <a:spLocks noGrp="1"/>
          </p:cNvSpPr>
          <p:nvPr>
            <p:ph type="body" sz="quarter" idx="12"/>
          </p:nvPr>
        </p:nvSpPr>
        <p:spPr/>
        <p:txBody>
          <a:bodyPr/>
          <a:lstStyle/>
          <a:p>
            <a:pPr marL="0" indent="0">
              <a:buNone/>
            </a:pPr>
            <a:r>
              <a:rPr lang="en-US" altLang="zh-CN" dirty="0">
                <a:cs typeface="+mn-ea"/>
                <a:sym typeface="+mn-lt"/>
              </a:rPr>
              <a:t>03</a:t>
            </a:r>
            <a:endParaRPr lang="en-US" dirty="0">
              <a:cs typeface="+mn-ea"/>
              <a:sym typeface="+mn-lt"/>
            </a:endParaRPr>
          </a:p>
        </p:txBody>
      </p:sp>
      <p:grpSp>
        <p:nvGrpSpPr>
          <p:cNvPr id="5" name="组合 4">
            <a:extLst>
              <a:ext uri="{FF2B5EF4-FFF2-40B4-BE49-F238E27FC236}">
                <a16:creationId xmlns:a16="http://schemas.microsoft.com/office/drawing/2014/main" id="{756304EF-DA15-4DC6-8455-3F3065AC871F}"/>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9324D7ED-DDD2-43E2-B664-91DB9803282D}"/>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0" name="组合 9">
              <a:extLst>
                <a:ext uri="{FF2B5EF4-FFF2-40B4-BE49-F238E27FC236}">
                  <a16:creationId xmlns:a16="http://schemas.microsoft.com/office/drawing/2014/main" id="{BCDCC43E-70D9-466A-89E7-D8E3F0D7087E}"/>
                </a:ext>
              </a:extLst>
            </p:cNvPr>
            <p:cNvGrpSpPr/>
            <p:nvPr/>
          </p:nvGrpSpPr>
          <p:grpSpPr>
            <a:xfrm>
              <a:off x="47544" y="7038552"/>
              <a:ext cx="581568" cy="425834"/>
              <a:chOff x="84575" y="6977592"/>
              <a:chExt cx="581568" cy="425834"/>
            </a:xfrm>
          </p:grpSpPr>
          <p:grpSp>
            <p:nvGrpSpPr>
              <p:cNvPr id="11" name="组合 10">
                <a:extLst>
                  <a:ext uri="{FF2B5EF4-FFF2-40B4-BE49-F238E27FC236}">
                    <a16:creationId xmlns:a16="http://schemas.microsoft.com/office/drawing/2014/main" id="{9A28BB75-86B8-4EF8-AAA6-84B295834081}"/>
                  </a:ext>
                </a:extLst>
              </p:cNvPr>
              <p:cNvGrpSpPr/>
              <p:nvPr/>
            </p:nvGrpSpPr>
            <p:grpSpPr>
              <a:xfrm>
                <a:off x="84575" y="6979654"/>
                <a:ext cx="317380" cy="421711"/>
                <a:chOff x="14690033" y="2185397"/>
                <a:chExt cx="583830" cy="775754"/>
              </a:xfrm>
            </p:grpSpPr>
            <p:sp>
              <p:nvSpPr>
                <p:cNvPr id="13" name="iŝļíḑe">
                  <a:extLst>
                    <a:ext uri="{FF2B5EF4-FFF2-40B4-BE49-F238E27FC236}">
                      <a16:creationId xmlns:a16="http://schemas.microsoft.com/office/drawing/2014/main" id="{846FB3EC-FC2D-489C-BD1E-22500E21DA4D}"/>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şḷíḍé">
                  <a:extLst>
                    <a:ext uri="{FF2B5EF4-FFF2-40B4-BE49-F238E27FC236}">
                      <a16:creationId xmlns:a16="http://schemas.microsoft.com/office/drawing/2014/main" id="{FE304D59-C341-43BB-B163-46583F9CFEE6}"/>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ľïḓe">
                  <a:extLst>
                    <a:ext uri="{FF2B5EF4-FFF2-40B4-BE49-F238E27FC236}">
                      <a16:creationId xmlns:a16="http://schemas.microsoft.com/office/drawing/2014/main" id="{30706C99-1B64-427A-B4A9-21678FC3119C}"/>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ídê">
                  <a:extLst>
                    <a:ext uri="{FF2B5EF4-FFF2-40B4-BE49-F238E27FC236}">
                      <a16:creationId xmlns:a16="http://schemas.microsoft.com/office/drawing/2014/main" id="{A08B37B5-2B23-4ED7-B338-D6CE0DA1216A}"/>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îS1íḋè">
                  <a:extLst>
                    <a:ext uri="{FF2B5EF4-FFF2-40B4-BE49-F238E27FC236}">
                      <a16:creationId xmlns:a16="http://schemas.microsoft.com/office/drawing/2014/main" id="{DD375212-D394-44AD-A725-D3A82638931F}"/>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şļíde">
                  <a:extLst>
                    <a:ext uri="{FF2B5EF4-FFF2-40B4-BE49-F238E27FC236}">
                      <a16:creationId xmlns:a16="http://schemas.microsoft.com/office/drawing/2014/main" id="{3F39D31C-1BD6-4E9C-B444-279BB7FDFB3C}"/>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2" name="文本框 11">
                <a:extLst>
                  <a:ext uri="{FF2B5EF4-FFF2-40B4-BE49-F238E27FC236}">
                    <a16:creationId xmlns:a16="http://schemas.microsoft.com/office/drawing/2014/main" id="{8FEC9B18-35E5-4EAE-B85B-A60DA0FDECD0}"/>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a:extLst>
              <a:ext uri="{FF2B5EF4-FFF2-40B4-BE49-F238E27FC236}">
                <a16:creationId xmlns:a16="http://schemas.microsoft.com/office/drawing/2014/main" id="{2935362C-0DF8-4DAF-8D2D-2636F8D02B20}"/>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3435249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EBE8BA41-E5FF-44E0-BEC6-EF1BAE216B90}"/>
              </a:ext>
            </a:extLst>
          </p:cNvPr>
          <p:cNvSpPr>
            <a:spLocks noGrp="1"/>
          </p:cNvSpPr>
          <p:nvPr>
            <p:ph type="title"/>
          </p:nvPr>
        </p:nvSpPr>
        <p:spPr/>
        <p:txBody>
          <a:bodyPr/>
          <a:lstStyle/>
          <a:p>
            <a:r>
              <a:rPr lang="zh-CN" altLang="en-US" dirty="0">
                <a:latin typeface="+mn-lt"/>
                <a:ea typeface="+mn-ea"/>
                <a:cs typeface="+mn-ea"/>
                <a:sym typeface="+mn-lt"/>
              </a:rPr>
              <a:t>技术架构展示页</a:t>
            </a:r>
            <a:endParaRPr lang="en-US" dirty="0">
              <a:latin typeface="+mn-lt"/>
              <a:ea typeface="+mn-ea"/>
              <a:cs typeface="+mn-ea"/>
              <a:sym typeface="+mn-lt"/>
            </a:endParaRPr>
          </a:p>
        </p:txBody>
      </p:sp>
      <p:graphicFrame>
        <p:nvGraphicFramePr>
          <p:cNvPr id="2" name="图示 1">
            <a:extLst>
              <a:ext uri="{FF2B5EF4-FFF2-40B4-BE49-F238E27FC236}">
                <a16:creationId xmlns:a16="http://schemas.microsoft.com/office/drawing/2014/main" id="{270A804B-D81C-43CA-86E8-1B71CBED4D60}"/>
              </a:ext>
            </a:extLst>
          </p:cNvPr>
          <p:cNvGraphicFramePr/>
          <p:nvPr>
            <p:extLst>
              <p:ext uri="{D42A27DB-BD31-4B8C-83A1-F6EECF244321}">
                <p14:modId xmlns:p14="http://schemas.microsoft.com/office/powerpoint/2010/main" val="3325422230"/>
              </p:ext>
            </p:extLst>
          </p:nvPr>
        </p:nvGraphicFramePr>
        <p:xfrm>
          <a:off x="495156" y="1209386"/>
          <a:ext cx="5572760" cy="49413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 name="TextBox 53">
            <a:extLst>
              <a:ext uri="{FF2B5EF4-FFF2-40B4-BE49-F238E27FC236}">
                <a16:creationId xmlns:a16="http://schemas.microsoft.com/office/drawing/2014/main" id="{5C48E5E8-B886-4A4A-8337-32CD8470470B}"/>
              </a:ext>
            </a:extLst>
          </p:cNvPr>
          <p:cNvSpPr txBox="1"/>
          <p:nvPr/>
        </p:nvSpPr>
        <p:spPr bwMode="gray">
          <a:xfrm>
            <a:off x="6961909" y="1556928"/>
            <a:ext cx="4750666" cy="1262863"/>
          </a:xfrm>
          <a:prstGeom prst="rect">
            <a:avLst/>
          </a:prstGeom>
          <a:solidFill>
            <a:schemeClr val="bg1"/>
          </a:solidFill>
          <a:ln w="6350">
            <a:solidFill>
              <a:schemeClr val="accent1"/>
            </a:solidFill>
            <a:miter lim="800000"/>
            <a:headEnd/>
            <a:tailEnd/>
          </a:ln>
        </p:spPr>
        <p:txBody>
          <a:bodyPr wrap="square" lIns="108000" tIns="360000" rIns="36000" bIns="0" rtlCol="0" anchor="t" anchorCtr="0">
            <a:noAutofit/>
          </a:bodyPr>
          <a:lstStyle/>
          <a:p>
            <a:pPr>
              <a:lnSpc>
                <a:spcPct val="120000"/>
              </a:lnSpc>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金字塔的层级，添加或删减多层都可以，很有趣可以尝试下噢</a:t>
            </a:r>
            <a:endParaRPr lang="en-US" altLang="zh-CN" sz="1600" dirty="0">
              <a:solidFill>
                <a:schemeClr val="tx1">
                  <a:lumMod val="75000"/>
                  <a:lumOff val="25000"/>
                </a:schemeClr>
              </a:solidFill>
              <a:cs typeface="+mn-ea"/>
              <a:sym typeface="+mn-lt"/>
            </a:endParaRPr>
          </a:p>
        </p:txBody>
      </p:sp>
      <p:sp>
        <p:nvSpPr>
          <p:cNvPr id="16" name="TextBox 54">
            <a:extLst>
              <a:ext uri="{FF2B5EF4-FFF2-40B4-BE49-F238E27FC236}">
                <a16:creationId xmlns:a16="http://schemas.microsoft.com/office/drawing/2014/main" id="{0C692CAF-2764-4D62-B786-D52AB0C322E9}"/>
              </a:ext>
            </a:extLst>
          </p:cNvPr>
          <p:cNvSpPr txBox="1"/>
          <p:nvPr/>
        </p:nvSpPr>
        <p:spPr bwMode="gray">
          <a:xfrm>
            <a:off x="6961909" y="3086813"/>
            <a:ext cx="4750666" cy="1262863"/>
          </a:xfrm>
          <a:prstGeom prst="rect">
            <a:avLst/>
          </a:prstGeom>
          <a:solidFill>
            <a:schemeClr val="bg1"/>
          </a:solidFill>
          <a:ln w="6350">
            <a:solidFill>
              <a:schemeClr val="bg1">
                <a:lumMod val="75000"/>
              </a:schemeClr>
            </a:solidFill>
            <a:miter lim="800000"/>
            <a:headEnd/>
            <a:tailEnd/>
          </a:ln>
        </p:spPr>
        <p:txBody>
          <a:bodyPr wrap="square" lIns="108000" tIns="360000" rIns="36000" bIns="0" rtlCol="0" anchor="t" anchorCtr="0">
            <a:noAutofit/>
          </a:bodyPr>
          <a:lstStyle/>
          <a:p>
            <a:pPr>
              <a:lnSpc>
                <a:spcPct val="120000"/>
              </a:lnSpc>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金字塔的层级，添加或删减多层都可以，很有趣可以尝试下噢</a:t>
            </a:r>
            <a:endParaRPr lang="en-US" altLang="zh-CN" sz="1600" dirty="0">
              <a:solidFill>
                <a:schemeClr val="tx1">
                  <a:lumMod val="75000"/>
                  <a:lumOff val="25000"/>
                </a:schemeClr>
              </a:solidFill>
              <a:cs typeface="+mn-ea"/>
              <a:sym typeface="+mn-lt"/>
            </a:endParaRPr>
          </a:p>
        </p:txBody>
      </p:sp>
      <p:sp>
        <p:nvSpPr>
          <p:cNvPr id="17" name="TextBox 55">
            <a:extLst>
              <a:ext uri="{FF2B5EF4-FFF2-40B4-BE49-F238E27FC236}">
                <a16:creationId xmlns:a16="http://schemas.microsoft.com/office/drawing/2014/main" id="{C89F6202-ED27-42DD-A516-C53ED895B594}"/>
              </a:ext>
            </a:extLst>
          </p:cNvPr>
          <p:cNvSpPr txBox="1"/>
          <p:nvPr/>
        </p:nvSpPr>
        <p:spPr bwMode="gray">
          <a:xfrm>
            <a:off x="6961909" y="4616698"/>
            <a:ext cx="4750666" cy="1262863"/>
          </a:xfrm>
          <a:prstGeom prst="rect">
            <a:avLst/>
          </a:prstGeom>
          <a:solidFill>
            <a:schemeClr val="bg1"/>
          </a:solidFill>
          <a:ln w="6350">
            <a:solidFill>
              <a:schemeClr val="bg1">
                <a:lumMod val="75000"/>
              </a:schemeClr>
            </a:solidFill>
            <a:miter lim="800000"/>
            <a:headEnd/>
            <a:tailEnd/>
          </a:ln>
        </p:spPr>
        <p:txBody>
          <a:bodyPr wrap="square" lIns="108000" tIns="360000" rIns="36000" bIns="0" rtlCol="0" anchor="t" anchorCtr="0">
            <a:noAutofit/>
          </a:bodyPr>
          <a:lstStyle/>
          <a:p>
            <a:pPr>
              <a:lnSpc>
                <a:spcPct val="120000"/>
              </a:lnSpc>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金字塔的层级，添加或删减多层都可以，很有趣可以尝试下噢</a:t>
            </a:r>
            <a:endParaRPr lang="en-US" altLang="zh-CN" sz="1600" dirty="0">
              <a:solidFill>
                <a:schemeClr val="tx1">
                  <a:lumMod val="75000"/>
                  <a:lumOff val="25000"/>
                </a:schemeClr>
              </a:solidFill>
              <a:cs typeface="+mn-ea"/>
              <a:sym typeface="+mn-lt"/>
            </a:endParaRPr>
          </a:p>
        </p:txBody>
      </p:sp>
      <p:sp>
        <p:nvSpPr>
          <p:cNvPr id="18" name="Rectangle 90">
            <a:extLst>
              <a:ext uri="{FF2B5EF4-FFF2-40B4-BE49-F238E27FC236}">
                <a16:creationId xmlns:a16="http://schemas.microsoft.com/office/drawing/2014/main" id="{961797C9-DDF6-4399-A2DD-AF3EEF83B3FF}"/>
              </a:ext>
            </a:extLst>
          </p:cNvPr>
          <p:cNvSpPr/>
          <p:nvPr/>
        </p:nvSpPr>
        <p:spPr>
          <a:xfrm>
            <a:off x="7065607" y="4456608"/>
            <a:ext cx="1849793" cy="392754"/>
          </a:xfrm>
          <a:prstGeom prst="roundRect">
            <a:avLst>
              <a:gd name="adj" fmla="val 50000"/>
            </a:avLst>
          </a:prstGeom>
          <a:solidFill>
            <a:schemeClr val="tx1">
              <a:lumMod val="65000"/>
              <a:lumOff val="35000"/>
            </a:schemeClr>
          </a:solidFill>
          <a:ln w="190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111">
              <a:defRPr/>
            </a:pPr>
            <a:r>
              <a:rPr lang="zh-CN" altLang="en-US" sz="2000" b="1" kern="0" dirty="0">
                <a:solidFill>
                  <a:schemeClr val="bg1"/>
                </a:solidFill>
                <a:cs typeface="+mn-ea"/>
                <a:sym typeface="+mn-lt"/>
              </a:rPr>
              <a:t>请输入标题</a:t>
            </a:r>
            <a:endParaRPr lang="en-US" altLang="zh-CN" sz="2000" b="1" kern="0" dirty="0">
              <a:solidFill>
                <a:schemeClr val="bg1"/>
              </a:solidFill>
              <a:cs typeface="+mn-ea"/>
              <a:sym typeface="+mn-lt"/>
            </a:endParaRPr>
          </a:p>
        </p:txBody>
      </p:sp>
      <p:sp>
        <p:nvSpPr>
          <p:cNvPr id="19" name="Rectangle 91">
            <a:extLst>
              <a:ext uri="{FF2B5EF4-FFF2-40B4-BE49-F238E27FC236}">
                <a16:creationId xmlns:a16="http://schemas.microsoft.com/office/drawing/2014/main" id="{A8BB5694-2B7C-4955-8F67-AFB1B5A1551F}"/>
              </a:ext>
            </a:extLst>
          </p:cNvPr>
          <p:cNvSpPr/>
          <p:nvPr/>
        </p:nvSpPr>
        <p:spPr>
          <a:xfrm>
            <a:off x="7065607" y="2934801"/>
            <a:ext cx="1849793" cy="392754"/>
          </a:xfrm>
          <a:prstGeom prst="roundRect">
            <a:avLst>
              <a:gd name="adj" fmla="val 50000"/>
            </a:avLst>
          </a:prstGeom>
          <a:solidFill>
            <a:schemeClr val="tx1">
              <a:lumMod val="65000"/>
              <a:lumOff val="35000"/>
            </a:schemeClr>
          </a:solidFill>
          <a:ln w="190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111">
              <a:defRPr/>
            </a:pPr>
            <a:r>
              <a:rPr lang="zh-CN" altLang="en-US" sz="2000" b="1" kern="0" dirty="0">
                <a:solidFill>
                  <a:schemeClr val="bg1"/>
                </a:solidFill>
                <a:cs typeface="+mn-ea"/>
                <a:sym typeface="+mn-lt"/>
              </a:rPr>
              <a:t>请输入标题</a:t>
            </a:r>
            <a:endParaRPr lang="en-US" altLang="zh-CN" sz="2000" b="1" kern="0" dirty="0">
              <a:solidFill>
                <a:schemeClr val="bg1"/>
              </a:solidFill>
              <a:cs typeface="+mn-ea"/>
              <a:sym typeface="+mn-lt"/>
            </a:endParaRPr>
          </a:p>
        </p:txBody>
      </p:sp>
      <p:sp>
        <p:nvSpPr>
          <p:cNvPr id="20" name="Rectangle 92">
            <a:extLst>
              <a:ext uri="{FF2B5EF4-FFF2-40B4-BE49-F238E27FC236}">
                <a16:creationId xmlns:a16="http://schemas.microsoft.com/office/drawing/2014/main" id="{8664899A-0A74-4E30-8573-3440BE8A7A17}"/>
              </a:ext>
            </a:extLst>
          </p:cNvPr>
          <p:cNvSpPr/>
          <p:nvPr/>
        </p:nvSpPr>
        <p:spPr>
          <a:xfrm>
            <a:off x="7054032" y="1381927"/>
            <a:ext cx="1849793" cy="392754"/>
          </a:xfrm>
          <a:prstGeom prst="roundRect">
            <a:avLst>
              <a:gd name="adj" fmla="val 50000"/>
            </a:avLst>
          </a:prstGeom>
          <a:solidFill>
            <a:schemeClr val="accent1"/>
          </a:solidFill>
          <a:ln w="190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111">
              <a:defRPr/>
            </a:pPr>
            <a:r>
              <a:rPr lang="zh-CN" altLang="en-US" sz="2000" b="1" kern="0" dirty="0">
                <a:solidFill>
                  <a:schemeClr val="bg1"/>
                </a:solidFill>
                <a:cs typeface="+mn-ea"/>
                <a:sym typeface="+mn-lt"/>
              </a:rPr>
              <a:t>请输入标题</a:t>
            </a:r>
            <a:endParaRPr lang="en-US" altLang="zh-CN" sz="2000" b="1" kern="0" dirty="0">
              <a:solidFill>
                <a:schemeClr val="bg1"/>
              </a:solidFill>
              <a:cs typeface="+mn-ea"/>
              <a:sym typeface="+mn-lt"/>
            </a:endParaRPr>
          </a:p>
        </p:txBody>
      </p:sp>
      <p:cxnSp>
        <p:nvCxnSpPr>
          <p:cNvPr id="36" name="Straight Connector 43">
            <a:extLst>
              <a:ext uri="{FF2B5EF4-FFF2-40B4-BE49-F238E27FC236}">
                <a16:creationId xmlns:a16="http://schemas.microsoft.com/office/drawing/2014/main" id="{3DBD91EC-58E6-4CF7-9238-F9FCAC336C8D}"/>
              </a:ext>
            </a:extLst>
          </p:cNvPr>
          <p:cNvCxnSpPr>
            <a:cxnSpLocks/>
            <a:endCxn id="15" idx="1"/>
          </p:cNvCxnSpPr>
          <p:nvPr/>
        </p:nvCxnSpPr>
        <p:spPr>
          <a:xfrm>
            <a:off x="3969208" y="2188359"/>
            <a:ext cx="2992701" cy="1"/>
          </a:xfrm>
          <a:prstGeom prst="line">
            <a:avLst/>
          </a:prstGeom>
          <a:ln>
            <a:solidFill>
              <a:schemeClr val="tx1">
                <a:lumMod val="50000"/>
                <a:lumOff val="50000"/>
              </a:schemeClr>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37" name="Straight Connector 44">
            <a:extLst>
              <a:ext uri="{FF2B5EF4-FFF2-40B4-BE49-F238E27FC236}">
                <a16:creationId xmlns:a16="http://schemas.microsoft.com/office/drawing/2014/main" id="{2138A9D9-4472-4B72-A8C7-580CF042E161}"/>
              </a:ext>
            </a:extLst>
          </p:cNvPr>
          <p:cNvCxnSpPr>
            <a:cxnSpLocks/>
          </p:cNvCxnSpPr>
          <p:nvPr/>
        </p:nvCxnSpPr>
        <p:spPr>
          <a:xfrm>
            <a:off x="4806684" y="3716268"/>
            <a:ext cx="2155224" cy="3953"/>
          </a:xfrm>
          <a:prstGeom prst="line">
            <a:avLst/>
          </a:prstGeom>
          <a:ln>
            <a:solidFill>
              <a:schemeClr val="tx1">
                <a:lumMod val="50000"/>
                <a:lumOff val="50000"/>
              </a:schemeClr>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38" name="Straight Connector 46">
            <a:extLst>
              <a:ext uri="{FF2B5EF4-FFF2-40B4-BE49-F238E27FC236}">
                <a16:creationId xmlns:a16="http://schemas.microsoft.com/office/drawing/2014/main" id="{2642EB48-8729-40D0-A6CA-AD58A2457FB7}"/>
              </a:ext>
            </a:extLst>
          </p:cNvPr>
          <p:cNvCxnSpPr>
            <a:cxnSpLocks/>
          </p:cNvCxnSpPr>
          <p:nvPr/>
        </p:nvCxnSpPr>
        <p:spPr>
          <a:xfrm>
            <a:off x="5605451" y="5246854"/>
            <a:ext cx="1356456" cy="2551"/>
          </a:xfrm>
          <a:prstGeom prst="line">
            <a:avLst/>
          </a:prstGeom>
          <a:ln>
            <a:solidFill>
              <a:schemeClr val="tx1">
                <a:lumMod val="50000"/>
                <a:lumOff val="50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23" name="灯片编号占位符 2">
            <a:extLst>
              <a:ext uri="{FF2B5EF4-FFF2-40B4-BE49-F238E27FC236}">
                <a16:creationId xmlns:a16="http://schemas.microsoft.com/office/drawing/2014/main" id="{8569011D-2DFB-43D0-B65E-7796BB13BF04}"/>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39</a:t>
            </a:fld>
            <a:endParaRPr lang="en-US" dirty="0">
              <a:solidFill>
                <a:srgbClr val="000000">
                  <a:tint val="75000"/>
                </a:srgbClr>
              </a:solidFill>
              <a:cs typeface="+mn-ea"/>
              <a:sym typeface="+mn-lt"/>
            </a:endParaRPr>
          </a:p>
        </p:txBody>
      </p:sp>
      <p:grpSp>
        <p:nvGrpSpPr>
          <p:cNvPr id="14" name="组合 13">
            <a:extLst>
              <a:ext uri="{FF2B5EF4-FFF2-40B4-BE49-F238E27FC236}">
                <a16:creationId xmlns:a16="http://schemas.microsoft.com/office/drawing/2014/main" id="{FBCF4CF3-893D-4E90-88A4-D0FFF3FDF19E}"/>
              </a:ext>
            </a:extLst>
          </p:cNvPr>
          <p:cNvGrpSpPr/>
          <p:nvPr/>
        </p:nvGrpSpPr>
        <p:grpSpPr>
          <a:xfrm>
            <a:off x="0" y="-715587"/>
            <a:ext cx="676656" cy="602672"/>
            <a:chOff x="0" y="6950133"/>
            <a:chExt cx="676656" cy="602672"/>
          </a:xfrm>
        </p:grpSpPr>
        <p:sp>
          <p:nvSpPr>
            <p:cNvPr id="21" name="矩形 20">
              <a:extLst>
                <a:ext uri="{FF2B5EF4-FFF2-40B4-BE49-F238E27FC236}">
                  <a16:creationId xmlns:a16="http://schemas.microsoft.com/office/drawing/2014/main" id="{0A718819-10CC-466A-8F50-11028453081B}"/>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22" name="组合 21">
              <a:extLst>
                <a:ext uri="{FF2B5EF4-FFF2-40B4-BE49-F238E27FC236}">
                  <a16:creationId xmlns:a16="http://schemas.microsoft.com/office/drawing/2014/main" id="{95684DEC-9053-43EE-A872-937819172E27}"/>
                </a:ext>
              </a:extLst>
            </p:cNvPr>
            <p:cNvGrpSpPr/>
            <p:nvPr/>
          </p:nvGrpSpPr>
          <p:grpSpPr>
            <a:xfrm>
              <a:off x="47544" y="7038552"/>
              <a:ext cx="581568" cy="425834"/>
              <a:chOff x="84575" y="6977592"/>
              <a:chExt cx="581568" cy="425834"/>
            </a:xfrm>
          </p:grpSpPr>
          <p:grpSp>
            <p:nvGrpSpPr>
              <p:cNvPr id="24" name="组合 23">
                <a:extLst>
                  <a:ext uri="{FF2B5EF4-FFF2-40B4-BE49-F238E27FC236}">
                    <a16:creationId xmlns:a16="http://schemas.microsoft.com/office/drawing/2014/main" id="{31AE890A-04A7-4DCE-BC44-EA2CA6F988B0}"/>
                  </a:ext>
                </a:extLst>
              </p:cNvPr>
              <p:cNvGrpSpPr/>
              <p:nvPr/>
            </p:nvGrpSpPr>
            <p:grpSpPr>
              <a:xfrm>
                <a:off x="84575" y="6979654"/>
                <a:ext cx="317380" cy="421711"/>
                <a:chOff x="14690033" y="2185397"/>
                <a:chExt cx="583830" cy="775754"/>
              </a:xfrm>
            </p:grpSpPr>
            <p:sp>
              <p:nvSpPr>
                <p:cNvPr id="26" name="iŝļíḑe">
                  <a:extLst>
                    <a:ext uri="{FF2B5EF4-FFF2-40B4-BE49-F238E27FC236}">
                      <a16:creationId xmlns:a16="http://schemas.microsoft.com/office/drawing/2014/main" id="{289CBA1A-CB3C-4697-8C05-1B9918E37C3C}"/>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şḷíḍé">
                  <a:extLst>
                    <a:ext uri="{FF2B5EF4-FFF2-40B4-BE49-F238E27FC236}">
                      <a16:creationId xmlns:a16="http://schemas.microsoft.com/office/drawing/2014/main" id="{30C1D65A-1213-4CB5-BC35-DB6F1D311036}"/>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Sľïḓe">
                  <a:extLst>
                    <a:ext uri="{FF2B5EF4-FFF2-40B4-BE49-F238E27FC236}">
                      <a16:creationId xmlns:a16="http://schemas.microsoft.com/office/drawing/2014/main" id="{BF76BC12-6D92-4D86-BA93-D45B9B5E0C85}"/>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sḻídê">
                  <a:extLst>
                    <a:ext uri="{FF2B5EF4-FFF2-40B4-BE49-F238E27FC236}">
                      <a16:creationId xmlns:a16="http://schemas.microsoft.com/office/drawing/2014/main" id="{380F03D3-8D21-4E2D-9FFE-74CB685A9966}"/>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S1íḋè">
                  <a:extLst>
                    <a:ext uri="{FF2B5EF4-FFF2-40B4-BE49-F238E27FC236}">
                      <a16:creationId xmlns:a16="http://schemas.microsoft.com/office/drawing/2014/main" id="{3AE14CCA-06F3-4631-A7CB-384A60063D27}"/>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şļíde">
                  <a:extLst>
                    <a:ext uri="{FF2B5EF4-FFF2-40B4-BE49-F238E27FC236}">
                      <a16:creationId xmlns:a16="http://schemas.microsoft.com/office/drawing/2014/main" id="{32C3F17F-5175-4527-B1DD-57FAC922E0ED}"/>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5" name="文本框 24">
                <a:extLst>
                  <a:ext uri="{FF2B5EF4-FFF2-40B4-BE49-F238E27FC236}">
                    <a16:creationId xmlns:a16="http://schemas.microsoft.com/office/drawing/2014/main" id="{E04CC0A5-49B0-458F-81BE-B62D828C78F5}"/>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2" name="矩形 31">
            <a:extLst>
              <a:ext uri="{FF2B5EF4-FFF2-40B4-BE49-F238E27FC236}">
                <a16:creationId xmlns:a16="http://schemas.microsoft.com/office/drawing/2014/main" id="{1356A41E-864B-4F8F-98F7-BFFE3C8EF57B}"/>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具体子模块，在弹出的左侧编辑区域，回车可添加项目；按</a:t>
            </a:r>
            <a:r>
              <a:rPr lang="en-US" altLang="zh-CN" spc="100" dirty="0">
                <a:solidFill>
                  <a:schemeClr val="tx1">
                    <a:lumMod val="65000"/>
                    <a:lumOff val="35000"/>
                  </a:schemeClr>
                </a:solidFill>
              </a:rPr>
              <a:t>TAB</a:t>
            </a:r>
            <a:r>
              <a:rPr lang="zh-CN" altLang="en-US" spc="100" dirty="0">
                <a:solidFill>
                  <a:schemeClr val="tx1">
                    <a:lumMod val="65000"/>
                    <a:lumOff val="35000"/>
                  </a:schemeClr>
                </a:solidFill>
              </a:rPr>
              <a:t>可改变层级</a:t>
            </a:r>
          </a:p>
        </p:txBody>
      </p:sp>
    </p:spTree>
    <p:extLst>
      <p:ext uri="{BB962C8B-B14F-4D97-AF65-F5344CB8AC3E}">
        <p14:creationId xmlns:p14="http://schemas.microsoft.com/office/powerpoint/2010/main" val="30216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1CA114A-D4F4-407B-9104-857E3EAB6292}"/>
              </a:ext>
            </a:extLst>
          </p:cNvPr>
          <p:cNvSpPr>
            <a:spLocks noGrp="1"/>
          </p:cNvSpPr>
          <p:nvPr>
            <p:ph type="ctrTitle"/>
          </p:nvPr>
        </p:nvSpPr>
        <p:spPr/>
        <p:txBody>
          <a:bodyPr/>
          <a:lstStyle/>
          <a:p>
            <a:pPr algn="dist"/>
            <a:r>
              <a:rPr lang="zh-CN" altLang="en-US" dirty="0">
                <a:cs typeface="+mn-ea"/>
                <a:sym typeface="+mn-lt"/>
              </a:rPr>
              <a:t>上海大学汇报答辩通用模板</a:t>
            </a:r>
            <a:endParaRPr lang="en-US" dirty="0">
              <a:cs typeface="+mn-ea"/>
              <a:sym typeface="+mn-lt"/>
            </a:endParaRPr>
          </a:p>
        </p:txBody>
      </p:sp>
      <p:sp>
        <p:nvSpPr>
          <p:cNvPr id="3" name="副标题 2">
            <a:extLst>
              <a:ext uri="{FF2B5EF4-FFF2-40B4-BE49-F238E27FC236}">
                <a16:creationId xmlns:a16="http://schemas.microsoft.com/office/drawing/2014/main" id="{ED8454BD-4559-49CD-A793-D15A2D766AC2}"/>
              </a:ext>
            </a:extLst>
          </p:cNvPr>
          <p:cNvSpPr>
            <a:spLocks noGrp="1"/>
          </p:cNvSpPr>
          <p:nvPr>
            <p:ph type="subTitle" idx="1"/>
          </p:nvPr>
        </p:nvSpPr>
        <p:spPr/>
        <p:txBody>
          <a:bodyPr/>
          <a:lstStyle/>
          <a:p>
            <a:pPr algn="dist"/>
            <a:r>
              <a:rPr lang="en-US" altLang="zh-CN" dirty="0">
                <a:cs typeface="+mn-ea"/>
                <a:sym typeface="+mn-lt"/>
              </a:rPr>
              <a:t>GENERAL REPORTING TEMPLATE FOR SHANGHAI UNIVERSITY</a:t>
            </a:r>
          </a:p>
        </p:txBody>
      </p:sp>
      <p:sp>
        <p:nvSpPr>
          <p:cNvPr id="5" name="文本占位符 4">
            <a:extLst>
              <a:ext uri="{FF2B5EF4-FFF2-40B4-BE49-F238E27FC236}">
                <a16:creationId xmlns:a16="http://schemas.microsoft.com/office/drawing/2014/main" id="{9222CCD5-33EB-403C-8B35-2481E00DAAEA}"/>
              </a:ext>
            </a:extLst>
          </p:cNvPr>
          <p:cNvSpPr>
            <a:spLocks noGrp="1"/>
          </p:cNvSpPr>
          <p:nvPr>
            <p:ph type="body" sz="quarter" idx="15"/>
          </p:nvPr>
        </p:nvSpPr>
        <p:spPr/>
        <p:txBody>
          <a:bodyPr/>
          <a:lstStyle/>
          <a:p>
            <a:r>
              <a:rPr lang="zh-CN" altLang="en-US" dirty="0">
                <a:cs typeface="+mn-ea"/>
                <a:sym typeface="+mn-lt"/>
              </a:rPr>
              <a:t>指导教师：林利蒙</a:t>
            </a:r>
          </a:p>
        </p:txBody>
      </p:sp>
      <p:sp>
        <p:nvSpPr>
          <p:cNvPr id="7" name="文本占位符 6">
            <a:extLst>
              <a:ext uri="{FF2B5EF4-FFF2-40B4-BE49-F238E27FC236}">
                <a16:creationId xmlns:a16="http://schemas.microsoft.com/office/drawing/2014/main" id="{157FDF79-8A14-4A4C-96DB-B0452E47E148}"/>
              </a:ext>
            </a:extLst>
          </p:cNvPr>
          <p:cNvSpPr>
            <a:spLocks noGrp="1"/>
          </p:cNvSpPr>
          <p:nvPr>
            <p:ph type="body" sz="quarter" idx="16"/>
          </p:nvPr>
        </p:nvSpPr>
        <p:spPr/>
        <p:txBody>
          <a:bodyPr/>
          <a:lstStyle/>
          <a:p>
            <a:r>
              <a:rPr lang="zh-CN" altLang="en-US" dirty="0">
                <a:cs typeface="+mn-ea"/>
                <a:sym typeface="+mn-lt"/>
              </a:rPr>
              <a:t>答辩人：林利蒙</a:t>
            </a:r>
          </a:p>
        </p:txBody>
      </p:sp>
      <p:grpSp>
        <p:nvGrpSpPr>
          <p:cNvPr id="6" name="组合 5">
            <a:extLst>
              <a:ext uri="{FF2B5EF4-FFF2-40B4-BE49-F238E27FC236}">
                <a16:creationId xmlns:a16="http://schemas.microsoft.com/office/drawing/2014/main" id="{D69F2EF7-732D-468D-8011-660E788A72E0}"/>
              </a:ext>
            </a:extLst>
          </p:cNvPr>
          <p:cNvGrpSpPr/>
          <p:nvPr/>
        </p:nvGrpSpPr>
        <p:grpSpPr>
          <a:xfrm>
            <a:off x="0" y="6950133"/>
            <a:ext cx="676656" cy="602672"/>
            <a:chOff x="0" y="6950133"/>
            <a:chExt cx="676656" cy="602672"/>
          </a:xfrm>
        </p:grpSpPr>
        <p:sp>
          <p:nvSpPr>
            <p:cNvPr id="8" name="矩形 7">
              <a:extLst>
                <a:ext uri="{FF2B5EF4-FFF2-40B4-BE49-F238E27FC236}">
                  <a16:creationId xmlns:a16="http://schemas.microsoft.com/office/drawing/2014/main" id="{130F2AEC-EC2C-42A3-9D4A-B9A1494CBA8F}"/>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9" name="组合 8">
              <a:extLst>
                <a:ext uri="{FF2B5EF4-FFF2-40B4-BE49-F238E27FC236}">
                  <a16:creationId xmlns:a16="http://schemas.microsoft.com/office/drawing/2014/main" id="{A0646934-713D-4360-9F0C-FDD800A5FD95}"/>
                </a:ext>
              </a:extLst>
            </p:cNvPr>
            <p:cNvGrpSpPr/>
            <p:nvPr/>
          </p:nvGrpSpPr>
          <p:grpSpPr>
            <a:xfrm>
              <a:off x="47544" y="7038552"/>
              <a:ext cx="581568" cy="425834"/>
              <a:chOff x="84575" y="6977592"/>
              <a:chExt cx="581568" cy="425834"/>
            </a:xfrm>
          </p:grpSpPr>
          <p:grpSp>
            <p:nvGrpSpPr>
              <p:cNvPr id="10" name="组合 9">
                <a:extLst>
                  <a:ext uri="{FF2B5EF4-FFF2-40B4-BE49-F238E27FC236}">
                    <a16:creationId xmlns:a16="http://schemas.microsoft.com/office/drawing/2014/main" id="{FD0D5242-8D0D-4B3E-B2DF-46B945FF3E1E}"/>
                  </a:ext>
                </a:extLst>
              </p:cNvPr>
              <p:cNvGrpSpPr/>
              <p:nvPr/>
            </p:nvGrpSpPr>
            <p:grpSpPr>
              <a:xfrm>
                <a:off x="84575" y="6979654"/>
                <a:ext cx="317380" cy="421711"/>
                <a:chOff x="14690033" y="2185397"/>
                <a:chExt cx="583830" cy="775754"/>
              </a:xfrm>
            </p:grpSpPr>
            <p:sp>
              <p:nvSpPr>
                <p:cNvPr id="12" name="iŝļíḑe">
                  <a:extLst>
                    <a:ext uri="{FF2B5EF4-FFF2-40B4-BE49-F238E27FC236}">
                      <a16:creationId xmlns:a16="http://schemas.microsoft.com/office/drawing/2014/main" id="{A97F888F-1078-4930-A913-E9ED2D80D96A}"/>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şḷíḍé">
                  <a:extLst>
                    <a:ext uri="{FF2B5EF4-FFF2-40B4-BE49-F238E27FC236}">
                      <a16:creationId xmlns:a16="http://schemas.microsoft.com/office/drawing/2014/main" id="{8D60D3D7-B640-46F6-9BF6-0C4B36D3B038}"/>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ľïḓe">
                  <a:extLst>
                    <a:ext uri="{FF2B5EF4-FFF2-40B4-BE49-F238E27FC236}">
                      <a16:creationId xmlns:a16="http://schemas.microsoft.com/office/drawing/2014/main" id="{6CA9CE8B-474D-47FF-B954-CE2D876CD213}"/>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ḻídê">
                  <a:extLst>
                    <a:ext uri="{FF2B5EF4-FFF2-40B4-BE49-F238E27FC236}">
                      <a16:creationId xmlns:a16="http://schemas.microsoft.com/office/drawing/2014/main" id="{83657803-31BE-42CC-8428-652747038709}"/>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S1íḋè">
                  <a:extLst>
                    <a:ext uri="{FF2B5EF4-FFF2-40B4-BE49-F238E27FC236}">
                      <a16:creationId xmlns:a16="http://schemas.microsoft.com/office/drawing/2014/main" id="{271BC30C-1434-48EC-8523-700EE1EA0F8A}"/>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şļíde">
                  <a:extLst>
                    <a:ext uri="{FF2B5EF4-FFF2-40B4-BE49-F238E27FC236}">
                      <a16:creationId xmlns:a16="http://schemas.microsoft.com/office/drawing/2014/main" id="{600867E9-8D4D-4E37-98B0-4D9DCD23429E}"/>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1" name="文本框 10">
                <a:extLst>
                  <a:ext uri="{FF2B5EF4-FFF2-40B4-BE49-F238E27FC236}">
                    <a16:creationId xmlns:a16="http://schemas.microsoft.com/office/drawing/2014/main" id="{0557F12C-7BA4-4AB4-B270-B4852AA0F4BA}"/>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8" name="矩形 17">
            <a:extLst>
              <a:ext uri="{FF2B5EF4-FFF2-40B4-BE49-F238E27FC236}">
                <a16:creationId xmlns:a16="http://schemas.microsoft.com/office/drawing/2014/main" id="{1A9096D6-B512-4BDE-99BD-39B9E4E4D30B}"/>
              </a:ext>
            </a:extLst>
          </p:cNvPr>
          <p:cNvSpPr/>
          <p:nvPr/>
        </p:nvSpPr>
        <p:spPr bwMode="auto">
          <a:xfrm>
            <a:off x="812015" y="6950133"/>
            <a:ext cx="3447981"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zh-CN" spc="100" dirty="0">
                <a:solidFill>
                  <a:schemeClr val="tx1">
                    <a:lumMod val="65000"/>
                    <a:lumOff val="35000"/>
                  </a:schemeClr>
                </a:solidFill>
              </a:rPr>
              <a:t>Ctrl + </a:t>
            </a:r>
            <a:r>
              <a:rPr lang="zh-CN" altLang="en-US" spc="100" dirty="0">
                <a:solidFill>
                  <a:schemeClr val="tx1">
                    <a:lumMod val="65000"/>
                    <a:lumOff val="35000"/>
                  </a:schemeClr>
                </a:solidFill>
              </a:rPr>
              <a:t>鼠标滚轮 </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放大缩小</a:t>
            </a:r>
          </a:p>
        </p:txBody>
      </p:sp>
      <p:sp>
        <p:nvSpPr>
          <p:cNvPr id="19" name="矩形 18">
            <a:extLst>
              <a:ext uri="{FF2B5EF4-FFF2-40B4-BE49-F238E27FC236}">
                <a16:creationId xmlns:a16="http://schemas.microsoft.com/office/drawing/2014/main" id="{08E03783-0157-4349-9CEF-2F5BA8ED5228}"/>
              </a:ext>
            </a:extLst>
          </p:cNvPr>
          <p:cNvSpPr/>
          <p:nvPr/>
        </p:nvSpPr>
        <p:spPr bwMode="auto">
          <a:xfrm>
            <a:off x="4395355" y="6950133"/>
            <a:ext cx="7796644"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面类型</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1046878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í$ḷïḓé">
            <a:extLst>
              <a:ext uri="{FF2B5EF4-FFF2-40B4-BE49-F238E27FC236}">
                <a16:creationId xmlns:a16="http://schemas.microsoft.com/office/drawing/2014/main" id="{10D0897C-29AD-493F-93F5-CFADEAB2BF0C}"/>
              </a:ext>
            </a:extLst>
          </p:cNvPr>
          <p:cNvSpPr/>
          <p:nvPr/>
        </p:nvSpPr>
        <p:spPr>
          <a:xfrm rot="5400000">
            <a:off x="2112687" y="1382119"/>
            <a:ext cx="4838701" cy="4473438"/>
          </a:xfrm>
          <a:prstGeom prst="rect">
            <a:avLst/>
          </a:prstGeom>
          <a:solidFill>
            <a:schemeClr val="bg1"/>
          </a:solidFill>
          <a:ln w="158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cs typeface="+mn-ea"/>
              <a:sym typeface="+mn-lt"/>
            </a:endParaRPr>
          </a:p>
        </p:txBody>
      </p:sp>
      <p:sp>
        <p:nvSpPr>
          <p:cNvPr id="18" name="标题 17">
            <a:extLst>
              <a:ext uri="{FF2B5EF4-FFF2-40B4-BE49-F238E27FC236}">
                <a16:creationId xmlns:a16="http://schemas.microsoft.com/office/drawing/2014/main" id="{9C1789CA-87D1-4645-AC86-5830ABF32FFD}"/>
              </a:ext>
            </a:extLst>
          </p:cNvPr>
          <p:cNvSpPr>
            <a:spLocks noGrp="1"/>
          </p:cNvSpPr>
          <p:nvPr>
            <p:ph type="title"/>
          </p:nvPr>
        </p:nvSpPr>
        <p:spPr/>
        <p:txBody>
          <a:bodyPr/>
          <a:lstStyle/>
          <a:p>
            <a:r>
              <a:rPr lang="zh-CN" altLang="en-US" dirty="0">
                <a:latin typeface="+mn-lt"/>
                <a:ea typeface="+mn-ea"/>
                <a:cs typeface="+mn-ea"/>
                <a:sym typeface="+mn-lt"/>
              </a:rPr>
              <a:t>概念介绍页</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2D5799F3-C42A-4CB8-A3DE-4D9E86490191}"/>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40</a:t>
            </a:fld>
            <a:endParaRPr lang="en-US" dirty="0">
              <a:solidFill>
                <a:srgbClr val="000000">
                  <a:tint val="75000"/>
                </a:srgbClr>
              </a:solidFill>
              <a:cs typeface="+mn-ea"/>
              <a:sym typeface="+mn-lt"/>
            </a:endParaRPr>
          </a:p>
        </p:txBody>
      </p:sp>
      <p:pic>
        <p:nvPicPr>
          <p:cNvPr id="5" name="图片占位符 4">
            <a:extLst>
              <a:ext uri="{FF2B5EF4-FFF2-40B4-BE49-F238E27FC236}">
                <a16:creationId xmlns:a16="http://schemas.microsoft.com/office/drawing/2014/main" id="{A8FA1368-4E9A-47E4-9451-39D0D861881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31" r="31"/>
          <a:stretch>
            <a:fillRect/>
          </a:stretch>
        </p:blipFill>
        <p:spPr/>
      </p:pic>
      <p:sp>
        <p:nvSpPr>
          <p:cNvPr id="9" name="îslïḑé">
            <a:extLst>
              <a:ext uri="{FF2B5EF4-FFF2-40B4-BE49-F238E27FC236}">
                <a16:creationId xmlns:a16="http://schemas.microsoft.com/office/drawing/2014/main" id="{27A47216-2558-428A-BA6E-A60F2C510F0F}"/>
              </a:ext>
            </a:extLst>
          </p:cNvPr>
          <p:cNvSpPr txBox="1"/>
          <p:nvPr/>
        </p:nvSpPr>
        <p:spPr>
          <a:xfrm>
            <a:off x="2629958" y="1373146"/>
            <a:ext cx="719254" cy="565726"/>
          </a:xfrm>
          <a:custGeom>
            <a:avLst/>
            <a:gdLst/>
            <a:ahLst/>
            <a:cxnLst/>
            <a:rect l="l" t="t" r="r" b="b"/>
            <a:pathLst>
              <a:path w="460177" h="361950">
                <a:moveTo>
                  <a:pt x="427435" y="0"/>
                </a:moveTo>
                <a:lnTo>
                  <a:pt x="460177" y="69056"/>
                </a:lnTo>
                <a:cubicBezTo>
                  <a:pt x="426839" y="80169"/>
                  <a:pt x="402928" y="95647"/>
                  <a:pt x="388442" y="115491"/>
                </a:cubicBezTo>
                <a:cubicBezTo>
                  <a:pt x="373956" y="135335"/>
                  <a:pt x="366316" y="161727"/>
                  <a:pt x="365522" y="194667"/>
                </a:cubicBezTo>
                <a:lnTo>
                  <a:pt x="446485" y="194667"/>
                </a:lnTo>
                <a:lnTo>
                  <a:pt x="446485" y="361950"/>
                </a:lnTo>
                <a:lnTo>
                  <a:pt x="279202" y="361950"/>
                </a:lnTo>
                <a:lnTo>
                  <a:pt x="279202" y="242292"/>
                </a:lnTo>
                <a:cubicBezTo>
                  <a:pt x="279202" y="193477"/>
                  <a:pt x="283468" y="155178"/>
                  <a:pt x="292001" y="127397"/>
                </a:cubicBezTo>
                <a:cubicBezTo>
                  <a:pt x="300534" y="99616"/>
                  <a:pt x="316409" y="74613"/>
                  <a:pt x="339626" y="52388"/>
                </a:cubicBezTo>
                <a:cubicBezTo>
                  <a:pt x="362843" y="30163"/>
                  <a:pt x="392113" y="12700"/>
                  <a:pt x="427435" y="0"/>
                </a:cubicBezTo>
                <a:close/>
                <a:moveTo>
                  <a:pt x="148233" y="0"/>
                </a:moveTo>
                <a:lnTo>
                  <a:pt x="180975" y="69056"/>
                </a:lnTo>
                <a:cubicBezTo>
                  <a:pt x="147638" y="80169"/>
                  <a:pt x="123726" y="95647"/>
                  <a:pt x="109240" y="115491"/>
                </a:cubicBezTo>
                <a:cubicBezTo>
                  <a:pt x="94754" y="135335"/>
                  <a:pt x="87114" y="161727"/>
                  <a:pt x="86321" y="194667"/>
                </a:cubicBezTo>
                <a:lnTo>
                  <a:pt x="167283" y="194667"/>
                </a:lnTo>
                <a:lnTo>
                  <a:pt x="167283" y="361950"/>
                </a:lnTo>
                <a:lnTo>
                  <a:pt x="0" y="361950"/>
                </a:lnTo>
                <a:lnTo>
                  <a:pt x="0" y="242292"/>
                </a:lnTo>
                <a:cubicBezTo>
                  <a:pt x="0" y="193874"/>
                  <a:pt x="4267" y="155674"/>
                  <a:pt x="12800" y="127695"/>
                </a:cubicBezTo>
                <a:cubicBezTo>
                  <a:pt x="21332" y="99715"/>
                  <a:pt x="37108" y="74613"/>
                  <a:pt x="60127" y="52388"/>
                </a:cubicBezTo>
                <a:cubicBezTo>
                  <a:pt x="83146" y="30163"/>
                  <a:pt x="112514" y="12700"/>
                  <a:pt x="148233" y="0"/>
                </a:cubicBezTo>
                <a:close/>
              </a:path>
            </a:pathLst>
          </a:custGeom>
          <a:solidFill>
            <a:schemeClr val="bg1">
              <a:lumMod val="85000"/>
            </a:schemeClr>
          </a:solidFill>
          <a:ln>
            <a:noFill/>
          </a:ln>
        </p:spPr>
        <p:txBody>
          <a:bodyPr rot="0" spcFirstLastPara="0" vert="horz" wrap="square" lIns="91440" tIns="45720" rIns="91440" bIns="45720" numCol="1" spcCol="0" rtlCol="0" fromWordArt="0" anchor="t" anchorCtr="0" forceAA="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endParaRPr lang="en-US" sz="9600" b="1" dirty="0">
              <a:cs typeface="+mn-ea"/>
              <a:sym typeface="+mn-lt"/>
            </a:endParaRPr>
          </a:p>
        </p:txBody>
      </p:sp>
      <p:sp>
        <p:nvSpPr>
          <p:cNvPr id="10" name="îSľiḍè">
            <a:extLst>
              <a:ext uri="{FF2B5EF4-FFF2-40B4-BE49-F238E27FC236}">
                <a16:creationId xmlns:a16="http://schemas.microsoft.com/office/drawing/2014/main" id="{2F7F8F59-8BAC-4B69-BD46-E22327FC33CA}"/>
              </a:ext>
            </a:extLst>
          </p:cNvPr>
          <p:cNvSpPr txBox="1"/>
          <p:nvPr/>
        </p:nvSpPr>
        <p:spPr>
          <a:xfrm>
            <a:off x="2513956" y="2079050"/>
            <a:ext cx="4036163" cy="461665"/>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zh-CN" altLang="en-US" sz="2400" b="1" dirty="0">
                <a:solidFill>
                  <a:schemeClr val="accent1"/>
                </a:solidFill>
                <a:cs typeface="+mn-ea"/>
                <a:sym typeface="+mn-lt"/>
              </a:rPr>
              <a:t>请在此输入概念名称</a:t>
            </a:r>
            <a:endParaRPr lang="en-US" sz="2400" b="1" dirty="0">
              <a:solidFill>
                <a:schemeClr val="accent1"/>
              </a:solidFill>
              <a:cs typeface="+mn-ea"/>
              <a:sym typeface="+mn-lt"/>
            </a:endParaRPr>
          </a:p>
        </p:txBody>
      </p:sp>
      <p:sp>
        <p:nvSpPr>
          <p:cNvPr id="11" name="iṩḻïḍe">
            <a:extLst>
              <a:ext uri="{FF2B5EF4-FFF2-40B4-BE49-F238E27FC236}">
                <a16:creationId xmlns:a16="http://schemas.microsoft.com/office/drawing/2014/main" id="{016FEFF8-7A62-4801-BB22-C15E6DC3E2F1}"/>
              </a:ext>
            </a:extLst>
          </p:cNvPr>
          <p:cNvSpPr txBox="1"/>
          <p:nvPr/>
        </p:nvSpPr>
        <p:spPr>
          <a:xfrm>
            <a:off x="2513956" y="2614167"/>
            <a:ext cx="4069723" cy="2645853"/>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Aft>
                <a:spcPts val="1200"/>
              </a:spcAft>
            </a:pPr>
            <a:r>
              <a:rPr lang="zh-CN" altLang="en-US" sz="2000" dirty="0">
                <a:solidFill>
                  <a:schemeClr val="tx1">
                    <a:lumMod val="75000"/>
                    <a:lumOff val="25000"/>
                  </a:schemeClr>
                </a:solidFill>
                <a:cs typeface="+mn-ea"/>
                <a:sym typeface="+mn-lt"/>
              </a:rPr>
              <a:t>上海大学是上海市属、国家“</a:t>
            </a:r>
            <a:r>
              <a:rPr lang="en-US" altLang="zh-CN" sz="2000" dirty="0">
                <a:solidFill>
                  <a:schemeClr val="tx1">
                    <a:lumMod val="75000"/>
                    <a:lumOff val="25000"/>
                  </a:schemeClr>
                </a:solidFill>
                <a:cs typeface="+mn-ea"/>
                <a:sym typeface="+mn-lt"/>
              </a:rPr>
              <a:t>211</a:t>
            </a:r>
            <a:r>
              <a:rPr lang="zh-CN" altLang="en-US" sz="2000" dirty="0">
                <a:solidFill>
                  <a:schemeClr val="tx1">
                    <a:lumMod val="75000"/>
                    <a:lumOff val="25000"/>
                  </a:schemeClr>
                </a:solidFill>
                <a:cs typeface="+mn-ea"/>
                <a:sym typeface="+mn-lt"/>
              </a:rPr>
              <a:t>工程”重点建设的综合性大学，是教育部与上海市人民政府共建高校、国防科技工业局与上海市人民政府共建高校，上海市首批高水平地方高校建设试点，教育部一流学科建设高校</a:t>
            </a:r>
            <a:endParaRPr lang="en-US" altLang="zh-CN" sz="2000" dirty="0">
              <a:solidFill>
                <a:schemeClr val="tx1">
                  <a:lumMod val="75000"/>
                  <a:lumOff val="25000"/>
                </a:schemeClr>
              </a:solidFill>
              <a:cs typeface="+mn-ea"/>
              <a:sym typeface="+mn-lt"/>
            </a:endParaRPr>
          </a:p>
        </p:txBody>
      </p:sp>
      <p:grpSp>
        <p:nvGrpSpPr>
          <p:cNvPr id="13" name="组合 12">
            <a:extLst>
              <a:ext uri="{FF2B5EF4-FFF2-40B4-BE49-F238E27FC236}">
                <a16:creationId xmlns:a16="http://schemas.microsoft.com/office/drawing/2014/main" id="{53D95BD0-3666-4279-83B6-21F4ADB997E8}"/>
              </a:ext>
            </a:extLst>
          </p:cNvPr>
          <p:cNvGrpSpPr/>
          <p:nvPr/>
        </p:nvGrpSpPr>
        <p:grpSpPr>
          <a:xfrm>
            <a:off x="0" y="-715587"/>
            <a:ext cx="676656" cy="602672"/>
            <a:chOff x="0" y="6950133"/>
            <a:chExt cx="676656" cy="602672"/>
          </a:xfrm>
        </p:grpSpPr>
        <p:sp>
          <p:nvSpPr>
            <p:cNvPr id="14" name="矩形 13">
              <a:extLst>
                <a:ext uri="{FF2B5EF4-FFF2-40B4-BE49-F238E27FC236}">
                  <a16:creationId xmlns:a16="http://schemas.microsoft.com/office/drawing/2014/main" id="{C3578B89-C43A-4AE4-9104-BF2B2179FDA1}"/>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5" name="组合 14">
              <a:extLst>
                <a:ext uri="{FF2B5EF4-FFF2-40B4-BE49-F238E27FC236}">
                  <a16:creationId xmlns:a16="http://schemas.microsoft.com/office/drawing/2014/main" id="{4879BB6C-66DA-4A7A-9853-12951E0D4FFC}"/>
                </a:ext>
              </a:extLst>
            </p:cNvPr>
            <p:cNvGrpSpPr/>
            <p:nvPr/>
          </p:nvGrpSpPr>
          <p:grpSpPr>
            <a:xfrm>
              <a:off x="47544" y="7038552"/>
              <a:ext cx="581568" cy="425834"/>
              <a:chOff x="84575" y="6977592"/>
              <a:chExt cx="581568" cy="425834"/>
            </a:xfrm>
          </p:grpSpPr>
          <p:grpSp>
            <p:nvGrpSpPr>
              <p:cNvPr id="16" name="组合 15">
                <a:extLst>
                  <a:ext uri="{FF2B5EF4-FFF2-40B4-BE49-F238E27FC236}">
                    <a16:creationId xmlns:a16="http://schemas.microsoft.com/office/drawing/2014/main" id="{80E51022-143D-4183-8097-FF73AC38DEC0}"/>
                  </a:ext>
                </a:extLst>
              </p:cNvPr>
              <p:cNvGrpSpPr/>
              <p:nvPr/>
            </p:nvGrpSpPr>
            <p:grpSpPr>
              <a:xfrm>
                <a:off x="84575" y="6979654"/>
                <a:ext cx="317380" cy="421711"/>
                <a:chOff x="14690033" y="2185397"/>
                <a:chExt cx="583830" cy="775754"/>
              </a:xfrm>
            </p:grpSpPr>
            <p:sp>
              <p:nvSpPr>
                <p:cNvPr id="19" name="iŝļíḑe">
                  <a:extLst>
                    <a:ext uri="{FF2B5EF4-FFF2-40B4-BE49-F238E27FC236}">
                      <a16:creationId xmlns:a16="http://schemas.microsoft.com/office/drawing/2014/main" id="{1C50A37F-44DA-4DFE-936D-9A5AC7EAB4AD}"/>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ïşḷíḍé">
                  <a:extLst>
                    <a:ext uri="{FF2B5EF4-FFF2-40B4-BE49-F238E27FC236}">
                      <a16:creationId xmlns:a16="http://schemas.microsoft.com/office/drawing/2014/main" id="{5D9EFE85-F3F3-4796-AEFD-A47C66F7A4D8}"/>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Sľïḓe">
                  <a:extLst>
                    <a:ext uri="{FF2B5EF4-FFF2-40B4-BE49-F238E27FC236}">
                      <a16:creationId xmlns:a16="http://schemas.microsoft.com/office/drawing/2014/main" id="{695EEFE5-C72F-4722-B31B-9FE1256AF33C}"/>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sḻídê">
                  <a:extLst>
                    <a:ext uri="{FF2B5EF4-FFF2-40B4-BE49-F238E27FC236}">
                      <a16:creationId xmlns:a16="http://schemas.microsoft.com/office/drawing/2014/main" id="{F3370555-0B51-485B-B3AE-39592AB10FFE}"/>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S1íḋè">
                  <a:extLst>
                    <a:ext uri="{FF2B5EF4-FFF2-40B4-BE49-F238E27FC236}">
                      <a16:creationId xmlns:a16="http://schemas.microsoft.com/office/drawing/2014/main" id="{0DA9F5D0-D7F7-4EC0-A01A-AE0D1CF7B00B}"/>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şļíde">
                  <a:extLst>
                    <a:ext uri="{FF2B5EF4-FFF2-40B4-BE49-F238E27FC236}">
                      <a16:creationId xmlns:a16="http://schemas.microsoft.com/office/drawing/2014/main" id="{B4EC7831-5C7C-49FB-8C2C-F088444777AE}"/>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7" name="文本框 16">
                <a:extLst>
                  <a:ext uri="{FF2B5EF4-FFF2-40B4-BE49-F238E27FC236}">
                    <a16:creationId xmlns:a16="http://schemas.microsoft.com/office/drawing/2014/main" id="{CAD12F7C-9A52-473E-B41D-3B048E59EC9E}"/>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5" name="矩形 24">
            <a:extLst>
              <a:ext uri="{FF2B5EF4-FFF2-40B4-BE49-F238E27FC236}">
                <a16:creationId xmlns:a16="http://schemas.microsoft.com/office/drawing/2014/main" id="{ED7B8A2B-A444-4C71-AFA1-C39DCA1C2084}"/>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custDataLst>
      <p:tags r:id="rId1"/>
    </p:custDataLst>
    <p:extLst>
      <p:ext uri="{BB962C8B-B14F-4D97-AF65-F5344CB8AC3E}">
        <p14:creationId xmlns:p14="http://schemas.microsoft.com/office/powerpoint/2010/main" val="21269741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箭头: 右 1">
            <a:extLst>
              <a:ext uri="{FF2B5EF4-FFF2-40B4-BE49-F238E27FC236}">
                <a16:creationId xmlns:a16="http://schemas.microsoft.com/office/drawing/2014/main" id="{6738B614-FE3C-4CF0-9D55-17049D0FE8F8}"/>
              </a:ext>
            </a:extLst>
          </p:cNvPr>
          <p:cNvSpPr/>
          <p:nvPr/>
        </p:nvSpPr>
        <p:spPr>
          <a:xfrm>
            <a:off x="515938" y="3413760"/>
            <a:ext cx="11196636" cy="1173252"/>
          </a:xfrm>
          <a:custGeom>
            <a:avLst/>
            <a:gdLst>
              <a:gd name="connsiteX0" fmla="*/ 0 w 11358880"/>
              <a:gd name="connsiteY0" fmla="*/ 119380 h 477520"/>
              <a:gd name="connsiteX1" fmla="*/ 11120120 w 11358880"/>
              <a:gd name="connsiteY1" fmla="*/ 119380 h 477520"/>
              <a:gd name="connsiteX2" fmla="*/ 11120120 w 11358880"/>
              <a:gd name="connsiteY2" fmla="*/ 0 h 477520"/>
              <a:gd name="connsiteX3" fmla="*/ 11358880 w 11358880"/>
              <a:gd name="connsiteY3" fmla="*/ 238760 h 477520"/>
              <a:gd name="connsiteX4" fmla="*/ 11120120 w 11358880"/>
              <a:gd name="connsiteY4" fmla="*/ 477520 h 477520"/>
              <a:gd name="connsiteX5" fmla="*/ 11120120 w 11358880"/>
              <a:gd name="connsiteY5" fmla="*/ 358140 h 477520"/>
              <a:gd name="connsiteX6" fmla="*/ 0 w 11358880"/>
              <a:gd name="connsiteY6" fmla="*/ 358140 h 477520"/>
              <a:gd name="connsiteX7" fmla="*/ 0 w 11358880"/>
              <a:gd name="connsiteY7" fmla="*/ 119380 h 477520"/>
              <a:gd name="connsiteX0" fmla="*/ 0 w 11774516"/>
              <a:gd name="connsiteY0" fmla="*/ 0 h 2405149"/>
              <a:gd name="connsiteX1" fmla="*/ 11535756 w 11774516"/>
              <a:gd name="connsiteY1" fmla="*/ 2047009 h 2405149"/>
              <a:gd name="connsiteX2" fmla="*/ 11535756 w 11774516"/>
              <a:gd name="connsiteY2" fmla="*/ 1927629 h 2405149"/>
              <a:gd name="connsiteX3" fmla="*/ 11774516 w 11774516"/>
              <a:gd name="connsiteY3" fmla="*/ 2166389 h 2405149"/>
              <a:gd name="connsiteX4" fmla="*/ 11535756 w 11774516"/>
              <a:gd name="connsiteY4" fmla="*/ 2405149 h 2405149"/>
              <a:gd name="connsiteX5" fmla="*/ 11535756 w 11774516"/>
              <a:gd name="connsiteY5" fmla="*/ 2285769 h 2405149"/>
              <a:gd name="connsiteX6" fmla="*/ 415636 w 11774516"/>
              <a:gd name="connsiteY6" fmla="*/ 2285769 h 2405149"/>
              <a:gd name="connsiteX7" fmla="*/ 0 w 11774516"/>
              <a:gd name="connsiteY7" fmla="*/ 0 h 2405149"/>
              <a:gd name="connsiteX0" fmla="*/ 20782 w 11795298"/>
              <a:gd name="connsiteY0" fmla="*/ 0 h 3314469"/>
              <a:gd name="connsiteX1" fmla="*/ 11556538 w 11795298"/>
              <a:gd name="connsiteY1" fmla="*/ 2047009 h 3314469"/>
              <a:gd name="connsiteX2" fmla="*/ 11556538 w 11795298"/>
              <a:gd name="connsiteY2" fmla="*/ 1927629 h 3314469"/>
              <a:gd name="connsiteX3" fmla="*/ 11795298 w 11795298"/>
              <a:gd name="connsiteY3" fmla="*/ 2166389 h 3314469"/>
              <a:gd name="connsiteX4" fmla="*/ 11556538 w 11795298"/>
              <a:gd name="connsiteY4" fmla="*/ 2405149 h 3314469"/>
              <a:gd name="connsiteX5" fmla="*/ 11556538 w 11795298"/>
              <a:gd name="connsiteY5" fmla="*/ 2285769 h 3314469"/>
              <a:gd name="connsiteX6" fmla="*/ 0 w 11795298"/>
              <a:gd name="connsiteY6" fmla="*/ 3314469 h 3314469"/>
              <a:gd name="connsiteX7" fmla="*/ 20782 w 11795298"/>
              <a:gd name="connsiteY7" fmla="*/ 0 h 3314469"/>
              <a:gd name="connsiteX0" fmla="*/ 20782 w 11795298"/>
              <a:gd name="connsiteY0" fmla="*/ 0 h 3314469"/>
              <a:gd name="connsiteX1" fmla="*/ 11556538 w 11795298"/>
              <a:gd name="connsiteY1" fmla="*/ 2047009 h 3314469"/>
              <a:gd name="connsiteX2" fmla="*/ 11556538 w 11795298"/>
              <a:gd name="connsiteY2" fmla="*/ 1927629 h 3314469"/>
              <a:gd name="connsiteX3" fmla="*/ 11795298 w 11795298"/>
              <a:gd name="connsiteY3" fmla="*/ 2166389 h 3314469"/>
              <a:gd name="connsiteX4" fmla="*/ 11556538 w 11795298"/>
              <a:gd name="connsiteY4" fmla="*/ 2405149 h 3314469"/>
              <a:gd name="connsiteX5" fmla="*/ 11556538 w 11795298"/>
              <a:gd name="connsiteY5" fmla="*/ 2285769 h 3314469"/>
              <a:gd name="connsiteX6" fmla="*/ 0 w 11795298"/>
              <a:gd name="connsiteY6" fmla="*/ 3314469 h 3314469"/>
              <a:gd name="connsiteX7" fmla="*/ 20782 w 11795298"/>
              <a:gd name="connsiteY7" fmla="*/ 0 h 3314469"/>
              <a:gd name="connsiteX0" fmla="*/ 20782 w 11795298"/>
              <a:gd name="connsiteY0" fmla="*/ 0 h 3314469"/>
              <a:gd name="connsiteX1" fmla="*/ 11556538 w 11795298"/>
              <a:gd name="connsiteY1" fmla="*/ 2047009 h 3314469"/>
              <a:gd name="connsiteX2" fmla="*/ 11556538 w 11795298"/>
              <a:gd name="connsiteY2" fmla="*/ 1927629 h 3314469"/>
              <a:gd name="connsiteX3" fmla="*/ 11795298 w 11795298"/>
              <a:gd name="connsiteY3" fmla="*/ 2166389 h 3314469"/>
              <a:gd name="connsiteX4" fmla="*/ 11556538 w 11795298"/>
              <a:gd name="connsiteY4" fmla="*/ 2405149 h 3314469"/>
              <a:gd name="connsiteX5" fmla="*/ 11556538 w 11795298"/>
              <a:gd name="connsiteY5" fmla="*/ 2285769 h 3314469"/>
              <a:gd name="connsiteX6" fmla="*/ 0 w 11795298"/>
              <a:gd name="connsiteY6" fmla="*/ 3314469 h 3314469"/>
              <a:gd name="connsiteX7" fmla="*/ 20782 w 11795298"/>
              <a:gd name="connsiteY7" fmla="*/ 0 h 3314469"/>
              <a:gd name="connsiteX0" fmla="*/ 20782 w 11795298"/>
              <a:gd name="connsiteY0" fmla="*/ 0 h 3314469"/>
              <a:gd name="connsiteX1" fmla="*/ 11556538 w 11795298"/>
              <a:gd name="connsiteY1" fmla="*/ 2047009 h 3314469"/>
              <a:gd name="connsiteX2" fmla="*/ 11556538 w 11795298"/>
              <a:gd name="connsiteY2" fmla="*/ 1927629 h 3314469"/>
              <a:gd name="connsiteX3" fmla="*/ 11795298 w 11795298"/>
              <a:gd name="connsiteY3" fmla="*/ 2166389 h 3314469"/>
              <a:gd name="connsiteX4" fmla="*/ 11556538 w 11795298"/>
              <a:gd name="connsiteY4" fmla="*/ 2405149 h 3314469"/>
              <a:gd name="connsiteX5" fmla="*/ 11556538 w 11795298"/>
              <a:gd name="connsiteY5" fmla="*/ 2285769 h 3314469"/>
              <a:gd name="connsiteX6" fmla="*/ 0 w 11795298"/>
              <a:gd name="connsiteY6" fmla="*/ 3314469 h 3314469"/>
              <a:gd name="connsiteX7" fmla="*/ 20782 w 11795298"/>
              <a:gd name="connsiteY7" fmla="*/ 0 h 3314469"/>
              <a:gd name="connsiteX0" fmla="*/ 20782 w 11795298"/>
              <a:gd name="connsiteY0" fmla="*/ 0 h 3314469"/>
              <a:gd name="connsiteX1" fmla="*/ 11556538 w 11795298"/>
              <a:gd name="connsiteY1" fmla="*/ 2047009 h 3314469"/>
              <a:gd name="connsiteX2" fmla="*/ 11556538 w 11795298"/>
              <a:gd name="connsiteY2" fmla="*/ 1927629 h 3314469"/>
              <a:gd name="connsiteX3" fmla="*/ 11795298 w 11795298"/>
              <a:gd name="connsiteY3" fmla="*/ 2166389 h 3314469"/>
              <a:gd name="connsiteX4" fmla="*/ 11556538 w 11795298"/>
              <a:gd name="connsiteY4" fmla="*/ 2405149 h 3314469"/>
              <a:gd name="connsiteX5" fmla="*/ 11556538 w 11795298"/>
              <a:gd name="connsiteY5" fmla="*/ 2285769 h 3314469"/>
              <a:gd name="connsiteX6" fmla="*/ 0 w 11795298"/>
              <a:gd name="connsiteY6" fmla="*/ 3314469 h 3314469"/>
              <a:gd name="connsiteX7" fmla="*/ 20782 w 11795298"/>
              <a:gd name="connsiteY7" fmla="*/ 0 h 3314469"/>
              <a:gd name="connsiteX0" fmla="*/ 20782 w 11795298"/>
              <a:gd name="connsiteY0" fmla="*/ 0 h 3314469"/>
              <a:gd name="connsiteX1" fmla="*/ 11556538 w 11795298"/>
              <a:gd name="connsiteY1" fmla="*/ 2047009 h 3314469"/>
              <a:gd name="connsiteX2" fmla="*/ 11556538 w 11795298"/>
              <a:gd name="connsiteY2" fmla="*/ 1927629 h 3314469"/>
              <a:gd name="connsiteX3" fmla="*/ 11795298 w 11795298"/>
              <a:gd name="connsiteY3" fmla="*/ 2166389 h 3314469"/>
              <a:gd name="connsiteX4" fmla="*/ 11556538 w 11795298"/>
              <a:gd name="connsiteY4" fmla="*/ 2405149 h 3314469"/>
              <a:gd name="connsiteX5" fmla="*/ 11556538 w 11795298"/>
              <a:gd name="connsiteY5" fmla="*/ 2285769 h 3314469"/>
              <a:gd name="connsiteX6" fmla="*/ 0 w 11795298"/>
              <a:gd name="connsiteY6" fmla="*/ 3314469 h 3314469"/>
              <a:gd name="connsiteX7" fmla="*/ 20782 w 11795298"/>
              <a:gd name="connsiteY7" fmla="*/ 0 h 3314469"/>
              <a:gd name="connsiteX0" fmla="*/ 41564 w 11795298"/>
              <a:gd name="connsiteY0" fmla="*/ 0 h 2909223"/>
              <a:gd name="connsiteX1" fmla="*/ 11556538 w 11795298"/>
              <a:gd name="connsiteY1" fmla="*/ 1641763 h 2909223"/>
              <a:gd name="connsiteX2" fmla="*/ 11556538 w 11795298"/>
              <a:gd name="connsiteY2" fmla="*/ 1522383 h 2909223"/>
              <a:gd name="connsiteX3" fmla="*/ 11795298 w 11795298"/>
              <a:gd name="connsiteY3" fmla="*/ 1761143 h 2909223"/>
              <a:gd name="connsiteX4" fmla="*/ 11556538 w 11795298"/>
              <a:gd name="connsiteY4" fmla="*/ 1999903 h 2909223"/>
              <a:gd name="connsiteX5" fmla="*/ 11556538 w 11795298"/>
              <a:gd name="connsiteY5" fmla="*/ 1880523 h 2909223"/>
              <a:gd name="connsiteX6" fmla="*/ 0 w 11795298"/>
              <a:gd name="connsiteY6" fmla="*/ 2909223 h 2909223"/>
              <a:gd name="connsiteX7" fmla="*/ 41564 w 11795298"/>
              <a:gd name="connsiteY7" fmla="*/ 0 h 2909223"/>
              <a:gd name="connsiteX0" fmla="*/ 31173 w 11795298"/>
              <a:gd name="connsiteY0" fmla="*/ 0 h 2742968"/>
              <a:gd name="connsiteX1" fmla="*/ 11556538 w 11795298"/>
              <a:gd name="connsiteY1" fmla="*/ 1475508 h 2742968"/>
              <a:gd name="connsiteX2" fmla="*/ 11556538 w 11795298"/>
              <a:gd name="connsiteY2" fmla="*/ 1356128 h 2742968"/>
              <a:gd name="connsiteX3" fmla="*/ 11795298 w 11795298"/>
              <a:gd name="connsiteY3" fmla="*/ 1594888 h 2742968"/>
              <a:gd name="connsiteX4" fmla="*/ 11556538 w 11795298"/>
              <a:gd name="connsiteY4" fmla="*/ 1833648 h 2742968"/>
              <a:gd name="connsiteX5" fmla="*/ 11556538 w 11795298"/>
              <a:gd name="connsiteY5" fmla="*/ 1714268 h 2742968"/>
              <a:gd name="connsiteX6" fmla="*/ 0 w 11795298"/>
              <a:gd name="connsiteY6" fmla="*/ 2742968 h 2742968"/>
              <a:gd name="connsiteX7" fmla="*/ 31173 w 11795298"/>
              <a:gd name="connsiteY7" fmla="*/ 0 h 2742968"/>
              <a:gd name="connsiteX0" fmla="*/ 41564 w 11805689"/>
              <a:gd name="connsiteY0" fmla="*/ 0 h 2992349"/>
              <a:gd name="connsiteX1" fmla="*/ 11566929 w 11805689"/>
              <a:gd name="connsiteY1" fmla="*/ 1475508 h 2992349"/>
              <a:gd name="connsiteX2" fmla="*/ 11566929 w 11805689"/>
              <a:gd name="connsiteY2" fmla="*/ 1356128 h 2992349"/>
              <a:gd name="connsiteX3" fmla="*/ 11805689 w 11805689"/>
              <a:gd name="connsiteY3" fmla="*/ 1594888 h 2992349"/>
              <a:gd name="connsiteX4" fmla="*/ 11566929 w 11805689"/>
              <a:gd name="connsiteY4" fmla="*/ 1833648 h 2992349"/>
              <a:gd name="connsiteX5" fmla="*/ 11566929 w 11805689"/>
              <a:gd name="connsiteY5" fmla="*/ 1714268 h 2992349"/>
              <a:gd name="connsiteX6" fmla="*/ 0 w 11805689"/>
              <a:gd name="connsiteY6" fmla="*/ 2992349 h 2992349"/>
              <a:gd name="connsiteX7" fmla="*/ 41564 w 11805689"/>
              <a:gd name="connsiteY7" fmla="*/ 0 h 2992349"/>
              <a:gd name="connsiteX0" fmla="*/ 10143 w 11805689"/>
              <a:gd name="connsiteY0" fmla="*/ 0 h 2849164"/>
              <a:gd name="connsiteX1" fmla="*/ 11566929 w 11805689"/>
              <a:gd name="connsiteY1" fmla="*/ 1332323 h 2849164"/>
              <a:gd name="connsiteX2" fmla="*/ 11566929 w 11805689"/>
              <a:gd name="connsiteY2" fmla="*/ 1212943 h 2849164"/>
              <a:gd name="connsiteX3" fmla="*/ 11805689 w 11805689"/>
              <a:gd name="connsiteY3" fmla="*/ 1451703 h 2849164"/>
              <a:gd name="connsiteX4" fmla="*/ 11566929 w 11805689"/>
              <a:gd name="connsiteY4" fmla="*/ 1690463 h 2849164"/>
              <a:gd name="connsiteX5" fmla="*/ 11566929 w 11805689"/>
              <a:gd name="connsiteY5" fmla="*/ 1571083 h 2849164"/>
              <a:gd name="connsiteX6" fmla="*/ 0 w 11805689"/>
              <a:gd name="connsiteY6" fmla="*/ 2849164 h 2849164"/>
              <a:gd name="connsiteX7" fmla="*/ 10143 w 11805689"/>
              <a:gd name="connsiteY7" fmla="*/ 0 h 2849164"/>
              <a:gd name="connsiteX0" fmla="*/ 10143 w 11805689"/>
              <a:gd name="connsiteY0" fmla="*/ 0 h 2849164"/>
              <a:gd name="connsiteX1" fmla="*/ 11566929 w 11805689"/>
              <a:gd name="connsiteY1" fmla="*/ 1332323 h 2849164"/>
              <a:gd name="connsiteX2" fmla="*/ 11566929 w 11805689"/>
              <a:gd name="connsiteY2" fmla="*/ 1212943 h 2849164"/>
              <a:gd name="connsiteX3" fmla="*/ 11805689 w 11805689"/>
              <a:gd name="connsiteY3" fmla="*/ 1451703 h 2849164"/>
              <a:gd name="connsiteX4" fmla="*/ 11566929 w 11805689"/>
              <a:gd name="connsiteY4" fmla="*/ 1690463 h 2849164"/>
              <a:gd name="connsiteX5" fmla="*/ 11566929 w 11805689"/>
              <a:gd name="connsiteY5" fmla="*/ 1571083 h 2849164"/>
              <a:gd name="connsiteX6" fmla="*/ 0 w 11805689"/>
              <a:gd name="connsiteY6" fmla="*/ 2849164 h 2849164"/>
              <a:gd name="connsiteX7" fmla="*/ 10143 w 11805689"/>
              <a:gd name="connsiteY7" fmla="*/ 0 h 2849164"/>
              <a:gd name="connsiteX0" fmla="*/ 10143 w 11805689"/>
              <a:gd name="connsiteY0" fmla="*/ 0 h 2849164"/>
              <a:gd name="connsiteX1" fmla="*/ 11566929 w 11805689"/>
              <a:gd name="connsiteY1" fmla="*/ 1332323 h 2849164"/>
              <a:gd name="connsiteX2" fmla="*/ 11566929 w 11805689"/>
              <a:gd name="connsiteY2" fmla="*/ 1212943 h 2849164"/>
              <a:gd name="connsiteX3" fmla="*/ 11805689 w 11805689"/>
              <a:gd name="connsiteY3" fmla="*/ 1451703 h 2849164"/>
              <a:gd name="connsiteX4" fmla="*/ 11566929 w 11805689"/>
              <a:gd name="connsiteY4" fmla="*/ 1690463 h 2849164"/>
              <a:gd name="connsiteX5" fmla="*/ 11566929 w 11805689"/>
              <a:gd name="connsiteY5" fmla="*/ 1571083 h 2849164"/>
              <a:gd name="connsiteX6" fmla="*/ 0 w 11805689"/>
              <a:gd name="connsiteY6" fmla="*/ 2849164 h 2849164"/>
              <a:gd name="connsiteX7" fmla="*/ 10143 w 11805689"/>
              <a:gd name="connsiteY7" fmla="*/ 0 h 2849164"/>
              <a:gd name="connsiteX0" fmla="*/ 10143 w 11805689"/>
              <a:gd name="connsiteY0" fmla="*/ 0 h 2849164"/>
              <a:gd name="connsiteX1" fmla="*/ 11566929 w 11805689"/>
              <a:gd name="connsiteY1" fmla="*/ 1332323 h 2849164"/>
              <a:gd name="connsiteX2" fmla="*/ 11566929 w 11805689"/>
              <a:gd name="connsiteY2" fmla="*/ 1212943 h 2849164"/>
              <a:gd name="connsiteX3" fmla="*/ 11805689 w 11805689"/>
              <a:gd name="connsiteY3" fmla="*/ 1451703 h 2849164"/>
              <a:gd name="connsiteX4" fmla="*/ 11566929 w 11805689"/>
              <a:gd name="connsiteY4" fmla="*/ 1690463 h 2849164"/>
              <a:gd name="connsiteX5" fmla="*/ 11566929 w 11805689"/>
              <a:gd name="connsiteY5" fmla="*/ 1571083 h 2849164"/>
              <a:gd name="connsiteX6" fmla="*/ 0 w 11805689"/>
              <a:gd name="connsiteY6" fmla="*/ 2849164 h 2849164"/>
              <a:gd name="connsiteX7" fmla="*/ 10143 w 11805689"/>
              <a:gd name="connsiteY7" fmla="*/ 0 h 2849164"/>
              <a:gd name="connsiteX0" fmla="*/ 10143 w 11805689"/>
              <a:gd name="connsiteY0" fmla="*/ 0 h 2849164"/>
              <a:gd name="connsiteX1" fmla="*/ 11566929 w 11805689"/>
              <a:gd name="connsiteY1" fmla="*/ 1332323 h 2849164"/>
              <a:gd name="connsiteX2" fmla="*/ 11566929 w 11805689"/>
              <a:gd name="connsiteY2" fmla="*/ 1212943 h 2849164"/>
              <a:gd name="connsiteX3" fmla="*/ 11805689 w 11805689"/>
              <a:gd name="connsiteY3" fmla="*/ 1451703 h 2849164"/>
              <a:gd name="connsiteX4" fmla="*/ 11566929 w 11805689"/>
              <a:gd name="connsiteY4" fmla="*/ 1690463 h 2849164"/>
              <a:gd name="connsiteX5" fmla="*/ 11566929 w 11805689"/>
              <a:gd name="connsiteY5" fmla="*/ 1571083 h 2849164"/>
              <a:gd name="connsiteX6" fmla="*/ 0 w 11805689"/>
              <a:gd name="connsiteY6" fmla="*/ 2849164 h 2849164"/>
              <a:gd name="connsiteX7" fmla="*/ 10143 w 11805689"/>
              <a:gd name="connsiteY7" fmla="*/ 0 h 2849164"/>
              <a:gd name="connsiteX0" fmla="*/ 0 w 11816493"/>
              <a:gd name="connsiteY0" fmla="*/ 0 h 2303274"/>
              <a:gd name="connsiteX1" fmla="*/ 11577733 w 11816493"/>
              <a:gd name="connsiteY1" fmla="*/ 786433 h 2303274"/>
              <a:gd name="connsiteX2" fmla="*/ 11577733 w 11816493"/>
              <a:gd name="connsiteY2" fmla="*/ 667053 h 2303274"/>
              <a:gd name="connsiteX3" fmla="*/ 11816493 w 11816493"/>
              <a:gd name="connsiteY3" fmla="*/ 905813 h 2303274"/>
              <a:gd name="connsiteX4" fmla="*/ 11577733 w 11816493"/>
              <a:gd name="connsiteY4" fmla="*/ 1144573 h 2303274"/>
              <a:gd name="connsiteX5" fmla="*/ 11577733 w 11816493"/>
              <a:gd name="connsiteY5" fmla="*/ 1025193 h 2303274"/>
              <a:gd name="connsiteX6" fmla="*/ 10804 w 11816493"/>
              <a:gd name="connsiteY6" fmla="*/ 2303274 h 2303274"/>
              <a:gd name="connsiteX7" fmla="*/ 0 w 11816493"/>
              <a:gd name="connsiteY7" fmla="*/ 0 h 2303274"/>
              <a:gd name="connsiteX0" fmla="*/ 20939 w 11837432"/>
              <a:gd name="connsiteY0" fmla="*/ 0 h 1766333"/>
              <a:gd name="connsiteX1" fmla="*/ 11598672 w 11837432"/>
              <a:gd name="connsiteY1" fmla="*/ 786433 h 1766333"/>
              <a:gd name="connsiteX2" fmla="*/ 11598672 w 11837432"/>
              <a:gd name="connsiteY2" fmla="*/ 667053 h 1766333"/>
              <a:gd name="connsiteX3" fmla="*/ 11837432 w 11837432"/>
              <a:gd name="connsiteY3" fmla="*/ 905813 h 1766333"/>
              <a:gd name="connsiteX4" fmla="*/ 11598672 w 11837432"/>
              <a:gd name="connsiteY4" fmla="*/ 1144573 h 1766333"/>
              <a:gd name="connsiteX5" fmla="*/ 11598672 w 11837432"/>
              <a:gd name="connsiteY5" fmla="*/ 1025193 h 1766333"/>
              <a:gd name="connsiteX6" fmla="*/ 322 w 11837432"/>
              <a:gd name="connsiteY6" fmla="*/ 1766333 h 1766333"/>
              <a:gd name="connsiteX7" fmla="*/ 20939 w 11837432"/>
              <a:gd name="connsiteY7" fmla="*/ 0 h 1766333"/>
              <a:gd name="connsiteX0" fmla="*/ 20939 w 11837432"/>
              <a:gd name="connsiteY0" fmla="*/ 0 h 1766333"/>
              <a:gd name="connsiteX1" fmla="*/ 11598672 w 11837432"/>
              <a:gd name="connsiteY1" fmla="*/ 786433 h 1766333"/>
              <a:gd name="connsiteX2" fmla="*/ 11598672 w 11837432"/>
              <a:gd name="connsiteY2" fmla="*/ 667053 h 1766333"/>
              <a:gd name="connsiteX3" fmla="*/ 11837432 w 11837432"/>
              <a:gd name="connsiteY3" fmla="*/ 905813 h 1766333"/>
              <a:gd name="connsiteX4" fmla="*/ 11598672 w 11837432"/>
              <a:gd name="connsiteY4" fmla="*/ 1144573 h 1766333"/>
              <a:gd name="connsiteX5" fmla="*/ 11598672 w 11837432"/>
              <a:gd name="connsiteY5" fmla="*/ 1025193 h 1766333"/>
              <a:gd name="connsiteX6" fmla="*/ 322 w 11837432"/>
              <a:gd name="connsiteY6" fmla="*/ 1766333 h 1766333"/>
              <a:gd name="connsiteX7" fmla="*/ 20939 w 11837432"/>
              <a:gd name="connsiteY7" fmla="*/ 0 h 1766333"/>
              <a:gd name="connsiteX0" fmla="*/ 20939 w 11837432"/>
              <a:gd name="connsiteY0" fmla="*/ 0 h 1766333"/>
              <a:gd name="connsiteX1" fmla="*/ 11598672 w 11837432"/>
              <a:gd name="connsiteY1" fmla="*/ 786433 h 1766333"/>
              <a:gd name="connsiteX2" fmla="*/ 11598672 w 11837432"/>
              <a:gd name="connsiteY2" fmla="*/ 667053 h 1766333"/>
              <a:gd name="connsiteX3" fmla="*/ 11837432 w 11837432"/>
              <a:gd name="connsiteY3" fmla="*/ 905813 h 1766333"/>
              <a:gd name="connsiteX4" fmla="*/ 11598672 w 11837432"/>
              <a:gd name="connsiteY4" fmla="*/ 1144573 h 1766333"/>
              <a:gd name="connsiteX5" fmla="*/ 11598672 w 11837432"/>
              <a:gd name="connsiteY5" fmla="*/ 1025193 h 1766333"/>
              <a:gd name="connsiteX6" fmla="*/ 322 w 11837432"/>
              <a:gd name="connsiteY6" fmla="*/ 1766333 h 1766333"/>
              <a:gd name="connsiteX7" fmla="*/ 20939 w 11837432"/>
              <a:gd name="connsiteY7" fmla="*/ 0 h 1766333"/>
              <a:gd name="connsiteX0" fmla="*/ 20939 w 11837432"/>
              <a:gd name="connsiteY0" fmla="*/ 0 h 1766333"/>
              <a:gd name="connsiteX1" fmla="*/ 11598672 w 11837432"/>
              <a:gd name="connsiteY1" fmla="*/ 786433 h 1766333"/>
              <a:gd name="connsiteX2" fmla="*/ 11598672 w 11837432"/>
              <a:gd name="connsiteY2" fmla="*/ 667053 h 1766333"/>
              <a:gd name="connsiteX3" fmla="*/ 11837432 w 11837432"/>
              <a:gd name="connsiteY3" fmla="*/ 905813 h 1766333"/>
              <a:gd name="connsiteX4" fmla="*/ 11598672 w 11837432"/>
              <a:gd name="connsiteY4" fmla="*/ 1144573 h 1766333"/>
              <a:gd name="connsiteX5" fmla="*/ 11598672 w 11837432"/>
              <a:gd name="connsiteY5" fmla="*/ 1025193 h 1766333"/>
              <a:gd name="connsiteX6" fmla="*/ 322 w 11837432"/>
              <a:gd name="connsiteY6" fmla="*/ 1766333 h 1766333"/>
              <a:gd name="connsiteX7" fmla="*/ 20939 w 11837432"/>
              <a:gd name="connsiteY7" fmla="*/ 0 h 1766333"/>
              <a:gd name="connsiteX0" fmla="*/ 20939 w 11837432"/>
              <a:gd name="connsiteY0" fmla="*/ 0 h 1766333"/>
              <a:gd name="connsiteX1" fmla="*/ 11598672 w 11837432"/>
              <a:gd name="connsiteY1" fmla="*/ 786433 h 1766333"/>
              <a:gd name="connsiteX2" fmla="*/ 11598672 w 11837432"/>
              <a:gd name="connsiteY2" fmla="*/ 667053 h 1766333"/>
              <a:gd name="connsiteX3" fmla="*/ 11837432 w 11837432"/>
              <a:gd name="connsiteY3" fmla="*/ 905813 h 1766333"/>
              <a:gd name="connsiteX4" fmla="*/ 11598672 w 11837432"/>
              <a:gd name="connsiteY4" fmla="*/ 1144573 h 1766333"/>
              <a:gd name="connsiteX5" fmla="*/ 11598672 w 11837432"/>
              <a:gd name="connsiteY5" fmla="*/ 1025193 h 1766333"/>
              <a:gd name="connsiteX6" fmla="*/ 322 w 11837432"/>
              <a:gd name="connsiteY6" fmla="*/ 1766333 h 1766333"/>
              <a:gd name="connsiteX7" fmla="*/ 20939 w 11837432"/>
              <a:gd name="connsiteY7" fmla="*/ 0 h 1766333"/>
              <a:gd name="connsiteX0" fmla="*/ 20939 w 11837432"/>
              <a:gd name="connsiteY0" fmla="*/ 0 h 1766333"/>
              <a:gd name="connsiteX1" fmla="*/ 11598672 w 11837432"/>
              <a:gd name="connsiteY1" fmla="*/ 786433 h 1766333"/>
              <a:gd name="connsiteX2" fmla="*/ 11598672 w 11837432"/>
              <a:gd name="connsiteY2" fmla="*/ 667053 h 1766333"/>
              <a:gd name="connsiteX3" fmla="*/ 11837432 w 11837432"/>
              <a:gd name="connsiteY3" fmla="*/ 905813 h 1766333"/>
              <a:gd name="connsiteX4" fmla="*/ 11598672 w 11837432"/>
              <a:gd name="connsiteY4" fmla="*/ 1144573 h 1766333"/>
              <a:gd name="connsiteX5" fmla="*/ 11598672 w 11837432"/>
              <a:gd name="connsiteY5" fmla="*/ 1025193 h 1766333"/>
              <a:gd name="connsiteX6" fmla="*/ 322 w 11837432"/>
              <a:gd name="connsiteY6" fmla="*/ 1766333 h 1766333"/>
              <a:gd name="connsiteX7" fmla="*/ 20939 w 11837432"/>
              <a:gd name="connsiteY7" fmla="*/ 0 h 1766333"/>
              <a:gd name="connsiteX0" fmla="*/ 0 w 11839535"/>
              <a:gd name="connsiteY0" fmla="*/ 0 h 1490703"/>
              <a:gd name="connsiteX1" fmla="*/ 11600775 w 11839535"/>
              <a:gd name="connsiteY1" fmla="*/ 510803 h 1490703"/>
              <a:gd name="connsiteX2" fmla="*/ 11600775 w 11839535"/>
              <a:gd name="connsiteY2" fmla="*/ 391423 h 1490703"/>
              <a:gd name="connsiteX3" fmla="*/ 11839535 w 11839535"/>
              <a:gd name="connsiteY3" fmla="*/ 630183 h 1490703"/>
              <a:gd name="connsiteX4" fmla="*/ 11600775 w 11839535"/>
              <a:gd name="connsiteY4" fmla="*/ 868943 h 1490703"/>
              <a:gd name="connsiteX5" fmla="*/ 11600775 w 11839535"/>
              <a:gd name="connsiteY5" fmla="*/ 749563 h 1490703"/>
              <a:gd name="connsiteX6" fmla="*/ 2425 w 11839535"/>
              <a:gd name="connsiteY6" fmla="*/ 1490703 h 1490703"/>
              <a:gd name="connsiteX7" fmla="*/ 0 w 11839535"/>
              <a:gd name="connsiteY7" fmla="*/ 0 h 1490703"/>
              <a:gd name="connsiteX0" fmla="*/ 0 w 11839535"/>
              <a:gd name="connsiteY0" fmla="*/ 0 h 1490703"/>
              <a:gd name="connsiteX1" fmla="*/ 11600775 w 11839535"/>
              <a:gd name="connsiteY1" fmla="*/ 510803 h 1490703"/>
              <a:gd name="connsiteX2" fmla="*/ 11600775 w 11839535"/>
              <a:gd name="connsiteY2" fmla="*/ 391423 h 1490703"/>
              <a:gd name="connsiteX3" fmla="*/ 11839535 w 11839535"/>
              <a:gd name="connsiteY3" fmla="*/ 630183 h 1490703"/>
              <a:gd name="connsiteX4" fmla="*/ 11600775 w 11839535"/>
              <a:gd name="connsiteY4" fmla="*/ 868943 h 1490703"/>
              <a:gd name="connsiteX5" fmla="*/ 11600775 w 11839535"/>
              <a:gd name="connsiteY5" fmla="*/ 749563 h 1490703"/>
              <a:gd name="connsiteX6" fmla="*/ 2425 w 11839535"/>
              <a:gd name="connsiteY6" fmla="*/ 1490703 h 1490703"/>
              <a:gd name="connsiteX7" fmla="*/ 0 w 11839535"/>
              <a:gd name="connsiteY7" fmla="*/ 0 h 1490703"/>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 name="connsiteX0" fmla="*/ 0 w 11839535"/>
              <a:gd name="connsiteY0" fmla="*/ 0 h 1274137"/>
              <a:gd name="connsiteX1" fmla="*/ 11600775 w 11839535"/>
              <a:gd name="connsiteY1" fmla="*/ 510803 h 1274137"/>
              <a:gd name="connsiteX2" fmla="*/ 11600775 w 11839535"/>
              <a:gd name="connsiteY2" fmla="*/ 391423 h 1274137"/>
              <a:gd name="connsiteX3" fmla="*/ 11839535 w 11839535"/>
              <a:gd name="connsiteY3" fmla="*/ 630183 h 1274137"/>
              <a:gd name="connsiteX4" fmla="*/ 11600775 w 11839535"/>
              <a:gd name="connsiteY4" fmla="*/ 868943 h 1274137"/>
              <a:gd name="connsiteX5" fmla="*/ 11600775 w 11839535"/>
              <a:gd name="connsiteY5" fmla="*/ 749563 h 1274137"/>
              <a:gd name="connsiteX6" fmla="*/ 2425 w 11839535"/>
              <a:gd name="connsiteY6" fmla="*/ 1274137 h 1274137"/>
              <a:gd name="connsiteX7" fmla="*/ 0 w 11839535"/>
              <a:gd name="connsiteY7" fmla="*/ 0 h 127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39535" h="1274137">
                <a:moveTo>
                  <a:pt x="0" y="0"/>
                </a:moveTo>
                <a:cubicBezTo>
                  <a:pt x="1208848" y="763537"/>
                  <a:pt x="11055835" y="517746"/>
                  <a:pt x="11600775" y="510803"/>
                </a:cubicBezTo>
                <a:lnTo>
                  <a:pt x="11600775" y="391423"/>
                </a:lnTo>
                <a:lnTo>
                  <a:pt x="11839535" y="630183"/>
                </a:lnTo>
                <a:lnTo>
                  <a:pt x="11600775" y="868943"/>
                </a:lnTo>
                <a:lnTo>
                  <a:pt x="11600775" y="749563"/>
                </a:lnTo>
                <a:cubicBezTo>
                  <a:pt x="11223597" y="762938"/>
                  <a:pt x="1038029" y="681297"/>
                  <a:pt x="2425" y="1274137"/>
                </a:cubicBezTo>
                <a:cubicBezTo>
                  <a:pt x="-1176" y="506379"/>
                  <a:pt x="3601" y="767758"/>
                  <a:pt x="0" y="0"/>
                </a:cubicBezTo>
                <a:close/>
              </a:path>
            </a:pathLst>
          </a:custGeom>
          <a:gradFill flip="none" rotWithShape="1">
            <a:gsLst>
              <a:gs pos="19000">
                <a:schemeClr val="accent1">
                  <a:alpha val="21000"/>
                </a:schemeClr>
              </a:gs>
              <a:gs pos="0">
                <a:schemeClr val="bg1">
                  <a:alpha val="0"/>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ym typeface="+mn-lt"/>
            </a:endParaRPr>
          </a:p>
        </p:txBody>
      </p:sp>
      <p:sp>
        <p:nvSpPr>
          <p:cNvPr id="42" name="标题 41">
            <a:extLst>
              <a:ext uri="{FF2B5EF4-FFF2-40B4-BE49-F238E27FC236}">
                <a16:creationId xmlns:a16="http://schemas.microsoft.com/office/drawing/2014/main" id="{E96A85E7-6247-47ED-B227-659EBA5BC923}"/>
              </a:ext>
            </a:extLst>
          </p:cNvPr>
          <p:cNvSpPr>
            <a:spLocks noGrp="1"/>
          </p:cNvSpPr>
          <p:nvPr>
            <p:ph type="title"/>
          </p:nvPr>
        </p:nvSpPr>
        <p:spPr/>
        <p:txBody>
          <a:bodyPr/>
          <a:lstStyle/>
          <a:p>
            <a:r>
              <a:rPr lang="zh-CN" altLang="en-US" dirty="0">
                <a:latin typeface="+mn-lt"/>
                <a:ea typeface="+mn-ea"/>
                <a:cs typeface="+mn-ea"/>
                <a:sym typeface="+mn-lt"/>
              </a:rPr>
              <a:t>技术流程介绍</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3C8E0AF3-EA1E-4D3E-A1A0-0DC188E74CFD}"/>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41</a:t>
            </a:fld>
            <a:endParaRPr lang="en-US" dirty="0">
              <a:solidFill>
                <a:srgbClr val="000000">
                  <a:tint val="75000"/>
                </a:srgbClr>
              </a:solidFill>
              <a:cs typeface="+mn-ea"/>
              <a:sym typeface="+mn-lt"/>
            </a:endParaRPr>
          </a:p>
        </p:txBody>
      </p:sp>
      <p:pic>
        <p:nvPicPr>
          <p:cNvPr id="18" name="图片占位符 17">
            <a:extLst>
              <a:ext uri="{FF2B5EF4-FFF2-40B4-BE49-F238E27FC236}">
                <a16:creationId xmlns:a16="http://schemas.microsoft.com/office/drawing/2014/main" id="{502743AA-E814-49A2-B855-8808CEEA4E27}"/>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18" b="118"/>
          <a:stretch>
            <a:fillRect/>
          </a:stretch>
        </p:blipFill>
        <p:spPr/>
      </p:pic>
      <p:pic>
        <p:nvPicPr>
          <p:cNvPr id="23" name="图片占位符 22">
            <a:extLst>
              <a:ext uri="{FF2B5EF4-FFF2-40B4-BE49-F238E27FC236}">
                <a16:creationId xmlns:a16="http://schemas.microsoft.com/office/drawing/2014/main" id="{62C50E7F-78B1-4E10-948B-285C87EF8985}"/>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t="118" b="118"/>
          <a:stretch>
            <a:fillRect/>
          </a:stretch>
        </p:blipFill>
        <p:spPr/>
      </p:pic>
      <p:pic>
        <p:nvPicPr>
          <p:cNvPr id="25" name="图片占位符 24">
            <a:extLst>
              <a:ext uri="{FF2B5EF4-FFF2-40B4-BE49-F238E27FC236}">
                <a16:creationId xmlns:a16="http://schemas.microsoft.com/office/drawing/2014/main" id="{50AD5742-EE73-4C60-A2BE-92557244ABF6}"/>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t="118" b="118"/>
          <a:stretch>
            <a:fillRect/>
          </a:stretch>
        </p:blipFill>
        <p:spPr/>
      </p:pic>
      <p:pic>
        <p:nvPicPr>
          <p:cNvPr id="30" name="图片占位符 29">
            <a:extLst>
              <a:ext uri="{FF2B5EF4-FFF2-40B4-BE49-F238E27FC236}">
                <a16:creationId xmlns:a16="http://schemas.microsoft.com/office/drawing/2014/main" id="{CE4632B4-0B49-4285-AE21-1262B0D33BD0}"/>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t="118" b="118"/>
          <a:stretch>
            <a:fillRect/>
          </a:stretch>
        </p:blipFill>
        <p:spPr/>
      </p:pic>
      <p:sp>
        <p:nvSpPr>
          <p:cNvPr id="40" name="ïṥļïdé">
            <a:extLst>
              <a:ext uri="{FF2B5EF4-FFF2-40B4-BE49-F238E27FC236}">
                <a16:creationId xmlns:a16="http://schemas.microsoft.com/office/drawing/2014/main" id="{8660BA22-0EE4-47AB-BB20-ED8342CD7B96}"/>
              </a:ext>
            </a:extLst>
          </p:cNvPr>
          <p:cNvSpPr/>
          <p:nvPr/>
        </p:nvSpPr>
        <p:spPr>
          <a:xfrm>
            <a:off x="1747471" y="3911600"/>
            <a:ext cx="228600" cy="228600"/>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a:cs typeface="+mn-ea"/>
              <a:sym typeface="+mn-lt"/>
            </a:endParaRPr>
          </a:p>
        </p:txBody>
      </p:sp>
      <p:grpSp>
        <p:nvGrpSpPr>
          <p:cNvPr id="16" name="组合 15">
            <a:extLst>
              <a:ext uri="{FF2B5EF4-FFF2-40B4-BE49-F238E27FC236}">
                <a16:creationId xmlns:a16="http://schemas.microsoft.com/office/drawing/2014/main" id="{5C0DDC6D-24FB-4A05-B6E4-E567EE524F7A}"/>
              </a:ext>
            </a:extLst>
          </p:cNvPr>
          <p:cNvGrpSpPr/>
          <p:nvPr/>
        </p:nvGrpSpPr>
        <p:grpSpPr>
          <a:xfrm>
            <a:off x="797186" y="3169227"/>
            <a:ext cx="2129171" cy="547501"/>
            <a:chOff x="797186" y="3169227"/>
            <a:chExt cx="2129171" cy="547501"/>
          </a:xfrm>
        </p:grpSpPr>
        <p:sp>
          <p:nvSpPr>
            <p:cNvPr id="41" name="ïşlíḋé">
              <a:extLst>
                <a:ext uri="{FF2B5EF4-FFF2-40B4-BE49-F238E27FC236}">
                  <a16:creationId xmlns:a16="http://schemas.microsoft.com/office/drawing/2014/main" id="{9517A53A-4AA3-437E-A08C-397CD46065E5}"/>
                </a:ext>
              </a:extLst>
            </p:cNvPr>
            <p:cNvSpPr/>
            <p:nvPr/>
          </p:nvSpPr>
          <p:spPr>
            <a:xfrm flipV="1">
              <a:off x="1727338" y="3484947"/>
              <a:ext cx="268866" cy="23178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a:solidFill>
                  <a:schemeClr val="tx1"/>
                </a:solidFill>
                <a:cs typeface="+mn-ea"/>
                <a:sym typeface="+mn-lt"/>
              </a:endParaRPr>
            </a:p>
          </p:txBody>
        </p:sp>
        <p:sp>
          <p:nvSpPr>
            <p:cNvPr id="35" name="iṡḻïḓé">
              <a:extLst>
                <a:ext uri="{FF2B5EF4-FFF2-40B4-BE49-F238E27FC236}">
                  <a16:creationId xmlns:a16="http://schemas.microsoft.com/office/drawing/2014/main" id="{D4935F5B-24EE-44B6-8EB9-845076C50D49}"/>
                </a:ext>
              </a:extLst>
            </p:cNvPr>
            <p:cNvSpPr/>
            <p:nvPr/>
          </p:nvSpPr>
          <p:spPr>
            <a:xfrm>
              <a:off x="797186" y="3169227"/>
              <a:ext cx="2129171" cy="393970"/>
            </a:xfrm>
            <a:prstGeom prst="roundRect">
              <a:avLst>
                <a:gd name="adj" fmla="val 4639"/>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zh-CN" altLang="en-US" b="1" dirty="0">
                  <a:solidFill>
                    <a:schemeClr val="accent1"/>
                  </a:solidFill>
                  <a:cs typeface="+mn-ea"/>
                  <a:sym typeface="+mn-lt"/>
                </a:rPr>
                <a:t>流程</a:t>
              </a:r>
              <a:r>
                <a:rPr lang="en-US" altLang="zh-CN" b="1" dirty="0">
                  <a:solidFill>
                    <a:schemeClr val="accent1"/>
                  </a:solidFill>
                  <a:cs typeface="+mn-ea"/>
                  <a:sym typeface="+mn-lt"/>
                </a:rPr>
                <a:t>1</a:t>
              </a:r>
              <a:endParaRPr b="1" dirty="0">
                <a:solidFill>
                  <a:schemeClr val="accent1"/>
                </a:solidFill>
                <a:cs typeface="+mn-ea"/>
                <a:sym typeface="+mn-lt"/>
              </a:endParaRPr>
            </a:p>
          </p:txBody>
        </p:sp>
      </p:grpSp>
      <p:sp>
        <p:nvSpPr>
          <p:cNvPr id="33" name="íšḻíḋe">
            <a:extLst>
              <a:ext uri="{FF2B5EF4-FFF2-40B4-BE49-F238E27FC236}">
                <a16:creationId xmlns:a16="http://schemas.microsoft.com/office/drawing/2014/main" id="{1511334A-E23A-4DFC-A344-94033A05D64D}"/>
              </a:ext>
            </a:extLst>
          </p:cNvPr>
          <p:cNvSpPr/>
          <p:nvPr/>
        </p:nvSpPr>
        <p:spPr>
          <a:xfrm>
            <a:off x="4566056" y="3911600"/>
            <a:ext cx="228600" cy="228600"/>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a:cs typeface="+mn-ea"/>
              <a:sym typeface="+mn-lt"/>
            </a:endParaRPr>
          </a:p>
        </p:txBody>
      </p:sp>
      <p:grpSp>
        <p:nvGrpSpPr>
          <p:cNvPr id="15" name="组合 14">
            <a:extLst>
              <a:ext uri="{FF2B5EF4-FFF2-40B4-BE49-F238E27FC236}">
                <a16:creationId xmlns:a16="http://schemas.microsoft.com/office/drawing/2014/main" id="{BCB70809-5725-4A32-AF19-D08C51BCCDF2}"/>
              </a:ext>
            </a:extLst>
          </p:cNvPr>
          <p:cNvGrpSpPr/>
          <p:nvPr/>
        </p:nvGrpSpPr>
        <p:grpSpPr>
          <a:xfrm>
            <a:off x="3615771" y="3169227"/>
            <a:ext cx="2129171" cy="547501"/>
            <a:chOff x="3615771" y="3169227"/>
            <a:chExt cx="2129171" cy="547501"/>
          </a:xfrm>
        </p:grpSpPr>
        <p:sp>
          <p:nvSpPr>
            <p:cNvPr id="34" name="iṥlíḋé">
              <a:extLst>
                <a:ext uri="{FF2B5EF4-FFF2-40B4-BE49-F238E27FC236}">
                  <a16:creationId xmlns:a16="http://schemas.microsoft.com/office/drawing/2014/main" id="{9942A14B-B321-4B00-B265-2BDDE665EC0B}"/>
                </a:ext>
              </a:extLst>
            </p:cNvPr>
            <p:cNvSpPr/>
            <p:nvPr/>
          </p:nvSpPr>
          <p:spPr>
            <a:xfrm flipV="1">
              <a:off x="4545923" y="3484947"/>
              <a:ext cx="268866" cy="23178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a:solidFill>
                  <a:schemeClr val="tx1"/>
                </a:solidFill>
                <a:cs typeface="+mn-ea"/>
                <a:sym typeface="+mn-lt"/>
              </a:endParaRPr>
            </a:p>
          </p:txBody>
        </p:sp>
        <p:sp>
          <p:nvSpPr>
            <p:cNvPr id="28" name="îṧḷíḍe">
              <a:extLst>
                <a:ext uri="{FF2B5EF4-FFF2-40B4-BE49-F238E27FC236}">
                  <a16:creationId xmlns:a16="http://schemas.microsoft.com/office/drawing/2014/main" id="{58416349-38AF-465B-B0C5-CB471F1E4309}"/>
                </a:ext>
              </a:extLst>
            </p:cNvPr>
            <p:cNvSpPr/>
            <p:nvPr/>
          </p:nvSpPr>
          <p:spPr>
            <a:xfrm>
              <a:off x="3615771" y="3169227"/>
              <a:ext cx="2129171" cy="393970"/>
            </a:xfrm>
            <a:prstGeom prst="roundRect">
              <a:avLst>
                <a:gd name="adj" fmla="val 4639"/>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zh-CN" altLang="en-US" b="1">
                  <a:solidFill>
                    <a:schemeClr val="accent1"/>
                  </a:solidFill>
                  <a:cs typeface="+mn-ea"/>
                  <a:sym typeface="+mn-lt"/>
                </a:rPr>
                <a:t>流程</a:t>
              </a:r>
              <a:r>
                <a:rPr lang="en-US" altLang="zh-CN" b="1" dirty="0">
                  <a:solidFill>
                    <a:schemeClr val="accent1"/>
                  </a:solidFill>
                  <a:cs typeface="+mn-ea"/>
                  <a:sym typeface="+mn-lt"/>
                </a:rPr>
                <a:t>2</a:t>
              </a:r>
              <a:endParaRPr lang="zh-CN" altLang="en-US" b="1" dirty="0">
                <a:solidFill>
                  <a:schemeClr val="accent1"/>
                </a:solidFill>
                <a:cs typeface="+mn-ea"/>
                <a:sym typeface="+mn-lt"/>
              </a:endParaRPr>
            </a:p>
          </p:txBody>
        </p:sp>
      </p:grpSp>
      <p:sp>
        <p:nvSpPr>
          <p:cNvPr id="26" name="î$ľíďê">
            <a:extLst>
              <a:ext uri="{FF2B5EF4-FFF2-40B4-BE49-F238E27FC236}">
                <a16:creationId xmlns:a16="http://schemas.microsoft.com/office/drawing/2014/main" id="{B4BD4055-6E5A-4A8B-AB0A-F5E0465B5D23}"/>
              </a:ext>
            </a:extLst>
          </p:cNvPr>
          <p:cNvSpPr/>
          <p:nvPr/>
        </p:nvSpPr>
        <p:spPr>
          <a:xfrm>
            <a:off x="7384641" y="3911600"/>
            <a:ext cx="228600" cy="228600"/>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a:cs typeface="+mn-ea"/>
              <a:sym typeface="+mn-lt"/>
            </a:endParaRPr>
          </a:p>
        </p:txBody>
      </p:sp>
      <p:grpSp>
        <p:nvGrpSpPr>
          <p:cNvPr id="13" name="组合 12">
            <a:extLst>
              <a:ext uri="{FF2B5EF4-FFF2-40B4-BE49-F238E27FC236}">
                <a16:creationId xmlns:a16="http://schemas.microsoft.com/office/drawing/2014/main" id="{256A5903-D5E1-4486-AEBA-0228196BB996}"/>
              </a:ext>
            </a:extLst>
          </p:cNvPr>
          <p:cNvGrpSpPr/>
          <p:nvPr/>
        </p:nvGrpSpPr>
        <p:grpSpPr>
          <a:xfrm>
            <a:off x="6434356" y="3169227"/>
            <a:ext cx="2129171" cy="547501"/>
            <a:chOff x="6434356" y="3169227"/>
            <a:chExt cx="2129171" cy="547501"/>
          </a:xfrm>
        </p:grpSpPr>
        <p:sp>
          <p:nvSpPr>
            <p:cNvPr id="27" name="ïṣḷíḑe">
              <a:extLst>
                <a:ext uri="{FF2B5EF4-FFF2-40B4-BE49-F238E27FC236}">
                  <a16:creationId xmlns:a16="http://schemas.microsoft.com/office/drawing/2014/main" id="{FF64EF3C-8B44-4494-B62C-200539AD2B3E}"/>
                </a:ext>
              </a:extLst>
            </p:cNvPr>
            <p:cNvSpPr/>
            <p:nvPr/>
          </p:nvSpPr>
          <p:spPr>
            <a:xfrm flipV="1">
              <a:off x="7364508" y="3484947"/>
              <a:ext cx="268866" cy="23178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a:solidFill>
                  <a:schemeClr val="tx1"/>
                </a:solidFill>
                <a:cs typeface="+mn-ea"/>
                <a:sym typeface="+mn-lt"/>
              </a:endParaRPr>
            </a:p>
          </p:txBody>
        </p:sp>
        <p:sp>
          <p:nvSpPr>
            <p:cNvPr id="21" name="ísḻïḑê">
              <a:extLst>
                <a:ext uri="{FF2B5EF4-FFF2-40B4-BE49-F238E27FC236}">
                  <a16:creationId xmlns:a16="http://schemas.microsoft.com/office/drawing/2014/main" id="{06BB7551-8A9F-4438-84AB-E6AD223BA4D1}"/>
                </a:ext>
              </a:extLst>
            </p:cNvPr>
            <p:cNvSpPr/>
            <p:nvPr/>
          </p:nvSpPr>
          <p:spPr>
            <a:xfrm>
              <a:off x="6434356" y="3169227"/>
              <a:ext cx="2129171" cy="393970"/>
            </a:xfrm>
            <a:prstGeom prst="roundRect">
              <a:avLst>
                <a:gd name="adj" fmla="val 4639"/>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zh-CN" altLang="en-US" b="1">
                  <a:solidFill>
                    <a:schemeClr val="accent1"/>
                  </a:solidFill>
                  <a:cs typeface="+mn-ea"/>
                  <a:sym typeface="+mn-lt"/>
                </a:rPr>
                <a:t>流程</a:t>
              </a:r>
              <a:r>
                <a:rPr lang="en-US" altLang="zh-CN" b="1" dirty="0">
                  <a:solidFill>
                    <a:schemeClr val="accent1"/>
                  </a:solidFill>
                  <a:cs typeface="+mn-ea"/>
                  <a:sym typeface="+mn-lt"/>
                </a:rPr>
                <a:t>3</a:t>
              </a:r>
              <a:endParaRPr lang="zh-CN" altLang="en-US" b="1" dirty="0">
                <a:solidFill>
                  <a:schemeClr val="accent1"/>
                </a:solidFill>
                <a:cs typeface="+mn-ea"/>
                <a:sym typeface="+mn-lt"/>
              </a:endParaRPr>
            </a:p>
          </p:txBody>
        </p:sp>
      </p:grpSp>
      <p:sp>
        <p:nvSpPr>
          <p:cNvPr id="19" name="ïš1iḍè">
            <a:extLst>
              <a:ext uri="{FF2B5EF4-FFF2-40B4-BE49-F238E27FC236}">
                <a16:creationId xmlns:a16="http://schemas.microsoft.com/office/drawing/2014/main" id="{CE0003FD-BE4C-43DF-AAFD-3AA54D0241DA}"/>
              </a:ext>
            </a:extLst>
          </p:cNvPr>
          <p:cNvSpPr/>
          <p:nvPr/>
        </p:nvSpPr>
        <p:spPr>
          <a:xfrm>
            <a:off x="10203226" y="3911600"/>
            <a:ext cx="228600" cy="228600"/>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a:cs typeface="+mn-ea"/>
              <a:sym typeface="+mn-lt"/>
            </a:endParaRPr>
          </a:p>
        </p:txBody>
      </p:sp>
      <p:grpSp>
        <p:nvGrpSpPr>
          <p:cNvPr id="11" name="组合 10">
            <a:extLst>
              <a:ext uri="{FF2B5EF4-FFF2-40B4-BE49-F238E27FC236}">
                <a16:creationId xmlns:a16="http://schemas.microsoft.com/office/drawing/2014/main" id="{81A44E65-4B40-4594-BC80-F71C4141F379}"/>
              </a:ext>
            </a:extLst>
          </p:cNvPr>
          <p:cNvGrpSpPr/>
          <p:nvPr/>
        </p:nvGrpSpPr>
        <p:grpSpPr>
          <a:xfrm>
            <a:off x="9252941" y="3169227"/>
            <a:ext cx="2129171" cy="547501"/>
            <a:chOff x="9252941" y="3169227"/>
            <a:chExt cx="2129171" cy="547501"/>
          </a:xfrm>
        </p:grpSpPr>
        <p:sp>
          <p:nvSpPr>
            <p:cNvPr id="20" name="iṡ1ïḓê">
              <a:extLst>
                <a:ext uri="{FF2B5EF4-FFF2-40B4-BE49-F238E27FC236}">
                  <a16:creationId xmlns:a16="http://schemas.microsoft.com/office/drawing/2014/main" id="{5B22A814-D940-4475-A176-CE66F0174CDE}"/>
                </a:ext>
              </a:extLst>
            </p:cNvPr>
            <p:cNvSpPr/>
            <p:nvPr/>
          </p:nvSpPr>
          <p:spPr>
            <a:xfrm flipV="1">
              <a:off x="10183093" y="3484947"/>
              <a:ext cx="268866" cy="23178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a:solidFill>
                  <a:schemeClr val="tx1"/>
                </a:solidFill>
                <a:cs typeface="+mn-ea"/>
                <a:sym typeface="+mn-lt"/>
              </a:endParaRPr>
            </a:p>
          </p:txBody>
        </p:sp>
        <p:sp>
          <p:nvSpPr>
            <p:cNvPr id="14" name="iṣḷîdé">
              <a:extLst>
                <a:ext uri="{FF2B5EF4-FFF2-40B4-BE49-F238E27FC236}">
                  <a16:creationId xmlns:a16="http://schemas.microsoft.com/office/drawing/2014/main" id="{199314F1-031A-4C4F-9053-9E62D8A493B8}"/>
                </a:ext>
              </a:extLst>
            </p:cNvPr>
            <p:cNvSpPr/>
            <p:nvPr/>
          </p:nvSpPr>
          <p:spPr>
            <a:xfrm>
              <a:off x="9252941" y="3169227"/>
              <a:ext cx="2129171" cy="393970"/>
            </a:xfrm>
            <a:prstGeom prst="roundRect">
              <a:avLst>
                <a:gd name="adj" fmla="val 4639"/>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zh-CN" altLang="en-US" b="1">
                  <a:solidFill>
                    <a:schemeClr val="accent1"/>
                  </a:solidFill>
                  <a:cs typeface="+mn-ea"/>
                  <a:sym typeface="+mn-lt"/>
                </a:rPr>
                <a:t>流程</a:t>
              </a:r>
              <a:r>
                <a:rPr lang="en-US" altLang="zh-CN" b="1" dirty="0">
                  <a:solidFill>
                    <a:schemeClr val="accent1"/>
                  </a:solidFill>
                  <a:cs typeface="+mn-ea"/>
                  <a:sym typeface="+mn-lt"/>
                </a:rPr>
                <a:t>4</a:t>
              </a:r>
              <a:endParaRPr lang="zh-CN" altLang="en-US" b="1" dirty="0">
                <a:solidFill>
                  <a:schemeClr val="accent1"/>
                </a:solidFill>
                <a:cs typeface="+mn-ea"/>
                <a:sym typeface="+mn-lt"/>
              </a:endParaRPr>
            </a:p>
          </p:txBody>
        </p:sp>
      </p:grpSp>
      <p:sp>
        <p:nvSpPr>
          <p:cNvPr id="43" name="iS1íḍê">
            <a:extLst>
              <a:ext uri="{FF2B5EF4-FFF2-40B4-BE49-F238E27FC236}">
                <a16:creationId xmlns:a16="http://schemas.microsoft.com/office/drawing/2014/main" id="{EBE8B804-D29E-4703-B11C-FB9A798CB566}"/>
              </a:ext>
            </a:extLst>
          </p:cNvPr>
          <p:cNvSpPr/>
          <p:nvPr/>
        </p:nvSpPr>
        <p:spPr>
          <a:xfrm>
            <a:off x="797186" y="4583430"/>
            <a:ext cx="2129171"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zh-CN" altLang="en-US" b="1" dirty="0">
                <a:solidFill>
                  <a:schemeClr val="tx1">
                    <a:lumMod val="75000"/>
                    <a:lumOff val="25000"/>
                  </a:schemeClr>
                </a:solidFill>
                <a:cs typeface="+mn-ea"/>
                <a:sym typeface="+mn-lt"/>
              </a:rPr>
              <a:t>请在此输入标题</a:t>
            </a:r>
            <a:endParaRPr lang="en-US" altLang="zh-CN" b="1" dirty="0">
              <a:solidFill>
                <a:schemeClr val="tx1">
                  <a:lumMod val="75000"/>
                  <a:lumOff val="25000"/>
                </a:schemeClr>
              </a:solidFill>
              <a:cs typeface="+mn-ea"/>
              <a:sym typeface="+mn-lt"/>
            </a:endParaRPr>
          </a:p>
        </p:txBody>
      </p:sp>
      <p:sp>
        <p:nvSpPr>
          <p:cNvPr id="44" name="ï$1idé">
            <a:extLst>
              <a:ext uri="{FF2B5EF4-FFF2-40B4-BE49-F238E27FC236}">
                <a16:creationId xmlns:a16="http://schemas.microsoft.com/office/drawing/2014/main" id="{78217343-642D-449E-B24F-DDAC0E585CAA}"/>
              </a:ext>
            </a:extLst>
          </p:cNvPr>
          <p:cNvSpPr/>
          <p:nvPr/>
        </p:nvSpPr>
        <p:spPr bwMode="auto">
          <a:xfrm>
            <a:off x="797186" y="4943475"/>
            <a:ext cx="2129171"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45" name="iS1íḍê">
            <a:extLst>
              <a:ext uri="{FF2B5EF4-FFF2-40B4-BE49-F238E27FC236}">
                <a16:creationId xmlns:a16="http://schemas.microsoft.com/office/drawing/2014/main" id="{7325B1EB-EC5D-4AE8-858D-D84D4F97B3A1}"/>
              </a:ext>
            </a:extLst>
          </p:cNvPr>
          <p:cNvSpPr/>
          <p:nvPr/>
        </p:nvSpPr>
        <p:spPr>
          <a:xfrm>
            <a:off x="3615770" y="4583430"/>
            <a:ext cx="2129171"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zh-CN" altLang="en-US" b="1" dirty="0">
                <a:solidFill>
                  <a:schemeClr val="tx1">
                    <a:lumMod val="75000"/>
                    <a:lumOff val="25000"/>
                  </a:schemeClr>
                </a:solidFill>
                <a:cs typeface="+mn-ea"/>
                <a:sym typeface="+mn-lt"/>
              </a:rPr>
              <a:t>请在此输入标题</a:t>
            </a:r>
            <a:endParaRPr lang="en-US" altLang="zh-CN" b="1" dirty="0">
              <a:solidFill>
                <a:schemeClr val="tx1">
                  <a:lumMod val="75000"/>
                  <a:lumOff val="25000"/>
                </a:schemeClr>
              </a:solidFill>
              <a:cs typeface="+mn-ea"/>
              <a:sym typeface="+mn-lt"/>
            </a:endParaRPr>
          </a:p>
        </p:txBody>
      </p:sp>
      <p:sp>
        <p:nvSpPr>
          <p:cNvPr id="46" name="ï$1idé">
            <a:extLst>
              <a:ext uri="{FF2B5EF4-FFF2-40B4-BE49-F238E27FC236}">
                <a16:creationId xmlns:a16="http://schemas.microsoft.com/office/drawing/2014/main" id="{1356C63A-702E-41CB-8A43-9BCE48CF7FB5}"/>
              </a:ext>
            </a:extLst>
          </p:cNvPr>
          <p:cNvSpPr/>
          <p:nvPr/>
        </p:nvSpPr>
        <p:spPr bwMode="auto">
          <a:xfrm>
            <a:off x="3615770" y="4943475"/>
            <a:ext cx="2129171"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47" name="iS1íḍê">
            <a:extLst>
              <a:ext uri="{FF2B5EF4-FFF2-40B4-BE49-F238E27FC236}">
                <a16:creationId xmlns:a16="http://schemas.microsoft.com/office/drawing/2014/main" id="{F822E352-7537-4A48-A04F-3B78BFB0F72E}"/>
              </a:ext>
            </a:extLst>
          </p:cNvPr>
          <p:cNvSpPr/>
          <p:nvPr/>
        </p:nvSpPr>
        <p:spPr>
          <a:xfrm>
            <a:off x="6434355" y="4583430"/>
            <a:ext cx="2129171"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zh-CN" altLang="en-US" b="1" dirty="0">
                <a:solidFill>
                  <a:schemeClr val="tx1">
                    <a:lumMod val="75000"/>
                    <a:lumOff val="25000"/>
                  </a:schemeClr>
                </a:solidFill>
                <a:cs typeface="+mn-ea"/>
                <a:sym typeface="+mn-lt"/>
              </a:rPr>
              <a:t>请在此输入标题</a:t>
            </a:r>
            <a:endParaRPr lang="en-US" altLang="zh-CN" b="1" dirty="0">
              <a:solidFill>
                <a:schemeClr val="tx1">
                  <a:lumMod val="75000"/>
                  <a:lumOff val="25000"/>
                </a:schemeClr>
              </a:solidFill>
              <a:cs typeface="+mn-ea"/>
              <a:sym typeface="+mn-lt"/>
            </a:endParaRPr>
          </a:p>
        </p:txBody>
      </p:sp>
      <p:sp>
        <p:nvSpPr>
          <p:cNvPr id="48" name="ï$1idé">
            <a:extLst>
              <a:ext uri="{FF2B5EF4-FFF2-40B4-BE49-F238E27FC236}">
                <a16:creationId xmlns:a16="http://schemas.microsoft.com/office/drawing/2014/main" id="{0C027C30-62BB-414A-86A3-CD29B7D3A827}"/>
              </a:ext>
            </a:extLst>
          </p:cNvPr>
          <p:cNvSpPr/>
          <p:nvPr/>
        </p:nvSpPr>
        <p:spPr bwMode="auto">
          <a:xfrm>
            <a:off x="6434355" y="4943475"/>
            <a:ext cx="2129171"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49" name="iS1íḍê">
            <a:extLst>
              <a:ext uri="{FF2B5EF4-FFF2-40B4-BE49-F238E27FC236}">
                <a16:creationId xmlns:a16="http://schemas.microsoft.com/office/drawing/2014/main" id="{985E9BBE-4FD5-4275-9667-974439939835}"/>
              </a:ext>
            </a:extLst>
          </p:cNvPr>
          <p:cNvSpPr/>
          <p:nvPr/>
        </p:nvSpPr>
        <p:spPr>
          <a:xfrm>
            <a:off x="9252941" y="4583430"/>
            <a:ext cx="2129171"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zh-CN" altLang="en-US" b="1" dirty="0">
                <a:solidFill>
                  <a:schemeClr val="tx1">
                    <a:lumMod val="75000"/>
                    <a:lumOff val="25000"/>
                  </a:schemeClr>
                </a:solidFill>
                <a:cs typeface="+mn-ea"/>
                <a:sym typeface="+mn-lt"/>
              </a:rPr>
              <a:t>请在此输入标题</a:t>
            </a:r>
            <a:endParaRPr lang="en-US" altLang="zh-CN" b="1" dirty="0">
              <a:solidFill>
                <a:schemeClr val="tx1">
                  <a:lumMod val="75000"/>
                  <a:lumOff val="25000"/>
                </a:schemeClr>
              </a:solidFill>
              <a:cs typeface="+mn-ea"/>
              <a:sym typeface="+mn-lt"/>
            </a:endParaRPr>
          </a:p>
        </p:txBody>
      </p:sp>
      <p:sp>
        <p:nvSpPr>
          <p:cNvPr id="50" name="ï$1idé">
            <a:extLst>
              <a:ext uri="{FF2B5EF4-FFF2-40B4-BE49-F238E27FC236}">
                <a16:creationId xmlns:a16="http://schemas.microsoft.com/office/drawing/2014/main" id="{3CE3EDAE-0D61-4CCD-8E64-3FCAE280C64C}"/>
              </a:ext>
            </a:extLst>
          </p:cNvPr>
          <p:cNvSpPr/>
          <p:nvPr/>
        </p:nvSpPr>
        <p:spPr bwMode="auto">
          <a:xfrm>
            <a:off x="9252941" y="4943475"/>
            <a:ext cx="2129171"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grpSp>
        <p:nvGrpSpPr>
          <p:cNvPr id="36" name="组合 35">
            <a:extLst>
              <a:ext uri="{FF2B5EF4-FFF2-40B4-BE49-F238E27FC236}">
                <a16:creationId xmlns:a16="http://schemas.microsoft.com/office/drawing/2014/main" id="{430EBC9A-8BA9-410B-AAD3-047F4A128372}"/>
              </a:ext>
            </a:extLst>
          </p:cNvPr>
          <p:cNvGrpSpPr/>
          <p:nvPr/>
        </p:nvGrpSpPr>
        <p:grpSpPr>
          <a:xfrm>
            <a:off x="0" y="-715587"/>
            <a:ext cx="676656" cy="602672"/>
            <a:chOff x="0" y="6950133"/>
            <a:chExt cx="676656" cy="602672"/>
          </a:xfrm>
        </p:grpSpPr>
        <p:sp>
          <p:nvSpPr>
            <p:cNvPr id="37" name="矩形 36">
              <a:extLst>
                <a:ext uri="{FF2B5EF4-FFF2-40B4-BE49-F238E27FC236}">
                  <a16:creationId xmlns:a16="http://schemas.microsoft.com/office/drawing/2014/main" id="{0E55FC15-C01F-468A-B6A0-E8033E9BCCCE}"/>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38" name="组合 37">
              <a:extLst>
                <a:ext uri="{FF2B5EF4-FFF2-40B4-BE49-F238E27FC236}">
                  <a16:creationId xmlns:a16="http://schemas.microsoft.com/office/drawing/2014/main" id="{33C7DBC9-2A48-4C75-B832-4B661BC7DD92}"/>
                </a:ext>
              </a:extLst>
            </p:cNvPr>
            <p:cNvGrpSpPr/>
            <p:nvPr/>
          </p:nvGrpSpPr>
          <p:grpSpPr>
            <a:xfrm>
              <a:off x="47544" y="7038552"/>
              <a:ext cx="581568" cy="425834"/>
              <a:chOff x="84575" y="6977592"/>
              <a:chExt cx="581568" cy="425834"/>
            </a:xfrm>
          </p:grpSpPr>
          <p:grpSp>
            <p:nvGrpSpPr>
              <p:cNvPr id="39" name="组合 38">
                <a:extLst>
                  <a:ext uri="{FF2B5EF4-FFF2-40B4-BE49-F238E27FC236}">
                    <a16:creationId xmlns:a16="http://schemas.microsoft.com/office/drawing/2014/main" id="{B266BAFA-7CF5-4918-B6ED-2A95E0EF7A24}"/>
                  </a:ext>
                </a:extLst>
              </p:cNvPr>
              <p:cNvGrpSpPr/>
              <p:nvPr/>
            </p:nvGrpSpPr>
            <p:grpSpPr>
              <a:xfrm>
                <a:off x="84575" y="6979654"/>
                <a:ext cx="317380" cy="421711"/>
                <a:chOff x="14690033" y="2185397"/>
                <a:chExt cx="583830" cy="775754"/>
              </a:xfrm>
            </p:grpSpPr>
            <p:sp>
              <p:nvSpPr>
                <p:cNvPr id="52" name="iŝļíḑe">
                  <a:extLst>
                    <a:ext uri="{FF2B5EF4-FFF2-40B4-BE49-F238E27FC236}">
                      <a16:creationId xmlns:a16="http://schemas.microsoft.com/office/drawing/2014/main" id="{07128BAD-C141-473C-BDB2-947682E013D6}"/>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şḷíḍé">
                  <a:extLst>
                    <a:ext uri="{FF2B5EF4-FFF2-40B4-BE49-F238E27FC236}">
                      <a16:creationId xmlns:a16="http://schemas.microsoft.com/office/drawing/2014/main" id="{5566B39A-4AF0-48A1-8993-9C22B4E47D27}"/>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ľïḓe">
                  <a:extLst>
                    <a:ext uri="{FF2B5EF4-FFF2-40B4-BE49-F238E27FC236}">
                      <a16:creationId xmlns:a16="http://schemas.microsoft.com/office/drawing/2014/main" id="{CDAC5900-F789-41BF-8E6D-2AE2714BC2D6}"/>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ḻídê">
                  <a:extLst>
                    <a:ext uri="{FF2B5EF4-FFF2-40B4-BE49-F238E27FC236}">
                      <a16:creationId xmlns:a16="http://schemas.microsoft.com/office/drawing/2014/main" id="{1871A879-5643-41B0-B960-5A4BAF2FBC5B}"/>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îS1íḋè">
                  <a:extLst>
                    <a:ext uri="{FF2B5EF4-FFF2-40B4-BE49-F238E27FC236}">
                      <a16:creationId xmlns:a16="http://schemas.microsoft.com/office/drawing/2014/main" id="{A900D0BD-1D46-4F0D-964E-3AEC14A35246}"/>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íşļíde">
                  <a:extLst>
                    <a:ext uri="{FF2B5EF4-FFF2-40B4-BE49-F238E27FC236}">
                      <a16:creationId xmlns:a16="http://schemas.microsoft.com/office/drawing/2014/main" id="{922D1AAA-9AEA-4D4C-A8A5-C31561902C38}"/>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51" name="文本框 50">
                <a:extLst>
                  <a:ext uri="{FF2B5EF4-FFF2-40B4-BE49-F238E27FC236}">
                    <a16:creationId xmlns:a16="http://schemas.microsoft.com/office/drawing/2014/main" id="{14FC517F-988B-4D70-A21F-5707A9FFFFE0}"/>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8" name="矩形 57">
            <a:extLst>
              <a:ext uri="{FF2B5EF4-FFF2-40B4-BE49-F238E27FC236}">
                <a16:creationId xmlns:a16="http://schemas.microsoft.com/office/drawing/2014/main" id="{47622668-31CC-4406-A3EC-B4F2CD8F91EE}"/>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custDataLst>
      <p:tags r:id="rId1"/>
    </p:custDataLst>
    <p:extLst>
      <p:ext uri="{BB962C8B-B14F-4D97-AF65-F5344CB8AC3E}">
        <p14:creationId xmlns:p14="http://schemas.microsoft.com/office/powerpoint/2010/main" val="1084662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59226FA-89A9-4300-A469-847DB89FA737}"/>
              </a:ext>
            </a:extLst>
          </p:cNvPr>
          <p:cNvSpPr>
            <a:spLocks noGrp="1"/>
          </p:cNvSpPr>
          <p:nvPr>
            <p:ph type="title"/>
          </p:nvPr>
        </p:nvSpPr>
        <p:spPr/>
        <p:txBody>
          <a:bodyPr/>
          <a:lstStyle/>
          <a:p>
            <a:r>
              <a:rPr lang="zh-CN" altLang="en-US" dirty="0"/>
              <a:t>技术分析页</a:t>
            </a:r>
            <a:endParaRPr lang="en-US" dirty="0"/>
          </a:p>
        </p:txBody>
      </p:sp>
      <p:sp>
        <p:nvSpPr>
          <p:cNvPr id="3" name="灯片编号占位符 2">
            <a:extLst>
              <a:ext uri="{FF2B5EF4-FFF2-40B4-BE49-F238E27FC236}">
                <a16:creationId xmlns:a16="http://schemas.microsoft.com/office/drawing/2014/main" id="{9F1ADDE6-E16A-450B-94A4-35C37934647E}"/>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42</a:t>
            </a:fld>
            <a:endParaRPr lang="en-US" dirty="0">
              <a:solidFill>
                <a:srgbClr val="000000">
                  <a:tint val="75000"/>
                </a:srgbClr>
              </a:solidFill>
            </a:endParaRPr>
          </a:p>
        </p:txBody>
      </p:sp>
      <p:sp>
        <p:nvSpPr>
          <p:cNvPr id="4" name="Freeform 80">
            <a:extLst>
              <a:ext uri="{FF2B5EF4-FFF2-40B4-BE49-F238E27FC236}">
                <a16:creationId xmlns:a16="http://schemas.microsoft.com/office/drawing/2014/main" id="{80E03F5D-80F6-4D7B-B282-4140D27F0394}"/>
              </a:ext>
            </a:extLst>
          </p:cNvPr>
          <p:cNvSpPr/>
          <p:nvPr/>
        </p:nvSpPr>
        <p:spPr>
          <a:xfrm>
            <a:off x="3688351" y="2060696"/>
            <a:ext cx="4462866" cy="524566"/>
          </a:xfrm>
          <a:custGeom>
            <a:avLst/>
            <a:gdLst>
              <a:gd name="connsiteX0" fmla="*/ 1317356 w 4881966"/>
              <a:gd name="connsiteY0" fmla="*/ 46495 h 495946"/>
              <a:gd name="connsiteX1" fmla="*/ 1255363 w 4881966"/>
              <a:gd name="connsiteY1" fmla="*/ 92990 h 495946"/>
              <a:gd name="connsiteX2" fmla="*/ 0 w 4881966"/>
              <a:gd name="connsiteY2" fmla="*/ 495946 h 495946"/>
              <a:gd name="connsiteX3" fmla="*/ 4881966 w 4881966"/>
              <a:gd name="connsiteY3" fmla="*/ 495946 h 495946"/>
              <a:gd name="connsiteX4" fmla="*/ 3316637 w 4881966"/>
              <a:gd name="connsiteY4" fmla="*/ 0 h 495946"/>
              <a:gd name="connsiteX5" fmla="*/ 1317356 w 4881966"/>
              <a:gd name="connsiteY5" fmla="*/ 46495 h 495946"/>
              <a:gd name="connsiteX0" fmla="*/ 3316637 w 4881966"/>
              <a:gd name="connsiteY0" fmla="*/ 0 h 495946"/>
              <a:gd name="connsiteX1" fmla="*/ 1255363 w 4881966"/>
              <a:gd name="connsiteY1" fmla="*/ 92990 h 495946"/>
              <a:gd name="connsiteX2" fmla="*/ 0 w 4881966"/>
              <a:gd name="connsiteY2" fmla="*/ 495946 h 495946"/>
              <a:gd name="connsiteX3" fmla="*/ 4881966 w 4881966"/>
              <a:gd name="connsiteY3" fmla="*/ 495946 h 495946"/>
              <a:gd name="connsiteX4" fmla="*/ 3316637 w 4881966"/>
              <a:gd name="connsiteY4" fmla="*/ 0 h 495946"/>
              <a:gd name="connsiteX0" fmla="*/ 3316637 w 4881966"/>
              <a:gd name="connsiteY0" fmla="*/ 0 h 495946"/>
              <a:gd name="connsiteX1" fmla="*/ 1249013 w 4881966"/>
              <a:gd name="connsiteY1" fmla="*/ 37915 h 495946"/>
              <a:gd name="connsiteX2" fmla="*/ 0 w 4881966"/>
              <a:gd name="connsiteY2" fmla="*/ 495946 h 495946"/>
              <a:gd name="connsiteX3" fmla="*/ 4881966 w 4881966"/>
              <a:gd name="connsiteY3" fmla="*/ 495946 h 495946"/>
              <a:gd name="connsiteX4" fmla="*/ 3316637 w 4881966"/>
              <a:gd name="connsiteY4" fmla="*/ 0 h 495946"/>
              <a:gd name="connsiteX0" fmla="*/ 3316637 w 4881966"/>
              <a:gd name="connsiteY0" fmla="*/ 0 h 495946"/>
              <a:gd name="connsiteX1" fmla="*/ 1391888 w 4881966"/>
              <a:gd name="connsiteY1" fmla="*/ 14311 h 495946"/>
              <a:gd name="connsiteX2" fmla="*/ 0 w 4881966"/>
              <a:gd name="connsiteY2" fmla="*/ 495946 h 495946"/>
              <a:gd name="connsiteX3" fmla="*/ 4881966 w 4881966"/>
              <a:gd name="connsiteY3" fmla="*/ 495946 h 495946"/>
              <a:gd name="connsiteX4" fmla="*/ 3316637 w 4881966"/>
              <a:gd name="connsiteY4" fmla="*/ 0 h 495946"/>
              <a:gd name="connsiteX0" fmla="*/ 3345212 w 4881966"/>
              <a:gd name="connsiteY0" fmla="*/ 0 h 484144"/>
              <a:gd name="connsiteX1" fmla="*/ 1391888 w 4881966"/>
              <a:gd name="connsiteY1" fmla="*/ 2509 h 484144"/>
              <a:gd name="connsiteX2" fmla="*/ 0 w 4881966"/>
              <a:gd name="connsiteY2" fmla="*/ 484144 h 484144"/>
              <a:gd name="connsiteX3" fmla="*/ 4881966 w 4881966"/>
              <a:gd name="connsiteY3" fmla="*/ 484144 h 484144"/>
              <a:gd name="connsiteX4" fmla="*/ 3345212 w 4881966"/>
              <a:gd name="connsiteY4" fmla="*/ 0 h 484144"/>
              <a:gd name="connsiteX0" fmla="*/ 4107212 w 5643966"/>
              <a:gd name="connsiteY0" fmla="*/ 0 h 503318"/>
              <a:gd name="connsiteX1" fmla="*/ 2153888 w 5643966"/>
              <a:gd name="connsiteY1" fmla="*/ 2509 h 503318"/>
              <a:gd name="connsiteX2" fmla="*/ 0 w 5643966"/>
              <a:gd name="connsiteY2" fmla="*/ 503318 h 503318"/>
              <a:gd name="connsiteX3" fmla="*/ 5643966 w 5643966"/>
              <a:gd name="connsiteY3" fmla="*/ 484144 h 503318"/>
              <a:gd name="connsiteX4" fmla="*/ 4107212 w 5643966"/>
              <a:gd name="connsiteY4" fmla="*/ 0 h 503318"/>
              <a:gd name="connsiteX0" fmla="*/ 4107212 w 6215466"/>
              <a:gd name="connsiteY0" fmla="*/ 0 h 516101"/>
              <a:gd name="connsiteX1" fmla="*/ 2153888 w 6215466"/>
              <a:gd name="connsiteY1" fmla="*/ 2509 h 516101"/>
              <a:gd name="connsiteX2" fmla="*/ 0 w 6215466"/>
              <a:gd name="connsiteY2" fmla="*/ 503318 h 516101"/>
              <a:gd name="connsiteX3" fmla="*/ 6215466 w 6215466"/>
              <a:gd name="connsiteY3" fmla="*/ 516101 h 516101"/>
              <a:gd name="connsiteX4" fmla="*/ 4107212 w 6215466"/>
              <a:gd name="connsiteY4" fmla="*/ 0 h 516101"/>
              <a:gd name="connsiteX0" fmla="*/ 4107212 w 5745566"/>
              <a:gd name="connsiteY0" fmla="*/ 0 h 503318"/>
              <a:gd name="connsiteX1" fmla="*/ 2153888 w 5745566"/>
              <a:gd name="connsiteY1" fmla="*/ 2509 h 503318"/>
              <a:gd name="connsiteX2" fmla="*/ 0 w 5745566"/>
              <a:gd name="connsiteY2" fmla="*/ 503318 h 503318"/>
              <a:gd name="connsiteX3" fmla="*/ 5745566 w 5745566"/>
              <a:gd name="connsiteY3" fmla="*/ 228491 h 503318"/>
              <a:gd name="connsiteX4" fmla="*/ 4107212 w 5745566"/>
              <a:gd name="connsiteY4" fmla="*/ 0 h 503318"/>
              <a:gd name="connsiteX0" fmla="*/ 3700812 w 5339166"/>
              <a:gd name="connsiteY0" fmla="*/ 0 h 260447"/>
              <a:gd name="connsiteX1" fmla="*/ 1747488 w 5339166"/>
              <a:gd name="connsiteY1" fmla="*/ 2509 h 260447"/>
              <a:gd name="connsiteX2" fmla="*/ 0 w 5339166"/>
              <a:gd name="connsiteY2" fmla="*/ 260447 h 260447"/>
              <a:gd name="connsiteX3" fmla="*/ 5339166 w 5339166"/>
              <a:gd name="connsiteY3" fmla="*/ 228491 h 260447"/>
              <a:gd name="connsiteX4" fmla="*/ 3700812 w 5339166"/>
              <a:gd name="connsiteY4" fmla="*/ 0 h 260447"/>
              <a:gd name="connsiteX0" fmla="*/ 3700812 w 4805766"/>
              <a:gd name="connsiteY0" fmla="*/ 0 h 260447"/>
              <a:gd name="connsiteX1" fmla="*/ 1747488 w 4805766"/>
              <a:gd name="connsiteY1" fmla="*/ 2509 h 260447"/>
              <a:gd name="connsiteX2" fmla="*/ 0 w 4805766"/>
              <a:gd name="connsiteY2" fmla="*/ 260447 h 260447"/>
              <a:gd name="connsiteX3" fmla="*/ 4805766 w 4805766"/>
              <a:gd name="connsiteY3" fmla="*/ 119838 h 260447"/>
              <a:gd name="connsiteX4" fmla="*/ 3700812 w 4805766"/>
              <a:gd name="connsiteY4" fmla="*/ 0 h 260447"/>
              <a:gd name="connsiteX0" fmla="*/ 3357912 w 4462866"/>
              <a:gd name="connsiteY0" fmla="*/ 0 h 151794"/>
              <a:gd name="connsiteX1" fmla="*/ 1404588 w 4462866"/>
              <a:gd name="connsiteY1" fmla="*/ 2509 h 151794"/>
              <a:gd name="connsiteX2" fmla="*/ 0 w 4462866"/>
              <a:gd name="connsiteY2" fmla="*/ 151794 h 151794"/>
              <a:gd name="connsiteX3" fmla="*/ 4462866 w 4462866"/>
              <a:gd name="connsiteY3" fmla="*/ 119838 h 151794"/>
              <a:gd name="connsiteX4" fmla="*/ 3357912 w 4462866"/>
              <a:gd name="connsiteY4" fmla="*/ 0 h 151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2866" h="151794">
                <a:moveTo>
                  <a:pt x="3357912" y="0"/>
                </a:moveTo>
                <a:lnTo>
                  <a:pt x="1404588" y="2509"/>
                </a:lnTo>
                <a:lnTo>
                  <a:pt x="0" y="151794"/>
                </a:lnTo>
                <a:lnTo>
                  <a:pt x="4462866" y="119838"/>
                </a:lnTo>
                <a:lnTo>
                  <a:pt x="3357912" y="0"/>
                </a:lnTo>
                <a:close/>
              </a:path>
            </a:pathLst>
          </a:custGeom>
          <a:gradFill flip="none" rotWithShape="1">
            <a:gsLst>
              <a:gs pos="0">
                <a:schemeClr val="accent1">
                  <a:lumMod val="5000"/>
                  <a:lumOff val="95000"/>
                  <a:alpha val="0"/>
                </a:schemeClr>
              </a:gs>
              <a:gs pos="100000">
                <a:schemeClr val="bg1">
                  <a:lumMod val="75000"/>
                </a:schemeClr>
              </a:gs>
            </a:gsLst>
            <a:lin ang="162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0" name="ïṩlïḍé">
            <a:extLst>
              <a:ext uri="{FF2B5EF4-FFF2-40B4-BE49-F238E27FC236}">
                <a16:creationId xmlns:a16="http://schemas.microsoft.com/office/drawing/2014/main" id="{D8541372-AC77-49CC-A3DE-F542C6DAF049}"/>
              </a:ext>
            </a:extLst>
          </p:cNvPr>
          <p:cNvSpPr/>
          <p:nvPr/>
        </p:nvSpPr>
        <p:spPr>
          <a:xfrm flipH="1">
            <a:off x="3253210" y="2367755"/>
            <a:ext cx="3059168" cy="305916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50800" cap="flat">
            <a:solidFill>
              <a:schemeClr val="accent2"/>
            </a:solidFill>
            <a:miter lim="400000"/>
          </a:ln>
          <a:effectLst/>
        </p:spPr>
        <p:txBody>
          <a:bodyPr anchor="ctr"/>
          <a:lstStyle/>
          <a:p>
            <a:pPr algn="ctr"/>
            <a:endParaRPr/>
          </a:p>
        </p:txBody>
      </p:sp>
      <p:sp>
        <p:nvSpPr>
          <p:cNvPr id="5" name="íSľïďé">
            <a:extLst>
              <a:ext uri="{FF2B5EF4-FFF2-40B4-BE49-F238E27FC236}">
                <a16:creationId xmlns:a16="http://schemas.microsoft.com/office/drawing/2014/main" id="{B45ECC36-9877-4FF9-B783-9006222D60F2}"/>
              </a:ext>
            </a:extLst>
          </p:cNvPr>
          <p:cNvSpPr txBox="1"/>
          <p:nvPr/>
        </p:nvSpPr>
        <p:spPr>
          <a:xfrm>
            <a:off x="6463823" y="3513733"/>
            <a:ext cx="2233054" cy="369332"/>
          </a:xfrm>
          <a:prstGeom prst="rect">
            <a:avLst/>
          </a:prstGeom>
          <a:noFill/>
        </p:spPr>
        <p:txBody>
          <a:bodyPr wrap="square" lIns="0" tIns="0" rIns="0" bIns="0" rtlCol="0" anchor="ctr">
            <a:spAutoFit/>
          </a:bodyPr>
          <a:lstStyle/>
          <a:p>
            <a:pPr algn="ctr"/>
            <a:r>
              <a:rPr lang="zh-CN" altLang="en-US" sz="2400" b="1" dirty="0">
                <a:solidFill>
                  <a:schemeClr val="accent1"/>
                </a:solidFill>
              </a:rPr>
              <a:t>请在此输入标题</a:t>
            </a:r>
            <a:endParaRPr lang="en-US" altLang="zh-CN" sz="2400" b="1" dirty="0">
              <a:solidFill>
                <a:schemeClr val="accent1"/>
              </a:solidFill>
            </a:endParaRPr>
          </a:p>
        </p:txBody>
      </p:sp>
      <p:sp>
        <p:nvSpPr>
          <p:cNvPr id="9" name="íṣlïḓé">
            <a:extLst>
              <a:ext uri="{FF2B5EF4-FFF2-40B4-BE49-F238E27FC236}">
                <a16:creationId xmlns:a16="http://schemas.microsoft.com/office/drawing/2014/main" id="{0FA6D928-079D-4FDE-BD1F-D99DD75FB0B1}"/>
              </a:ext>
            </a:extLst>
          </p:cNvPr>
          <p:cNvSpPr txBox="1">
            <a:spLocks/>
          </p:cNvSpPr>
          <p:nvPr/>
        </p:nvSpPr>
        <p:spPr>
          <a:xfrm>
            <a:off x="6533673" y="3963759"/>
            <a:ext cx="2093354" cy="867802"/>
          </a:xfrm>
          <a:prstGeom prst="rect">
            <a:avLst/>
          </a:prstGeom>
          <a:noFill/>
        </p:spPr>
        <p:txBody>
          <a:bodyPr vert="horz" wrap="square" lIns="0" tIns="0" rIns="0" bIns="0" rtlCol="0" anchor="t" anchorCtr="0">
            <a:spAutoFit/>
          </a:bodyPr>
          <a:lstStyle/>
          <a:p>
            <a:pPr algn="ctr">
              <a:lnSpc>
                <a:spcPct val="120000"/>
              </a:lnSpc>
              <a:buSzPct val="100000"/>
            </a:pPr>
            <a:r>
              <a:rPr lang="zh-CN" altLang="en-US" sz="1600" dirty="0">
                <a:solidFill>
                  <a:schemeClr val="tx1">
                    <a:lumMod val="65000"/>
                    <a:lumOff val="35000"/>
                  </a:schemeClr>
                </a:solidFill>
                <a:latin typeface="STKaiti" panose="02010600040101010101" pitchFamily="2" charset="-122"/>
              </a:rPr>
              <a:t>请在此输入内容请在此输入内容请在此输入内容</a:t>
            </a:r>
            <a:r>
              <a:rPr lang="zh-CN" altLang="en-US" sz="1600" dirty="0">
                <a:solidFill>
                  <a:schemeClr val="tx1">
                    <a:lumMod val="65000"/>
                    <a:lumOff val="35000"/>
                  </a:schemeClr>
                </a:solidFill>
              </a:rPr>
              <a:t>请在此输入内容</a:t>
            </a:r>
            <a:endParaRPr lang="en-US" altLang="zh-CN" sz="1600" dirty="0">
              <a:solidFill>
                <a:schemeClr val="tx1">
                  <a:lumMod val="65000"/>
                  <a:lumOff val="35000"/>
                </a:schemeClr>
              </a:solidFill>
              <a:latin typeface="STKaiti" panose="02010600040101010101" pitchFamily="2" charset="-122"/>
            </a:endParaRPr>
          </a:p>
        </p:txBody>
      </p:sp>
      <p:sp>
        <p:nvSpPr>
          <p:cNvPr id="16" name="íṣlïḓé">
            <a:extLst>
              <a:ext uri="{FF2B5EF4-FFF2-40B4-BE49-F238E27FC236}">
                <a16:creationId xmlns:a16="http://schemas.microsoft.com/office/drawing/2014/main" id="{FEF5C61B-A888-4D2C-9150-DCD610E395AD}"/>
              </a:ext>
            </a:extLst>
          </p:cNvPr>
          <p:cNvSpPr txBox="1">
            <a:spLocks/>
          </p:cNvSpPr>
          <p:nvPr/>
        </p:nvSpPr>
        <p:spPr>
          <a:xfrm>
            <a:off x="3516554" y="3963759"/>
            <a:ext cx="2095307" cy="867802"/>
          </a:xfrm>
          <a:prstGeom prst="rect">
            <a:avLst/>
          </a:prstGeom>
          <a:noFill/>
        </p:spPr>
        <p:txBody>
          <a:bodyPr vert="horz" wrap="square" lIns="0" tIns="0" rIns="0" bIns="0" rtlCol="0" anchor="t" anchorCtr="0">
            <a:spAutoFit/>
          </a:bodyPr>
          <a:lstStyle>
            <a:defPPr>
              <a:defRPr lang="en-US"/>
            </a:defPPr>
            <a:lvl1pPr>
              <a:spcBef>
                <a:spcPts val="600"/>
              </a:spcBef>
              <a:buSzPct val="100000"/>
              <a:buFont typeface="Trebuchet MS" panose="020B0603020202020204" pitchFamily="34" charset="0"/>
              <a:buChar char="​"/>
              <a:defRPr b="1">
                <a:solidFill>
                  <a:srgbClr val="000000">
                    <a:lumMod val="100000"/>
                  </a:srgbClr>
                </a:solidFill>
                <a:latin typeface="STKaiti" panose="02010600040101010101" pitchFamily="2" charset="-122"/>
              </a:defRPr>
            </a:lvl1pPr>
            <a:lvl2pPr marL="432000" lvl="1" indent="-288000">
              <a:spcBef>
                <a:spcPts val="600"/>
              </a:spcBef>
              <a:buClr>
                <a:srgbClr val="000000">
                  <a:lumMod val="100000"/>
                </a:srgbClr>
              </a:buClr>
              <a:buSzPct val="100000"/>
              <a:buFont typeface="Trebuchet MS" panose="020B0603020202020204" pitchFamily="34" charset="0"/>
              <a:buChar char="•"/>
              <a:defRPr>
                <a:solidFill>
                  <a:srgbClr val="000000">
                    <a:lumMod val="100000"/>
                  </a:srgbClr>
                </a:solidFill>
                <a:latin typeface="STKaiti" panose="02010600040101010101" pitchFamily="2" charset="-122"/>
              </a:defRPr>
            </a:lvl2pPr>
          </a:lstStyle>
          <a:p>
            <a:pPr algn="ctr">
              <a:lnSpc>
                <a:spcPct val="120000"/>
              </a:lnSpc>
              <a:spcBef>
                <a:spcPts val="0"/>
              </a:spcBef>
            </a:pPr>
            <a:r>
              <a:rPr lang="zh-CN" altLang="en-US" sz="1600" b="0" dirty="0">
                <a:solidFill>
                  <a:schemeClr val="tx1">
                    <a:lumMod val="65000"/>
                    <a:lumOff val="35000"/>
                  </a:schemeClr>
                </a:solidFill>
              </a:rPr>
              <a:t>请在此输入内容请在此输入内容请在此输入内容请在此输入内容</a:t>
            </a:r>
            <a:endParaRPr lang="en-US" altLang="zh-CN" sz="1600" b="0" dirty="0">
              <a:solidFill>
                <a:schemeClr val="tx1">
                  <a:lumMod val="65000"/>
                  <a:lumOff val="35000"/>
                </a:schemeClr>
              </a:solidFill>
            </a:endParaRPr>
          </a:p>
        </p:txBody>
      </p:sp>
      <p:sp>
        <p:nvSpPr>
          <p:cNvPr id="17" name="î$líḑè">
            <a:extLst>
              <a:ext uri="{FF2B5EF4-FFF2-40B4-BE49-F238E27FC236}">
                <a16:creationId xmlns:a16="http://schemas.microsoft.com/office/drawing/2014/main" id="{CFCCB735-0AA3-4487-ACA3-2840E36CB5AB}"/>
              </a:ext>
            </a:extLst>
          </p:cNvPr>
          <p:cNvSpPr txBox="1"/>
          <p:nvPr/>
        </p:nvSpPr>
        <p:spPr>
          <a:xfrm>
            <a:off x="3478454" y="3513733"/>
            <a:ext cx="2171507" cy="369332"/>
          </a:xfrm>
          <a:prstGeom prst="rect">
            <a:avLst/>
          </a:prstGeom>
          <a:noFill/>
        </p:spPr>
        <p:txBody>
          <a:bodyPr wrap="square" lIns="0" tIns="0" rIns="0" bIns="0" rtlCol="0" anchor="ctr">
            <a:spAutoFit/>
          </a:bodyPr>
          <a:lstStyle/>
          <a:p>
            <a:pPr algn="ctr"/>
            <a:r>
              <a:rPr lang="zh-CN" altLang="en-US" sz="2400" b="1" dirty="0">
                <a:solidFill>
                  <a:schemeClr val="accent2"/>
                </a:solidFill>
              </a:rPr>
              <a:t>请在此输入标题</a:t>
            </a:r>
            <a:endParaRPr lang="en-US" altLang="zh-CN" sz="2400" b="1" dirty="0">
              <a:solidFill>
                <a:schemeClr val="accent2"/>
              </a:solidFill>
            </a:endParaRPr>
          </a:p>
        </p:txBody>
      </p:sp>
      <p:sp>
        <p:nvSpPr>
          <p:cNvPr id="18" name="Rounded Rectangle 16">
            <a:extLst>
              <a:ext uri="{FF2B5EF4-FFF2-40B4-BE49-F238E27FC236}">
                <a16:creationId xmlns:a16="http://schemas.microsoft.com/office/drawing/2014/main" id="{76DF7E54-2E9D-4F13-81CF-F6CD1AB14744}"/>
              </a:ext>
            </a:extLst>
          </p:cNvPr>
          <p:cNvSpPr/>
          <p:nvPr/>
        </p:nvSpPr>
        <p:spPr>
          <a:xfrm>
            <a:off x="4890059" y="1452880"/>
            <a:ext cx="2395212" cy="614166"/>
          </a:xfrm>
          <a:prstGeom prst="roundRect">
            <a:avLst/>
          </a:prstGeom>
          <a:solidFill>
            <a:schemeClr val="bg1"/>
          </a:solidFill>
        </p:spPr>
        <p:txBody>
          <a:bodyPr vert="horz" wrap="none" lIns="0" tIns="0" rIns="0" bIns="0" anchor="ctr" anchorCtr="0">
            <a:noAutofit/>
          </a:bodyPr>
          <a:lstStyle/>
          <a:p>
            <a:pPr algn="ctr"/>
            <a:r>
              <a:rPr lang="zh-CN" altLang="en-US" sz="2400" b="1" dirty="0">
                <a:solidFill>
                  <a:schemeClr val="tx1">
                    <a:lumMod val="75000"/>
                    <a:lumOff val="25000"/>
                  </a:schemeClr>
                </a:solidFill>
              </a:rPr>
              <a:t>请在此输入标题</a:t>
            </a:r>
            <a:endParaRPr lang="en-US" altLang="zh-CN" sz="2400" b="1" dirty="0">
              <a:solidFill>
                <a:schemeClr val="tx1">
                  <a:lumMod val="75000"/>
                  <a:lumOff val="25000"/>
                </a:schemeClr>
              </a:solidFill>
            </a:endParaRPr>
          </a:p>
        </p:txBody>
      </p:sp>
      <p:sp>
        <p:nvSpPr>
          <p:cNvPr id="19" name="ïṩlïḍé">
            <a:extLst>
              <a:ext uri="{FF2B5EF4-FFF2-40B4-BE49-F238E27FC236}">
                <a16:creationId xmlns:a16="http://schemas.microsoft.com/office/drawing/2014/main" id="{2237DB86-DAE9-4C17-8794-057AD3533FC8}"/>
              </a:ext>
            </a:extLst>
          </p:cNvPr>
          <p:cNvSpPr/>
          <p:nvPr/>
        </p:nvSpPr>
        <p:spPr>
          <a:xfrm flipH="1">
            <a:off x="5862952" y="2367755"/>
            <a:ext cx="3059168" cy="305916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50800" cap="flat">
            <a:solidFill>
              <a:schemeClr val="accent1"/>
            </a:solidFill>
            <a:miter lim="400000"/>
          </a:ln>
          <a:effectLst/>
        </p:spPr>
        <p:txBody>
          <a:bodyPr anchor="ctr"/>
          <a:lstStyle/>
          <a:p>
            <a:pPr algn="ctr"/>
            <a:endParaRPr/>
          </a:p>
        </p:txBody>
      </p:sp>
      <p:sp>
        <p:nvSpPr>
          <p:cNvPr id="41" name="Plus 81">
            <a:extLst>
              <a:ext uri="{FF2B5EF4-FFF2-40B4-BE49-F238E27FC236}">
                <a16:creationId xmlns:a16="http://schemas.microsoft.com/office/drawing/2014/main" id="{6A13DC10-3A19-420D-B486-78AE0D040AFA}"/>
              </a:ext>
            </a:extLst>
          </p:cNvPr>
          <p:cNvSpPr/>
          <p:nvPr/>
        </p:nvSpPr>
        <p:spPr>
          <a:xfrm>
            <a:off x="5865415" y="3642376"/>
            <a:ext cx="444500" cy="444500"/>
          </a:xfrm>
          <a:prstGeom prst="mathPlus">
            <a:avLst>
              <a:gd name="adj1" fmla="val 25696"/>
            </a:avLst>
          </a:prstGeom>
          <a:solidFill>
            <a:schemeClr val="bg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27" name="íṣlïḓé">
            <a:extLst>
              <a:ext uri="{FF2B5EF4-FFF2-40B4-BE49-F238E27FC236}">
                <a16:creationId xmlns:a16="http://schemas.microsoft.com/office/drawing/2014/main" id="{3EE68B37-983F-4F00-8C2A-EC2573E4DAE5}"/>
              </a:ext>
            </a:extLst>
          </p:cNvPr>
          <p:cNvSpPr txBox="1">
            <a:spLocks/>
          </p:cNvSpPr>
          <p:nvPr/>
        </p:nvSpPr>
        <p:spPr>
          <a:xfrm>
            <a:off x="10084004" y="1725931"/>
            <a:ext cx="1628571" cy="544280"/>
          </a:xfrm>
          <a:prstGeom prst="rect">
            <a:avLst/>
          </a:prstGeom>
          <a:noFill/>
        </p:spPr>
        <p:txBody>
          <a:bodyPr vert="horz" wrap="square" lIns="0" tIns="0" rIns="0" bIns="0" rtlCol="0" anchor="ctr" anchorCtr="0">
            <a:noAutofit/>
          </a:bodyPr>
          <a:lstStyle/>
          <a:p>
            <a:pPr marL="144000" lvl="1">
              <a:spcBef>
                <a:spcPts val="600"/>
              </a:spcBef>
              <a:buClr>
                <a:srgbClr val="000000">
                  <a:lumMod val="100000"/>
                </a:srgbClr>
              </a:buClr>
              <a:buSzPct val="100000"/>
            </a:pPr>
            <a:r>
              <a:rPr lang="zh-CN" altLang="en-US" sz="160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34" name="iṡḻïḓé">
            <a:extLst>
              <a:ext uri="{FF2B5EF4-FFF2-40B4-BE49-F238E27FC236}">
                <a16:creationId xmlns:a16="http://schemas.microsoft.com/office/drawing/2014/main" id="{3BA7F535-C8AB-4D36-B8EF-AF1363C1E2A9}"/>
              </a:ext>
            </a:extLst>
          </p:cNvPr>
          <p:cNvSpPr/>
          <p:nvPr/>
        </p:nvSpPr>
        <p:spPr>
          <a:xfrm flipH="1">
            <a:off x="9578565" y="179539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1"/>
            </a:solidFill>
            <a:prstDash val="solid"/>
            <a:miter lim="400000"/>
            <a:headEnd type="none" w="med" len="med"/>
            <a:tailEnd type="none" w="med" len="med"/>
          </a:ln>
        </p:spPr>
        <p:txBody>
          <a:bodyPr wrap="none" lIns="0" tIns="0" rIns="0" bIns="0" anchor="ctr">
            <a:normAutofit/>
          </a:bodyPr>
          <a:lstStyle/>
          <a:p>
            <a:pPr algn="ctr"/>
            <a:r>
              <a:rPr lang="en-US" sz="2000" dirty="0">
                <a:solidFill>
                  <a:schemeClr val="accent1"/>
                </a:solidFill>
                <a:latin typeface="Impact" panose="020B0806030902050204" pitchFamily="34" charset="0"/>
              </a:rPr>
              <a:t>01</a:t>
            </a:r>
          </a:p>
        </p:txBody>
      </p:sp>
      <p:grpSp>
        <p:nvGrpSpPr>
          <p:cNvPr id="118" name="组合 117">
            <a:extLst>
              <a:ext uri="{FF2B5EF4-FFF2-40B4-BE49-F238E27FC236}">
                <a16:creationId xmlns:a16="http://schemas.microsoft.com/office/drawing/2014/main" id="{67069713-6DE1-4EAB-8190-B4062C8274A2}"/>
              </a:ext>
            </a:extLst>
          </p:cNvPr>
          <p:cNvGrpSpPr/>
          <p:nvPr/>
        </p:nvGrpSpPr>
        <p:grpSpPr>
          <a:xfrm>
            <a:off x="8213248" y="2103136"/>
            <a:ext cx="1235976" cy="570274"/>
            <a:chOff x="8213248" y="2103136"/>
            <a:chExt cx="1235976" cy="570274"/>
          </a:xfrm>
        </p:grpSpPr>
        <p:sp>
          <p:nvSpPr>
            <p:cNvPr id="49" name="Freeform 98">
              <a:extLst>
                <a:ext uri="{FF2B5EF4-FFF2-40B4-BE49-F238E27FC236}">
                  <a16:creationId xmlns:a16="http://schemas.microsoft.com/office/drawing/2014/main" id="{1323CB21-3FB6-4388-81BB-89999416F9A2}"/>
                </a:ext>
              </a:extLst>
            </p:cNvPr>
            <p:cNvSpPr/>
            <p:nvPr/>
          </p:nvSpPr>
          <p:spPr>
            <a:xfrm>
              <a:off x="8268977" y="2103136"/>
              <a:ext cx="1180247" cy="497840"/>
            </a:xfrm>
            <a:custGeom>
              <a:avLst/>
              <a:gdLst>
                <a:gd name="connsiteX0" fmla="*/ 0 w 1270000"/>
                <a:gd name="connsiteY0" fmla="*/ 558800 h 558800"/>
                <a:gd name="connsiteX1" fmla="*/ 800100 w 1270000"/>
                <a:gd name="connsiteY1" fmla="*/ 558800 h 558800"/>
                <a:gd name="connsiteX2" fmla="*/ 1270000 w 1270000"/>
                <a:gd name="connsiteY2" fmla="*/ 0 h 558800"/>
                <a:gd name="connsiteX0" fmla="*/ 0 w 1257015"/>
                <a:gd name="connsiteY0" fmla="*/ 497840 h 497840"/>
                <a:gd name="connsiteX1" fmla="*/ 800100 w 1257015"/>
                <a:gd name="connsiteY1" fmla="*/ 497840 h 497840"/>
                <a:gd name="connsiteX2" fmla="*/ 1257015 w 1257015"/>
                <a:gd name="connsiteY2" fmla="*/ 0 h 497840"/>
              </a:gdLst>
              <a:ahLst/>
              <a:cxnLst>
                <a:cxn ang="0">
                  <a:pos x="connsiteX0" y="connsiteY0"/>
                </a:cxn>
                <a:cxn ang="0">
                  <a:pos x="connsiteX1" y="connsiteY1"/>
                </a:cxn>
                <a:cxn ang="0">
                  <a:pos x="connsiteX2" y="connsiteY2"/>
                </a:cxn>
              </a:cxnLst>
              <a:rect l="l" t="t" r="r" b="b"/>
              <a:pathLst>
                <a:path w="1257015" h="497840">
                  <a:moveTo>
                    <a:pt x="0" y="497840"/>
                  </a:moveTo>
                  <a:lnTo>
                    <a:pt x="800100" y="497840"/>
                  </a:lnTo>
                  <a:cubicBezTo>
                    <a:pt x="956733" y="311573"/>
                    <a:pt x="1100382" y="186267"/>
                    <a:pt x="1257015" y="0"/>
                  </a:cubicBezTo>
                </a:path>
              </a:pathLst>
            </a:custGeom>
            <a:ln>
              <a:solidFill>
                <a:schemeClr val="bg1">
                  <a:lumMod val="65000"/>
                </a:schemeClr>
              </a:solidFill>
              <a:miter lim="400000"/>
              <a:tailEnd type="oval"/>
            </a:ln>
          </p:spPr>
          <p:txBody>
            <a:bodyPr rtlCol="0" anchor="ctr"/>
            <a:lstStyle/>
            <a:p>
              <a:pPr algn="ctr"/>
              <a:endParaRPr lang="en-US"/>
            </a:p>
          </p:txBody>
        </p:sp>
        <p:sp>
          <p:nvSpPr>
            <p:cNvPr id="53" name="îṡļîdè">
              <a:extLst>
                <a:ext uri="{FF2B5EF4-FFF2-40B4-BE49-F238E27FC236}">
                  <a16:creationId xmlns:a16="http://schemas.microsoft.com/office/drawing/2014/main" id="{7AEDE687-4AB3-40A4-8D15-11EEBD703E00}"/>
                </a:ext>
              </a:extLst>
            </p:cNvPr>
            <p:cNvSpPr/>
            <p:nvPr/>
          </p:nvSpPr>
          <p:spPr>
            <a:xfrm flipH="1">
              <a:off x="8213248" y="2550496"/>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1"/>
              </a:solidFill>
              <a:miter lim="400000"/>
            </a:ln>
            <a:effectLst>
              <a:outerShdw blurRad="38100" dist="12700" dir="5400000" rotWithShape="0">
                <a:srgbClr val="000000">
                  <a:alpha val="20000"/>
                </a:srgbClr>
              </a:outerShdw>
            </a:effectLst>
          </p:spPr>
          <p:txBody>
            <a:bodyPr anchor="ctr"/>
            <a:lstStyle/>
            <a:p>
              <a:pPr algn="ctr"/>
              <a:endParaRPr/>
            </a:p>
          </p:txBody>
        </p:sp>
      </p:grpSp>
      <p:grpSp>
        <p:nvGrpSpPr>
          <p:cNvPr id="119" name="组合 118">
            <a:extLst>
              <a:ext uri="{FF2B5EF4-FFF2-40B4-BE49-F238E27FC236}">
                <a16:creationId xmlns:a16="http://schemas.microsoft.com/office/drawing/2014/main" id="{45F81CED-0679-4DE1-B3C8-A592BDFEC580}"/>
              </a:ext>
            </a:extLst>
          </p:cNvPr>
          <p:cNvGrpSpPr/>
          <p:nvPr/>
        </p:nvGrpSpPr>
        <p:grpSpPr>
          <a:xfrm>
            <a:off x="8213248" y="5075982"/>
            <a:ext cx="1243088" cy="581503"/>
            <a:chOff x="8213248" y="5075982"/>
            <a:chExt cx="1243088" cy="581503"/>
          </a:xfrm>
        </p:grpSpPr>
        <p:sp>
          <p:nvSpPr>
            <p:cNvPr id="52" name="Freeform 103">
              <a:extLst>
                <a:ext uri="{FF2B5EF4-FFF2-40B4-BE49-F238E27FC236}">
                  <a16:creationId xmlns:a16="http://schemas.microsoft.com/office/drawing/2014/main" id="{5F0BC591-436B-489C-A64B-D390E4C2793D}"/>
                </a:ext>
              </a:extLst>
            </p:cNvPr>
            <p:cNvSpPr/>
            <p:nvPr/>
          </p:nvSpPr>
          <p:spPr>
            <a:xfrm flipV="1">
              <a:off x="8268977" y="5159645"/>
              <a:ext cx="1187359" cy="497840"/>
            </a:xfrm>
            <a:custGeom>
              <a:avLst/>
              <a:gdLst>
                <a:gd name="connsiteX0" fmla="*/ 0 w 1270000"/>
                <a:gd name="connsiteY0" fmla="*/ 558800 h 558800"/>
                <a:gd name="connsiteX1" fmla="*/ 800100 w 1270000"/>
                <a:gd name="connsiteY1" fmla="*/ 558800 h 558800"/>
                <a:gd name="connsiteX2" fmla="*/ 1270000 w 1270000"/>
                <a:gd name="connsiteY2" fmla="*/ 0 h 558800"/>
                <a:gd name="connsiteX0" fmla="*/ 0 w 1264590"/>
                <a:gd name="connsiteY0" fmla="*/ 497840 h 497840"/>
                <a:gd name="connsiteX1" fmla="*/ 800100 w 1264590"/>
                <a:gd name="connsiteY1" fmla="*/ 497840 h 497840"/>
                <a:gd name="connsiteX2" fmla="*/ 1264590 w 1264590"/>
                <a:gd name="connsiteY2" fmla="*/ 0 h 497840"/>
                <a:gd name="connsiteX0" fmla="*/ 0 w 1264590"/>
                <a:gd name="connsiteY0" fmla="*/ 497840 h 497840"/>
                <a:gd name="connsiteX1" fmla="*/ 800100 w 1264590"/>
                <a:gd name="connsiteY1" fmla="*/ 497840 h 497840"/>
                <a:gd name="connsiteX2" fmla="*/ 1264590 w 1264590"/>
                <a:gd name="connsiteY2" fmla="*/ 0 h 497840"/>
              </a:gdLst>
              <a:ahLst/>
              <a:cxnLst>
                <a:cxn ang="0">
                  <a:pos x="connsiteX0" y="connsiteY0"/>
                </a:cxn>
                <a:cxn ang="0">
                  <a:pos x="connsiteX1" y="connsiteY1"/>
                </a:cxn>
                <a:cxn ang="0">
                  <a:pos x="connsiteX2" y="connsiteY2"/>
                </a:cxn>
              </a:cxnLst>
              <a:rect l="l" t="t" r="r" b="b"/>
              <a:pathLst>
                <a:path w="1264590" h="497840">
                  <a:moveTo>
                    <a:pt x="0" y="497840"/>
                  </a:moveTo>
                  <a:lnTo>
                    <a:pt x="800100" y="497840"/>
                  </a:lnTo>
                  <a:cubicBezTo>
                    <a:pt x="956733" y="311573"/>
                    <a:pt x="1097136" y="191347"/>
                    <a:pt x="1264590" y="0"/>
                  </a:cubicBezTo>
                </a:path>
              </a:pathLst>
            </a:custGeom>
            <a:ln>
              <a:solidFill>
                <a:schemeClr val="bg1">
                  <a:lumMod val="65000"/>
                </a:schemeClr>
              </a:solidFill>
              <a:miter lim="400000"/>
              <a:tailEnd type="oval"/>
            </a:ln>
          </p:spPr>
          <p:txBody>
            <a:bodyPr rtlCol="0" anchor="ctr"/>
            <a:lstStyle/>
            <a:p>
              <a:pPr algn="ctr"/>
              <a:endParaRPr lang="en-US"/>
            </a:p>
          </p:txBody>
        </p:sp>
        <p:sp>
          <p:nvSpPr>
            <p:cNvPr id="54" name="îṡļîdè">
              <a:extLst>
                <a:ext uri="{FF2B5EF4-FFF2-40B4-BE49-F238E27FC236}">
                  <a16:creationId xmlns:a16="http://schemas.microsoft.com/office/drawing/2014/main" id="{3229D53B-F4C6-4B9D-82D5-8E37046C7B85}"/>
                </a:ext>
              </a:extLst>
            </p:cNvPr>
            <p:cNvSpPr/>
            <p:nvPr/>
          </p:nvSpPr>
          <p:spPr>
            <a:xfrm flipH="1">
              <a:off x="8213248" y="5075982"/>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1"/>
              </a:solidFill>
              <a:miter lim="400000"/>
            </a:ln>
            <a:effectLst>
              <a:outerShdw blurRad="38100" dist="12700" dir="5400000" rotWithShape="0">
                <a:srgbClr val="000000">
                  <a:alpha val="20000"/>
                </a:srgbClr>
              </a:outerShdw>
            </a:effectLst>
          </p:spPr>
          <p:txBody>
            <a:bodyPr anchor="ctr"/>
            <a:lstStyle/>
            <a:p>
              <a:pPr algn="ctr"/>
              <a:endParaRPr/>
            </a:p>
          </p:txBody>
        </p:sp>
      </p:grpSp>
      <p:grpSp>
        <p:nvGrpSpPr>
          <p:cNvPr id="81" name="组合 80">
            <a:extLst>
              <a:ext uri="{FF2B5EF4-FFF2-40B4-BE49-F238E27FC236}">
                <a16:creationId xmlns:a16="http://schemas.microsoft.com/office/drawing/2014/main" id="{70BC2137-19F3-4FFB-941B-6AC6ABF9CFDD}"/>
              </a:ext>
            </a:extLst>
          </p:cNvPr>
          <p:cNvGrpSpPr/>
          <p:nvPr/>
        </p:nvGrpSpPr>
        <p:grpSpPr>
          <a:xfrm>
            <a:off x="8735853" y="2972027"/>
            <a:ext cx="735723" cy="320084"/>
            <a:chOff x="8694662" y="2972027"/>
            <a:chExt cx="735723" cy="320084"/>
          </a:xfrm>
        </p:grpSpPr>
        <p:sp>
          <p:nvSpPr>
            <p:cNvPr id="47" name="Freeform 95">
              <a:extLst>
                <a:ext uri="{FF2B5EF4-FFF2-40B4-BE49-F238E27FC236}">
                  <a16:creationId xmlns:a16="http://schemas.microsoft.com/office/drawing/2014/main" id="{6D684DA6-2373-424A-8CEA-A435F60CED28}"/>
                </a:ext>
              </a:extLst>
            </p:cNvPr>
            <p:cNvSpPr/>
            <p:nvPr/>
          </p:nvSpPr>
          <p:spPr>
            <a:xfrm>
              <a:off x="8782818" y="2972027"/>
              <a:ext cx="647567" cy="267970"/>
            </a:xfrm>
            <a:custGeom>
              <a:avLst/>
              <a:gdLst>
                <a:gd name="connsiteX0" fmla="*/ 0 w 657225"/>
                <a:gd name="connsiteY0" fmla="*/ 95250 h 95250"/>
                <a:gd name="connsiteX1" fmla="*/ 504825 w 657225"/>
                <a:gd name="connsiteY1" fmla="*/ 95250 h 95250"/>
                <a:gd name="connsiteX2" fmla="*/ 657225 w 657225"/>
                <a:gd name="connsiteY2" fmla="*/ 0 h 95250"/>
                <a:gd name="connsiteX0" fmla="*/ 0 w 689688"/>
                <a:gd name="connsiteY0" fmla="*/ 267970 h 267970"/>
                <a:gd name="connsiteX1" fmla="*/ 504825 w 689688"/>
                <a:gd name="connsiteY1" fmla="*/ 267970 h 267970"/>
                <a:gd name="connsiteX2" fmla="*/ 689688 w 689688"/>
                <a:gd name="connsiteY2" fmla="*/ 0 h 267970"/>
              </a:gdLst>
              <a:ahLst/>
              <a:cxnLst>
                <a:cxn ang="0">
                  <a:pos x="connsiteX0" y="connsiteY0"/>
                </a:cxn>
                <a:cxn ang="0">
                  <a:pos x="connsiteX1" y="connsiteY1"/>
                </a:cxn>
                <a:cxn ang="0">
                  <a:pos x="connsiteX2" y="connsiteY2"/>
                </a:cxn>
              </a:cxnLst>
              <a:rect l="l" t="t" r="r" b="b"/>
              <a:pathLst>
                <a:path w="689688" h="267970">
                  <a:moveTo>
                    <a:pt x="0" y="267970"/>
                  </a:moveTo>
                  <a:lnTo>
                    <a:pt x="504825" y="267970"/>
                  </a:lnTo>
                  <a:cubicBezTo>
                    <a:pt x="555625" y="236220"/>
                    <a:pt x="638888" y="31750"/>
                    <a:pt x="689688" y="0"/>
                  </a:cubicBezTo>
                </a:path>
              </a:pathLst>
            </a:custGeom>
            <a:ln>
              <a:solidFill>
                <a:schemeClr val="bg1">
                  <a:lumMod val="65000"/>
                </a:schemeClr>
              </a:solidFill>
              <a:miter lim="400000"/>
              <a:tailEnd type="oval"/>
            </a:ln>
          </p:spPr>
          <p:txBody>
            <a:bodyPr rtlCol="0" anchor="ctr"/>
            <a:lstStyle/>
            <a:p>
              <a:pPr algn="ctr"/>
              <a:endParaRPr lang="en-US"/>
            </a:p>
          </p:txBody>
        </p:sp>
        <p:sp>
          <p:nvSpPr>
            <p:cNvPr id="57" name="îṡļîdè">
              <a:extLst>
                <a:ext uri="{FF2B5EF4-FFF2-40B4-BE49-F238E27FC236}">
                  <a16:creationId xmlns:a16="http://schemas.microsoft.com/office/drawing/2014/main" id="{16D27038-BE50-4A47-8F77-D38480AAA35B}"/>
                </a:ext>
              </a:extLst>
            </p:cNvPr>
            <p:cNvSpPr/>
            <p:nvPr/>
          </p:nvSpPr>
          <p:spPr>
            <a:xfrm flipH="1">
              <a:off x="8694662" y="3169197"/>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1"/>
              </a:solidFill>
              <a:miter lim="400000"/>
            </a:ln>
            <a:effectLst>
              <a:outerShdw blurRad="38100" dist="12700" dir="5400000" rotWithShape="0">
                <a:srgbClr val="000000">
                  <a:alpha val="20000"/>
                </a:srgbClr>
              </a:outerShdw>
            </a:effectLst>
          </p:spPr>
          <p:txBody>
            <a:bodyPr anchor="ctr"/>
            <a:lstStyle/>
            <a:p>
              <a:pPr algn="ctr"/>
              <a:endParaRPr/>
            </a:p>
          </p:txBody>
        </p:sp>
      </p:grpSp>
      <p:grpSp>
        <p:nvGrpSpPr>
          <p:cNvPr id="62" name="组合 61">
            <a:extLst>
              <a:ext uri="{FF2B5EF4-FFF2-40B4-BE49-F238E27FC236}">
                <a16:creationId xmlns:a16="http://schemas.microsoft.com/office/drawing/2014/main" id="{2F94E211-505A-4C79-B005-9ED55F4FCFBD}"/>
              </a:ext>
            </a:extLst>
          </p:cNvPr>
          <p:cNvGrpSpPr/>
          <p:nvPr/>
        </p:nvGrpSpPr>
        <p:grpSpPr>
          <a:xfrm>
            <a:off x="8870473" y="3835882"/>
            <a:ext cx="590943" cy="122914"/>
            <a:chOff x="8829282" y="3835882"/>
            <a:chExt cx="590943" cy="122914"/>
          </a:xfrm>
        </p:grpSpPr>
        <p:cxnSp>
          <p:nvCxnSpPr>
            <p:cNvPr id="46" name="Straight Connector 94">
              <a:extLst>
                <a:ext uri="{FF2B5EF4-FFF2-40B4-BE49-F238E27FC236}">
                  <a16:creationId xmlns:a16="http://schemas.microsoft.com/office/drawing/2014/main" id="{31AAC343-8A95-44EA-8174-029131AFC7C8}"/>
                </a:ext>
              </a:extLst>
            </p:cNvPr>
            <p:cNvCxnSpPr/>
            <p:nvPr/>
          </p:nvCxnSpPr>
          <p:spPr>
            <a:xfrm flipV="1">
              <a:off x="8884320" y="3896857"/>
              <a:ext cx="535905" cy="963"/>
            </a:xfrm>
            <a:prstGeom prst="line">
              <a:avLst/>
            </a:prstGeom>
            <a:ln>
              <a:solidFill>
                <a:schemeClr val="bg1">
                  <a:lumMod val="65000"/>
                </a:schemeClr>
              </a:solidFill>
              <a:miter lim="400000"/>
              <a:tailEnd type="oval"/>
            </a:ln>
          </p:spPr>
        </p:cxnSp>
        <p:sp>
          <p:nvSpPr>
            <p:cNvPr id="58" name="îṡļîdè">
              <a:extLst>
                <a:ext uri="{FF2B5EF4-FFF2-40B4-BE49-F238E27FC236}">
                  <a16:creationId xmlns:a16="http://schemas.microsoft.com/office/drawing/2014/main" id="{ED522F17-484F-4F97-882D-D50B12C8F4DA}"/>
                </a:ext>
              </a:extLst>
            </p:cNvPr>
            <p:cNvSpPr/>
            <p:nvPr/>
          </p:nvSpPr>
          <p:spPr>
            <a:xfrm flipH="1">
              <a:off x="8829282" y="3835882"/>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1"/>
              </a:solidFill>
              <a:miter lim="400000"/>
            </a:ln>
            <a:effectLst>
              <a:outerShdw blurRad="38100" dist="12700" dir="5400000" rotWithShape="0">
                <a:srgbClr val="000000">
                  <a:alpha val="20000"/>
                </a:srgbClr>
              </a:outerShdw>
            </a:effectLst>
          </p:spPr>
          <p:txBody>
            <a:bodyPr anchor="ctr"/>
            <a:lstStyle/>
            <a:p>
              <a:pPr algn="ctr"/>
              <a:endParaRPr/>
            </a:p>
          </p:txBody>
        </p:sp>
      </p:grpSp>
      <p:sp>
        <p:nvSpPr>
          <p:cNvPr id="68" name="íṣlïḓé">
            <a:extLst>
              <a:ext uri="{FF2B5EF4-FFF2-40B4-BE49-F238E27FC236}">
                <a16:creationId xmlns:a16="http://schemas.microsoft.com/office/drawing/2014/main" id="{8E1C9F8A-1C1C-4F4E-9D32-34DE7848DB8D}"/>
              </a:ext>
            </a:extLst>
          </p:cNvPr>
          <p:cNvSpPr txBox="1">
            <a:spLocks/>
          </p:cNvSpPr>
          <p:nvPr/>
        </p:nvSpPr>
        <p:spPr>
          <a:xfrm>
            <a:off x="10084004" y="2647951"/>
            <a:ext cx="1628571" cy="544280"/>
          </a:xfrm>
          <a:prstGeom prst="rect">
            <a:avLst/>
          </a:prstGeom>
          <a:noFill/>
        </p:spPr>
        <p:txBody>
          <a:bodyPr vert="horz" wrap="square" lIns="0" tIns="0" rIns="0" bIns="0" rtlCol="0" anchor="ctr" anchorCtr="0">
            <a:noAutofit/>
          </a:bodyPr>
          <a:lstStyle/>
          <a:p>
            <a:pPr marL="144000" lvl="1">
              <a:spcBef>
                <a:spcPts val="600"/>
              </a:spcBef>
              <a:buClr>
                <a:srgbClr val="000000">
                  <a:lumMod val="100000"/>
                </a:srgbClr>
              </a:buClr>
              <a:buSzPct val="100000"/>
            </a:pPr>
            <a:r>
              <a:rPr lang="zh-CN" altLang="en-US" sz="160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69" name="iṡḻïḓé">
            <a:extLst>
              <a:ext uri="{FF2B5EF4-FFF2-40B4-BE49-F238E27FC236}">
                <a16:creationId xmlns:a16="http://schemas.microsoft.com/office/drawing/2014/main" id="{B62D66DA-721D-4940-AD4E-10515564B955}"/>
              </a:ext>
            </a:extLst>
          </p:cNvPr>
          <p:cNvSpPr/>
          <p:nvPr/>
        </p:nvSpPr>
        <p:spPr>
          <a:xfrm flipH="1">
            <a:off x="9578565" y="271741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1"/>
            </a:solidFill>
            <a:prstDash val="solid"/>
            <a:miter lim="400000"/>
            <a:headEnd type="none" w="med" len="med"/>
            <a:tailEnd type="none" w="med" len="med"/>
          </a:ln>
        </p:spPr>
        <p:txBody>
          <a:bodyPr wrap="none" lIns="0" tIns="0" rIns="0" bIns="0" anchor="ctr">
            <a:normAutofit/>
          </a:bodyPr>
          <a:lstStyle/>
          <a:p>
            <a:pPr algn="ctr"/>
            <a:r>
              <a:rPr lang="en-US" altLang="zh-CN" sz="2000" dirty="0">
                <a:solidFill>
                  <a:schemeClr val="accent1"/>
                </a:solidFill>
                <a:latin typeface="Impact" panose="020B0806030902050204" pitchFamily="34" charset="0"/>
              </a:rPr>
              <a:t>02</a:t>
            </a:r>
            <a:endParaRPr lang="en-US" sz="2000" dirty="0">
              <a:solidFill>
                <a:schemeClr val="accent1"/>
              </a:solidFill>
              <a:latin typeface="Impact" panose="020B0806030902050204" pitchFamily="34" charset="0"/>
            </a:endParaRPr>
          </a:p>
        </p:txBody>
      </p:sp>
      <p:sp>
        <p:nvSpPr>
          <p:cNvPr id="71" name="íṣlïḓé">
            <a:extLst>
              <a:ext uri="{FF2B5EF4-FFF2-40B4-BE49-F238E27FC236}">
                <a16:creationId xmlns:a16="http://schemas.microsoft.com/office/drawing/2014/main" id="{681F39E4-E14D-4796-A394-DD89406DB540}"/>
              </a:ext>
            </a:extLst>
          </p:cNvPr>
          <p:cNvSpPr txBox="1">
            <a:spLocks/>
          </p:cNvSpPr>
          <p:nvPr/>
        </p:nvSpPr>
        <p:spPr>
          <a:xfrm>
            <a:off x="10084004" y="3569971"/>
            <a:ext cx="1628571" cy="544280"/>
          </a:xfrm>
          <a:prstGeom prst="rect">
            <a:avLst/>
          </a:prstGeom>
          <a:noFill/>
        </p:spPr>
        <p:txBody>
          <a:bodyPr vert="horz" wrap="square" lIns="0" tIns="0" rIns="0" bIns="0" rtlCol="0" anchor="ctr" anchorCtr="0">
            <a:noAutofit/>
          </a:bodyPr>
          <a:lstStyle/>
          <a:p>
            <a:pPr marL="144000" lvl="1">
              <a:spcBef>
                <a:spcPts val="600"/>
              </a:spcBef>
              <a:buClr>
                <a:srgbClr val="000000">
                  <a:lumMod val="100000"/>
                </a:srgbClr>
              </a:buClr>
              <a:buSzPct val="100000"/>
            </a:pPr>
            <a:r>
              <a:rPr lang="zh-CN" altLang="en-US" sz="160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72" name="iṡḻïḓé">
            <a:extLst>
              <a:ext uri="{FF2B5EF4-FFF2-40B4-BE49-F238E27FC236}">
                <a16:creationId xmlns:a16="http://schemas.microsoft.com/office/drawing/2014/main" id="{496B4655-06E1-467C-857E-95D23203E529}"/>
              </a:ext>
            </a:extLst>
          </p:cNvPr>
          <p:cNvSpPr/>
          <p:nvPr/>
        </p:nvSpPr>
        <p:spPr>
          <a:xfrm flipH="1">
            <a:off x="9578565" y="363943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1"/>
            </a:solidFill>
            <a:prstDash val="solid"/>
            <a:miter lim="400000"/>
            <a:headEnd type="none" w="med" len="med"/>
            <a:tailEnd type="none" w="med" len="med"/>
          </a:ln>
        </p:spPr>
        <p:txBody>
          <a:bodyPr wrap="none" lIns="0" tIns="0" rIns="0" bIns="0" anchor="ctr">
            <a:normAutofit/>
          </a:bodyPr>
          <a:lstStyle/>
          <a:p>
            <a:pPr algn="ctr"/>
            <a:r>
              <a:rPr lang="en-US" sz="2000" dirty="0">
                <a:solidFill>
                  <a:schemeClr val="accent1"/>
                </a:solidFill>
                <a:latin typeface="Impact" panose="020B0806030902050204" pitchFamily="34" charset="0"/>
              </a:rPr>
              <a:t>0</a:t>
            </a:r>
            <a:r>
              <a:rPr lang="en-US" altLang="zh-CN" sz="2000" dirty="0">
                <a:solidFill>
                  <a:schemeClr val="accent1"/>
                </a:solidFill>
                <a:latin typeface="Impact" panose="020B0806030902050204" pitchFamily="34" charset="0"/>
              </a:rPr>
              <a:t>3</a:t>
            </a:r>
            <a:endParaRPr lang="en-US" sz="2000" dirty="0">
              <a:solidFill>
                <a:schemeClr val="accent1"/>
              </a:solidFill>
              <a:latin typeface="Impact" panose="020B0806030902050204" pitchFamily="34" charset="0"/>
            </a:endParaRPr>
          </a:p>
        </p:txBody>
      </p:sp>
      <p:sp>
        <p:nvSpPr>
          <p:cNvPr id="74" name="íṣlïḓé">
            <a:extLst>
              <a:ext uri="{FF2B5EF4-FFF2-40B4-BE49-F238E27FC236}">
                <a16:creationId xmlns:a16="http://schemas.microsoft.com/office/drawing/2014/main" id="{3FF09087-DC37-4926-8743-7022A10F2185}"/>
              </a:ext>
            </a:extLst>
          </p:cNvPr>
          <p:cNvSpPr txBox="1">
            <a:spLocks/>
          </p:cNvSpPr>
          <p:nvPr/>
        </p:nvSpPr>
        <p:spPr>
          <a:xfrm>
            <a:off x="10084004" y="4491991"/>
            <a:ext cx="1628571" cy="544280"/>
          </a:xfrm>
          <a:prstGeom prst="rect">
            <a:avLst/>
          </a:prstGeom>
          <a:noFill/>
        </p:spPr>
        <p:txBody>
          <a:bodyPr vert="horz" wrap="square" lIns="0" tIns="0" rIns="0" bIns="0" rtlCol="0" anchor="ctr" anchorCtr="0">
            <a:noAutofit/>
          </a:bodyPr>
          <a:lstStyle/>
          <a:p>
            <a:pPr marL="144000" lvl="1">
              <a:spcBef>
                <a:spcPts val="600"/>
              </a:spcBef>
              <a:buClr>
                <a:srgbClr val="000000">
                  <a:lumMod val="100000"/>
                </a:srgbClr>
              </a:buClr>
              <a:buSzPct val="100000"/>
            </a:pPr>
            <a:r>
              <a:rPr lang="zh-CN" altLang="en-US" sz="160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75" name="iṡḻïḓé">
            <a:extLst>
              <a:ext uri="{FF2B5EF4-FFF2-40B4-BE49-F238E27FC236}">
                <a16:creationId xmlns:a16="http://schemas.microsoft.com/office/drawing/2014/main" id="{A30F607E-B59F-4EF8-8D36-ECBA2AF6F11F}"/>
              </a:ext>
            </a:extLst>
          </p:cNvPr>
          <p:cNvSpPr/>
          <p:nvPr/>
        </p:nvSpPr>
        <p:spPr>
          <a:xfrm flipH="1">
            <a:off x="9578565" y="456145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1"/>
            </a:solidFill>
            <a:prstDash val="solid"/>
            <a:miter lim="400000"/>
            <a:headEnd type="none" w="med" len="med"/>
            <a:tailEnd type="none" w="med" len="med"/>
          </a:ln>
        </p:spPr>
        <p:txBody>
          <a:bodyPr wrap="none" lIns="0" tIns="0" rIns="0" bIns="0" anchor="ctr">
            <a:normAutofit/>
          </a:bodyPr>
          <a:lstStyle/>
          <a:p>
            <a:pPr algn="ctr"/>
            <a:r>
              <a:rPr lang="en-US" sz="2000" dirty="0">
                <a:solidFill>
                  <a:schemeClr val="accent1"/>
                </a:solidFill>
                <a:latin typeface="Impact" panose="020B0806030902050204" pitchFamily="34" charset="0"/>
              </a:rPr>
              <a:t>0</a:t>
            </a:r>
            <a:r>
              <a:rPr lang="en-US" altLang="zh-CN" sz="2000" dirty="0">
                <a:solidFill>
                  <a:schemeClr val="accent1"/>
                </a:solidFill>
                <a:latin typeface="Impact" panose="020B0806030902050204" pitchFamily="34" charset="0"/>
              </a:rPr>
              <a:t>4</a:t>
            </a:r>
            <a:endParaRPr lang="en-US" sz="2000" dirty="0">
              <a:solidFill>
                <a:schemeClr val="accent1"/>
              </a:solidFill>
              <a:latin typeface="Impact" panose="020B0806030902050204" pitchFamily="34" charset="0"/>
            </a:endParaRPr>
          </a:p>
        </p:txBody>
      </p:sp>
      <p:sp>
        <p:nvSpPr>
          <p:cNvPr id="77" name="íṣlïḓé">
            <a:extLst>
              <a:ext uri="{FF2B5EF4-FFF2-40B4-BE49-F238E27FC236}">
                <a16:creationId xmlns:a16="http://schemas.microsoft.com/office/drawing/2014/main" id="{3F1F9E59-1133-409D-8F94-DDF315421176}"/>
              </a:ext>
            </a:extLst>
          </p:cNvPr>
          <p:cNvSpPr txBox="1">
            <a:spLocks/>
          </p:cNvSpPr>
          <p:nvPr/>
        </p:nvSpPr>
        <p:spPr>
          <a:xfrm>
            <a:off x="10084004" y="5414011"/>
            <a:ext cx="1628571" cy="544280"/>
          </a:xfrm>
          <a:prstGeom prst="rect">
            <a:avLst/>
          </a:prstGeom>
          <a:noFill/>
        </p:spPr>
        <p:txBody>
          <a:bodyPr vert="horz" wrap="square" lIns="0" tIns="0" rIns="0" bIns="0" rtlCol="0" anchor="ctr" anchorCtr="0">
            <a:noAutofit/>
          </a:bodyPr>
          <a:lstStyle/>
          <a:p>
            <a:pPr marL="144000" lvl="1">
              <a:spcBef>
                <a:spcPts val="600"/>
              </a:spcBef>
              <a:buClr>
                <a:srgbClr val="000000">
                  <a:lumMod val="100000"/>
                </a:srgbClr>
              </a:buClr>
              <a:buSzPct val="100000"/>
            </a:pPr>
            <a:r>
              <a:rPr lang="zh-CN" altLang="en-US" sz="160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78" name="iṡḻïḓé">
            <a:extLst>
              <a:ext uri="{FF2B5EF4-FFF2-40B4-BE49-F238E27FC236}">
                <a16:creationId xmlns:a16="http://schemas.microsoft.com/office/drawing/2014/main" id="{FC551189-3C53-4560-96EC-6C2AE99C7724}"/>
              </a:ext>
            </a:extLst>
          </p:cNvPr>
          <p:cNvSpPr/>
          <p:nvPr/>
        </p:nvSpPr>
        <p:spPr>
          <a:xfrm flipH="1">
            <a:off x="9578565" y="548347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1"/>
            </a:solidFill>
            <a:prstDash val="solid"/>
            <a:miter lim="400000"/>
            <a:headEnd type="none" w="med" len="med"/>
            <a:tailEnd type="none" w="med" len="med"/>
          </a:ln>
        </p:spPr>
        <p:txBody>
          <a:bodyPr wrap="none" lIns="0" tIns="0" rIns="0" bIns="0" anchor="ctr">
            <a:normAutofit/>
          </a:bodyPr>
          <a:lstStyle/>
          <a:p>
            <a:pPr algn="ctr"/>
            <a:r>
              <a:rPr lang="en-US" sz="2000" dirty="0">
                <a:solidFill>
                  <a:schemeClr val="accent1"/>
                </a:solidFill>
                <a:latin typeface="Impact" panose="020B0806030902050204" pitchFamily="34" charset="0"/>
              </a:rPr>
              <a:t>0</a:t>
            </a:r>
            <a:r>
              <a:rPr lang="en-US" altLang="zh-CN" sz="2000" dirty="0">
                <a:solidFill>
                  <a:schemeClr val="accent1"/>
                </a:solidFill>
                <a:latin typeface="Impact" panose="020B0806030902050204" pitchFamily="34" charset="0"/>
              </a:rPr>
              <a:t>5</a:t>
            </a:r>
            <a:endParaRPr lang="en-US" sz="2000" dirty="0">
              <a:solidFill>
                <a:schemeClr val="accent1"/>
              </a:solidFill>
              <a:latin typeface="Impact" panose="020B0806030902050204" pitchFamily="34" charset="0"/>
            </a:endParaRPr>
          </a:p>
        </p:txBody>
      </p:sp>
      <p:grpSp>
        <p:nvGrpSpPr>
          <p:cNvPr id="82" name="组合 81">
            <a:extLst>
              <a:ext uri="{FF2B5EF4-FFF2-40B4-BE49-F238E27FC236}">
                <a16:creationId xmlns:a16="http://schemas.microsoft.com/office/drawing/2014/main" id="{4EEFBD2C-C2E5-40C4-BDD3-02CA775C8778}"/>
              </a:ext>
            </a:extLst>
          </p:cNvPr>
          <p:cNvGrpSpPr/>
          <p:nvPr/>
        </p:nvGrpSpPr>
        <p:grpSpPr>
          <a:xfrm flipV="1">
            <a:off x="8735853" y="4503827"/>
            <a:ext cx="735723" cy="320084"/>
            <a:chOff x="8694662" y="2972027"/>
            <a:chExt cx="735723" cy="320084"/>
          </a:xfrm>
        </p:grpSpPr>
        <p:sp>
          <p:nvSpPr>
            <p:cNvPr id="83" name="Freeform 95">
              <a:extLst>
                <a:ext uri="{FF2B5EF4-FFF2-40B4-BE49-F238E27FC236}">
                  <a16:creationId xmlns:a16="http://schemas.microsoft.com/office/drawing/2014/main" id="{1EA5BDEB-0027-4F3E-AFB7-75912DD164C2}"/>
                </a:ext>
              </a:extLst>
            </p:cNvPr>
            <p:cNvSpPr/>
            <p:nvPr/>
          </p:nvSpPr>
          <p:spPr>
            <a:xfrm>
              <a:off x="8782818" y="2972027"/>
              <a:ext cx="647567" cy="267970"/>
            </a:xfrm>
            <a:custGeom>
              <a:avLst/>
              <a:gdLst>
                <a:gd name="connsiteX0" fmla="*/ 0 w 657225"/>
                <a:gd name="connsiteY0" fmla="*/ 95250 h 95250"/>
                <a:gd name="connsiteX1" fmla="*/ 504825 w 657225"/>
                <a:gd name="connsiteY1" fmla="*/ 95250 h 95250"/>
                <a:gd name="connsiteX2" fmla="*/ 657225 w 657225"/>
                <a:gd name="connsiteY2" fmla="*/ 0 h 95250"/>
                <a:gd name="connsiteX0" fmla="*/ 0 w 689688"/>
                <a:gd name="connsiteY0" fmla="*/ 267970 h 267970"/>
                <a:gd name="connsiteX1" fmla="*/ 504825 w 689688"/>
                <a:gd name="connsiteY1" fmla="*/ 267970 h 267970"/>
                <a:gd name="connsiteX2" fmla="*/ 689688 w 689688"/>
                <a:gd name="connsiteY2" fmla="*/ 0 h 267970"/>
              </a:gdLst>
              <a:ahLst/>
              <a:cxnLst>
                <a:cxn ang="0">
                  <a:pos x="connsiteX0" y="connsiteY0"/>
                </a:cxn>
                <a:cxn ang="0">
                  <a:pos x="connsiteX1" y="connsiteY1"/>
                </a:cxn>
                <a:cxn ang="0">
                  <a:pos x="connsiteX2" y="connsiteY2"/>
                </a:cxn>
              </a:cxnLst>
              <a:rect l="l" t="t" r="r" b="b"/>
              <a:pathLst>
                <a:path w="689688" h="267970">
                  <a:moveTo>
                    <a:pt x="0" y="267970"/>
                  </a:moveTo>
                  <a:lnTo>
                    <a:pt x="504825" y="267970"/>
                  </a:lnTo>
                  <a:cubicBezTo>
                    <a:pt x="555625" y="236220"/>
                    <a:pt x="638888" y="31750"/>
                    <a:pt x="689688" y="0"/>
                  </a:cubicBezTo>
                </a:path>
              </a:pathLst>
            </a:custGeom>
            <a:ln>
              <a:solidFill>
                <a:schemeClr val="bg1">
                  <a:lumMod val="65000"/>
                </a:schemeClr>
              </a:solidFill>
              <a:miter lim="400000"/>
              <a:tailEnd type="oval"/>
            </a:ln>
          </p:spPr>
          <p:txBody>
            <a:bodyPr rtlCol="0" anchor="ctr"/>
            <a:lstStyle/>
            <a:p>
              <a:pPr algn="ctr"/>
              <a:endParaRPr lang="en-US"/>
            </a:p>
          </p:txBody>
        </p:sp>
        <p:sp>
          <p:nvSpPr>
            <p:cNvPr id="84" name="îṡļîdè">
              <a:extLst>
                <a:ext uri="{FF2B5EF4-FFF2-40B4-BE49-F238E27FC236}">
                  <a16:creationId xmlns:a16="http://schemas.microsoft.com/office/drawing/2014/main" id="{DBB6EF88-1C14-4089-BD2E-F63C1E514B3A}"/>
                </a:ext>
              </a:extLst>
            </p:cNvPr>
            <p:cNvSpPr/>
            <p:nvPr/>
          </p:nvSpPr>
          <p:spPr>
            <a:xfrm flipH="1">
              <a:off x="8694662" y="3169197"/>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1"/>
              </a:solidFill>
              <a:miter lim="400000"/>
            </a:ln>
            <a:effectLst>
              <a:outerShdw blurRad="38100" dist="12700" dir="5400000" rotWithShape="0">
                <a:srgbClr val="000000">
                  <a:alpha val="20000"/>
                </a:srgbClr>
              </a:outerShdw>
            </a:effectLst>
          </p:spPr>
          <p:txBody>
            <a:bodyPr anchor="ctr"/>
            <a:lstStyle/>
            <a:p>
              <a:pPr algn="ctr"/>
              <a:endParaRPr/>
            </a:p>
          </p:txBody>
        </p:sp>
      </p:grpSp>
      <p:sp>
        <p:nvSpPr>
          <p:cNvPr id="87" name="íṣlïḓé">
            <a:extLst>
              <a:ext uri="{FF2B5EF4-FFF2-40B4-BE49-F238E27FC236}">
                <a16:creationId xmlns:a16="http://schemas.microsoft.com/office/drawing/2014/main" id="{A562DAAE-0E14-484E-A0B7-A1556B5737CF}"/>
              </a:ext>
            </a:extLst>
          </p:cNvPr>
          <p:cNvSpPr txBox="1">
            <a:spLocks/>
          </p:cNvSpPr>
          <p:nvPr/>
        </p:nvSpPr>
        <p:spPr>
          <a:xfrm flipH="1">
            <a:off x="515936" y="1725931"/>
            <a:ext cx="1579561" cy="5442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0">
            <a:noAutofit/>
          </a:bodyPr>
          <a:lstStyle/>
          <a:p>
            <a:pPr marL="144000" lvl="1" algn="r">
              <a:spcBef>
                <a:spcPts val="600"/>
              </a:spcBef>
              <a:buClr>
                <a:srgbClr val="000000">
                  <a:lumMod val="100000"/>
                </a:srgbClr>
              </a:buClr>
              <a:buSzPct val="100000"/>
            </a:pPr>
            <a:r>
              <a:rPr lang="zh-CN" altLang="en-US" sz="1600" dirty="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88" name="iṡḻïḓé">
            <a:extLst>
              <a:ext uri="{FF2B5EF4-FFF2-40B4-BE49-F238E27FC236}">
                <a16:creationId xmlns:a16="http://schemas.microsoft.com/office/drawing/2014/main" id="{5C7E93D6-D405-4C1D-BDB9-2EDF06CAAE37}"/>
              </a:ext>
            </a:extLst>
          </p:cNvPr>
          <p:cNvSpPr/>
          <p:nvPr/>
        </p:nvSpPr>
        <p:spPr>
          <a:xfrm>
            <a:off x="2177305" y="179539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2"/>
            </a:solidFill>
            <a:prstDash val="solid"/>
            <a:miter lim="400000"/>
            <a:headEnd type="none" w="med" len="med"/>
            <a:tailEnd type="none" w="med" len="med"/>
          </a:ln>
        </p:spPr>
        <p:txBody>
          <a:bodyPr wrap="none" lIns="0" tIns="0" rIns="0" bIns="0" anchor="ctr">
            <a:normAutofit/>
          </a:bodyPr>
          <a:lstStyle/>
          <a:p>
            <a:pPr algn="ctr"/>
            <a:r>
              <a:rPr lang="en-US" sz="2000" dirty="0">
                <a:solidFill>
                  <a:schemeClr val="accent2"/>
                </a:solidFill>
                <a:latin typeface="Impact" panose="020B0806030902050204" pitchFamily="34" charset="0"/>
              </a:rPr>
              <a:t>01</a:t>
            </a:r>
          </a:p>
        </p:txBody>
      </p:sp>
      <p:grpSp>
        <p:nvGrpSpPr>
          <p:cNvPr id="117" name="组合 116">
            <a:extLst>
              <a:ext uri="{FF2B5EF4-FFF2-40B4-BE49-F238E27FC236}">
                <a16:creationId xmlns:a16="http://schemas.microsoft.com/office/drawing/2014/main" id="{400CE991-A1A5-4FE4-B5A3-31C114B18A2A}"/>
              </a:ext>
            </a:extLst>
          </p:cNvPr>
          <p:cNvGrpSpPr/>
          <p:nvPr/>
        </p:nvGrpSpPr>
        <p:grpSpPr>
          <a:xfrm>
            <a:off x="2742776" y="2103136"/>
            <a:ext cx="1235976" cy="570274"/>
            <a:chOff x="2742776" y="2103136"/>
            <a:chExt cx="1235976" cy="570274"/>
          </a:xfrm>
        </p:grpSpPr>
        <p:sp>
          <p:nvSpPr>
            <p:cNvPr id="89" name="Freeform 98">
              <a:extLst>
                <a:ext uri="{FF2B5EF4-FFF2-40B4-BE49-F238E27FC236}">
                  <a16:creationId xmlns:a16="http://schemas.microsoft.com/office/drawing/2014/main" id="{54DA29D9-4A95-49D7-8C13-253F1ED51050}"/>
                </a:ext>
              </a:extLst>
            </p:cNvPr>
            <p:cNvSpPr/>
            <p:nvPr/>
          </p:nvSpPr>
          <p:spPr>
            <a:xfrm flipH="1">
              <a:off x="2742776" y="2103136"/>
              <a:ext cx="1180247" cy="497840"/>
            </a:xfrm>
            <a:custGeom>
              <a:avLst/>
              <a:gdLst>
                <a:gd name="connsiteX0" fmla="*/ 0 w 1270000"/>
                <a:gd name="connsiteY0" fmla="*/ 558800 h 558800"/>
                <a:gd name="connsiteX1" fmla="*/ 800100 w 1270000"/>
                <a:gd name="connsiteY1" fmla="*/ 558800 h 558800"/>
                <a:gd name="connsiteX2" fmla="*/ 1270000 w 1270000"/>
                <a:gd name="connsiteY2" fmla="*/ 0 h 558800"/>
                <a:gd name="connsiteX0" fmla="*/ 0 w 1257015"/>
                <a:gd name="connsiteY0" fmla="*/ 497840 h 497840"/>
                <a:gd name="connsiteX1" fmla="*/ 800100 w 1257015"/>
                <a:gd name="connsiteY1" fmla="*/ 497840 h 497840"/>
                <a:gd name="connsiteX2" fmla="*/ 1257015 w 1257015"/>
                <a:gd name="connsiteY2" fmla="*/ 0 h 497840"/>
              </a:gdLst>
              <a:ahLst/>
              <a:cxnLst>
                <a:cxn ang="0">
                  <a:pos x="connsiteX0" y="connsiteY0"/>
                </a:cxn>
                <a:cxn ang="0">
                  <a:pos x="connsiteX1" y="connsiteY1"/>
                </a:cxn>
                <a:cxn ang="0">
                  <a:pos x="connsiteX2" y="connsiteY2"/>
                </a:cxn>
              </a:cxnLst>
              <a:rect l="l" t="t" r="r" b="b"/>
              <a:pathLst>
                <a:path w="1257015" h="497840">
                  <a:moveTo>
                    <a:pt x="0" y="497840"/>
                  </a:moveTo>
                  <a:lnTo>
                    <a:pt x="800100" y="497840"/>
                  </a:lnTo>
                  <a:cubicBezTo>
                    <a:pt x="956733" y="311573"/>
                    <a:pt x="1100382" y="186267"/>
                    <a:pt x="1257015" y="0"/>
                  </a:cubicBezTo>
                </a:path>
              </a:pathLst>
            </a:custGeom>
            <a:ln>
              <a:solidFill>
                <a:schemeClr val="bg1">
                  <a:lumMod val="65000"/>
                </a:schemeClr>
              </a:solidFill>
              <a:miter lim="400000"/>
              <a:tailEnd type="oval"/>
            </a:ln>
          </p:spPr>
          <p:txBody>
            <a:bodyPr rtlCol="0" anchor="ctr"/>
            <a:lstStyle/>
            <a:p>
              <a:pPr algn="ctr"/>
              <a:endParaRPr lang="en-US"/>
            </a:p>
          </p:txBody>
        </p:sp>
        <p:sp>
          <p:nvSpPr>
            <p:cNvPr id="91" name="îṡļîdè">
              <a:extLst>
                <a:ext uri="{FF2B5EF4-FFF2-40B4-BE49-F238E27FC236}">
                  <a16:creationId xmlns:a16="http://schemas.microsoft.com/office/drawing/2014/main" id="{323E2B18-12D3-418D-A6E6-621BF1354459}"/>
                </a:ext>
              </a:extLst>
            </p:cNvPr>
            <p:cNvSpPr/>
            <p:nvPr/>
          </p:nvSpPr>
          <p:spPr>
            <a:xfrm>
              <a:off x="3855839" y="2550496"/>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2"/>
              </a:solidFill>
              <a:miter lim="400000"/>
            </a:ln>
            <a:effectLst>
              <a:outerShdw blurRad="38100" dist="12700" dir="5400000" rotWithShape="0">
                <a:srgbClr val="000000">
                  <a:alpha val="20000"/>
                </a:srgbClr>
              </a:outerShdw>
            </a:effectLst>
          </p:spPr>
          <p:txBody>
            <a:bodyPr anchor="ctr"/>
            <a:lstStyle/>
            <a:p>
              <a:pPr algn="ctr"/>
              <a:endParaRPr/>
            </a:p>
          </p:txBody>
        </p:sp>
      </p:grpSp>
      <p:grpSp>
        <p:nvGrpSpPr>
          <p:cNvPr id="116" name="组合 115">
            <a:extLst>
              <a:ext uri="{FF2B5EF4-FFF2-40B4-BE49-F238E27FC236}">
                <a16:creationId xmlns:a16="http://schemas.microsoft.com/office/drawing/2014/main" id="{7A4BD0D3-97C3-4CF6-9ECD-1318819D18A1}"/>
              </a:ext>
            </a:extLst>
          </p:cNvPr>
          <p:cNvGrpSpPr/>
          <p:nvPr/>
        </p:nvGrpSpPr>
        <p:grpSpPr>
          <a:xfrm>
            <a:off x="2735664" y="5075982"/>
            <a:ext cx="1243088" cy="581503"/>
            <a:chOff x="2735664" y="5075982"/>
            <a:chExt cx="1243088" cy="581503"/>
          </a:xfrm>
        </p:grpSpPr>
        <p:sp>
          <p:nvSpPr>
            <p:cNvPr id="90" name="Freeform 103">
              <a:extLst>
                <a:ext uri="{FF2B5EF4-FFF2-40B4-BE49-F238E27FC236}">
                  <a16:creationId xmlns:a16="http://schemas.microsoft.com/office/drawing/2014/main" id="{31058D05-8D2B-4B5C-8FC0-E052D48D7071}"/>
                </a:ext>
              </a:extLst>
            </p:cNvPr>
            <p:cNvSpPr/>
            <p:nvPr/>
          </p:nvSpPr>
          <p:spPr>
            <a:xfrm flipH="1" flipV="1">
              <a:off x="2735664" y="5159645"/>
              <a:ext cx="1187359" cy="497840"/>
            </a:xfrm>
            <a:custGeom>
              <a:avLst/>
              <a:gdLst>
                <a:gd name="connsiteX0" fmla="*/ 0 w 1270000"/>
                <a:gd name="connsiteY0" fmla="*/ 558800 h 558800"/>
                <a:gd name="connsiteX1" fmla="*/ 800100 w 1270000"/>
                <a:gd name="connsiteY1" fmla="*/ 558800 h 558800"/>
                <a:gd name="connsiteX2" fmla="*/ 1270000 w 1270000"/>
                <a:gd name="connsiteY2" fmla="*/ 0 h 558800"/>
                <a:gd name="connsiteX0" fmla="*/ 0 w 1264590"/>
                <a:gd name="connsiteY0" fmla="*/ 497840 h 497840"/>
                <a:gd name="connsiteX1" fmla="*/ 800100 w 1264590"/>
                <a:gd name="connsiteY1" fmla="*/ 497840 h 497840"/>
                <a:gd name="connsiteX2" fmla="*/ 1264590 w 1264590"/>
                <a:gd name="connsiteY2" fmla="*/ 0 h 497840"/>
                <a:gd name="connsiteX0" fmla="*/ 0 w 1264590"/>
                <a:gd name="connsiteY0" fmla="*/ 497840 h 497840"/>
                <a:gd name="connsiteX1" fmla="*/ 800100 w 1264590"/>
                <a:gd name="connsiteY1" fmla="*/ 497840 h 497840"/>
                <a:gd name="connsiteX2" fmla="*/ 1264590 w 1264590"/>
                <a:gd name="connsiteY2" fmla="*/ 0 h 497840"/>
              </a:gdLst>
              <a:ahLst/>
              <a:cxnLst>
                <a:cxn ang="0">
                  <a:pos x="connsiteX0" y="connsiteY0"/>
                </a:cxn>
                <a:cxn ang="0">
                  <a:pos x="connsiteX1" y="connsiteY1"/>
                </a:cxn>
                <a:cxn ang="0">
                  <a:pos x="connsiteX2" y="connsiteY2"/>
                </a:cxn>
              </a:cxnLst>
              <a:rect l="l" t="t" r="r" b="b"/>
              <a:pathLst>
                <a:path w="1264590" h="497840">
                  <a:moveTo>
                    <a:pt x="0" y="497840"/>
                  </a:moveTo>
                  <a:lnTo>
                    <a:pt x="800100" y="497840"/>
                  </a:lnTo>
                  <a:cubicBezTo>
                    <a:pt x="956733" y="311573"/>
                    <a:pt x="1097136" y="191347"/>
                    <a:pt x="1264590" y="0"/>
                  </a:cubicBezTo>
                </a:path>
              </a:pathLst>
            </a:custGeom>
            <a:ln>
              <a:solidFill>
                <a:schemeClr val="bg1">
                  <a:lumMod val="65000"/>
                </a:schemeClr>
              </a:solidFill>
              <a:miter lim="400000"/>
              <a:tailEnd type="oval"/>
            </a:ln>
          </p:spPr>
          <p:txBody>
            <a:bodyPr rtlCol="0" anchor="ctr"/>
            <a:lstStyle/>
            <a:p>
              <a:pPr algn="ctr"/>
              <a:endParaRPr lang="en-US"/>
            </a:p>
          </p:txBody>
        </p:sp>
        <p:sp>
          <p:nvSpPr>
            <p:cNvPr id="92" name="îṡļîdè">
              <a:extLst>
                <a:ext uri="{FF2B5EF4-FFF2-40B4-BE49-F238E27FC236}">
                  <a16:creationId xmlns:a16="http://schemas.microsoft.com/office/drawing/2014/main" id="{4280CDEC-9AD5-4A1C-95C1-0619AB246BBB}"/>
                </a:ext>
              </a:extLst>
            </p:cNvPr>
            <p:cNvSpPr/>
            <p:nvPr/>
          </p:nvSpPr>
          <p:spPr>
            <a:xfrm>
              <a:off x="3855839" y="5075982"/>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2"/>
              </a:solidFill>
              <a:miter lim="400000"/>
            </a:ln>
            <a:effectLst>
              <a:outerShdw blurRad="38100" dist="12700" dir="5400000" rotWithShape="0">
                <a:srgbClr val="000000">
                  <a:alpha val="20000"/>
                </a:srgbClr>
              </a:outerShdw>
            </a:effectLst>
          </p:spPr>
          <p:txBody>
            <a:bodyPr anchor="ctr"/>
            <a:lstStyle/>
            <a:p>
              <a:pPr algn="ctr"/>
              <a:endParaRPr/>
            </a:p>
          </p:txBody>
        </p:sp>
      </p:grpSp>
      <p:grpSp>
        <p:nvGrpSpPr>
          <p:cNvPr id="93" name="组合 92">
            <a:extLst>
              <a:ext uri="{FF2B5EF4-FFF2-40B4-BE49-F238E27FC236}">
                <a16:creationId xmlns:a16="http://schemas.microsoft.com/office/drawing/2014/main" id="{9C5359A5-9307-49E5-A4C5-F5B17312728E}"/>
              </a:ext>
            </a:extLst>
          </p:cNvPr>
          <p:cNvGrpSpPr/>
          <p:nvPr/>
        </p:nvGrpSpPr>
        <p:grpSpPr>
          <a:xfrm flipH="1">
            <a:off x="2720424" y="2972027"/>
            <a:ext cx="735723" cy="320084"/>
            <a:chOff x="8694662" y="2972027"/>
            <a:chExt cx="735723" cy="320084"/>
          </a:xfrm>
        </p:grpSpPr>
        <p:sp>
          <p:nvSpPr>
            <p:cNvPr id="108" name="Freeform 95">
              <a:extLst>
                <a:ext uri="{FF2B5EF4-FFF2-40B4-BE49-F238E27FC236}">
                  <a16:creationId xmlns:a16="http://schemas.microsoft.com/office/drawing/2014/main" id="{58E9D943-64EE-463B-9EFE-828C2C62B39D}"/>
                </a:ext>
              </a:extLst>
            </p:cNvPr>
            <p:cNvSpPr/>
            <p:nvPr/>
          </p:nvSpPr>
          <p:spPr>
            <a:xfrm>
              <a:off x="8782818" y="2972027"/>
              <a:ext cx="647567" cy="267970"/>
            </a:xfrm>
            <a:custGeom>
              <a:avLst/>
              <a:gdLst>
                <a:gd name="connsiteX0" fmla="*/ 0 w 657225"/>
                <a:gd name="connsiteY0" fmla="*/ 95250 h 95250"/>
                <a:gd name="connsiteX1" fmla="*/ 504825 w 657225"/>
                <a:gd name="connsiteY1" fmla="*/ 95250 h 95250"/>
                <a:gd name="connsiteX2" fmla="*/ 657225 w 657225"/>
                <a:gd name="connsiteY2" fmla="*/ 0 h 95250"/>
                <a:gd name="connsiteX0" fmla="*/ 0 w 689688"/>
                <a:gd name="connsiteY0" fmla="*/ 267970 h 267970"/>
                <a:gd name="connsiteX1" fmla="*/ 504825 w 689688"/>
                <a:gd name="connsiteY1" fmla="*/ 267970 h 267970"/>
                <a:gd name="connsiteX2" fmla="*/ 689688 w 689688"/>
                <a:gd name="connsiteY2" fmla="*/ 0 h 267970"/>
              </a:gdLst>
              <a:ahLst/>
              <a:cxnLst>
                <a:cxn ang="0">
                  <a:pos x="connsiteX0" y="connsiteY0"/>
                </a:cxn>
                <a:cxn ang="0">
                  <a:pos x="connsiteX1" y="connsiteY1"/>
                </a:cxn>
                <a:cxn ang="0">
                  <a:pos x="connsiteX2" y="connsiteY2"/>
                </a:cxn>
              </a:cxnLst>
              <a:rect l="l" t="t" r="r" b="b"/>
              <a:pathLst>
                <a:path w="689688" h="267970">
                  <a:moveTo>
                    <a:pt x="0" y="267970"/>
                  </a:moveTo>
                  <a:lnTo>
                    <a:pt x="504825" y="267970"/>
                  </a:lnTo>
                  <a:cubicBezTo>
                    <a:pt x="555625" y="236220"/>
                    <a:pt x="638888" y="31750"/>
                    <a:pt x="689688" y="0"/>
                  </a:cubicBezTo>
                </a:path>
              </a:pathLst>
            </a:custGeom>
            <a:ln>
              <a:solidFill>
                <a:schemeClr val="bg1">
                  <a:lumMod val="65000"/>
                </a:schemeClr>
              </a:solidFill>
              <a:miter lim="400000"/>
              <a:tailEnd type="oval"/>
            </a:ln>
          </p:spPr>
          <p:txBody>
            <a:bodyPr rtlCol="0" anchor="ctr"/>
            <a:lstStyle/>
            <a:p>
              <a:pPr algn="ctr"/>
              <a:endParaRPr lang="en-US"/>
            </a:p>
          </p:txBody>
        </p:sp>
        <p:sp>
          <p:nvSpPr>
            <p:cNvPr id="109" name="îṡļîdè">
              <a:extLst>
                <a:ext uri="{FF2B5EF4-FFF2-40B4-BE49-F238E27FC236}">
                  <a16:creationId xmlns:a16="http://schemas.microsoft.com/office/drawing/2014/main" id="{278C8232-488D-481A-BC18-0C48939FF63B}"/>
                </a:ext>
              </a:extLst>
            </p:cNvPr>
            <p:cNvSpPr/>
            <p:nvPr/>
          </p:nvSpPr>
          <p:spPr>
            <a:xfrm flipH="1">
              <a:off x="8694662" y="3169197"/>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2"/>
              </a:solidFill>
              <a:miter lim="400000"/>
            </a:ln>
            <a:effectLst>
              <a:outerShdw blurRad="38100" dist="12700" dir="5400000" rotWithShape="0">
                <a:srgbClr val="000000">
                  <a:alpha val="20000"/>
                </a:srgbClr>
              </a:outerShdw>
            </a:effectLst>
          </p:spPr>
          <p:txBody>
            <a:bodyPr anchor="ctr"/>
            <a:lstStyle/>
            <a:p>
              <a:pPr algn="ctr"/>
              <a:endParaRPr/>
            </a:p>
          </p:txBody>
        </p:sp>
      </p:grpSp>
      <p:grpSp>
        <p:nvGrpSpPr>
          <p:cNvPr id="94" name="组合 93">
            <a:extLst>
              <a:ext uri="{FF2B5EF4-FFF2-40B4-BE49-F238E27FC236}">
                <a16:creationId xmlns:a16="http://schemas.microsoft.com/office/drawing/2014/main" id="{E460A99C-C57B-43D2-9C89-25BE9718FE8C}"/>
              </a:ext>
            </a:extLst>
          </p:cNvPr>
          <p:cNvGrpSpPr/>
          <p:nvPr/>
        </p:nvGrpSpPr>
        <p:grpSpPr>
          <a:xfrm flipH="1">
            <a:off x="2730584" y="3835882"/>
            <a:ext cx="590943" cy="122914"/>
            <a:chOff x="8829282" y="3835882"/>
            <a:chExt cx="590943" cy="122914"/>
          </a:xfrm>
        </p:grpSpPr>
        <p:cxnSp>
          <p:nvCxnSpPr>
            <p:cNvPr id="106" name="Straight Connector 94">
              <a:extLst>
                <a:ext uri="{FF2B5EF4-FFF2-40B4-BE49-F238E27FC236}">
                  <a16:creationId xmlns:a16="http://schemas.microsoft.com/office/drawing/2014/main" id="{63A949BA-8595-4541-AEC6-0753A9B3283C}"/>
                </a:ext>
              </a:extLst>
            </p:cNvPr>
            <p:cNvCxnSpPr/>
            <p:nvPr/>
          </p:nvCxnSpPr>
          <p:spPr>
            <a:xfrm flipV="1">
              <a:off x="8884320" y="3896857"/>
              <a:ext cx="535905" cy="963"/>
            </a:xfrm>
            <a:prstGeom prst="line">
              <a:avLst/>
            </a:prstGeom>
            <a:ln>
              <a:solidFill>
                <a:schemeClr val="bg1">
                  <a:lumMod val="65000"/>
                </a:schemeClr>
              </a:solidFill>
              <a:miter lim="400000"/>
              <a:tailEnd type="oval"/>
            </a:ln>
          </p:spPr>
        </p:cxnSp>
        <p:sp>
          <p:nvSpPr>
            <p:cNvPr id="107" name="îṡļîdè">
              <a:extLst>
                <a:ext uri="{FF2B5EF4-FFF2-40B4-BE49-F238E27FC236}">
                  <a16:creationId xmlns:a16="http://schemas.microsoft.com/office/drawing/2014/main" id="{5FE1F36C-44B5-4620-ACA3-492300312ED8}"/>
                </a:ext>
              </a:extLst>
            </p:cNvPr>
            <p:cNvSpPr/>
            <p:nvPr/>
          </p:nvSpPr>
          <p:spPr>
            <a:xfrm flipH="1">
              <a:off x="8829282" y="3835882"/>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2"/>
              </a:solidFill>
              <a:miter lim="400000"/>
            </a:ln>
            <a:effectLst>
              <a:outerShdw blurRad="38100" dist="12700" dir="5400000" rotWithShape="0">
                <a:srgbClr val="000000">
                  <a:alpha val="20000"/>
                </a:srgbClr>
              </a:outerShdw>
            </a:effectLst>
          </p:spPr>
          <p:txBody>
            <a:bodyPr anchor="ctr"/>
            <a:lstStyle/>
            <a:p>
              <a:pPr algn="ctr"/>
              <a:endParaRPr/>
            </a:p>
          </p:txBody>
        </p:sp>
      </p:grpSp>
      <p:sp>
        <p:nvSpPr>
          <p:cNvPr id="95" name="íṣlïḓé">
            <a:extLst>
              <a:ext uri="{FF2B5EF4-FFF2-40B4-BE49-F238E27FC236}">
                <a16:creationId xmlns:a16="http://schemas.microsoft.com/office/drawing/2014/main" id="{EC250E59-C4C5-4D56-9DEF-054832CF2A33}"/>
              </a:ext>
            </a:extLst>
          </p:cNvPr>
          <p:cNvSpPr txBox="1">
            <a:spLocks/>
          </p:cNvSpPr>
          <p:nvPr/>
        </p:nvSpPr>
        <p:spPr>
          <a:xfrm flipH="1">
            <a:off x="515936" y="2647951"/>
            <a:ext cx="1579561" cy="5442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0">
            <a:noAutofit/>
          </a:bodyPr>
          <a:lstStyle/>
          <a:p>
            <a:pPr marL="144000" lvl="1" algn="r">
              <a:spcBef>
                <a:spcPts val="600"/>
              </a:spcBef>
              <a:buClr>
                <a:srgbClr val="000000">
                  <a:lumMod val="100000"/>
                </a:srgbClr>
              </a:buClr>
              <a:buSzPct val="100000"/>
            </a:pPr>
            <a:r>
              <a:rPr lang="zh-CN" altLang="en-US" sz="160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96" name="iṡḻïḓé">
            <a:extLst>
              <a:ext uri="{FF2B5EF4-FFF2-40B4-BE49-F238E27FC236}">
                <a16:creationId xmlns:a16="http://schemas.microsoft.com/office/drawing/2014/main" id="{5CE6A6DC-C78E-405B-8E3B-46B993A41187}"/>
              </a:ext>
            </a:extLst>
          </p:cNvPr>
          <p:cNvSpPr/>
          <p:nvPr/>
        </p:nvSpPr>
        <p:spPr>
          <a:xfrm>
            <a:off x="2177305" y="271741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2"/>
            </a:solidFill>
            <a:prstDash val="solid"/>
            <a:miter lim="400000"/>
            <a:headEnd type="none" w="med" len="med"/>
            <a:tailEnd type="none" w="med" len="med"/>
          </a:ln>
        </p:spPr>
        <p:txBody>
          <a:bodyPr wrap="none" lIns="0" tIns="0" rIns="0" bIns="0" anchor="ctr">
            <a:normAutofit/>
          </a:bodyPr>
          <a:lstStyle/>
          <a:p>
            <a:pPr algn="ctr"/>
            <a:r>
              <a:rPr lang="en-US" sz="2000" dirty="0">
                <a:solidFill>
                  <a:schemeClr val="accent2"/>
                </a:solidFill>
                <a:latin typeface="Impact" panose="020B0806030902050204" pitchFamily="34" charset="0"/>
              </a:rPr>
              <a:t>0</a:t>
            </a:r>
            <a:r>
              <a:rPr lang="en-US" altLang="zh-CN" sz="2000" dirty="0">
                <a:solidFill>
                  <a:schemeClr val="accent2"/>
                </a:solidFill>
                <a:latin typeface="Impact" panose="020B0806030902050204" pitchFamily="34" charset="0"/>
              </a:rPr>
              <a:t>2</a:t>
            </a:r>
            <a:endParaRPr lang="en-US" sz="2000" dirty="0">
              <a:solidFill>
                <a:schemeClr val="accent2"/>
              </a:solidFill>
              <a:latin typeface="Impact" panose="020B0806030902050204" pitchFamily="34" charset="0"/>
            </a:endParaRPr>
          </a:p>
        </p:txBody>
      </p:sp>
      <p:sp>
        <p:nvSpPr>
          <p:cNvPr id="97" name="íṣlïḓé">
            <a:extLst>
              <a:ext uri="{FF2B5EF4-FFF2-40B4-BE49-F238E27FC236}">
                <a16:creationId xmlns:a16="http://schemas.microsoft.com/office/drawing/2014/main" id="{BFBF4668-9061-464B-838C-A0C5BD8FAE90}"/>
              </a:ext>
            </a:extLst>
          </p:cNvPr>
          <p:cNvSpPr txBox="1">
            <a:spLocks/>
          </p:cNvSpPr>
          <p:nvPr/>
        </p:nvSpPr>
        <p:spPr>
          <a:xfrm flipH="1">
            <a:off x="515936" y="3569971"/>
            <a:ext cx="1579561" cy="5442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0">
            <a:noAutofit/>
          </a:bodyPr>
          <a:lstStyle/>
          <a:p>
            <a:pPr marL="144000" lvl="1" algn="r">
              <a:spcBef>
                <a:spcPts val="600"/>
              </a:spcBef>
              <a:buClr>
                <a:srgbClr val="000000">
                  <a:lumMod val="100000"/>
                </a:srgbClr>
              </a:buClr>
              <a:buSzPct val="100000"/>
            </a:pPr>
            <a:r>
              <a:rPr lang="zh-CN" altLang="en-US" sz="160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98" name="iṡḻïḓé">
            <a:extLst>
              <a:ext uri="{FF2B5EF4-FFF2-40B4-BE49-F238E27FC236}">
                <a16:creationId xmlns:a16="http://schemas.microsoft.com/office/drawing/2014/main" id="{08967D9D-1E73-4247-9FDB-35CCD80CF682}"/>
              </a:ext>
            </a:extLst>
          </p:cNvPr>
          <p:cNvSpPr/>
          <p:nvPr/>
        </p:nvSpPr>
        <p:spPr>
          <a:xfrm>
            <a:off x="2177305" y="363943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2"/>
            </a:solidFill>
            <a:prstDash val="solid"/>
            <a:miter lim="400000"/>
            <a:headEnd type="none" w="med" len="med"/>
            <a:tailEnd type="none" w="med" len="med"/>
          </a:ln>
        </p:spPr>
        <p:txBody>
          <a:bodyPr wrap="none" lIns="0" tIns="0" rIns="0" bIns="0" anchor="ctr">
            <a:normAutofit/>
          </a:bodyPr>
          <a:lstStyle/>
          <a:p>
            <a:pPr algn="ctr"/>
            <a:r>
              <a:rPr lang="en-US" sz="2000" dirty="0">
                <a:solidFill>
                  <a:schemeClr val="accent2"/>
                </a:solidFill>
                <a:latin typeface="Impact" panose="020B0806030902050204" pitchFamily="34" charset="0"/>
              </a:rPr>
              <a:t>0</a:t>
            </a:r>
            <a:r>
              <a:rPr lang="en-US" altLang="zh-CN" sz="2000" dirty="0">
                <a:solidFill>
                  <a:schemeClr val="accent2"/>
                </a:solidFill>
                <a:latin typeface="Impact" panose="020B0806030902050204" pitchFamily="34" charset="0"/>
              </a:rPr>
              <a:t>3</a:t>
            </a:r>
            <a:endParaRPr lang="en-US" sz="2000" dirty="0">
              <a:solidFill>
                <a:schemeClr val="accent2"/>
              </a:solidFill>
              <a:latin typeface="Impact" panose="020B0806030902050204" pitchFamily="34" charset="0"/>
            </a:endParaRPr>
          </a:p>
        </p:txBody>
      </p:sp>
      <p:sp>
        <p:nvSpPr>
          <p:cNvPr id="99" name="íṣlïḓé">
            <a:extLst>
              <a:ext uri="{FF2B5EF4-FFF2-40B4-BE49-F238E27FC236}">
                <a16:creationId xmlns:a16="http://schemas.microsoft.com/office/drawing/2014/main" id="{7A4AE665-1115-4D71-B00B-2C518445C106}"/>
              </a:ext>
            </a:extLst>
          </p:cNvPr>
          <p:cNvSpPr txBox="1">
            <a:spLocks/>
          </p:cNvSpPr>
          <p:nvPr/>
        </p:nvSpPr>
        <p:spPr>
          <a:xfrm flipH="1">
            <a:off x="515936" y="4491991"/>
            <a:ext cx="1579561" cy="5442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0">
            <a:noAutofit/>
          </a:bodyPr>
          <a:lstStyle/>
          <a:p>
            <a:pPr marL="144000" lvl="1" algn="r">
              <a:spcBef>
                <a:spcPts val="600"/>
              </a:spcBef>
              <a:buClr>
                <a:srgbClr val="000000">
                  <a:lumMod val="100000"/>
                </a:srgbClr>
              </a:buClr>
              <a:buSzPct val="100000"/>
            </a:pPr>
            <a:r>
              <a:rPr lang="zh-CN" altLang="en-US" sz="160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100" name="iṡḻïḓé">
            <a:extLst>
              <a:ext uri="{FF2B5EF4-FFF2-40B4-BE49-F238E27FC236}">
                <a16:creationId xmlns:a16="http://schemas.microsoft.com/office/drawing/2014/main" id="{4EBBDE40-CD54-4EFC-8046-49F9402712C5}"/>
              </a:ext>
            </a:extLst>
          </p:cNvPr>
          <p:cNvSpPr/>
          <p:nvPr/>
        </p:nvSpPr>
        <p:spPr>
          <a:xfrm>
            <a:off x="2177305" y="456145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2"/>
            </a:solidFill>
            <a:prstDash val="solid"/>
            <a:miter lim="400000"/>
            <a:headEnd type="none" w="med" len="med"/>
            <a:tailEnd type="none" w="med" len="med"/>
          </a:ln>
        </p:spPr>
        <p:txBody>
          <a:bodyPr wrap="none" lIns="0" tIns="0" rIns="0" bIns="0" anchor="ctr">
            <a:normAutofit/>
          </a:bodyPr>
          <a:lstStyle/>
          <a:p>
            <a:pPr algn="ctr"/>
            <a:r>
              <a:rPr lang="en-US" sz="2000" dirty="0">
                <a:solidFill>
                  <a:schemeClr val="accent2"/>
                </a:solidFill>
                <a:latin typeface="Impact" panose="020B0806030902050204" pitchFamily="34" charset="0"/>
              </a:rPr>
              <a:t>0</a:t>
            </a:r>
            <a:r>
              <a:rPr lang="en-US" altLang="zh-CN" sz="2000" dirty="0">
                <a:solidFill>
                  <a:schemeClr val="accent2"/>
                </a:solidFill>
                <a:latin typeface="Impact" panose="020B0806030902050204" pitchFamily="34" charset="0"/>
              </a:rPr>
              <a:t>4</a:t>
            </a:r>
            <a:endParaRPr lang="en-US" sz="2000" dirty="0">
              <a:solidFill>
                <a:schemeClr val="accent2"/>
              </a:solidFill>
              <a:latin typeface="Impact" panose="020B0806030902050204" pitchFamily="34" charset="0"/>
            </a:endParaRPr>
          </a:p>
        </p:txBody>
      </p:sp>
      <p:sp>
        <p:nvSpPr>
          <p:cNvPr id="101" name="íṣlïḓé">
            <a:extLst>
              <a:ext uri="{FF2B5EF4-FFF2-40B4-BE49-F238E27FC236}">
                <a16:creationId xmlns:a16="http://schemas.microsoft.com/office/drawing/2014/main" id="{3D1A784E-CB69-4A3C-8421-4B6D34B7A27E}"/>
              </a:ext>
            </a:extLst>
          </p:cNvPr>
          <p:cNvSpPr txBox="1">
            <a:spLocks/>
          </p:cNvSpPr>
          <p:nvPr/>
        </p:nvSpPr>
        <p:spPr>
          <a:xfrm flipH="1">
            <a:off x="515936" y="5414011"/>
            <a:ext cx="1579561" cy="5442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0">
            <a:noAutofit/>
          </a:bodyPr>
          <a:lstStyle/>
          <a:p>
            <a:pPr marL="144000" lvl="1" algn="r">
              <a:spcBef>
                <a:spcPts val="600"/>
              </a:spcBef>
              <a:buClr>
                <a:srgbClr val="000000">
                  <a:lumMod val="100000"/>
                </a:srgbClr>
              </a:buClr>
              <a:buSzPct val="100000"/>
            </a:pPr>
            <a:r>
              <a:rPr lang="zh-CN" altLang="en-US" sz="1600">
                <a:solidFill>
                  <a:schemeClr val="tx1">
                    <a:lumMod val="75000"/>
                    <a:lumOff val="25000"/>
                  </a:schemeClr>
                </a:solidFill>
                <a:latin typeface="STKaiti" panose="02010600040101010101" pitchFamily="2" charset="-122"/>
              </a:rPr>
              <a:t>请在此输入内容</a:t>
            </a:r>
            <a:endParaRPr lang="en-US" altLang="zh-CN" sz="1400" dirty="0">
              <a:solidFill>
                <a:schemeClr val="tx1">
                  <a:lumMod val="75000"/>
                  <a:lumOff val="25000"/>
                </a:schemeClr>
              </a:solidFill>
              <a:latin typeface="STKaiti" panose="02010600040101010101" pitchFamily="2" charset="-122"/>
            </a:endParaRPr>
          </a:p>
        </p:txBody>
      </p:sp>
      <p:sp>
        <p:nvSpPr>
          <p:cNvPr id="102" name="iṡḻïḓé">
            <a:extLst>
              <a:ext uri="{FF2B5EF4-FFF2-40B4-BE49-F238E27FC236}">
                <a16:creationId xmlns:a16="http://schemas.microsoft.com/office/drawing/2014/main" id="{7CB97CED-5B52-4A90-835F-3B61360DBF26}"/>
              </a:ext>
            </a:extLst>
          </p:cNvPr>
          <p:cNvSpPr/>
          <p:nvPr/>
        </p:nvSpPr>
        <p:spPr>
          <a:xfrm>
            <a:off x="2177305" y="5483474"/>
            <a:ext cx="436130" cy="4361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cap="flat" cmpd="sng" algn="ctr">
            <a:solidFill>
              <a:schemeClr val="accent2"/>
            </a:solidFill>
            <a:prstDash val="solid"/>
            <a:miter lim="400000"/>
            <a:headEnd type="none" w="med" len="med"/>
            <a:tailEnd type="none" w="med" len="med"/>
          </a:ln>
        </p:spPr>
        <p:txBody>
          <a:bodyPr wrap="none" lIns="0" tIns="0" rIns="0" bIns="0" anchor="ctr">
            <a:normAutofit/>
          </a:bodyPr>
          <a:lstStyle/>
          <a:p>
            <a:pPr algn="ctr"/>
            <a:r>
              <a:rPr lang="en-US" sz="2000" dirty="0">
                <a:solidFill>
                  <a:schemeClr val="accent2"/>
                </a:solidFill>
                <a:latin typeface="Impact" panose="020B0806030902050204" pitchFamily="34" charset="0"/>
              </a:rPr>
              <a:t>0</a:t>
            </a:r>
            <a:r>
              <a:rPr lang="en-US" altLang="zh-CN" sz="2000" dirty="0">
                <a:solidFill>
                  <a:schemeClr val="accent2"/>
                </a:solidFill>
                <a:latin typeface="Impact" panose="020B0806030902050204" pitchFamily="34" charset="0"/>
              </a:rPr>
              <a:t>5</a:t>
            </a:r>
            <a:endParaRPr lang="en-US" sz="2000" dirty="0">
              <a:solidFill>
                <a:schemeClr val="accent2"/>
              </a:solidFill>
              <a:latin typeface="Impact" panose="020B0806030902050204" pitchFamily="34" charset="0"/>
            </a:endParaRPr>
          </a:p>
        </p:txBody>
      </p:sp>
      <p:grpSp>
        <p:nvGrpSpPr>
          <p:cNvPr id="103" name="组合 102">
            <a:extLst>
              <a:ext uri="{FF2B5EF4-FFF2-40B4-BE49-F238E27FC236}">
                <a16:creationId xmlns:a16="http://schemas.microsoft.com/office/drawing/2014/main" id="{506F1D95-0404-4416-865F-B495D273AC72}"/>
              </a:ext>
            </a:extLst>
          </p:cNvPr>
          <p:cNvGrpSpPr/>
          <p:nvPr/>
        </p:nvGrpSpPr>
        <p:grpSpPr>
          <a:xfrm flipH="1" flipV="1">
            <a:off x="2720424" y="4503827"/>
            <a:ext cx="735723" cy="320084"/>
            <a:chOff x="8694662" y="2972027"/>
            <a:chExt cx="735723" cy="320084"/>
          </a:xfrm>
        </p:grpSpPr>
        <p:sp>
          <p:nvSpPr>
            <p:cNvPr id="104" name="Freeform 95">
              <a:extLst>
                <a:ext uri="{FF2B5EF4-FFF2-40B4-BE49-F238E27FC236}">
                  <a16:creationId xmlns:a16="http://schemas.microsoft.com/office/drawing/2014/main" id="{F4D65E93-1FC0-4018-973B-A75EB8348049}"/>
                </a:ext>
              </a:extLst>
            </p:cNvPr>
            <p:cNvSpPr/>
            <p:nvPr/>
          </p:nvSpPr>
          <p:spPr>
            <a:xfrm>
              <a:off x="8782818" y="2972027"/>
              <a:ext cx="647567" cy="267970"/>
            </a:xfrm>
            <a:custGeom>
              <a:avLst/>
              <a:gdLst>
                <a:gd name="connsiteX0" fmla="*/ 0 w 657225"/>
                <a:gd name="connsiteY0" fmla="*/ 95250 h 95250"/>
                <a:gd name="connsiteX1" fmla="*/ 504825 w 657225"/>
                <a:gd name="connsiteY1" fmla="*/ 95250 h 95250"/>
                <a:gd name="connsiteX2" fmla="*/ 657225 w 657225"/>
                <a:gd name="connsiteY2" fmla="*/ 0 h 95250"/>
                <a:gd name="connsiteX0" fmla="*/ 0 w 689688"/>
                <a:gd name="connsiteY0" fmla="*/ 267970 h 267970"/>
                <a:gd name="connsiteX1" fmla="*/ 504825 w 689688"/>
                <a:gd name="connsiteY1" fmla="*/ 267970 h 267970"/>
                <a:gd name="connsiteX2" fmla="*/ 689688 w 689688"/>
                <a:gd name="connsiteY2" fmla="*/ 0 h 267970"/>
              </a:gdLst>
              <a:ahLst/>
              <a:cxnLst>
                <a:cxn ang="0">
                  <a:pos x="connsiteX0" y="connsiteY0"/>
                </a:cxn>
                <a:cxn ang="0">
                  <a:pos x="connsiteX1" y="connsiteY1"/>
                </a:cxn>
                <a:cxn ang="0">
                  <a:pos x="connsiteX2" y="connsiteY2"/>
                </a:cxn>
              </a:cxnLst>
              <a:rect l="l" t="t" r="r" b="b"/>
              <a:pathLst>
                <a:path w="689688" h="267970">
                  <a:moveTo>
                    <a:pt x="0" y="267970"/>
                  </a:moveTo>
                  <a:lnTo>
                    <a:pt x="504825" y="267970"/>
                  </a:lnTo>
                  <a:cubicBezTo>
                    <a:pt x="555625" y="236220"/>
                    <a:pt x="638888" y="31750"/>
                    <a:pt x="689688" y="0"/>
                  </a:cubicBezTo>
                </a:path>
              </a:pathLst>
            </a:custGeom>
            <a:ln>
              <a:solidFill>
                <a:schemeClr val="bg1">
                  <a:lumMod val="65000"/>
                </a:schemeClr>
              </a:solidFill>
              <a:miter lim="400000"/>
              <a:tailEnd type="oval"/>
            </a:ln>
          </p:spPr>
          <p:txBody>
            <a:bodyPr rtlCol="0" anchor="ctr"/>
            <a:lstStyle/>
            <a:p>
              <a:pPr algn="ctr"/>
              <a:endParaRPr lang="en-US"/>
            </a:p>
          </p:txBody>
        </p:sp>
        <p:sp>
          <p:nvSpPr>
            <p:cNvPr id="105" name="îṡļîdè">
              <a:extLst>
                <a:ext uri="{FF2B5EF4-FFF2-40B4-BE49-F238E27FC236}">
                  <a16:creationId xmlns:a16="http://schemas.microsoft.com/office/drawing/2014/main" id="{D8CFFA84-5F2A-44E0-9E3A-B6E98FF052DC}"/>
                </a:ext>
              </a:extLst>
            </p:cNvPr>
            <p:cNvSpPr/>
            <p:nvPr/>
          </p:nvSpPr>
          <p:spPr>
            <a:xfrm flipH="1">
              <a:off x="8694662" y="3169197"/>
              <a:ext cx="122913" cy="122914"/>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chemeClr val="accent2"/>
              </a:solidFill>
              <a:miter lim="400000"/>
            </a:ln>
            <a:effectLst>
              <a:outerShdw blurRad="38100" dist="12700" dir="5400000" rotWithShape="0">
                <a:srgbClr val="000000">
                  <a:alpha val="20000"/>
                </a:srgbClr>
              </a:outerShdw>
            </a:effectLst>
          </p:spPr>
          <p:txBody>
            <a:bodyPr anchor="ctr"/>
            <a:lstStyle/>
            <a:p>
              <a:pPr algn="ctr"/>
              <a:endParaRPr/>
            </a:p>
          </p:txBody>
        </p:sp>
      </p:grpSp>
      <p:sp>
        <p:nvSpPr>
          <p:cNvPr id="114" name="ï$ļîḓê">
            <a:extLst>
              <a:ext uri="{FF2B5EF4-FFF2-40B4-BE49-F238E27FC236}">
                <a16:creationId xmlns:a16="http://schemas.microsoft.com/office/drawing/2014/main" id="{C43A8170-CB70-4CD0-866F-50ECFF448CFB}"/>
              </a:ext>
            </a:extLst>
          </p:cNvPr>
          <p:cNvSpPr/>
          <p:nvPr/>
        </p:nvSpPr>
        <p:spPr bwMode="auto">
          <a:xfrm>
            <a:off x="7201414" y="2819148"/>
            <a:ext cx="757872" cy="54689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75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sp>
        <p:nvSpPr>
          <p:cNvPr id="115" name="ï$ļîḓê">
            <a:extLst>
              <a:ext uri="{FF2B5EF4-FFF2-40B4-BE49-F238E27FC236}">
                <a16:creationId xmlns:a16="http://schemas.microsoft.com/office/drawing/2014/main" id="{8A6891A0-C5CD-4970-919B-96E69AB47B3F}"/>
              </a:ext>
            </a:extLst>
          </p:cNvPr>
          <p:cNvSpPr/>
          <p:nvPr/>
        </p:nvSpPr>
        <p:spPr bwMode="auto">
          <a:xfrm>
            <a:off x="4185271" y="2819148"/>
            <a:ext cx="757872" cy="54689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rmAutofit fontScale="475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spTree>
    <p:extLst>
      <p:ext uri="{BB962C8B-B14F-4D97-AF65-F5344CB8AC3E}">
        <p14:creationId xmlns:p14="http://schemas.microsoft.com/office/powerpoint/2010/main" val="31863464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2">
            <a:extLst>
              <a:ext uri="{FF2B5EF4-FFF2-40B4-BE49-F238E27FC236}">
                <a16:creationId xmlns:a16="http://schemas.microsoft.com/office/drawing/2014/main" id="{C2A9F438-DCB0-47C4-B3ED-18017196155B}"/>
              </a:ext>
            </a:extLst>
          </p:cNvPr>
          <p:cNvGrpSpPr/>
          <p:nvPr/>
        </p:nvGrpSpPr>
        <p:grpSpPr>
          <a:xfrm>
            <a:off x="3729019" y="2031432"/>
            <a:ext cx="7284422" cy="1728801"/>
            <a:chOff x="3729019" y="2133032"/>
            <a:chExt cx="7284422" cy="1728801"/>
          </a:xfrm>
        </p:grpSpPr>
        <p:grpSp>
          <p:nvGrpSpPr>
            <p:cNvPr id="6" name="组合 5">
              <a:extLst>
                <a:ext uri="{FF2B5EF4-FFF2-40B4-BE49-F238E27FC236}">
                  <a16:creationId xmlns:a16="http://schemas.microsoft.com/office/drawing/2014/main" id="{6DE064B6-AC82-4790-A327-7E53C86A49F7}"/>
                </a:ext>
              </a:extLst>
            </p:cNvPr>
            <p:cNvGrpSpPr/>
            <p:nvPr/>
          </p:nvGrpSpPr>
          <p:grpSpPr>
            <a:xfrm>
              <a:off x="4460240" y="2133032"/>
              <a:ext cx="5821980" cy="1443288"/>
              <a:chOff x="5089364" y="2243273"/>
              <a:chExt cx="4563732" cy="1177554"/>
            </a:xfrm>
          </p:grpSpPr>
          <p:sp>
            <p:nvSpPr>
              <p:cNvPr id="56" name="Oval 84">
                <a:extLst>
                  <a:ext uri="{FF2B5EF4-FFF2-40B4-BE49-F238E27FC236}">
                    <a16:creationId xmlns:a16="http://schemas.microsoft.com/office/drawing/2014/main" id="{46BD2E18-811B-4CDD-9C91-F01DF0938EEF}"/>
                  </a:ext>
                </a:extLst>
              </p:cNvPr>
              <p:cNvSpPr/>
              <p:nvPr/>
            </p:nvSpPr>
            <p:spPr>
              <a:xfrm>
                <a:off x="5089364" y="2243273"/>
                <a:ext cx="4563732" cy="1177554"/>
              </a:xfrm>
              <a:prstGeom prst="ellipse">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err="1">
                  <a:sym typeface="+mn-lt"/>
                </a:endParaRPr>
              </a:p>
            </p:txBody>
          </p:sp>
          <p:sp>
            <p:nvSpPr>
              <p:cNvPr id="57" name="Oval 84">
                <a:extLst>
                  <a:ext uri="{FF2B5EF4-FFF2-40B4-BE49-F238E27FC236}">
                    <a16:creationId xmlns:a16="http://schemas.microsoft.com/office/drawing/2014/main" id="{15D930D0-C6D9-4A84-83F0-5F5A4C87C6CE}"/>
                  </a:ext>
                </a:extLst>
              </p:cNvPr>
              <p:cNvSpPr/>
              <p:nvPr/>
            </p:nvSpPr>
            <p:spPr>
              <a:xfrm>
                <a:off x="5753567" y="2410150"/>
                <a:ext cx="3235327" cy="754047"/>
              </a:xfrm>
              <a:prstGeom prst="ellipse">
                <a:avLst/>
              </a:prstGeom>
              <a:gradFill>
                <a:gsLst>
                  <a:gs pos="42000">
                    <a:schemeClr val="accent1">
                      <a:alpha val="0"/>
                    </a:schemeClr>
                  </a:gs>
                  <a:gs pos="100000">
                    <a:schemeClr val="accent1">
                      <a:alpha val="20000"/>
                    </a:schemeClr>
                  </a:gs>
                </a:gsLst>
                <a:lin ang="5400000" scaled="1"/>
              </a:gradFill>
              <a:ln w="9525">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err="1">
                  <a:sym typeface="+mn-lt"/>
                </a:endParaRPr>
              </a:p>
            </p:txBody>
          </p:sp>
        </p:grpSp>
        <p:sp>
          <p:nvSpPr>
            <p:cNvPr id="33" name="Oval 84">
              <a:extLst>
                <a:ext uri="{FF2B5EF4-FFF2-40B4-BE49-F238E27FC236}">
                  <a16:creationId xmlns:a16="http://schemas.microsoft.com/office/drawing/2014/main" id="{E5B87D95-011F-41E4-98CA-233CF099BDB8}"/>
                </a:ext>
              </a:extLst>
            </p:cNvPr>
            <p:cNvSpPr/>
            <p:nvPr/>
          </p:nvSpPr>
          <p:spPr>
            <a:xfrm>
              <a:off x="3729019" y="2164080"/>
              <a:ext cx="7284422" cy="1697753"/>
            </a:xfrm>
            <a:prstGeom prst="ellipse">
              <a:avLst/>
            </a:prstGeom>
            <a:noFill/>
            <a:ln>
              <a:gradFill>
                <a:gsLst>
                  <a:gs pos="0">
                    <a:schemeClr val="accent1">
                      <a:alpha val="0"/>
                    </a:schemeClr>
                  </a:gs>
                  <a:gs pos="100000">
                    <a:schemeClr val="accent1"/>
                  </a:gs>
                </a:gsLst>
                <a:lin ang="5400000" scaled="1"/>
              </a:gradFill>
              <a:prstDash val="sysDash"/>
            </a:ln>
            <a:extLst>
              <a:ext uri="{909E8E84-426E-40DD-AFC4-6F175D3DCCD1}">
                <a14:hiddenFill xmlns:a14="http://schemas.microsoft.com/office/drawing/2010/main">
                  <a:gradFill>
                    <a:gsLst>
                      <a:gs pos="42000">
                        <a:schemeClr val="accent1">
                          <a:alpha val="0"/>
                        </a:schemeClr>
                      </a:gs>
                      <a:gs pos="100000">
                        <a:schemeClr val="accent1">
                          <a:alpha val="20000"/>
                        </a:schemeClr>
                      </a:gs>
                    </a:gsLst>
                    <a:lin ang="5400000" scaled="1"/>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err="1">
                <a:sym typeface="+mn-lt"/>
              </a:endParaRPr>
            </a:p>
          </p:txBody>
        </p:sp>
      </p:grpSp>
      <p:sp>
        <p:nvSpPr>
          <p:cNvPr id="2" name="标题 1">
            <a:extLst>
              <a:ext uri="{FF2B5EF4-FFF2-40B4-BE49-F238E27FC236}">
                <a16:creationId xmlns:a16="http://schemas.microsoft.com/office/drawing/2014/main" id="{9EB4EF50-34C5-4E43-B35D-56BC5097629C}"/>
              </a:ext>
            </a:extLst>
          </p:cNvPr>
          <p:cNvSpPr>
            <a:spLocks noGrp="1"/>
          </p:cNvSpPr>
          <p:nvPr>
            <p:ph type="title"/>
          </p:nvPr>
        </p:nvSpPr>
        <p:spPr/>
        <p:txBody>
          <a:bodyPr>
            <a:normAutofit/>
          </a:bodyPr>
          <a:lstStyle/>
          <a:p>
            <a:r>
              <a:rPr lang="zh-CN" altLang="en-US" dirty="0"/>
              <a:t>技术分析页</a:t>
            </a:r>
            <a:endParaRPr lang="en-US" dirty="0"/>
          </a:p>
        </p:txBody>
      </p:sp>
      <p:sp>
        <p:nvSpPr>
          <p:cNvPr id="3" name="灯片编号占位符 2">
            <a:extLst>
              <a:ext uri="{FF2B5EF4-FFF2-40B4-BE49-F238E27FC236}">
                <a16:creationId xmlns:a16="http://schemas.microsoft.com/office/drawing/2014/main" id="{F1EFAC1A-5513-4C12-9E03-6FB023660FA7}"/>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43</a:t>
            </a:fld>
            <a:endParaRPr lang="en-US" dirty="0">
              <a:solidFill>
                <a:srgbClr val="000000">
                  <a:tint val="75000"/>
                </a:srgbClr>
              </a:solidFill>
            </a:endParaRPr>
          </a:p>
        </p:txBody>
      </p:sp>
      <p:grpSp>
        <p:nvGrpSpPr>
          <p:cNvPr id="44" name="组合 43">
            <a:extLst>
              <a:ext uri="{FF2B5EF4-FFF2-40B4-BE49-F238E27FC236}">
                <a16:creationId xmlns:a16="http://schemas.microsoft.com/office/drawing/2014/main" id="{788832F2-90EC-4D0C-88B9-9B2D95DC3BC8}"/>
              </a:ext>
            </a:extLst>
          </p:cNvPr>
          <p:cNvGrpSpPr/>
          <p:nvPr/>
        </p:nvGrpSpPr>
        <p:grpSpPr>
          <a:xfrm>
            <a:off x="3611602" y="3044768"/>
            <a:ext cx="864456" cy="864456"/>
            <a:chOff x="1621273" y="3468370"/>
            <a:chExt cx="864456" cy="864456"/>
          </a:xfrm>
        </p:grpSpPr>
        <p:sp>
          <p:nvSpPr>
            <p:cNvPr id="45" name="íS1ïďe">
              <a:extLst>
                <a:ext uri="{FF2B5EF4-FFF2-40B4-BE49-F238E27FC236}">
                  <a16:creationId xmlns:a16="http://schemas.microsoft.com/office/drawing/2014/main" id="{89D92F5C-0FAE-4BCD-9762-CB1944CA1628}"/>
                </a:ext>
              </a:extLst>
            </p:cNvPr>
            <p:cNvSpPr/>
            <p:nvPr/>
          </p:nvSpPr>
          <p:spPr>
            <a:xfrm>
              <a:off x="1621273" y="3468370"/>
              <a:ext cx="864456" cy="864456"/>
            </a:xfrm>
            <a:prstGeom prst="ellipse">
              <a:avLst/>
            </a:prstGeom>
            <a:solidFill>
              <a:schemeClr val="bg1"/>
            </a:solidFill>
            <a:ln w="28575" cap="rnd">
              <a:solidFill>
                <a:schemeClr val="bg1">
                  <a:lumMod val="50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cs typeface="+mn-ea"/>
                <a:sym typeface="+mn-lt"/>
              </a:endParaRPr>
            </a:p>
          </p:txBody>
        </p:sp>
        <p:sp>
          <p:nvSpPr>
            <p:cNvPr id="46" name="iṣliḓê">
              <a:extLst>
                <a:ext uri="{FF2B5EF4-FFF2-40B4-BE49-F238E27FC236}">
                  <a16:creationId xmlns:a16="http://schemas.microsoft.com/office/drawing/2014/main" id="{4A31AD0C-911E-49EC-B43F-01A9A4B12D4E}"/>
                </a:ext>
              </a:extLst>
            </p:cNvPr>
            <p:cNvSpPr/>
            <p:nvPr/>
          </p:nvSpPr>
          <p:spPr>
            <a:xfrm>
              <a:off x="1836133" y="3678668"/>
              <a:ext cx="434281" cy="443404"/>
            </a:xfrm>
            <a:custGeom>
              <a:avLst/>
              <a:gdLst>
                <a:gd name="connsiteX0" fmla="*/ 47370 w 595290"/>
                <a:gd name="connsiteY0" fmla="*/ 369974 h 607921"/>
                <a:gd name="connsiteX1" fmla="*/ 48020 w 595290"/>
                <a:gd name="connsiteY1" fmla="*/ 369974 h 607921"/>
                <a:gd name="connsiteX2" fmla="*/ 96040 w 595290"/>
                <a:gd name="connsiteY2" fmla="*/ 417923 h 607921"/>
                <a:gd name="connsiteX3" fmla="*/ 48020 w 595290"/>
                <a:gd name="connsiteY3" fmla="*/ 465872 h 607921"/>
                <a:gd name="connsiteX4" fmla="*/ 47370 w 595290"/>
                <a:gd name="connsiteY4" fmla="*/ 465872 h 607921"/>
                <a:gd name="connsiteX5" fmla="*/ 37366 w 595290"/>
                <a:gd name="connsiteY5" fmla="*/ 464673 h 607921"/>
                <a:gd name="connsiteX6" fmla="*/ 27361 w 595290"/>
                <a:gd name="connsiteY6" fmla="*/ 461177 h 607921"/>
                <a:gd name="connsiteX7" fmla="*/ 0 w 595290"/>
                <a:gd name="connsiteY7" fmla="*/ 417923 h 607921"/>
                <a:gd name="connsiteX8" fmla="*/ 27361 w 595290"/>
                <a:gd name="connsiteY8" fmla="*/ 374619 h 607921"/>
                <a:gd name="connsiteX9" fmla="*/ 37366 w 595290"/>
                <a:gd name="connsiteY9" fmla="*/ 371173 h 607921"/>
                <a:gd name="connsiteX10" fmla="*/ 47370 w 595290"/>
                <a:gd name="connsiteY10" fmla="*/ 369974 h 607921"/>
                <a:gd name="connsiteX11" fmla="*/ 547270 w 595290"/>
                <a:gd name="connsiteY11" fmla="*/ 369833 h 607921"/>
                <a:gd name="connsiteX12" fmla="*/ 557274 w 595290"/>
                <a:gd name="connsiteY12" fmla="*/ 370882 h 607921"/>
                <a:gd name="connsiteX13" fmla="*/ 567278 w 595290"/>
                <a:gd name="connsiteY13" fmla="*/ 374228 h 607921"/>
                <a:gd name="connsiteX14" fmla="*/ 595290 w 595290"/>
                <a:gd name="connsiteY14" fmla="*/ 417828 h 607921"/>
                <a:gd name="connsiteX15" fmla="*/ 567278 w 595290"/>
                <a:gd name="connsiteY15" fmla="*/ 461478 h 607921"/>
                <a:gd name="connsiteX16" fmla="*/ 557274 w 595290"/>
                <a:gd name="connsiteY16" fmla="*/ 464774 h 607921"/>
                <a:gd name="connsiteX17" fmla="*/ 547270 w 595290"/>
                <a:gd name="connsiteY17" fmla="*/ 465873 h 607921"/>
                <a:gd name="connsiteX18" fmla="*/ 499250 w 595290"/>
                <a:gd name="connsiteY18" fmla="*/ 417928 h 607921"/>
                <a:gd name="connsiteX19" fmla="*/ 547270 w 595290"/>
                <a:gd name="connsiteY19" fmla="*/ 369833 h 607921"/>
                <a:gd name="connsiteX20" fmla="*/ 172366 w 595290"/>
                <a:gd name="connsiteY20" fmla="*/ 284449 h 607921"/>
                <a:gd name="connsiteX21" fmla="*/ 297363 w 595290"/>
                <a:gd name="connsiteY21" fmla="*/ 306124 h 607921"/>
                <a:gd name="connsiteX22" fmla="*/ 422360 w 595290"/>
                <a:gd name="connsiteY22" fmla="*/ 284449 h 607921"/>
                <a:gd name="connsiteX23" fmla="*/ 535652 w 595290"/>
                <a:gd name="connsiteY23" fmla="*/ 302128 h 607921"/>
                <a:gd name="connsiteX24" fmla="*/ 547306 w 595290"/>
                <a:gd name="connsiteY24" fmla="*/ 318010 h 607921"/>
                <a:gd name="connsiteX25" fmla="*/ 547306 w 595290"/>
                <a:gd name="connsiteY25" fmla="*/ 345977 h 607921"/>
                <a:gd name="connsiteX26" fmla="*/ 496387 w 595290"/>
                <a:gd name="connsiteY26" fmla="*/ 367002 h 607921"/>
                <a:gd name="connsiteX27" fmla="*/ 475279 w 595290"/>
                <a:gd name="connsiteY27" fmla="*/ 417893 h 607921"/>
                <a:gd name="connsiteX28" fmla="*/ 496387 w 595290"/>
                <a:gd name="connsiteY28" fmla="*/ 468734 h 607921"/>
                <a:gd name="connsiteX29" fmla="*/ 547306 w 595290"/>
                <a:gd name="connsiteY29" fmla="*/ 489809 h 607921"/>
                <a:gd name="connsiteX30" fmla="*/ 547306 w 595290"/>
                <a:gd name="connsiteY30" fmla="*/ 586197 h 607921"/>
                <a:gd name="connsiteX31" fmla="*/ 530700 w 595290"/>
                <a:gd name="connsiteY31" fmla="*/ 602877 h 607921"/>
                <a:gd name="connsiteX32" fmla="*/ 527299 w 595290"/>
                <a:gd name="connsiteY32" fmla="*/ 602527 h 607921"/>
                <a:gd name="connsiteX33" fmla="*/ 422360 w 595290"/>
                <a:gd name="connsiteY33" fmla="*/ 594087 h 607921"/>
                <a:gd name="connsiteX34" fmla="*/ 297363 w 595290"/>
                <a:gd name="connsiteY34" fmla="*/ 607921 h 607921"/>
                <a:gd name="connsiteX35" fmla="*/ 172366 w 595290"/>
                <a:gd name="connsiteY35" fmla="*/ 594087 h 607921"/>
                <a:gd name="connsiteX36" fmla="*/ 67427 w 595290"/>
                <a:gd name="connsiteY36" fmla="*/ 602527 h 607921"/>
                <a:gd name="connsiteX37" fmla="*/ 64026 w 595290"/>
                <a:gd name="connsiteY37" fmla="*/ 602877 h 607921"/>
                <a:gd name="connsiteX38" fmla="*/ 47420 w 595290"/>
                <a:gd name="connsiteY38" fmla="*/ 586197 h 607921"/>
                <a:gd name="connsiteX39" fmla="*/ 47420 w 595290"/>
                <a:gd name="connsiteY39" fmla="*/ 489809 h 607921"/>
                <a:gd name="connsiteX40" fmla="*/ 48070 w 595290"/>
                <a:gd name="connsiteY40" fmla="*/ 489809 h 607921"/>
                <a:gd name="connsiteX41" fmla="*/ 99039 w 595290"/>
                <a:gd name="connsiteY41" fmla="*/ 468734 h 607921"/>
                <a:gd name="connsiteX42" fmla="*/ 120097 w 595290"/>
                <a:gd name="connsiteY42" fmla="*/ 417893 h 607921"/>
                <a:gd name="connsiteX43" fmla="*/ 99039 w 595290"/>
                <a:gd name="connsiteY43" fmla="*/ 367002 h 607921"/>
                <a:gd name="connsiteX44" fmla="*/ 48070 w 595290"/>
                <a:gd name="connsiteY44" fmla="*/ 345977 h 607921"/>
                <a:gd name="connsiteX45" fmla="*/ 47420 w 595290"/>
                <a:gd name="connsiteY45" fmla="*/ 345977 h 607921"/>
                <a:gd name="connsiteX46" fmla="*/ 47420 w 595290"/>
                <a:gd name="connsiteY46" fmla="*/ 318010 h 607921"/>
                <a:gd name="connsiteX47" fmla="*/ 59074 w 595290"/>
                <a:gd name="connsiteY47" fmla="*/ 302128 h 607921"/>
                <a:gd name="connsiteX48" fmla="*/ 172366 w 595290"/>
                <a:gd name="connsiteY48" fmla="*/ 284449 h 607921"/>
                <a:gd name="connsiteX49" fmla="*/ 297363 w 595290"/>
                <a:gd name="connsiteY49" fmla="*/ 0 h 607921"/>
                <a:gd name="connsiteX50" fmla="*/ 432355 w 595290"/>
                <a:gd name="connsiteY50" fmla="*/ 134780 h 607921"/>
                <a:gd name="connsiteX51" fmla="*/ 297363 w 595290"/>
                <a:gd name="connsiteY51" fmla="*/ 269560 h 607921"/>
                <a:gd name="connsiteX52" fmla="*/ 162371 w 595290"/>
                <a:gd name="connsiteY52" fmla="*/ 134780 h 607921"/>
                <a:gd name="connsiteX53" fmla="*/ 297363 w 595290"/>
                <a:gd name="connsiteY53" fmla="*/ 0 h 60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95290" h="607921">
                  <a:moveTo>
                    <a:pt x="47370" y="369974"/>
                  </a:moveTo>
                  <a:lnTo>
                    <a:pt x="48020" y="369974"/>
                  </a:lnTo>
                  <a:cubicBezTo>
                    <a:pt x="74581" y="369974"/>
                    <a:pt x="96040" y="391401"/>
                    <a:pt x="96040" y="417923"/>
                  </a:cubicBezTo>
                  <a:cubicBezTo>
                    <a:pt x="96040" y="444395"/>
                    <a:pt x="74581" y="465872"/>
                    <a:pt x="48020" y="465872"/>
                  </a:cubicBezTo>
                  <a:lnTo>
                    <a:pt x="47370" y="465872"/>
                  </a:lnTo>
                  <a:cubicBezTo>
                    <a:pt x="43968" y="465772"/>
                    <a:pt x="40567" y="465373"/>
                    <a:pt x="37366" y="464673"/>
                  </a:cubicBezTo>
                  <a:cubicBezTo>
                    <a:pt x="33864" y="463874"/>
                    <a:pt x="30463" y="462725"/>
                    <a:pt x="27361" y="461177"/>
                  </a:cubicBezTo>
                  <a:cubicBezTo>
                    <a:pt x="11205" y="453485"/>
                    <a:pt x="0" y="437003"/>
                    <a:pt x="0" y="417923"/>
                  </a:cubicBezTo>
                  <a:cubicBezTo>
                    <a:pt x="0" y="398793"/>
                    <a:pt x="11155" y="382361"/>
                    <a:pt x="27361" y="374619"/>
                  </a:cubicBezTo>
                  <a:cubicBezTo>
                    <a:pt x="30463" y="373071"/>
                    <a:pt x="33864" y="371972"/>
                    <a:pt x="37366" y="371173"/>
                  </a:cubicBezTo>
                  <a:cubicBezTo>
                    <a:pt x="40617" y="370424"/>
                    <a:pt x="43968" y="370024"/>
                    <a:pt x="47370" y="369974"/>
                  </a:cubicBezTo>
                  <a:close/>
                  <a:moveTo>
                    <a:pt x="547270" y="369833"/>
                  </a:moveTo>
                  <a:cubicBezTo>
                    <a:pt x="550671" y="369833"/>
                    <a:pt x="554073" y="370233"/>
                    <a:pt x="557274" y="370882"/>
                  </a:cubicBezTo>
                  <a:cubicBezTo>
                    <a:pt x="560726" y="371631"/>
                    <a:pt x="564127" y="372780"/>
                    <a:pt x="567278" y="374228"/>
                  </a:cubicBezTo>
                  <a:cubicBezTo>
                    <a:pt x="583835" y="381819"/>
                    <a:pt x="595290" y="398450"/>
                    <a:pt x="595290" y="417828"/>
                  </a:cubicBezTo>
                  <a:cubicBezTo>
                    <a:pt x="595290" y="437206"/>
                    <a:pt x="583835" y="453887"/>
                    <a:pt x="567278" y="461478"/>
                  </a:cubicBezTo>
                  <a:cubicBezTo>
                    <a:pt x="564127" y="462927"/>
                    <a:pt x="560726" y="464075"/>
                    <a:pt x="557274" y="464774"/>
                  </a:cubicBezTo>
                  <a:cubicBezTo>
                    <a:pt x="554073" y="465524"/>
                    <a:pt x="550671" y="465873"/>
                    <a:pt x="547270" y="465873"/>
                  </a:cubicBezTo>
                  <a:cubicBezTo>
                    <a:pt x="520709" y="465873"/>
                    <a:pt x="499250" y="444398"/>
                    <a:pt x="499250" y="417928"/>
                  </a:cubicBezTo>
                  <a:cubicBezTo>
                    <a:pt x="499250" y="391458"/>
                    <a:pt x="520709" y="369983"/>
                    <a:pt x="547270" y="369833"/>
                  </a:cubicBezTo>
                  <a:close/>
                  <a:moveTo>
                    <a:pt x="172366" y="284449"/>
                  </a:moveTo>
                  <a:cubicBezTo>
                    <a:pt x="241392" y="284449"/>
                    <a:pt x="297363" y="306124"/>
                    <a:pt x="297363" y="306124"/>
                  </a:cubicBezTo>
                  <a:cubicBezTo>
                    <a:pt x="297363" y="306124"/>
                    <a:pt x="353334" y="284449"/>
                    <a:pt x="422360" y="284449"/>
                  </a:cubicBezTo>
                  <a:cubicBezTo>
                    <a:pt x="472478" y="284449"/>
                    <a:pt x="515794" y="295886"/>
                    <a:pt x="535652" y="302128"/>
                  </a:cubicBezTo>
                  <a:cubicBezTo>
                    <a:pt x="542604" y="304276"/>
                    <a:pt x="547306" y="310718"/>
                    <a:pt x="547306" y="318010"/>
                  </a:cubicBezTo>
                  <a:lnTo>
                    <a:pt x="547306" y="345977"/>
                  </a:lnTo>
                  <a:cubicBezTo>
                    <a:pt x="528049" y="345977"/>
                    <a:pt x="509992" y="353418"/>
                    <a:pt x="496387" y="367002"/>
                  </a:cubicBezTo>
                  <a:cubicBezTo>
                    <a:pt x="482782" y="380587"/>
                    <a:pt x="475279" y="398716"/>
                    <a:pt x="475279" y="417893"/>
                  </a:cubicBezTo>
                  <a:cubicBezTo>
                    <a:pt x="475279" y="437121"/>
                    <a:pt x="482782" y="455150"/>
                    <a:pt x="496387" y="468734"/>
                  </a:cubicBezTo>
                  <a:cubicBezTo>
                    <a:pt x="509992" y="482318"/>
                    <a:pt x="528099" y="489809"/>
                    <a:pt x="547306" y="489809"/>
                  </a:cubicBezTo>
                  <a:lnTo>
                    <a:pt x="547306" y="586197"/>
                  </a:lnTo>
                  <a:cubicBezTo>
                    <a:pt x="547306" y="595586"/>
                    <a:pt x="539703" y="602877"/>
                    <a:pt x="530700" y="602877"/>
                  </a:cubicBezTo>
                  <a:cubicBezTo>
                    <a:pt x="529599" y="602877"/>
                    <a:pt x="528449" y="602727"/>
                    <a:pt x="527299" y="602527"/>
                  </a:cubicBezTo>
                  <a:cubicBezTo>
                    <a:pt x="502039" y="597334"/>
                    <a:pt x="464425" y="594087"/>
                    <a:pt x="422360" y="594087"/>
                  </a:cubicBezTo>
                  <a:cubicBezTo>
                    <a:pt x="366939" y="594087"/>
                    <a:pt x="319171" y="599731"/>
                    <a:pt x="297363" y="607921"/>
                  </a:cubicBezTo>
                  <a:cubicBezTo>
                    <a:pt x="275505" y="599731"/>
                    <a:pt x="227737" y="594087"/>
                    <a:pt x="172366" y="594087"/>
                  </a:cubicBezTo>
                  <a:cubicBezTo>
                    <a:pt x="130301" y="594087"/>
                    <a:pt x="92687" y="597383"/>
                    <a:pt x="67427" y="602527"/>
                  </a:cubicBezTo>
                  <a:cubicBezTo>
                    <a:pt x="66277" y="602727"/>
                    <a:pt x="65127" y="602877"/>
                    <a:pt x="64026" y="602877"/>
                  </a:cubicBezTo>
                  <a:cubicBezTo>
                    <a:pt x="55073" y="602877"/>
                    <a:pt x="47420" y="595586"/>
                    <a:pt x="47420" y="586197"/>
                  </a:cubicBezTo>
                  <a:lnTo>
                    <a:pt x="47420" y="489809"/>
                  </a:lnTo>
                  <a:lnTo>
                    <a:pt x="48070" y="489809"/>
                  </a:lnTo>
                  <a:cubicBezTo>
                    <a:pt x="67327" y="489809"/>
                    <a:pt x="85434" y="482318"/>
                    <a:pt x="99039" y="468734"/>
                  </a:cubicBezTo>
                  <a:cubicBezTo>
                    <a:pt x="112644" y="455150"/>
                    <a:pt x="120097" y="437071"/>
                    <a:pt x="120097" y="417893"/>
                  </a:cubicBezTo>
                  <a:cubicBezTo>
                    <a:pt x="120097" y="398616"/>
                    <a:pt x="112644" y="380587"/>
                    <a:pt x="99039" y="367002"/>
                  </a:cubicBezTo>
                  <a:cubicBezTo>
                    <a:pt x="85434" y="353418"/>
                    <a:pt x="67277" y="345977"/>
                    <a:pt x="48070" y="345977"/>
                  </a:cubicBezTo>
                  <a:lnTo>
                    <a:pt x="47420" y="345977"/>
                  </a:lnTo>
                  <a:lnTo>
                    <a:pt x="47420" y="318010"/>
                  </a:lnTo>
                  <a:cubicBezTo>
                    <a:pt x="47420" y="310718"/>
                    <a:pt x="52122" y="304326"/>
                    <a:pt x="59074" y="302128"/>
                  </a:cubicBezTo>
                  <a:cubicBezTo>
                    <a:pt x="78932" y="295886"/>
                    <a:pt x="122248" y="284449"/>
                    <a:pt x="172366" y="284449"/>
                  </a:cubicBezTo>
                  <a:close/>
                  <a:moveTo>
                    <a:pt x="297363" y="0"/>
                  </a:moveTo>
                  <a:cubicBezTo>
                    <a:pt x="371917" y="0"/>
                    <a:pt x="432355" y="60343"/>
                    <a:pt x="432355" y="134780"/>
                  </a:cubicBezTo>
                  <a:cubicBezTo>
                    <a:pt x="432355" y="209217"/>
                    <a:pt x="371917" y="269560"/>
                    <a:pt x="297363" y="269560"/>
                  </a:cubicBezTo>
                  <a:cubicBezTo>
                    <a:pt x="222809" y="269560"/>
                    <a:pt x="162371" y="209217"/>
                    <a:pt x="162371" y="134780"/>
                  </a:cubicBezTo>
                  <a:cubicBezTo>
                    <a:pt x="162371" y="60343"/>
                    <a:pt x="222809" y="0"/>
                    <a:pt x="297363" y="0"/>
                  </a:cubicBezTo>
                  <a:close/>
                </a:path>
              </a:pathLst>
            </a:custGeom>
            <a:solidFill>
              <a:schemeClr val="bg1"/>
            </a:solidFill>
            <a:ln w="19050" cap="rnd">
              <a:solidFill>
                <a:schemeClr val="tx1">
                  <a:lumMod val="65000"/>
                  <a:lumOff val="3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cs typeface="+mn-ea"/>
                <a:sym typeface="+mn-lt"/>
              </a:endParaRPr>
            </a:p>
          </p:txBody>
        </p:sp>
      </p:grpSp>
      <p:grpSp>
        <p:nvGrpSpPr>
          <p:cNvPr id="41" name="组合 40">
            <a:extLst>
              <a:ext uri="{FF2B5EF4-FFF2-40B4-BE49-F238E27FC236}">
                <a16:creationId xmlns:a16="http://schemas.microsoft.com/office/drawing/2014/main" id="{3A02497A-79B7-44E9-9EBD-9AB89BD97479}"/>
              </a:ext>
            </a:extLst>
          </p:cNvPr>
          <p:cNvGrpSpPr/>
          <p:nvPr/>
        </p:nvGrpSpPr>
        <p:grpSpPr>
          <a:xfrm>
            <a:off x="5829869" y="3522980"/>
            <a:ext cx="864456" cy="864456"/>
            <a:chOff x="1621273" y="3468370"/>
            <a:chExt cx="864456" cy="864456"/>
          </a:xfrm>
        </p:grpSpPr>
        <p:sp>
          <p:nvSpPr>
            <p:cNvPr id="42" name="íS1ïďe">
              <a:extLst>
                <a:ext uri="{FF2B5EF4-FFF2-40B4-BE49-F238E27FC236}">
                  <a16:creationId xmlns:a16="http://schemas.microsoft.com/office/drawing/2014/main" id="{AD11D606-A6EA-4E16-8D5F-9EBE5F882D4A}"/>
                </a:ext>
              </a:extLst>
            </p:cNvPr>
            <p:cNvSpPr/>
            <p:nvPr/>
          </p:nvSpPr>
          <p:spPr>
            <a:xfrm>
              <a:off x="1621273" y="3468370"/>
              <a:ext cx="864456" cy="864456"/>
            </a:xfrm>
            <a:prstGeom prst="ellipse">
              <a:avLst/>
            </a:prstGeom>
            <a:solidFill>
              <a:schemeClr val="bg1"/>
            </a:solidFill>
            <a:ln w="28575" cap="rnd">
              <a:solidFill>
                <a:schemeClr val="bg1">
                  <a:lumMod val="50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cs typeface="+mn-ea"/>
                <a:sym typeface="+mn-lt"/>
              </a:endParaRPr>
            </a:p>
          </p:txBody>
        </p:sp>
        <p:sp>
          <p:nvSpPr>
            <p:cNvPr id="43" name="iṣliḓê">
              <a:extLst>
                <a:ext uri="{FF2B5EF4-FFF2-40B4-BE49-F238E27FC236}">
                  <a16:creationId xmlns:a16="http://schemas.microsoft.com/office/drawing/2014/main" id="{1122E412-723D-4FE3-9B26-97AF3FD280CA}"/>
                </a:ext>
              </a:extLst>
            </p:cNvPr>
            <p:cNvSpPr/>
            <p:nvPr/>
          </p:nvSpPr>
          <p:spPr>
            <a:xfrm>
              <a:off x="1836133" y="3678668"/>
              <a:ext cx="434281" cy="443404"/>
            </a:xfrm>
            <a:custGeom>
              <a:avLst/>
              <a:gdLst>
                <a:gd name="connsiteX0" fmla="*/ 47370 w 595290"/>
                <a:gd name="connsiteY0" fmla="*/ 369974 h 607921"/>
                <a:gd name="connsiteX1" fmla="*/ 48020 w 595290"/>
                <a:gd name="connsiteY1" fmla="*/ 369974 h 607921"/>
                <a:gd name="connsiteX2" fmla="*/ 96040 w 595290"/>
                <a:gd name="connsiteY2" fmla="*/ 417923 h 607921"/>
                <a:gd name="connsiteX3" fmla="*/ 48020 w 595290"/>
                <a:gd name="connsiteY3" fmla="*/ 465872 h 607921"/>
                <a:gd name="connsiteX4" fmla="*/ 47370 w 595290"/>
                <a:gd name="connsiteY4" fmla="*/ 465872 h 607921"/>
                <a:gd name="connsiteX5" fmla="*/ 37366 w 595290"/>
                <a:gd name="connsiteY5" fmla="*/ 464673 h 607921"/>
                <a:gd name="connsiteX6" fmla="*/ 27361 w 595290"/>
                <a:gd name="connsiteY6" fmla="*/ 461177 h 607921"/>
                <a:gd name="connsiteX7" fmla="*/ 0 w 595290"/>
                <a:gd name="connsiteY7" fmla="*/ 417923 h 607921"/>
                <a:gd name="connsiteX8" fmla="*/ 27361 w 595290"/>
                <a:gd name="connsiteY8" fmla="*/ 374619 h 607921"/>
                <a:gd name="connsiteX9" fmla="*/ 37366 w 595290"/>
                <a:gd name="connsiteY9" fmla="*/ 371173 h 607921"/>
                <a:gd name="connsiteX10" fmla="*/ 47370 w 595290"/>
                <a:gd name="connsiteY10" fmla="*/ 369974 h 607921"/>
                <a:gd name="connsiteX11" fmla="*/ 547270 w 595290"/>
                <a:gd name="connsiteY11" fmla="*/ 369833 h 607921"/>
                <a:gd name="connsiteX12" fmla="*/ 557274 w 595290"/>
                <a:gd name="connsiteY12" fmla="*/ 370882 h 607921"/>
                <a:gd name="connsiteX13" fmla="*/ 567278 w 595290"/>
                <a:gd name="connsiteY13" fmla="*/ 374228 h 607921"/>
                <a:gd name="connsiteX14" fmla="*/ 595290 w 595290"/>
                <a:gd name="connsiteY14" fmla="*/ 417828 h 607921"/>
                <a:gd name="connsiteX15" fmla="*/ 567278 w 595290"/>
                <a:gd name="connsiteY15" fmla="*/ 461478 h 607921"/>
                <a:gd name="connsiteX16" fmla="*/ 557274 w 595290"/>
                <a:gd name="connsiteY16" fmla="*/ 464774 h 607921"/>
                <a:gd name="connsiteX17" fmla="*/ 547270 w 595290"/>
                <a:gd name="connsiteY17" fmla="*/ 465873 h 607921"/>
                <a:gd name="connsiteX18" fmla="*/ 499250 w 595290"/>
                <a:gd name="connsiteY18" fmla="*/ 417928 h 607921"/>
                <a:gd name="connsiteX19" fmla="*/ 547270 w 595290"/>
                <a:gd name="connsiteY19" fmla="*/ 369833 h 607921"/>
                <a:gd name="connsiteX20" fmla="*/ 172366 w 595290"/>
                <a:gd name="connsiteY20" fmla="*/ 284449 h 607921"/>
                <a:gd name="connsiteX21" fmla="*/ 297363 w 595290"/>
                <a:gd name="connsiteY21" fmla="*/ 306124 h 607921"/>
                <a:gd name="connsiteX22" fmla="*/ 422360 w 595290"/>
                <a:gd name="connsiteY22" fmla="*/ 284449 h 607921"/>
                <a:gd name="connsiteX23" fmla="*/ 535652 w 595290"/>
                <a:gd name="connsiteY23" fmla="*/ 302128 h 607921"/>
                <a:gd name="connsiteX24" fmla="*/ 547306 w 595290"/>
                <a:gd name="connsiteY24" fmla="*/ 318010 h 607921"/>
                <a:gd name="connsiteX25" fmla="*/ 547306 w 595290"/>
                <a:gd name="connsiteY25" fmla="*/ 345977 h 607921"/>
                <a:gd name="connsiteX26" fmla="*/ 496387 w 595290"/>
                <a:gd name="connsiteY26" fmla="*/ 367002 h 607921"/>
                <a:gd name="connsiteX27" fmla="*/ 475279 w 595290"/>
                <a:gd name="connsiteY27" fmla="*/ 417893 h 607921"/>
                <a:gd name="connsiteX28" fmla="*/ 496387 w 595290"/>
                <a:gd name="connsiteY28" fmla="*/ 468734 h 607921"/>
                <a:gd name="connsiteX29" fmla="*/ 547306 w 595290"/>
                <a:gd name="connsiteY29" fmla="*/ 489809 h 607921"/>
                <a:gd name="connsiteX30" fmla="*/ 547306 w 595290"/>
                <a:gd name="connsiteY30" fmla="*/ 586197 h 607921"/>
                <a:gd name="connsiteX31" fmla="*/ 530700 w 595290"/>
                <a:gd name="connsiteY31" fmla="*/ 602877 h 607921"/>
                <a:gd name="connsiteX32" fmla="*/ 527299 w 595290"/>
                <a:gd name="connsiteY32" fmla="*/ 602527 h 607921"/>
                <a:gd name="connsiteX33" fmla="*/ 422360 w 595290"/>
                <a:gd name="connsiteY33" fmla="*/ 594087 h 607921"/>
                <a:gd name="connsiteX34" fmla="*/ 297363 w 595290"/>
                <a:gd name="connsiteY34" fmla="*/ 607921 h 607921"/>
                <a:gd name="connsiteX35" fmla="*/ 172366 w 595290"/>
                <a:gd name="connsiteY35" fmla="*/ 594087 h 607921"/>
                <a:gd name="connsiteX36" fmla="*/ 67427 w 595290"/>
                <a:gd name="connsiteY36" fmla="*/ 602527 h 607921"/>
                <a:gd name="connsiteX37" fmla="*/ 64026 w 595290"/>
                <a:gd name="connsiteY37" fmla="*/ 602877 h 607921"/>
                <a:gd name="connsiteX38" fmla="*/ 47420 w 595290"/>
                <a:gd name="connsiteY38" fmla="*/ 586197 h 607921"/>
                <a:gd name="connsiteX39" fmla="*/ 47420 w 595290"/>
                <a:gd name="connsiteY39" fmla="*/ 489809 h 607921"/>
                <a:gd name="connsiteX40" fmla="*/ 48070 w 595290"/>
                <a:gd name="connsiteY40" fmla="*/ 489809 h 607921"/>
                <a:gd name="connsiteX41" fmla="*/ 99039 w 595290"/>
                <a:gd name="connsiteY41" fmla="*/ 468734 h 607921"/>
                <a:gd name="connsiteX42" fmla="*/ 120097 w 595290"/>
                <a:gd name="connsiteY42" fmla="*/ 417893 h 607921"/>
                <a:gd name="connsiteX43" fmla="*/ 99039 w 595290"/>
                <a:gd name="connsiteY43" fmla="*/ 367002 h 607921"/>
                <a:gd name="connsiteX44" fmla="*/ 48070 w 595290"/>
                <a:gd name="connsiteY44" fmla="*/ 345977 h 607921"/>
                <a:gd name="connsiteX45" fmla="*/ 47420 w 595290"/>
                <a:gd name="connsiteY45" fmla="*/ 345977 h 607921"/>
                <a:gd name="connsiteX46" fmla="*/ 47420 w 595290"/>
                <a:gd name="connsiteY46" fmla="*/ 318010 h 607921"/>
                <a:gd name="connsiteX47" fmla="*/ 59074 w 595290"/>
                <a:gd name="connsiteY47" fmla="*/ 302128 h 607921"/>
                <a:gd name="connsiteX48" fmla="*/ 172366 w 595290"/>
                <a:gd name="connsiteY48" fmla="*/ 284449 h 607921"/>
                <a:gd name="connsiteX49" fmla="*/ 297363 w 595290"/>
                <a:gd name="connsiteY49" fmla="*/ 0 h 607921"/>
                <a:gd name="connsiteX50" fmla="*/ 432355 w 595290"/>
                <a:gd name="connsiteY50" fmla="*/ 134780 h 607921"/>
                <a:gd name="connsiteX51" fmla="*/ 297363 w 595290"/>
                <a:gd name="connsiteY51" fmla="*/ 269560 h 607921"/>
                <a:gd name="connsiteX52" fmla="*/ 162371 w 595290"/>
                <a:gd name="connsiteY52" fmla="*/ 134780 h 607921"/>
                <a:gd name="connsiteX53" fmla="*/ 297363 w 595290"/>
                <a:gd name="connsiteY53" fmla="*/ 0 h 60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95290" h="607921">
                  <a:moveTo>
                    <a:pt x="47370" y="369974"/>
                  </a:moveTo>
                  <a:lnTo>
                    <a:pt x="48020" y="369974"/>
                  </a:lnTo>
                  <a:cubicBezTo>
                    <a:pt x="74581" y="369974"/>
                    <a:pt x="96040" y="391401"/>
                    <a:pt x="96040" y="417923"/>
                  </a:cubicBezTo>
                  <a:cubicBezTo>
                    <a:pt x="96040" y="444395"/>
                    <a:pt x="74581" y="465872"/>
                    <a:pt x="48020" y="465872"/>
                  </a:cubicBezTo>
                  <a:lnTo>
                    <a:pt x="47370" y="465872"/>
                  </a:lnTo>
                  <a:cubicBezTo>
                    <a:pt x="43968" y="465772"/>
                    <a:pt x="40567" y="465373"/>
                    <a:pt x="37366" y="464673"/>
                  </a:cubicBezTo>
                  <a:cubicBezTo>
                    <a:pt x="33864" y="463874"/>
                    <a:pt x="30463" y="462725"/>
                    <a:pt x="27361" y="461177"/>
                  </a:cubicBezTo>
                  <a:cubicBezTo>
                    <a:pt x="11205" y="453485"/>
                    <a:pt x="0" y="437003"/>
                    <a:pt x="0" y="417923"/>
                  </a:cubicBezTo>
                  <a:cubicBezTo>
                    <a:pt x="0" y="398793"/>
                    <a:pt x="11155" y="382361"/>
                    <a:pt x="27361" y="374619"/>
                  </a:cubicBezTo>
                  <a:cubicBezTo>
                    <a:pt x="30463" y="373071"/>
                    <a:pt x="33864" y="371972"/>
                    <a:pt x="37366" y="371173"/>
                  </a:cubicBezTo>
                  <a:cubicBezTo>
                    <a:pt x="40617" y="370424"/>
                    <a:pt x="43968" y="370024"/>
                    <a:pt x="47370" y="369974"/>
                  </a:cubicBezTo>
                  <a:close/>
                  <a:moveTo>
                    <a:pt x="547270" y="369833"/>
                  </a:moveTo>
                  <a:cubicBezTo>
                    <a:pt x="550671" y="369833"/>
                    <a:pt x="554073" y="370233"/>
                    <a:pt x="557274" y="370882"/>
                  </a:cubicBezTo>
                  <a:cubicBezTo>
                    <a:pt x="560726" y="371631"/>
                    <a:pt x="564127" y="372780"/>
                    <a:pt x="567278" y="374228"/>
                  </a:cubicBezTo>
                  <a:cubicBezTo>
                    <a:pt x="583835" y="381819"/>
                    <a:pt x="595290" y="398450"/>
                    <a:pt x="595290" y="417828"/>
                  </a:cubicBezTo>
                  <a:cubicBezTo>
                    <a:pt x="595290" y="437206"/>
                    <a:pt x="583835" y="453887"/>
                    <a:pt x="567278" y="461478"/>
                  </a:cubicBezTo>
                  <a:cubicBezTo>
                    <a:pt x="564127" y="462927"/>
                    <a:pt x="560726" y="464075"/>
                    <a:pt x="557274" y="464774"/>
                  </a:cubicBezTo>
                  <a:cubicBezTo>
                    <a:pt x="554073" y="465524"/>
                    <a:pt x="550671" y="465873"/>
                    <a:pt x="547270" y="465873"/>
                  </a:cubicBezTo>
                  <a:cubicBezTo>
                    <a:pt x="520709" y="465873"/>
                    <a:pt x="499250" y="444398"/>
                    <a:pt x="499250" y="417928"/>
                  </a:cubicBezTo>
                  <a:cubicBezTo>
                    <a:pt x="499250" y="391458"/>
                    <a:pt x="520709" y="369983"/>
                    <a:pt x="547270" y="369833"/>
                  </a:cubicBezTo>
                  <a:close/>
                  <a:moveTo>
                    <a:pt x="172366" y="284449"/>
                  </a:moveTo>
                  <a:cubicBezTo>
                    <a:pt x="241392" y="284449"/>
                    <a:pt x="297363" y="306124"/>
                    <a:pt x="297363" y="306124"/>
                  </a:cubicBezTo>
                  <a:cubicBezTo>
                    <a:pt x="297363" y="306124"/>
                    <a:pt x="353334" y="284449"/>
                    <a:pt x="422360" y="284449"/>
                  </a:cubicBezTo>
                  <a:cubicBezTo>
                    <a:pt x="472478" y="284449"/>
                    <a:pt x="515794" y="295886"/>
                    <a:pt x="535652" y="302128"/>
                  </a:cubicBezTo>
                  <a:cubicBezTo>
                    <a:pt x="542604" y="304276"/>
                    <a:pt x="547306" y="310718"/>
                    <a:pt x="547306" y="318010"/>
                  </a:cubicBezTo>
                  <a:lnTo>
                    <a:pt x="547306" y="345977"/>
                  </a:lnTo>
                  <a:cubicBezTo>
                    <a:pt x="528049" y="345977"/>
                    <a:pt x="509992" y="353418"/>
                    <a:pt x="496387" y="367002"/>
                  </a:cubicBezTo>
                  <a:cubicBezTo>
                    <a:pt x="482782" y="380587"/>
                    <a:pt x="475279" y="398716"/>
                    <a:pt x="475279" y="417893"/>
                  </a:cubicBezTo>
                  <a:cubicBezTo>
                    <a:pt x="475279" y="437121"/>
                    <a:pt x="482782" y="455150"/>
                    <a:pt x="496387" y="468734"/>
                  </a:cubicBezTo>
                  <a:cubicBezTo>
                    <a:pt x="509992" y="482318"/>
                    <a:pt x="528099" y="489809"/>
                    <a:pt x="547306" y="489809"/>
                  </a:cubicBezTo>
                  <a:lnTo>
                    <a:pt x="547306" y="586197"/>
                  </a:lnTo>
                  <a:cubicBezTo>
                    <a:pt x="547306" y="595586"/>
                    <a:pt x="539703" y="602877"/>
                    <a:pt x="530700" y="602877"/>
                  </a:cubicBezTo>
                  <a:cubicBezTo>
                    <a:pt x="529599" y="602877"/>
                    <a:pt x="528449" y="602727"/>
                    <a:pt x="527299" y="602527"/>
                  </a:cubicBezTo>
                  <a:cubicBezTo>
                    <a:pt x="502039" y="597334"/>
                    <a:pt x="464425" y="594087"/>
                    <a:pt x="422360" y="594087"/>
                  </a:cubicBezTo>
                  <a:cubicBezTo>
                    <a:pt x="366939" y="594087"/>
                    <a:pt x="319171" y="599731"/>
                    <a:pt x="297363" y="607921"/>
                  </a:cubicBezTo>
                  <a:cubicBezTo>
                    <a:pt x="275505" y="599731"/>
                    <a:pt x="227737" y="594087"/>
                    <a:pt x="172366" y="594087"/>
                  </a:cubicBezTo>
                  <a:cubicBezTo>
                    <a:pt x="130301" y="594087"/>
                    <a:pt x="92687" y="597383"/>
                    <a:pt x="67427" y="602527"/>
                  </a:cubicBezTo>
                  <a:cubicBezTo>
                    <a:pt x="66277" y="602727"/>
                    <a:pt x="65127" y="602877"/>
                    <a:pt x="64026" y="602877"/>
                  </a:cubicBezTo>
                  <a:cubicBezTo>
                    <a:pt x="55073" y="602877"/>
                    <a:pt x="47420" y="595586"/>
                    <a:pt x="47420" y="586197"/>
                  </a:cubicBezTo>
                  <a:lnTo>
                    <a:pt x="47420" y="489809"/>
                  </a:lnTo>
                  <a:lnTo>
                    <a:pt x="48070" y="489809"/>
                  </a:lnTo>
                  <a:cubicBezTo>
                    <a:pt x="67327" y="489809"/>
                    <a:pt x="85434" y="482318"/>
                    <a:pt x="99039" y="468734"/>
                  </a:cubicBezTo>
                  <a:cubicBezTo>
                    <a:pt x="112644" y="455150"/>
                    <a:pt x="120097" y="437071"/>
                    <a:pt x="120097" y="417893"/>
                  </a:cubicBezTo>
                  <a:cubicBezTo>
                    <a:pt x="120097" y="398616"/>
                    <a:pt x="112644" y="380587"/>
                    <a:pt x="99039" y="367002"/>
                  </a:cubicBezTo>
                  <a:cubicBezTo>
                    <a:pt x="85434" y="353418"/>
                    <a:pt x="67277" y="345977"/>
                    <a:pt x="48070" y="345977"/>
                  </a:cubicBezTo>
                  <a:lnTo>
                    <a:pt x="47420" y="345977"/>
                  </a:lnTo>
                  <a:lnTo>
                    <a:pt x="47420" y="318010"/>
                  </a:lnTo>
                  <a:cubicBezTo>
                    <a:pt x="47420" y="310718"/>
                    <a:pt x="52122" y="304326"/>
                    <a:pt x="59074" y="302128"/>
                  </a:cubicBezTo>
                  <a:cubicBezTo>
                    <a:pt x="78932" y="295886"/>
                    <a:pt x="122248" y="284449"/>
                    <a:pt x="172366" y="284449"/>
                  </a:cubicBezTo>
                  <a:close/>
                  <a:moveTo>
                    <a:pt x="297363" y="0"/>
                  </a:moveTo>
                  <a:cubicBezTo>
                    <a:pt x="371917" y="0"/>
                    <a:pt x="432355" y="60343"/>
                    <a:pt x="432355" y="134780"/>
                  </a:cubicBezTo>
                  <a:cubicBezTo>
                    <a:pt x="432355" y="209217"/>
                    <a:pt x="371917" y="269560"/>
                    <a:pt x="297363" y="269560"/>
                  </a:cubicBezTo>
                  <a:cubicBezTo>
                    <a:pt x="222809" y="269560"/>
                    <a:pt x="162371" y="209217"/>
                    <a:pt x="162371" y="134780"/>
                  </a:cubicBezTo>
                  <a:cubicBezTo>
                    <a:pt x="162371" y="60343"/>
                    <a:pt x="222809" y="0"/>
                    <a:pt x="297363" y="0"/>
                  </a:cubicBezTo>
                  <a:close/>
                </a:path>
              </a:pathLst>
            </a:custGeom>
            <a:solidFill>
              <a:schemeClr val="bg1"/>
            </a:solidFill>
            <a:ln w="19050" cap="rnd">
              <a:solidFill>
                <a:schemeClr val="tx1">
                  <a:lumMod val="65000"/>
                  <a:lumOff val="3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cs typeface="+mn-ea"/>
                <a:sym typeface="+mn-lt"/>
              </a:endParaRPr>
            </a:p>
          </p:txBody>
        </p:sp>
      </p:grpSp>
      <p:grpSp>
        <p:nvGrpSpPr>
          <p:cNvPr id="38" name="组合 37">
            <a:extLst>
              <a:ext uri="{FF2B5EF4-FFF2-40B4-BE49-F238E27FC236}">
                <a16:creationId xmlns:a16="http://schemas.microsoft.com/office/drawing/2014/main" id="{E17914EB-E75B-4F29-9111-C34E9061BE32}"/>
              </a:ext>
            </a:extLst>
          </p:cNvPr>
          <p:cNvGrpSpPr/>
          <p:nvPr/>
        </p:nvGrpSpPr>
        <p:grpSpPr>
          <a:xfrm>
            <a:off x="8048136" y="3522980"/>
            <a:ext cx="864456" cy="864456"/>
            <a:chOff x="1621273" y="3468370"/>
            <a:chExt cx="864456" cy="864456"/>
          </a:xfrm>
        </p:grpSpPr>
        <p:sp>
          <p:nvSpPr>
            <p:cNvPr id="39" name="íS1ïďe">
              <a:extLst>
                <a:ext uri="{FF2B5EF4-FFF2-40B4-BE49-F238E27FC236}">
                  <a16:creationId xmlns:a16="http://schemas.microsoft.com/office/drawing/2014/main" id="{193E15AF-698E-430E-99EB-0E7D73B34546}"/>
                </a:ext>
              </a:extLst>
            </p:cNvPr>
            <p:cNvSpPr/>
            <p:nvPr/>
          </p:nvSpPr>
          <p:spPr>
            <a:xfrm>
              <a:off x="1621273" y="3468370"/>
              <a:ext cx="864456" cy="864456"/>
            </a:xfrm>
            <a:prstGeom prst="ellipse">
              <a:avLst/>
            </a:prstGeom>
            <a:solidFill>
              <a:schemeClr val="bg1"/>
            </a:solidFill>
            <a:ln w="28575" cap="rnd">
              <a:solidFill>
                <a:schemeClr val="bg1">
                  <a:lumMod val="50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cs typeface="+mn-ea"/>
                <a:sym typeface="+mn-lt"/>
              </a:endParaRPr>
            </a:p>
          </p:txBody>
        </p:sp>
        <p:sp>
          <p:nvSpPr>
            <p:cNvPr id="40" name="iṣliḓê">
              <a:extLst>
                <a:ext uri="{FF2B5EF4-FFF2-40B4-BE49-F238E27FC236}">
                  <a16:creationId xmlns:a16="http://schemas.microsoft.com/office/drawing/2014/main" id="{B987C6D3-22FA-4B93-A5EA-A15EF1413B9C}"/>
                </a:ext>
              </a:extLst>
            </p:cNvPr>
            <p:cNvSpPr/>
            <p:nvPr/>
          </p:nvSpPr>
          <p:spPr>
            <a:xfrm>
              <a:off x="1836133" y="3678668"/>
              <a:ext cx="434281" cy="443404"/>
            </a:xfrm>
            <a:custGeom>
              <a:avLst/>
              <a:gdLst>
                <a:gd name="connsiteX0" fmla="*/ 47370 w 595290"/>
                <a:gd name="connsiteY0" fmla="*/ 369974 h 607921"/>
                <a:gd name="connsiteX1" fmla="*/ 48020 w 595290"/>
                <a:gd name="connsiteY1" fmla="*/ 369974 h 607921"/>
                <a:gd name="connsiteX2" fmla="*/ 96040 w 595290"/>
                <a:gd name="connsiteY2" fmla="*/ 417923 h 607921"/>
                <a:gd name="connsiteX3" fmla="*/ 48020 w 595290"/>
                <a:gd name="connsiteY3" fmla="*/ 465872 h 607921"/>
                <a:gd name="connsiteX4" fmla="*/ 47370 w 595290"/>
                <a:gd name="connsiteY4" fmla="*/ 465872 h 607921"/>
                <a:gd name="connsiteX5" fmla="*/ 37366 w 595290"/>
                <a:gd name="connsiteY5" fmla="*/ 464673 h 607921"/>
                <a:gd name="connsiteX6" fmla="*/ 27361 w 595290"/>
                <a:gd name="connsiteY6" fmla="*/ 461177 h 607921"/>
                <a:gd name="connsiteX7" fmla="*/ 0 w 595290"/>
                <a:gd name="connsiteY7" fmla="*/ 417923 h 607921"/>
                <a:gd name="connsiteX8" fmla="*/ 27361 w 595290"/>
                <a:gd name="connsiteY8" fmla="*/ 374619 h 607921"/>
                <a:gd name="connsiteX9" fmla="*/ 37366 w 595290"/>
                <a:gd name="connsiteY9" fmla="*/ 371173 h 607921"/>
                <a:gd name="connsiteX10" fmla="*/ 47370 w 595290"/>
                <a:gd name="connsiteY10" fmla="*/ 369974 h 607921"/>
                <a:gd name="connsiteX11" fmla="*/ 547270 w 595290"/>
                <a:gd name="connsiteY11" fmla="*/ 369833 h 607921"/>
                <a:gd name="connsiteX12" fmla="*/ 557274 w 595290"/>
                <a:gd name="connsiteY12" fmla="*/ 370882 h 607921"/>
                <a:gd name="connsiteX13" fmla="*/ 567278 w 595290"/>
                <a:gd name="connsiteY13" fmla="*/ 374228 h 607921"/>
                <a:gd name="connsiteX14" fmla="*/ 595290 w 595290"/>
                <a:gd name="connsiteY14" fmla="*/ 417828 h 607921"/>
                <a:gd name="connsiteX15" fmla="*/ 567278 w 595290"/>
                <a:gd name="connsiteY15" fmla="*/ 461478 h 607921"/>
                <a:gd name="connsiteX16" fmla="*/ 557274 w 595290"/>
                <a:gd name="connsiteY16" fmla="*/ 464774 h 607921"/>
                <a:gd name="connsiteX17" fmla="*/ 547270 w 595290"/>
                <a:gd name="connsiteY17" fmla="*/ 465873 h 607921"/>
                <a:gd name="connsiteX18" fmla="*/ 499250 w 595290"/>
                <a:gd name="connsiteY18" fmla="*/ 417928 h 607921"/>
                <a:gd name="connsiteX19" fmla="*/ 547270 w 595290"/>
                <a:gd name="connsiteY19" fmla="*/ 369833 h 607921"/>
                <a:gd name="connsiteX20" fmla="*/ 172366 w 595290"/>
                <a:gd name="connsiteY20" fmla="*/ 284449 h 607921"/>
                <a:gd name="connsiteX21" fmla="*/ 297363 w 595290"/>
                <a:gd name="connsiteY21" fmla="*/ 306124 h 607921"/>
                <a:gd name="connsiteX22" fmla="*/ 422360 w 595290"/>
                <a:gd name="connsiteY22" fmla="*/ 284449 h 607921"/>
                <a:gd name="connsiteX23" fmla="*/ 535652 w 595290"/>
                <a:gd name="connsiteY23" fmla="*/ 302128 h 607921"/>
                <a:gd name="connsiteX24" fmla="*/ 547306 w 595290"/>
                <a:gd name="connsiteY24" fmla="*/ 318010 h 607921"/>
                <a:gd name="connsiteX25" fmla="*/ 547306 w 595290"/>
                <a:gd name="connsiteY25" fmla="*/ 345977 h 607921"/>
                <a:gd name="connsiteX26" fmla="*/ 496387 w 595290"/>
                <a:gd name="connsiteY26" fmla="*/ 367002 h 607921"/>
                <a:gd name="connsiteX27" fmla="*/ 475279 w 595290"/>
                <a:gd name="connsiteY27" fmla="*/ 417893 h 607921"/>
                <a:gd name="connsiteX28" fmla="*/ 496387 w 595290"/>
                <a:gd name="connsiteY28" fmla="*/ 468734 h 607921"/>
                <a:gd name="connsiteX29" fmla="*/ 547306 w 595290"/>
                <a:gd name="connsiteY29" fmla="*/ 489809 h 607921"/>
                <a:gd name="connsiteX30" fmla="*/ 547306 w 595290"/>
                <a:gd name="connsiteY30" fmla="*/ 586197 h 607921"/>
                <a:gd name="connsiteX31" fmla="*/ 530700 w 595290"/>
                <a:gd name="connsiteY31" fmla="*/ 602877 h 607921"/>
                <a:gd name="connsiteX32" fmla="*/ 527299 w 595290"/>
                <a:gd name="connsiteY32" fmla="*/ 602527 h 607921"/>
                <a:gd name="connsiteX33" fmla="*/ 422360 w 595290"/>
                <a:gd name="connsiteY33" fmla="*/ 594087 h 607921"/>
                <a:gd name="connsiteX34" fmla="*/ 297363 w 595290"/>
                <a:gd name="connsiteY34" fmla="*/ 607921 h 607921"/>
                <a:gd name="connsiteX35" fmla="*/ 172366 w 595290"/>
                <a:gd name="connsiteY35" fmla="*/ 594087 h 607921"/>
                <a:gd name="connsiteX36" fmla="*/ 67427 w 595290"/>
                <a:gd name="connsiteY36" fmla="*/ 602527 h 607921"/>
                <a:gd name="connsiteX37" fmla="*/ 64026 w 595290"/>
                <a:gd name="connsiteY37" fmla="*/ 602877 h 607921"/>
                <a:gd name="connsiteX38" fmla="*/ 47420 w 595290"/>
                <a:gd name="connsiteY38" fmla="*/ 586197 h 607921"/>
                <a:gd name="connsiteX39" fmla="*/ 47420 w 595290"/>
                <a:gd name="connsiteY39" fmla="*/ 489809 h 607921"/>
                <a:gd name="connsiteX40" fmla="*/ 48070 w 595290"/>
                <a:gd name="connsiteY40" fmla="*/ 489809 h 607921"/>
                <a:gd name="connsiteX41" fmla="*/ 99039 w 595290"/>
                <a:gd name="connsiteY41" fmla="*/ 468734 h 607921"/>
                <a:gd name="connsiteX42" fmla="*/ 120097 w 595290"/>
                <a:gd name="connsiteY42" fmla="*/ 417893 h 607921"/>
                <a:gd name="connsiteX43" fmla="*/ 99039 w 595290"/>
                <a:gd name="connsiteY43" fmla="*/ 367002 h 607921"/>
                <a:gd name="connsiteX44" fmla="*/ 48070 w 595290"/>
                <a:gd name="connsiteY44" fmla="*/ 345977 h 607921"/>
                <a:gd name="connsiteX45" fmla="*/ 47420 w 595290"/>
                <a:gd name="connsiteY45" fmla="*/ 345977 h 607921"/>
                <a:gd name="connsiteX46" fmla="*/ 47420 w 595290"/>
                <a:gd name="connsiteY46" fmla="*/ 318010 h 607921"/>
                <a:gd name="connsiteX47" fmla="*/ 59074 w 595290"/>
                <a:gd name="connsiteY47" fmla="*/ 302128 h 607921"/>
                <a:gd name="connsiteX48" fmla="*/ 172366 w 595290"/>
                <a:gd name="connsiteY48" fmla="*/ 284449 h 607921"/>
                <a:gd name="connsiteX49" fmla="*/ 297363 w 595290"/>
                <a:gd name="connsiteY49" fmla="*/ 0 h 607921"/>
                <a:gd name="connsiteX50" fmla="*/ 432355 w 595290"/>
                <a:gd name="connsiteY50" fmla="*/ 134780 h 607921"/>
                <a:gd name="connsiteX51" fmla="*/ 297363 w 595290"/>
                <a:gd name="connsiteY51" fmla="*/ 269560 h 607921"/>
                <a:gd name="connsiteX52" fmla="*/ 162371 w 595290"/>
                <a:gd name="connsiteY52" fmla="*/ 134780 h 607921"/>
                <a:gd name="connsiteX53" fmla="*/ 297363 w 595290"/>
                <a:gd name="connsiteY53" fmla="*/ 0 h 60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95290" h="607921">
                  <a:moveTo>
                    <a:pt x="47370" y="369974"/>
                  </a:moveTo>
                  <a:lnTo>
                    <a:pt x="48020" y="369974"/>
                  </a:lnTo>
                  <a:cubicBezTo>
                    <a:pt x="74581" y="369974"/>
                    <a:pt x="96040" y="391401"/>
                    <a:pt x="96040" y="417923"/>
                  </a:cubicBezTo>
                  <a:cubicBezTo>
                    <a:pt x="96040" y="444395"/>
                    <a:pt x="74581" y="465872"/>
                    <a:pt x="48020" y="465872"/>
                  </a:cubicBezTo>
                  <a:lnTo>
                    <a:pt x="47370" y="465872"/>
                  </a:lnTo>
                  <a:cubicBezTo>
                    <a:pt x="43968" y="465772"/>
                    <a:pt x="40567" y="465373"/>
                    <a:pt x="37366" y="464673"/>
                  </a:cubicBezTo>
                  <a:cubicBezTo>
                    <a:pt x="33864" y="463874"/>
                    <a:pt x="30463" y="462725"/>
                    <a:pt x="27361" y="461177"/>
                  </a:cubicBezTo>
                  <a:cubicBezTo>
                    <a:pt x="11205" y="453485"/>
                    <a:pt x="0" y="437003"/>
                    <a:pt x="0" y="417923"/>
                  </a:cubicBezTo>
                  <a:cubicBezTo>
                    <a:pt x="0" y="398793"/>
                    <a:pt x="11155" y="382361"/>
                    <a:pt x="27361" y="374619"/>
                  </a:cubicBezTo>
                  <a:cubicBezTo>
                    <a:pt x="30463" y="373071"/>
                    <a:pt x="33864" y="371972"/>
                    <a:pt x="37366" y="371173"/>
                  </a:cubicBezTo>
                  <a:cubicBezTo>
                    <a:pt x="40617" y="370424"/>
                    <a:pt x="43968" y="370024"/>
                    <a:pt x="47370" y="369974"/>
                  </a:cubicBezTo>
                  <a:close/>
                  <a:moveTo>
                    <a:pt x="547270" y="369833"/>
                  </a:moveTo>
                  <a:cubicBezTo>
                    <a:pt x="550671" y="369833"/>
                    <a:pt x="554073" y="370233"/>
                    <a:pt x="557274" y="370882"/>
                  </a:cubicBezTo>
                  <a:cubicBezTo>
                    <a:pt x="560726" y="371631"/>
                    <a:pt x="564127" y="372780"/>
                    <a:pt x="567278" y="374228"/>
                  </a:cubicBezTo>
                  <a:cubicBezTo>
                    <a:pt x="583835" y="381819"/>
                    <a:pt x="595290" y="398450"/>
                    <a:pt x="595290" y="417828"/>
                  </a:cubicBezTo>
                  <a:cubicBezTo>
                    <a:pt x="595290" y="437206"/>
                    <a:pt x="583835" y="453887"/>
                    <a:pt x="567278" y="461478"/>
                  </a:cubicBezTo>
                  <a:cubicBezTo>
                    <a:pt x="564127" y="462927"/>
                    <a:pt x="560726" y="464075"/>
                    <a:pt x="557274" y="464774"/>
                  </a:cubicBezTo>
                  <a:cubicBezTo>
                    <a:pt x="554073" y="465524"/>
                    <a:pt x="550671" y="465873"/>
                    <a:pt x="547270" y="465873"/>
                  </a:cubicBezTo>
                  <a:cubicBezTo>
                    <a:pt x="520709" y="465873"/>
                    <a:pt x="499250" y="444398"/>
                    <a:pt x="499250" y="417928"/>
                  </a:cubicBezTo>
                  <a:cubicBezTo>
                    <a:pt x="499250" y="391458"/>
                    <a:pt x="520709" y="369983"/>
                    <a:pt x="547270" y="369833"/>
                  </a:cubicBezTo>
                  <a:close/>
                  <a:moveTo>
                    <a:pt x="172366" y="284449"/>
                  </a:moveTo>
                  <a:cubicBezTo>
                    <a:pt x="241392" y="284449"/>
                    <a:pt x="297363" y="306124"/>
                    <a:pt x="297363" y="306124"/>
                  </a:cubicBezTo>
                  <a:cubicBezTo>
                    <a:pt x="297363" y="306124"/>
                    <a:pt x="353334" y="284449"/>
                    <a:pt x="422360" y="284449"/>
                  </a:cubicBezTo>
                  <a:cubicBezTo>
                    <a:pt x="472478" y="284449"/>
                    <a:pt x="515794" y="295886"/>
                    <a:pt x="535652" y="302128"/>
                  </a:cubicBezTo>
                  <a:cubicBezTo>
                    <a:pt x="542604" y="304276"/>
                    <a:pt x="547306" y="310718"/>
                    <a:pt x="547306" y="318010"/>
                  </a:cubicBezTo>
                  <a:lnTo>
                    <a:pt x="547306" y="345977"/>
                  </a:lnTo>
                  <a:cubicBezTo>
                    <a:pt x="528049" y="345977"/>
                    <a:pt x="509992" y="353418"/>
                    <a:pt x="496387" y="367002"/>
                  </a:cubicBezTo>
                  <a:cubicBezTo>
                    <a:pt x="482782" y="380587"/>
                    <a:pt x="475279" y="398716"/>
                    <a:pt x="475279" y="417893"/>
                  </a:cubicBezTo>
                  <a:cubicBezTo>
                    <a:pt x="475279" y="437121"/>
                    <a:pt x="482782" y="455150"/>
                    <a:pt x="496387" y="468734"/>
                  </a:cubicBezTo>
                  <a:cubicBezTo>
                    <a:pt x="509992" y="482318"/>
                    <a:pt x="528099" y="489809"/>
                    <a:pt x="547306" y="489809"/>
                  </a:cubicBezTo>
                  <a:lnTo>
                    <a:pt x="547306" y="586197"/>
                  </a:lnTo>
                  <a:cubicBezTo>
                    <a:pt x="547306" y="595586"/>
                    <a:pt x="539703" y="602877"/>
                    <a:pt x="530700" y="602877"/>
                  </a:cubicBezTo>
                  <a:cubicBezTo>
                    <a:pt x="529599" y="602877"/>
                    <a:pt x="528449" y="602727"/>
                    <a:pt x="527299" y="602527"/>
                  </a:cubicBezTo>
                  <a:cubicBezTo>
                    <a:pt x="502039" y="597334"/>
                    <a:pt x="464425" y="594087"/>
                    <a:pt x="422360" y="594087"/>
                  </a:cubicBezTo>
                  <a:cubicBezTo>
                    <a:pt x="366939" y="594087"/>
                    <a:pt x="319171" y="599731"/>
                    <a:pt x="297363" y="607921"/>
                  </a:cubicBezTo>
                  <a:cubicBezTo>
                    <a:pt x="275505" y="599731"/>
                    <a:pt x="227737" y="594087"/>
                    <a:pt x="172366" y="594087"/>
                  </a:cubicBezTo>
                  <a:cubicBezTo>
                    <a:pt x="130301" y="594087"/>
                    <a:pt x="92687" y="597383"/>
                    <a:pt x="67427" y="602527"/>
                  </a:cubicBezTo>
                  <a:cubicBezTo>
                    <a:pt x="66277" y="602727"/>
                    <a:pt x="65127" y="602877"/>
                    <a:pt x="64026" y="602877"/>
                  </a:cubicBezTo>
                  <a:cubicBezTo>
                    <a:pt x="55073" y="602877"/>
                    <a:pt x="47420" y="595586"/>
                    <a:pt x="47420" y="586197"/>
                  </a:cubicBezTo>
                  <a:lnTo>
                    <a:pt x="47420" y="489809"/>
                  </a:lnTo>
                  <a:lnTo>
                    <a:pt x="48070" y="489809"/>
                  </a:lnTo>
                  <a:cubicBezTo>
                    <a:pt x="67327" y="489809"/>
                    <a:pt x="85434" y="482318"/>
                    <a:pt x="99039" y="468734"/>
                  </a:cubicBezTo>
                  <a:cubicBezTo>
                    <a:pt x="112644" y="455150"/>
                    <a:pt x="120097" y="437071"/>
                    <a:pt x="120097" y="417893"/>
                  </a:cubicBezTo>
                  <a:cubicBezTo>
                    <a:pt x="120097" y="398616"/>
                    <a:pt x="112644" y="380587"/>
                    <a:pt x="99039" y="367002"/>
                  </a:cubicBezTo>
                  <a:cubicBezTo>
                    <a:pt x="85434" y="353418"/>
                    <a:pt x="67277" y="345977"/>
                    <a:pt x="48070" y="345977"/>
                  </a:cubicBezTo>
                  <a:lnTo>
                    <a:pt x="47420" y="345977"/>
                  </a:lnTo>
                  <a:lnTo>
                    <a:pt x="47420" y="318010"/>
                  </a:lnTo>
                  <a:cubicBezTo>
                    <a:pt x="47420" y="310718"/>
                    <a:pt x="52122" y="304326"/>
                    <a:pt x="59074" y="302128"/>
                  </a:cubicBezTo>
                  <a:cubicBezTo>
                    <a:pt x="78932" y="295886"/>
                    <a:pt x="122248" y="284449"/>
                    <a:pt x="172366" y="284449"/>
                  </a:cubicBezTo>
                  <a:close/>
                  <a:moveTo>
                    <a:pt x="297363" y="0"/>
                  </a:moveTo>
                  <a:cubicBezTo>
                    <a:pt x="371917" y="0"/>
                    <a:pt x="432355" y="60343"/>
                    <a:pt x="432355" y="134780"/>
                  </a:cubicBezTo>
                  <a:cubicBezTo>
                    <a:pt x="432355" y="209217"/>
                    <a:pt x="371917" y="269560"/>
                    <a:pt x="297363" y="269560"/>
                  </a:cubicBezTo>
                  <a:cubicBezTo>
                    <a:pt x="222809" y="269560"/>
                    <a:pt x="162371" y="209217"/>
                    <a:pt x="162371" y="134780"/>
                  </a:cubicBezTo>
                  <a:cubicBezTo>
                    <a:pt x="162371" y="60343"/>
                    <a:pt x="222809" y="0"/>
                    <a:pt x="297363" y="0"/>
                  </a:cubicBezTo>
                  <a:close/>
                </a:path>
              </a:pathLst>
            </a:custGeom>
            <a:solidFill>
              <a:schemeClr val="bg1"/>
            </a:solidFill>
            <a:ln w="19050" cap="rnd">
              <a:solidFill>
                <a:schemeClr val="tx1">
                  <a:lumMod val="65000"/>
                  <a:lumOff val="3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cs typeface="+mn-ea"/>
                <a:sym typeface="+mn-lt"/>
              </a:endParaRPr>
            </a:p>
          </p:txBody>
        </p:sp>
      </p:grpSp>
      <p:grpSp>
        <p:nvGrpSpPr>
          <p:cNvPr id="71" name="组合 70">
            <a:extLst>
              <a:ext uri="{FF2B5EF4-FFF2-40B4-BE49-F238E27FC236}">
                <a16:creationId xmlns:a16="http://schemas.microsoft.com/office/drawing/2014/main" id="{C9E52D23-8270-4925-B6C7-B54A4B548203}"/>
              </a:ext>
            </a:extLst>
          </p:cNvPr>
          <p:cNvGrpSpPr/>
          <p:nvPr/>
        </p:nvGrpSpPr>
        <p:grpSpPr>
          <a:xfrm>
            <a:off x="10266402" y="3044768"/>
            <a:ext cx="864456" cy="864456"/>
            <a:chOff x="1621273" y="3468370"/>
            <a:chExt cx="864456" cy="864456"/>
          </a:xfrm>
        </p:grpSpPr>
        <p:sp>
          <p:nvSpPr>
            <p:cNvPr id="72" name="íS1ïďe">
              <a:extLst>
                <a:ext uri="{FF2B5EF4-FFF2-40B4-BE49-F238E27FC236}">
                  <a16:creationId xmlns:a16="http://schemas.microsoft.com/office/drawing/2014/main" id="{F0BF8DE4-3663-4888-B19F-9B427117DB84}"/>
                </a:ext>
              </a:extLst>
            </p:cNvPr>
            <p:cNvSpPr/>
            <p:nvPr/>
          </p:nvSpPr>
          <p:spPr>
            <a:xfrm>
              <a:off x="1621273" y="3468370"/>
              <a:ext cx="864456" cy="864456"/>
            </a:xfrm>
            <a:prstGeom prst="ellipse">
              <a:avLst/>
            </a:prstGeom>
            <a:solidFill>
              <a:schemeClr val="bg1"/>
            </a:solidFill>
            <a:ln w="28575" cap="rnd">
              <a:solidFill>
                <a:schemeClr val="bg1">
                  <a:lumMod val="50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cs typeface="+mn-ea"/>
                <a:sym typeface="+mn-lt"/>
              </a:endParaRPr>
            </a:p>
          </p:txBody>
        </p:sp>
        <p:sp>
          <p:nvSpPr>
            <p:cNvPr id="73" name="iṣliḓê">
              <a:extLst>
                <a:ext uri="{FF2B5EF4-FFF2-40B4-BE49-F238E27FC236}">
                  <a16:creationId xmlns:a16="http://schemas.microsoft.com/office/drawing/2014/main" id="{15B05A3F-E833-4BDD-AA2A-7AC73A9C9E9D}"/>
                </a:ext>
              </a:extLst>
            </p:cNvPr>
            <p:cNvSpPr/>
            <p:nvPr/>
          </p:nvSpPr>
          <p:spPr>
            <a:xfrm>
              <a:off x="1836133" y="3678668"/>
              <a:ext cx="434281" cy="443404"/>
            </a:xfrm>
            <a:custGeom>
              <a:avLst/>
              <a:gdLst>
                <a:gd name="connsiteX0" fmla="*/ 47370 w 595290"/>
                <a:gd name="connsiteY0" fmla="*/ 369974 h 607921"/>
                <a:gd name="connsiteX1" fmla="*/ 48020 w 595290"/>
                <a:gd name="connsiteY1" fmla="*/ 369974 h 607921"/>
                <a:gd name="connsiteX2" fmla="*/ 96040 w 595290"/>
                <a:gd name="connsiteY2" fmla="*/ 417923 h 607921"/>
                <a:gd name="connsiteX3" fmla="*/ 48020 w 595290"/>
                <a:gd name="connsiteY3" fmla="*/ 465872 h 607921"/>
                <a:gd name="connsiteX4" fmla="*/ 47370 w 595290"/>
                <a:gd name="connsiteY4" fmla="*/ 465872 h 607921"/>
                <a:gd name="connsiteX5" fmla="*/ 37366 w 595290"/>
                <a:gd name="connsiteY5" fmla="*/ 464673 h 607921"/>
                <a:gd name="connsiteX6" fmla="*/ 27361 w 595290"/>
                <a:gd name="connsiteY6" fmla="*/ 461177 h 607921"/>
                <a:gd name="connsiteX7" fmla="*/ 0 w 595290"/>
                <a:gd name="connsiteY7" fmla="*/ 417923 h 607921"/>
                <a:gd name="connsiteX8" fmla="*/ 27361 w 595290"/>
                <a:gd name="connsiteY8" fmla="*/ 374619 h 607921"/>
                <a:gd name="connsiteX9" fmla="*/ 37366 w 595290"/>
                <a:gd name="connsiteY9" fmla="*/ 371173 h 607921"/>
                <a:gd name="connsiteX10" fmla="*/ 47370 w 595290"/>
                <a:gd name="connsiteY10" fmla="*/ 369974 h 607921"/>
                <a:gd name="connsiteX11" fmla="*/ 547270 w 595290"/>
                <a:gd name="connsiteY11" fmla="*/ 369833 h 607921"/>
                <a:gd name="connsiteX12" fmla="*/ 557274 w 595290"/>
                <a:gd name="connsiteY12" fmla="*/ 370882 h 607921"/>
                <a:gd name="connsiteX13" fmla="*/ 567278 w 595290"/>
                <a:gd name="connsiteY13" fmla="*/ 374228 h 607921"/>
                <a:gd name="connsiteX14" fmla="*/ 595290 w 595290"/>
                <a:gd name="connsiteY14" fmla="*/ 417828 h 607921"/>
                <a:gd name="connsiteX15" fmla="*/ 567278 w 595290"/>
                <a:gd name="connsiteY15" fmla="*/ 461478 h 607921"/>
                <a:gd name="connsiteX16" fmla="*/ 557274 w 595290"/>
                <a:gd name="connsiteY16" fmla="*/ 464774 h 607921"/>
                <a:gd name="connsiteX17" fmla="*/ 547270 w 595290"/>
                <a:gd name="connsiteY17" fmla="*/ 465873 h 607921"/>
                <a:gd name="connsiteX18" fmla="*/ 499250 w 595290"/>
                <a:gd name="connsiteY18" fmla="*/ 417928 h 607921"/>
                <a:gd name="connsiteX19" fmla="*/ 547270 w 595290"/>
                <a:gd name="connsiteY19" fmla="*/ 369833 h 607921"/>
                <a:gd name="connsiteX20" fmla="*/ 172366 w 595290"/>
                <a:gd name="connsiteY20" fmla="*/ 284449 h 607921"/>
                <a:gd name="connsiteX21" fmla="*/ 297363 w 595290"/>
                <a:gd name="connsiteY21" fmla="*/ 306124 h 607921"/>
                <a:gd name="connsiteX22" fmla="*/ 422360 w 595290"/>
                <a:gd name="connsiteY22" fmla="*/ 284449 h 607921"/>
                <a:gd name="connsiteX23" fmla="*/ 535652 w 595290"/>
                <a:gd name="connsiteY23" fmla="*/ 302128 h 607921"/>
                <a:gd name="connsiteX24" fmla="*/ 547306 w 595290"/>
                <a:gd name="connsiteY24" fmla="*/ 318010 h 607921"/>
                <a:gd name="connsiteX25" fmla="*/ 547306 w 595290"/>
                <a:gd name="connsiteY25" fmla="*/ 345977 h 607921"/>
                <a:gd name="connsiteX26" fmla="*/ 496387 w 595290"/>
                <a:gd name="connsiteY26" fmla="*/ 367002 h 607921"/>
                <a:gd name="connsiteX27" fmla="*/ 475279 w 595290"/>
                <a:gd name="connsiteY27" fmla="*/ 417893 h 607921"/>
                <a:gd name="connsiteX28" fmla="*/ 496387 w 595290"/>
                <a:gd name="connsiteY28" fmla="*/ 468734 h 607921"/>
                <a:gd name="connsiteX29" fmla="*/ 547306 w 595290"/>
                <a:gd name="connsiteY29" fmla="*/ 489809 h 607921"/>
                <a:gd name="connsiteX30" fmla="*/ 547306 w 595290"/>
                <a:gd name="connsiteY30" fmla="*/ 586197 h 607921"/>
                <a:gd name="connsiteX31" fmla="*/ 530700 w 595290"/>
                <a:gd name="connsiteY31" fmla="*/ 602877 h 607921"/>
                <a:gd name="connsiteX32" fmla="*/ 527299 w 595290"/>
                <a:gd name="connsiteY32" fmla="*/ 602527 h 607921"/>
                <a:gd name="connsiteX33" fmla="*/ 422360 w 595290"/>
                <a:gd name="connsiteY33" fmla="*/ 594087 h 607921"/>
                <a:gd name="connsiteX34" fmla="*/ 297363 w 595290"/>
                <a:gd name="connsiteY34" fmla="*/ 607921 h 607921"/>
                <a:gd name="connsiteX35" fmla="*/ 172366 w 595290"/>
                <a:gd name="connsiteY35" fmla="*/ 594087 h 607921"/>
                <a:gd name="connsiteX36" fmla="*/ 67427 w 595290"/>
                <a:gd name="connsiteY36" fmla="*/ 602527 h 607921"/>
                <a:gd name="connsiteX37" fmla="*/ 64026 w 595290"/>
                <a:gd name="connsiteY37" fmla="*/ 602877 h 607921"/>
                <a:gd name="connsiteX38" fmla="*/ 47420 w 595290"/>
                <a:gd name="connsiteY38" fmla="*/ 586197 h 607921"/>
                <a:gd name="connsiteX39" fmla="*/ 47420 w 595290"/>
                <a:gd name="connsiteY39" fmla="*/ 489809 h 607921"/>
                <a:gd name="connsiteX40" fmla="*/ 48070 w 595290"/>
                <a:gd name="connsiteY40" fmla="*/ 489809 h 607921"/>
                <a:gd name="connsiteX41" fmla="*/ 99039 w 595290"/>
                <a:gd name="connsiteY41" fmla="*/ 468734 h 607921"/>
                <a:gd name="connsiteX42" fmla="*/ 120097 w 595290"/>
                <a:gd name="connsiteY42" fmla="*/ 417893 h 607921"/>
                <a:gd name="connsiteX43" fmla="*/ 99039 w 595290"/>
                <a:gd name="connsiteY43" fmla="*/ 367002 h 607921"/>
                <a:gd name="connsiteX44" fmla="*/ 48070 w 595290"/>
                <a:gd name="connsiteY44" fmla="*/ 345977 h 607921"/>
                <a:gd name="connsiteX45" fmla="*/ 47420 w 595290"/>
                <a:gd name="connsiteY45" fmla="*/ 345977 h 607921"/>
                <a:gd name="connsiteX46" fmla="*/ 47420 w 595290"/>
                <a:gd name="connsiteY46" fmla="*/ 318010 h 607921"/>
                <a:gd name="connsiteX47" fmla="*/ 59074 w 595290"/>
                <a:gd name="connsiteY47" fmla="*/ 302128 h 607921"/>
                <a:gd name="connsiteX48" fmla="*/ 172366 w 595290"/>
                <a:gd name="connsiteY48" fmla="*/ 284449 h 607921"/>
                <a:gd name="connsiteX49" fmla="*/ 297363 w 595290"/>
                <a:gd name="connsiteY49" fmla="*/ 0 h 607921"/>
                <a:gd name="connsiteX50" fmla="*/ 432355 w 595290"/>
                <a:gd name="connsiteY50" fmla="*/ 134780 h 607921"/>
                <a:gd name="connsiteX51" fmla="*/ 297363 w 595290"/>
                <a:gd name="connsiteY51" fmla="*/ 269560 h 607921"/>
                <a:gd name="connsiteX52" fmla="*/ 162371 w 595290"/>
                <a:gd name="connsiteY52" fmla="*/ 134780 h 607921"/>
                <a:gd name="connsiteX53" fmla="*/ 297363 w 595290"/>
                <a:gd name="connsiteY53" fmla="*/ 0 h 60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95290" h="607921">
                  <a:moveTo>
                    <a:pt x="47370" y="369974"/>
                  </a:moveTo>
                  <a:lnTo>
                    <a:pt x="48020" y="369974"/>
                  </a:lnTo>
                  <a:cubicBezTo>
                    <a:pt x="74581" y="369974"/>
                    <a:pt x="96040" y="391401"/>
                    <a:pt x="96040" y="417923"/>
                  </a:cubicBezTo>
                  <a:cubicBezTo>
                    <a:pt x="96040" y="444395"/>
                    <a:pt x="74581" y="465872"/>
                    <a:pt x="48020" y="465872"/>
                  </a:cubicBezTo>
                  <a:lnTo>
                    <a:pt x="47370" y="465872"/>
                  </a:lnTo>
                  <a:cubicBezTo>
                    <a:pt x="43968" y="465772"/>
                    <a:pt x="40567" y="465373"/>
                    <a:pt x="37366" y="464673"/>
                  </a:cubicBezTo>
                  <a:cubicBezTo>
                    <a:pt x="33864" y="463874"/>
                    <a:pt x="30463" y="462725"/>
                    <a:pt x="27361" y="461177"/>
                  </a:cubicBezTo>
                  <a:cubicBezTo>
                    <a:pt x="11205" y="453485"/>
                    <a:pt x="0" y="437003"/>
                    <a:pt x="0" y="417923"/>
                  </a:cubicBezTo>
                  <a:cubicBezTo>
                    <a:pt x="0" y="398793"/>
                    <a:pt x="11155" y="382361"/>
                    <a:pt x="27361" y="374619"/>
                  </a:cubicBezTo>
                  <a:cubicBezTo>
                    <a:pt x="30463" y="373071"/>
                    <a:pt x="33864" y="371972"/>
                    <a:pt x="37366" y="371173"/>
                  </a:cubicBezTo>
                  <a:cubicBezTo>
                    <a:pt x="40617" y="370424"/>
                    <a:pt x="43968" y="370024"/>
                    <a:pt x="47370" y="369974"/>
                  </a:cubicBezTo>
                  <a:close/>
                  <a:moveTo>
                    <a:pt x="547270" y="369833"/>
                  </a:moveTo>
                  <a:cubicBezTo>
                    <a:pt x="550671" y="369833"/>
                    <a:pt x="554073" y="370233"/>
                    <a:pt x="557274" y="370882"/>
                  </a:cubicBezTo>
                  <a:cubicBezTo>
                    <a:pt x="560726" y="371631"/>
                    <a:pt x="564127" y="372780"/>
                    <a:pt x="567278" y="374228"/>
                  </a:cubicBezTo>
                  <a:cubicBezTo>
                    <a:pt x="583835" y="381819"/>
                    <a:pt x="595290" y="398450"/>
                    <a:pt x="595290" y="417828"/>
                  </a:cubicBezTo>
                  <a:cubicBezTo>
                    <a:pt x="595290" y="437206"/>
                    <a:pt x="583835" y="453887"/>
                    <a:pt x="567278" y="461478"/>
                  </a:cubicBezTo>
                  <a:cubicBezTo>
                    <a:pt x="564127" y="462927"/>
                    <a:pt x="560726" y="464075"/>
                    <a:pt x="557274" y="464774"/>
                  </a:cubicBezTo>
                  <a:cubicBezTo>
                    <a:pt x="554073" y="465524"/>
                    <a:pt x="550671" y="465873"/>
                    <a:pt x="547270" y="465873"/>
                  </a:cubicBezTo>
                  <a:cubicBezTo>
                    <a:pt x="520709" y="465873"/>
                    <a:pt x="499250" y="444398"/>
                    <a:pt x="499250" y="417928"/>
                  </a:cubicBezTo>
                  <a:cubicBezTo>
                    <a:pt x="499250" y="391458"/>
                    <a:pt x="520709" y="369983"/>
                    <a:pt x="547270" y="369833"/>
                  </a:cubicBezTo>
                  <a:close/>
                  <a:moveTo>
                    <a:pt x="172366" y="284449"/>
                  </a:moveTo>
                  <a:cubicBezTo>
                    <a:pt x="241392" y="284449"/>
                    <a:pt x="297363" y="306124"/>
                    <a:pt x="297363" y="306124"/>
                  </a:cubicBezTo>
                  <a:cubicBezTo>
                    <a:pt x="297363" y="306124"/>
                    <a:pt x="353334" y="284449"/>
                    <a:pt x="422360" y="284449"/>
                  </a:cubicBezTo>
                  <a:cubicBezTo>
                    <a:pt x="472478" y="284449"/>
                    <a:pt x="515794" y="295886"/>
                    <a:pt x="535652" y="302128"/>
                  </a:cubicBezTo>
                  <a:cubicBezTo>
                    <a:pt x="542604" y="304276"/>
                    <a:pt x="547306" y="310718"/>
                    <a:pt x="547306" y="318010"/>
                  </a:cubicBezTo>
                  <a:lnTo>
                    <a:pt x="547306" y="345977"/>
                  </a:lnTo>
                  <a:cubicBezTo>
                    <a:pt x="528049" y="345977"/>
                    <a:pt x="509992" y="353418"/>
                    <a:pt x="496387" y="367002"/>
                  </a:cubicBezTo>
                  <a:cubicBezTo>
                    <a:pt x="482782" y="380587"/>
                    <a:pt x="475279" y="398716"/>
                    <a:pt x="475279" y="417893"/>
                  </a:cubicBezTo>
                  <a:cubicBezTo>
                    <a:pt x="475279" y="437121"/>
                    <a:pt x="482782" y="455150"/>
                    <a:pt x="496387" y="468734"/>
                  </a:cubicBezTo>
                  <a:cubicBezTo>
                    <a:pt x="509992" y="482318"/>
                    <a:pt x="528099" y="489809"/>
                    <a:pt x="547306" y="489809"/>
                  </a:cubicBezTo>
                  <a:lnTo>
                    <a:pt x="547306" y="586197"/>
                  </a:lnTo>
                  <a:cubicBezTo>
                    <a:pt x="547306" y="595586"/>
                    <a:pt x="539703" y="602877"/>
                    <a:pt x="530700" y="602877"/>
                  </a:cubicBezTo>
                  <a:cubicBezTo>
                    <a:pt x="529599" y="602877"/>
                    <a:pt x="528449" y="602727"/>
                    <a:pt x="527299" y="602527"/>
                  </a:cubicBezTo>
                  <a:cubicBezTo>
                    <a:pt x="502039" y="597334"/>
                    <a:pt x="464425" y="594087"/>
                    <a:pt x="422360" y="594087"/>
                  </a:cubicBezTo>
                  <a:cubicBezTo>
                    <a:pt x="366939" y="594087"/>
                    <a:pt x="319171" y="599731"/>
                    <a:pt x="297363" y="607921"/>
                  </a:cubicBezTo>
                  <a:cubicBezTo>
                    <a:pt x="275505" y="599731"/>
                    <a:pt x="227737" y="594087"/>
                    <a:pt x="172366" y="594087"/>
                  </a:cubicBezTo>
                  <a:cubicBezTo>
                    <a:pt x="130301" y="594087"/>
                    <a:pt x="92687" y="597383"/>
                    <a:pt x="67427" y="602527"/>
                  </a:cubicBezTo>
                  <a:cubicBezTo>
                    <a:pt x="66277" y="602727"/>
                    <a:pt x="65127" y="602877"/>
                    <a:pt x="64026" y="602877"/>
                  </a:cubicBezTo>
                  <a:cubicBezTo>
                    <a:pt x="55073" y="602877"/>
                    <a:pt x="47420" y="595586"/>
                    <a:pt x="47420" y="586197"/>
                  </a:cubicBezTo>
                  <a:lnTo>
                    <a:pt x="47420" y="489809"/>
                  </a:lnTo>
                  <a:lnTo>
                    <a:pt x="48070" y="489809"/>
                  </a:lnTo>
                  <a:cubicBezTo>
                    <a:pt x="67327" y="489809"/>
                    <a:pt x="85434" y="482318"/>
                    <a:pt x="99039" y="468734"/>
                  </a:cubicBezTo>
                  <a:cubicBezTo>
                    <a:pt x="112644" y="455150"/>
                    <a:pt x="120097" y="437071"/>
                    <a:pt x="120097" y="417893"/>
                  </a:cubicBezTo>
                  <a:cubicBezTo>
                    <a:pt x="120097" y="398616"/>
                    <a:pt x="112644" y="380587"/>
                    <a:pt x="99039" y="367002"/>
                  </a:cubicBezTo>
                  <a:cubicBezTo>
                    <a:pt x="85434" y="353418"/>
                    <a:pt x="67277" y="345977"/>
                    <a:pt x="48070" y="345977"/>
                  </a:cubicBezTo>
                  <a:lnTo>
                    <a:pt x="47420" y="345977"/>
                  </a:lnTo>
                  <a:lnTo>
                    <a:pt x="47420" y="318010"/>
                  </a:lnTo>
                  <a:cubicBezTo>
                    <a:pt x="47420" y="310718"/>
                    <a:pt x="52122" y="304326"/>
                    <a:pt x="59074" y="302128"/>
                  </a:cubicBezTo>
                  <a:cubicBezTo>
                    <a:pt x="78932" y="295886"/>
                    <a:pt x="122248" y="284449"/>
                    <a:pt x="172366" y="284449"/>
                  </a:cubicBezTo>
                  <a:close/>
                  <a:moveTo>
                    <a:pt x="297363" y="0"/>
                  </a:moveTo>
                  <a:cubicBezTo>
                    <a:pt x="371917" y="0"/>
                    <a:pt x="432355" y="60343"/>
                    <a:pt x="432355" y="134780"/>
                  </a:cubicBezTo>
                  <a:cubicBezTo>
                    <a:pt x="432355" y="209217"/>
                    <a:pt x="371917" y="269560"/>
                    <a:pt x="297363" y="269560"/>
                  </a:cubicBezTo>
                  <a:cubicBezTo>
                    <a:pt x="222809" y="269560"/>
                    <a:pt x="162371" y="209217"/>
                    <a:pt x="162371" y="134780"/>
                  </a:cubicBezTo>
                  <a:cubicBezTo>
                    <a:pt x="162371" y="60343"/>
                    <a:pt x="222809" y="0"/>
                    <a:pt x="297363" y="0"/>
                  </a:cubicBezTo>
                  <a:close/>
                </a:path>
              </a:pathLst>
            </a:custGeom>
            <a:solidFill>
              <a:schemeClr val="bg1"/>
            </a:solidFill>
            <a:ln w="19050" cap="rnd">
              <a:solidFill>
                <a:schemeClr val="tx1">
                  <a:lumMod val="65000"/>
                  <a:lumOff val="3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cs typeface="+mn-ea"/>
                <a:sym typeface="+mn-lt"/>
              </a:endParaRPr>
            </a:p>
          </p:txBody>
        </p:sp>
      </p:grpSp>
      <p:sp>
        <p:nvSpPr>
          <p:cNvPr id="77" name="iṣliḓê">
            <a:extLst>
              <a:ext uri="{FF2B5EF4-FFF2-40B4-BE49-F238E27FC236}">
                <a16:creationId xmlns:a16="http://schemas.microsoft.com/office/drawing/2014/main" id="{77A984FA-E1F0-4075-9AFA-A740AF3CBAD6}"/>
              </a:ext>
            </a:extLst>
          </p:cNvPr>
          <p:cNvSpPr/>
          <p:nvPr/>
        </p:nvSpPr>
        <p:spPr>
          <a:xfrm>
            <a:off x="6783071" y="1281694"/>
            <a:ext cx="1176318" cy="1201024"/>
          </a:xfrm>
          <a:custGeom>
            <a:avLst/>
            <a:gdLst>
              <a:gd name="connsiteX0" fmla="*/ 47370 w 595290"/>
              <a:gd name="connsiteY0" fmla="*/ 369974 h 607921"/>
              <a:gd name="connsiteX1" fmla="*/ 48020 w 595290"/>
              <a:gd name="connsiteY1" fmla="*/ 369974 h 607921"/>
              <a:gd name="connsiteX2" fmla="*/ 96040 w 595290"/>
              <a:gd name="connsiteY2" fmla="*/ 417923 h 607921"/>
              <a:gd name="connsiteX3" fmla="*/ 48020 w 595290"/>
              <a:gd name="connsiteY3" fmla="*/ 465872 h 607921"/>
              <a:gd name="connsiteX4" fmla="*/ 47370 w 595290"/>
              <a:gd name="connsiteY4" fmla="*/ 465872 h 607921"/>
              <a:gd name="connsiteX5" fmla="*/ 37366 w 595290"/>
              <a:gd name="connsiteY5" fmla="*/ 464673 h 607921"/>
              <a:gd name="connsiteX6" fmla="*/ 27361 w 595290"/>
              <a:gd name="connsiteY6" fmla="*/ 461177 h 607921"/>
              <a:gd name="connsiteX7" fmla="*/ 0 w 595290"/>
              <a:gd name="connsiteY7" fmla="*/ 417923 h 607921"/>
              <a:gd name="connsiteX8" fmla="*/ 27361 w 595290"/>
              <a:gd name="connsiteY8" fmla="*/ 374619 h 607921"/>
              <a:gd name="connsiteX9" fmla="*/ 37366 w 595290"/>
              <a:gd name="connsiteY9" fmla="*/ 371173 h 607921"/>
              <a:gd name="connsiteX10" fmla="*/ 47370 w 595290"/>
              <a:gd name="connsiteY10" fmla="*/ 369974 h 607921"/>
              <a:gd name="connsiteX11" fmla="*/ 547270 w 595290"/>
              <a:gd name="connsiteY11" fmla="*/ 369833 h 607921"/>
              <a:gd name="connsiteX12" fmla="*/ 557274 w 595290"/>
              <a:gd name="connsiteY12" fmla="*/ 370882 h 607921"/>
              <a:gd name="connsiteX13" fmla="*/ 567278 w 595290"/>
              <a:gd name="connsiteY13" fmla="*/ 374228 h 607921"/>
              <a:gd name="connsiteX14" fmla="*/ 595290 w 595290"/>
              <a:gd name="connsiteY14" fmla="*/ 417828 h 607921"/>
              <a:gd name="connsiteX15" fmla="*/ 567278 w 595290"/>
              <a:gd name="connsiteY15" fmla="*/ 461478 h 607921"/>
              <a:gd name="connsiteX16" fmla="*/ 557274 w 595290"/>
              <a:gd name="connsiteY16" fmla="*/ 464774 h 607921"/>
              <a:gd name="connsiteX17" fmla="*/ 547270 w 595290"/>
              <a:gd name="connsiteY17" fmla="*/ 465873 h 607921"/>
              <a:gd name="connsiteX18" fmla="*/ 499250 w 595290"/>
              <a:gd name="connsiteY18" fmla="*/ 417928 h 607921"/>
              <a:gd name="connsiteX19" fmla="*/ 547270 w 595290"/>
              <a:gd name="connsiteY19" fmla="*/ 369833 h 607921"/>
              <a:gd name="connsiteX20" fmla="*/ 172366 w 595290"/>
              <a:gd name="connsiteY20" fmla="*/ 284449 h 607921"/>
              <a:gd name="connsiteX21" fmla="*/ 297363 w 595290"/>
              <a:gd name="connsiteY21" fmla="*/ 306124 h 607921"/>
              <a:gd name="connsiteX22" fmla="*/ 422360 w 595290"/>
              <a:gd name="connsiteY22" fmla="*/ 284449 h 607921"/>
              <a:gd name="connsiteX23" fmla="*/ 535652 w 595290"/>
              <a:gd name="connsiteY23" fmla="*/ 302128 h 607921"/>
              <a:gd name="connsiteX24" fmla="*/ 547306 w 595290"/>
              <a:gd name="connsiteY24" fmla="*/ 318010 h 607921"/>
              <a:gd name="connsiteX25" fmla="*/ 547306 w 595290"/>
              <a:gd name="connsiteY25" fmla="*/ 345977 h 607921"/>
              <a:gd name="connsiteX26" fmla="*/ 496387 w 595290"/>
              <a:gd name="connsiteY26" fmla="*/ 367002 h 607921"/>
              <a:gd name="connsiteX27" fmla="*/ 475279 w 595290"/>
              <a:gd name="connsiteY27" fmla="*/ 417893 h 607921"/>
              <a:gd name="connsiteX28" fmla="*/ 496387 w 595290"/>
              <a:gd name="connsiteY28" fmla="*/ 468734 h 607921"/>
              <a:gd name="connsiteX29" fmla="*/ 547306 w 595290"/>
              <a:gd name="connsiteY29" fmla="*/ 489809 h 607921"/>
              <a:gd name="connsiteX30" fmla="*/ 547306 w 595290"/>
              <a:gd name="connsiteY30" fmla="*/ 586197 h 607921"/>
              <a:gd name="connsiteX31" fmla="*/ 530700 w 595290"/>
              <a:gd name="connsiteY31" fmla="*/ 602877 h 607921"/>
              <a:gd name="connsiteX32" fmla="*/ 527299 w 595290"/>
              <a:gd name="connsiteY32" fmla="*/ 602527 h 607921"/>
              <a:gd name="connsiteX33" fmla="*/ 422360 w 595290"/>
              <a:gd name="connsiteY33" fmla="*/ 594087 h 607921"/>
              <a:gd name="connsiteX34" fmla="*/ 297363 w 595290"/>
              <a:gd name="connsiteY34" fmla="*/ 607921 h 607921"/>
              <a:gd name="connsiteX35" fmla="*/ 172366 w 595290"/>
              <a:gd name="connsiteY35" fmla="*/ 594087 h 607921"/>
              <a:gd name="connsiteX36" fmla="*/ 67427 w 595290"/>
              <a:gd name="connsiteY36" fmla="*/ 602527 h 607921"/>
              <a:gd name="connsiteX37" fmla="*/ 64026 w 595290"/>
              <a:gd name="connsiteY37" fmla="*/ 602877 h 607921"/>
              <a:gd name="connsiteX38" fmla="*/ 47420 w 595290"/>
              <a:gd name="connsiteY38" fmla="*/ 586197 h 607921"/>
              <a:gd name="connsiteX39" fmla="*/ 47420 w 595290"/>
              <a:gd name="connsiteY39" fmla="*/ 489809 h 607921"/>
              <a:gd name="connsiteX40" fmla="*/ 48070 w 595290"/>
              <a:gd name="connsiteY40" fmla="*/ 489809 h 607921"/>
              <a:gd name="connsiteX41" fmla="*/ 99039 w 595290"/>
              <a:gd name="connsiteY41" fmla="*/ 468734 h 607921"/>
              <a:gd name="connsiteX42" fmla="*/ 120097 w 595290"/>
              <a:gd name="connsiteY42" fmla="*/ 417893 h 607921"/>
              <a:gd name="connsiteX43" fmla="*/ 99039 w 595290"/>
              <a:gd name="connsiteY43" fmla="*/ 367002 h 607921"/>
              <a:gd name="connsiteX44" fmla="*/ 48070 w 595290"/>
              <a:gd name="connsiteY44" fmla="*/ 345977 h 607921"/>
              <a:gd name="connsiteX45" fmla="*/ 47420 w 595290"/>
              <a:gd name="connsiteY45" fmla="*/ 345977 h 607921"/>
              <a:gd name="connsiteX46" fmla="*/ 47420 w 595290"/>
              <a:gd name="connsiteY46" fmla="*/ 318010 h 607921"/>
              <a:gd name="connsiteX47" fmla="*/ 59074 w 595290"/>
              <a:gd name="connsiteY47" fmla="*/ 302128 h 607921"/>
              <a:gd name="connsiteX48" fmla="*/ 172366 w 595290"/>
              <a:gd name="connsiteY48" fmla="*/ 284449 h 607921"/>
              <a:gd name="connsiteX49" fmla="*/ 297363 w 595290"/>
              <a:gd name="connsiteY49" fmla="*/ 0 h 607921"/>
              <a:gd name="connsiteX50" fmla="*/ 432355 w 595290"/>
              <a:gd name="connsiteY50" fmla="*/ 134780 h 607921"/>
              <a:gd name="connsiteX51" fmla="*/ 297363 w 595290"/>
              <a:gd name="connsiteY51" fmla="*/ 269560 h 607921"/>
              <a:gd name="connsiteX52" fmla="*/ 162371 w 595290"/>
              <a:gd name="connsiteY52" fmla="*/ 134780 h 607921"/>
              <a:gd name="connsiteX53" fmla="*/ 297363 w 595290"/>
              <a:gd name="connsiteY53" fmla="*/ 0 h 60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95290" h="607921">
                <a:moveTo>
                  <a:pt x="47370" y="369974"/>
                </a:moveTo>
                <a:lnTo>
                  <a:pt x="48020" y="369974"/>
                </a:lnTo>
                <a:cubicBezTo>
                  <a:pt x="74581" y="369974"/>
                  <a:pt x="96040" y="391401"/>
                  <a:pt x="96040" y="417923"/>
                </a:cubicBezTo>
                <a:cubicBezTo>
                  <a:pt x="96040" y="444395"/>
                  <a:pt x="74581" y="465872"/>
                  <a:pt x="48020" y="465872"/>
                </a:cubicBezTo>
                <a:lnTo>
                  <a:pt x="47370" y="465872"/>
                </a:lnTo>
                <a:cubicBezTo>
                  <a:pt x="43968" y="465772"/>
                  <a:pt x="40567" y="465373"/>
                  <a:pt x="37366" y="464673"/>
                </a:cubicBezTo>
                <a:cubicBezTo>
                  <a:pt x="33864" y="463874"/>
                  <a:pt x="30463" y="462725"/>
                  <a:pt x="27361" y="461177"/>
                </a:cubicBezTo>
                <a:cubicBezTo>
                  <a:pt x="11205" y="453485"/>
                  <a:pt x="0" y="437003"/>
                  <a:pt x="0" y="417923"/>
                </a:cubicBezTo>
                <a:cubicBezTo>
                  <a:pt x="0" y="398793"/>
                  <a:pt x="11155" y="382361"/>
                  <a:pt x="27361" y="374619"/>
                </a:cubicBezTo>
                <a:cubicBezTo>
                  <a:pt x="30463" y="373071"/>
                  <a:pt x="33864" y="371972"/>
                  <a:pt x="37366" y="371173"/>
                </a:cubicBezTo>
                <a:cubicBezTo>
                  <a:pt x="40617" y="370424"/>
                  <a:pt x="43968" y="370024"/>
                  <a:pt x="47370" y="369974"/>
                </a:cubicBezTo>
                <a:close/>
                <a:moveTo>
                  <a:pt x="547270" y="369833"/>
                </a:moveTo>
                <a:cubicBezTo>
                  <a:pt x="550671" y="369833"/>
                  <a:pt x="554073" y="370233"/>
                  <a:pt x="557274" y="370882"/>
                </a:cubicBezTo>
                <a:cubicBezTo>
                  <a:pt x="560726" y="371631"/>
                  <a:pt x="564127" y="372780"/>
                  <a:pt x="567278" y="374228"/>
                </a:cubicBezTo>
                <a:cubicBezTo>
                  <a:pt x="583835" y="381819"/>
                  <a:pt x="595290" y="398450"/>
                  <a:pt x="595290" y="417828"/>
                </a:cubicBezTo>
                <a:cubicBezTo>
                  <a:pt x="595290" y="437206"/>
                  <a:pt x="583835" y="453887"/>
                  <a:pt x="567278" y="461478"/>
                </a:cubicBezTo>
                <a:cubicBezTo>
                  <a:pt x="564127" y="462927"/>
                  <a:pt x="560726" y="464075"/>
                  <a:pt x="557274" y="464774"/>
                </a:cubicBezTo>
                <a:cubicBezTo>
                  <a:pt x="554073" y="465524"/>
                  <a:pt x="550671" y="465873"/>
                  <a:pt x="547270" y="465873"/>
                </a:cubicBezTo>
                <a:cubicBezTo>
                  <a:pt x="520709" y="465873"/>
                  <a:pt x="499250" y="444398"/>
                  <a:pt x="499250" y="417928"/>
                </a:cubicBezTo>
                <a:cubicBezTo>
                  <a:pt x="499250" y="391458"/>
                  <a:pt x="520709" y="369983"/>
                  <a:pt x="547270" y="369833"/>
                </a:cubicBezTo>
                <a:close/>
                <a:moveTo>
                  <a:pt x="172366" y="284449"/>
                </a:moveTo>
                <a:cubicBezTo>
                  <a:pt x="241392" y="284449"/>
                  <a:pt x="297363" y="306124"/>
                  <a:pt x="297363" y="306124"/>
                </a:cubicBezTo>
                <a:cubicBezTo>
                  <a:pt x="297363" y="306124"/>
                  <a:pt x="353334" y="284449"/>
                  <a:pt x="422360" y="284449"/>
                </a:cubicBezTo>
                <a:cubicBezTo>
                  <a:pt x="472478" y="284449"/>
                  <a:pt x="515794" y="295886"/>
                  <a:pt x="535652" y="302128"/>
                </a:cubicBezTo>
                <a:cubicBezTo>
                  <a:pt x="542604" y="304276"/>
                  <a:pt x="547306" y="310718"/>
                  <a:pt x="547306" y="318010"/>
                </a:cubicBezTo>
                <a:lnTo>
                  <a:pt x="547306" y="345977"/>
                </a:lnTo>
                <a:cubicBezTo>
                  <a:pt x="528049" y="345977"/>
                  <a:pt x="509992" y="353418"/>
                  <a:pt x="496387" y="367002"/>
                </a:cubicBezTo>
                <a:cubicBezTo>
                  <a:pt x="482782" y="380587"/>
                  <a:pt x="475279" y="398716"/>
                  <a:pt x="475279" y="417893"/>
                </a:cubicBezTo>
                <a:cubicBezTo>
                  <a:pt x="475279" y="437121"/>
                  <a:pt x="482782" y="455150"/>
                  <a:pt x="496387" y="468734"/>
                </a:cubicBezTo>
                <a:cubicBezTo>
                  <a:pt x="509992" y="482318"/>
                  <a:pt x="528099" y="489809"/>
                  <a:pt x="547306" y="489809"/>
                </a:cubicBezTo>
                <a:lnTo>
                  <a:pt x="547306" y="586197"/>
                </a:lnTo>
                <a:cubicBezTo>
                  <a:pt x="547306" y="595586"/>
                  <a:pt x="539703" y="602877"/>
                  <a:pt x="530700" y="602877"/>
                </a:cubicBezTo>
                <a:cubicBezTo>
                  <a:pt x="529599" y="602877"/>
                  <a:pt x="528449" y="602727"/>
                  <a:pt x="527299" y="602527"/>
                </a:cubicBezTo>
                <a:cubicBezTo>
                  <a:pt x="502039" y="597334"/>
                  <a:pt x="464425" y="594087"/>
                  <a:pt x="422360" y="594087"/>
                </a:cubicBezTo>
                <a:cubicBezTo>
                  <a:pt x="366939" y="594087"/>
                  <a:pt x="319171" y="599731"/>
                  <a:pt x="297363" y="607921"/>
                </a:cubicBezTo>
                <a:cubicBezTo>
                  <a:pt x="275505" y="599731"/>
                  <a:pt x="227737" y="594087"/>
                  <a:pt x="172366" y="594087"/>
                </a:cubicBezTo>
                <a:cubicBezTo>
                  <a:pt x="130301" y="594087"/>
                  <a:pt x="92687" y="597383"/>
                  <a:pt x="67427" y="602527"/>
                </a:cubicBezTo>
                <a:cubicBezTo>
                  <a:pt x="66277" y="602727"/>
                  <a:pt x="65127" y="602877"/>
                  <a:pt x="64026" y="602877"/>
                </a:cubicBezTo>
                <a:cubicBezTo>
                  <a:pt x="55073" y="602877"/>
                  <a:pt x="47420" y="595586"/>
                  <a:pt x="47420" y="586197"/>
                </a:cubicBezTo>
                <a:lnTo>
                  <a:pt x="47420" y="489809"/>
                </a:lnTo>
                <a:lnTo>
                  <a:pt x="48070" y="489809"/>
                </a:lnTo>
                <a:cubicBezTo>
                  <a:pt x="67327" y="489809"/>
                  <a:pt x="85434" y="482318"/>
                  <a:pt x="99039" y="468734"/>
                </a:cubicBezTo>
                <a:cubicBezTo>
                  <a:pt x="112644" y="455150"/>
                  <a:pt x="120097" y="437071"/>
                  <a:pt x="120097" y="417893"/>
                </a:cubicBezTo>
                <a:cubicBezTo>
                  <a:pt x="120097" y="398616"/>
                  <a:pt x="112644" y="380587"/>
                  <a:pt x="99039" y="367002"/>
                </a:cubicBezTo>
                <a:cubicBezTo>
                  <a:pt x="85434" y="353418"/>
                  <a:pt x="67277" y="345977"/>
                  <a:pt x="48070" y="345977"/>
                </a:cubicBezTo>
                <a:lnTo>
                  <a:pt x="47420" y="345977"/>
                </a:lnTo>
                <a:lnTo>
                  <a:pt x="47420" y="318010"/>
                </a:lnTo>
                <a:cubicBezTo>
                  <a:pt x="47420" y="310718"/>
                  <a:pt x="52122" y="304326"/>
                  <a:pt x="59074" y="302128"/>
                </a:cubicBezTo>
                <a:cubicBezTo>
                  <a:pt x="78932" y="295886"/>
                  <a:pt x="122248" y="284449"/>
                  <a:pt x="172366" y="284449"/>
                </a:cubicBezTo>
                <a:close/>
                <a:moveTo>
                  <a:pt x="297363" y="0"/>
                </a:moveTo>
                <a:cubicBezTo>
                  <a:pt x="371917" y="0"/>
                  <a:pt x="432355" y="60343"/>
                  <a:pt x="432355" y="134780"/>
                </a:cubicBezTo>
                <a:cubicBezTo>
                  <a:pt x="432355" y="209217"/>
                  <a:pt x="371917" y="269560"/>
                  <a:pt x="297363" y="269560"/>
                </a:cubicBezTo>
                <a:cubicBezTo>
                  <a:pt x="222809" y="269560"/>
                  <a:pt x="162371" y="209217"/>
                  <a:pt x="162371" y="134780"/>
                </a:cubicBezTo>
                <a:cubicBezTo>
                  <a:pt x="162371" y="60343"/>
                  <a:pt x="222809" y="0"/>
                  <a:pt x="297363" y="0"/>
                </a:cubicBezTo>
                <a:close/>
              </a:path>
            </a:pathLst>
          </a:custGeom>
          <a:solidFill>
            <a:schemeClr val="accent1"/>
          </a:solidFill>
          <a:ln w="19050"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cs typeface="+mn-ea"/>
              <a:sym typeface="+mn-lt"/>
            </a:endParaRPr>
          </a:p>
        </p:txBody>
      </p:sp>
      <p:sp>
        <p:nvSpPr>
          <p:cNvPr id="59" name="i$ľïḑe">
            <a:extLst>
              <a:ext uri="{FF2B5EF4-FFF2-40B4-BE49-F238E27FC236}">
                <a16:creationId xmlns:a16="http://schemas.microsoft.com/office/drawing/2014/main" id="{AE76D1F2-AF0F-42E3-A9D8-61A397BA5B4B}"/>
              </a:ext>
            </a:extLst>
          </p:cNvPr>
          <p:cNvSpPr/>
          <p:nvPr/>
        </p:nvSpPr>
        <p:spPr>
          <a:xfrm>
            <a:off x="7541235" y="4479291"/>
            <a:ext cx="1878257"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p>
            <a:pPr algn="ctr"/>
            <a:r>
              <a:rPr lang="zh-CN" altLang="en-US" b="1" dirty="0">
                <a:solidFill>
                  <a:schemeClr val="tx1">
                    <a:lumMod val="75000"/>
                    <a:lumOff val="25000"/>
                  </a:schemeClr>
                </a:solidFill>
                <a:cs typeface="+mn-ea"/>
                <a:sym typeface="+mn-lt"/>
              </a:rPr>
              <a:t>请在此输入标题</a:t>
            </a:r>
            <a:endParaRPr lang="en-US" altLang="zh-CN" b="1" dirty="0">
              <a:solidFill>
                <a:schemeClr val="tx1">
                  <a:lumMod val="75000"/>
                  <a:lumOff val="25000"/>
                </a:schemeClr>
              </a:solidFill>
              <a:cs typeface="+mn-ea"/>
              <a:sym typeface="+mn-lt"/>
            </a:endParaRPr>
          </a:p>
        </p:txBody>
      </p:sp>
      <p:sp>
        <p:nvSpPr>
          <p:cNvPr id="60" name="ïšḷîḍê">
            <a:extLst>
              <a:ext uri="{FF2B5EF4-FFF2-40B4-BE49-F238E27FC236}">
                <a16:creationId xmlns:a16="http://schemas.microsoft.com/office/drawing/2014/main" id="{4FA3A827-6061-4BA4-93C8-BF8775E90BFF}"/>
              </a:ext>
            </a:extLst>
          </p:cNvPr>
          <p:cNvSpPr/>
          <p:nvPr/>
        </p:nvSpPr>
        <p:spPr bwMode="auto">
          <a:xfrm>
            <a:off x="7541235" y="4904740"/>
            <a:ext cx="1878257" cy="1157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a:t>
            </a:r>
            <a:endParaRPr lang="en-US" altLang="zh-CN" sz="1600" dirty="0">
              <a:solidFill>
                <a:schemeClr val="tx1">
                  <a:lumMod val="75000"/>
                  <a:lumOff val="25000"/>
                </a:schemeClr>
              </a:solidFill>
              <a:cs typeface="+mn-ea"/>
              <a:sym typeface="+mn-lt"/>
            </a:endParaRPr>
          </a:p>
        </p:txBody>
      </p:sp>
      <p:sp>
        <p:nvSpPr>
          <p:cNvPr id="80" name="i$ľïḑe">
            <a:extLst>
              <a:ext uri="{FF2B5EF4-FFF2-40B4-BE49-F238E27FC236}">
                <a16:creationId xmlns:a16="http://schemas.microsoft.com/office/drawing/2014/main" id="{75AAE941-A0F6-4D92-9DA9-ED71E33F3F39}"/>
              </a:ext>
            </a:extLst>
          </p:cNvPr>
          <p:cNvSpPr/>
          <p:nvPr/>
        </p:nvSpPr>
        <p:spPr>
          <a:xfrm>
            <a:off x="5322968" y="4479291"/>
            <a:ext cx="1878257"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p>
            <a:pPr algn="ctr"/>
            <a:r>
              <a:rPr lang="zh-CN" altLang="en-US" b="1" dirty="0">
                <a:solidFill>
                  <a:schemeClr val="tx1">
                    <a:lumMod val="75000"/>
                    <a:lumOff val="25000"/>
                  </a:schemeClr>
                </a:solidFill>
                <a:cs typeface="+mn-ea"/>
                <a:sym typeface="+mn-lt"/>
              </a:rPr>
              <a:t>请在此输入标题</a:t>
            </a:r>
            <a:endParaRPr lang="en-US" altLang="zh-CN" b="1" dirty="0">
              <a:solidFill>
                <a:schemeClr val="tx1">
                  <a:lumMod val="75000"/>
                  <a:lumOff val="25000"/>
                </a:schemeClr>
              </a:solidFill>
              <a:cs typeface="+mn-ea"/>
              <a:sym typeface="+mn-lt"/>
            </a:endParaRPr>
          </a:p>
        </p:txBody>
      </p:sp>
      <p:sp>
        <p:nvSpPr>
          <p:cNvPr id="81" name="ïšḷîḍê">
            <a:extLst>
              <a:ext uri="{FF2B5EF4-FFF2-40B4-BE49-F238E27FC236}">
                <a16:creationId xmlns:a16="http://schemas.microsoft.com/office/drawing/2014/main" id="{9380D3E8-8C3A-44F5-8DBA-98599B6A3685}"/>
              </a:ext>
            </a:extLst>
          </p:cNvPr>
          <p:cNvSpPr/>
          <p:nvPr/>
        </p:nvSpPr>
        <p:spPr bwMode="auto">
          <a:xfrm>
            <a:off x="5322968" y="4904740"/>
            <a:ext cx="1878257" cy="1157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a:t>
            </a:r>
            <a:endParaRPr lang="en-US" altLang="zh-CN" sz="1600" dirty="0">
              <a:solidFill>
                <a:schemeClr val="tx1">
                  <a:lumMod val="75000"/>
                  <a:lumOff val="25000"/>
                </a:schemeClr>
              </a:solidFill>
              <a:cs typeface="+mn-ea"/>
              <a:sym typeface="+mn-lt"/>
            </a:endParaRPr>
          </a:p>
        </p:txBody>
      </p:sp>
      <p:sp>
        <p:nvSpPr>
          <p:cNvPr id="83" name="i$ľïḑe">
            <a:extLst>
              <a:ext uri="{FF2B5EF4-FFF2-40B4-BE49-F238E27FC236}">
                <a16:creationId xmlns:a16="http://schemas.microsoft.com/office/drawing/2014/main" id="{DAF16FF7-C0E7-47C4-9CC6-2483211EE7CA}"/>
              </a:ext>
            </a:extLst>
          </p:cNvPr>
          <p:cNvSpPr/>
          <p:nvPr/>
        </p:nvSpPr>
        <p:spPr>
          <a:xfrm>
            <a:off x="3104701" y="4479291"/>
            <a:ext cx="1878257"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p>
            <a:pPr algn="ctr"/>
            <a:r>
              <a:rPr lang="zh-CN" altLang="en-US" b="1" dirty="0">
                <a:solidFill>
                  <a:schemeClr val="tx1">
                    <a:lumMod val="75000"/>
                    <a:lumOff val="25000"/>
                  </a:schemeClr>
                </a:solidFill>
                <a:cs typeface="+mn-ea"/>
                <a:sym typeface="+mn-lt"/>
              </a:rPr>
              <a:t>请在此输入标题</a:t>
            </a:r>
            <a:endParaRPr lang="en-US" altLang="zh-CN" b="1" dirty="0">
              <a:solidFill>
                <a:schemeClr val="tx1">
                  <a:lumMod val="75000"/>
                  <a:lumOff val="25000"/>
                </a:schemeClr>
              </a:solidFill>
              <a:cs typeface="+mn-ea"/>
              <a:sym typeface="+mn-lt"/>
            </a:endParaRPr>
          </a:p>
        </p:txBody>
      </p:sp>
      <p:sp>
        <p:nvSpPr>
          <p:cNvPr id="84" name="ïšḷîḍê">
            <a:extLst>
              <a:ext uri="{FF2B5EF4-FFF2-40B4-BE49-F238E27FC236}">
                <a16:creationId xmlns:a16="http://schemas.microsoft.com/office/drawing/2014/main" id="{25DFE7D8-3716-4BB0-83C7-DEE85497E9C4}"/>
              </a:ext>
            </a:extLst>
          </p:cNvPr>
          <p:cNvSpPr/>
          <p:nvPr/>
        </p:nvSpPr>
        <p:spPr bwMode="auto">
          <a:xfrm>
            <a:off x="3104701" y="4904740"/>
            <a:ext cx="1878257" cy="1157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a:t>
            </a:r>
            <a:endParaRPr lang="en-US" altLang="zh-CN" sz="1600" dirty="0">
              <a:solidFill>
                <a:schemeClr val="tx1">
                  <a:lumMod val="75000"/>
                  <a:lumOff val="25000"/>
                </a:schemeClr>
              </a:solidFill>
              <a:cs typeface="+mn-ea"/>
              <a:sym typeface="+mn-lt"/>
            </a:endParaRPr>
          </a:p>
        </p:txBody>
      </p:sp>
      <p:sp>
        <p:nvSpPr>
          <p:cNvPr id="86" name="i$ľïḑe">
            <a:extLst>
              <a:ext uri="{FF2B5EF4-FFF2-40B4-BE49-F238E27FC236}">
                <a16:creationId xmlns:a16="http://schemas.microsoft.com/office/drawing/2014/main" id="{3BACC0C9-2BDD-43D9-975D-E83FC2D75113}"/>
              </a:ext>
            </a:extLst>
          </p:cNvPr>
          <p:cNvSpPr/>
          <p:nvPr/>
        </p:nvSpPr>
        <p:spPr>
          <a:xfrm>
            <a:off x="9759501" y="4479291"/>
            <a:ext cx="1878257"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p>
            <a:pPr algn="ctr"/>
            <a:r>
              <a:rPr lang="zh-CN" altLang="en-US" b="1" dirty="0">
                <a:solidFill>
                  <a:schemeClr val="tx1">
                    <a:lumMod val="75000"/>
                    <a:lumOff val="25000"/>
                  </a:schemeClr>
                </a:solidFill>
                <a:cs typeface="+mn-ea"/>
                <a:sym typeface="+mn-lt"/>
              </a:rPr>
              <a:t>请在此输入标题</a:t>
            </a:r>
            <a:endParaRPr lang="en-US" altLang="zh-CN" b="1" dirty="0">
              <a:solidFill>
                <a:schemeClr val="tx1">
                  <a:lumMod val="75000"/>
                  <a:lumOff val="25000"/>
                </a:schemeClr>
              </a:solidFill>
              <a:cs typeface="+mn-ea"/>
              <a:sym typeface="+mn-lt"/>
            </a:endParaRPr>
          </a:p>
        </p:txBody>
      </p:sp>
      <p:sp>
        <p:nvSpPr>
          <p:cNvPr id="87" name="ïšḷîḍê">
            <a:extLst>
              <a:ext uri="{FF2B5EF4-FFF2-40B4-BE49-F238E27FC236}">
                <a16:creationId xmlns:a16="http://schemas.microsoft.com/office/drawing/2014/main" id="{59B66621-7770-40DA-BEF9-7303A6D4C537}"/>
              </a:ext>
            </a:extLst>
          </p:cNvPr>
          <p:cNvSpPr/>
          <p:nvPr/>
        </p:nvSpPr>
        <p:spPr bwMode="auto">
          <a:xfrm>
            <a:off x="9759501" y="4904740"/>
            <a:ext cx="1878257" cy="1157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a:t>
            </a:r>
            <a:endParaRPr lang="en-US" altLang="zh-CN" sz="1600" dirty="0">
              <a:solidFill>
                <a:schemeClr val="tx1">
                  <a:lumMod val="75000"/>
                  <a:lumOff val="25000"/>
                </a:schemeClr>
              </a:solidFill>
              <a:cs typeface="+mn-ea"/>
              <a:sym typeface="+mn-lt"/>
            </a:endParaRPr>
          </a:p>
        </p:txBody>
      </p:sp>
      <p:sp>
        <p:nvSpPr>
          <p:cNvPr id="89" name="i$ľïḑe">
            <a:extLst>
              <a:ext uri="{FF2B5EF4-FFF2-40B4-BE49-F238E27FC236}">
                <a16:creationId xmlns:a16="http://schemas.microsoft.com/office/drawing/2014/main" id="{02B22324-E9F7-46ED-A562-7A45727A267B}"/>
              </a:ext>
            </a:extLst>
          </p:cNvPr>
          <p:cNvSpPr/>
          <p:nvPr/>
        </p:nvSpPr>
        <p:spPr>
          <a:xfrm>
            <a:off x="6289341" y="2534912"/>
            <a:ext cx="2163778" cy="46166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spAutoFit/>
          </a:bodyPr>
          <a:lstStyle/>
          <a:p>
            <a:pPr algn="ctr"/>
            <a:r>
              <a:rPr lang="zh-CN" altLang="en-US" sz="2400" b="1" dirty="0">
                <a:solidFill>
                  <a:schemeClr val="accent1"/>
                </a:solidFill>
                <a:cs typeface="+mn-ea"/>
                <a:sym typeface="+mn-lt"/>
              </a:rPr>
              <a:t>请在此输入标题</a:t>
            </a:r>
            <a:endParaRPr lang="en-US" altLang="zh-CN" sz="2400" b="1" dirty="0">
              <a:solidFill>
                <a:schemeClr val="accent1"/>
              </a:solidFill>
              <a:cs typeface="+mn-ea"/>
              <a:sym typeface="+mn-lt"/>
            </a:endParaRPr>
          </a:p>
        </p:txBody>
      </p:sp>
      <p:pic>
        <p:nvPicPr>
          <p:cNvPr id="11" name="图片占位符 10">
            <a:extLst>
              <a:ext uri="{FF2B5EF4-FFF2-40B4-BE49-F238E27FC236}">
                <a16:creationId xmlns:a16="http://schemas.microsoft.com/office/drawing/2014/main" id="{07D19A05-6D2A-4A27-9E82-7B2D67E873E8}"/>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5911" r="5911"/>
          <a:stretch>
            <a:fillRect/>
          </a:stretch>
        </p:blipFill>
        <p:spPr/>
      </p:pic>
      <p:grpSp>
        <p:nvGrpSpPr>
          <p:cNvPr id="30" name="组合 29">
            <a:extLst>
              <a:ext uri="{FF2B5EF4-FFF2-40B4-BE49-F238E27FC236}">
                <a16:creationId xmlns:a16="http://schemas.microsoft.com/office/drawing/2014/main" id="{CA014A60-DFE6-4A93-B2A5-9B248E2FA8F5}"/>
              </a:ext>
            </a:extLst>
          </p:cNvPr>
          <p:cNvGrpSpPr/>
          <p:nvPr/>
        </p:nvGrpSpPr>
        <p:grpSpPr>
          <a:xfrm>
            <a:off x="0" y="-715587"/>
            <a:ext cx="676656" cy="602672"/>
            <a:chOff x="0" y="6950133"/>
            <a:chExt cx="676656" cy="602672"/>
          </a:xfrm>
        </p:grpSpPr>
        <p:sp>
          <p:nvSpPr>
            <p:cNvPr id="31" name="矩形 30">
              <a:extLst>
                <a:ext uri="{FF2B5EF4-FFF2-40B4-BE49-F238E27FC236}">
                  <a16:creationId xmlns:a16="http://schemas.microsoft.com/office/drawing/2014/main" id="{63F69C02-8733-489B-A8C8-ECF419053C02}"/>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32" name="组合 31">
              <a:extLst>
                <a:ext uri="{FF2B5EF4-FFF2-40B4-BE49-F238E27FC236}">
                  <a16:creationId xmlns:a16="http://schemas.microsoft.com/office/drawing/2014/main" id="{C8040219-B6A4-46DA-8A88-3CF9CDB37C90}"/>
                </a:ext>
              </a:extLst>
            </p:cNvPr>
            <p:cNvGrpSpPr/>
            <p:nvPr/>
          </p:nvGrpSpPr>
          <p:grpSpPr>
            <a:xfrm>
              <a:off x="47544" y="7038552"/>
              <a:ext cx="581568" cy="425834"/>
              <a:chOff x="84575" y="6977592"/>
              <a:chExt cx="581568" cy="425834"/>
            </a:xfrm>
          </p:grpSpPr>
          <p:grpSp>
            <p:nvGrpSpPr>
              <p:cNvPr id="34" name="组合 33">
                <a:extLst>
                  <a:ext uri="{FF2B5EF4-FFF2-40B4-BE49-F238E27FC236}">
                    <a16:creationId xmlns:a16="http://schemas.microsoft.com/office/drawing/2014/main" id="{D7638766-8386-4D74-94C0-66CC1BFC2D71}"/>
                  </a:ext>
                </a:extLst>
              </p:cNvPr>
              <p:cNvGrpSpPr/>
              <p:nvPr/>
            </p:nvGrpSpPr>
            <p:grpSpPr>
              <a:xfrm>
                <a:off x="84575" y="6979654"/>
                <a:ext cx="317380" cy="421711"/>
                <a:chOff x="14690033" y="2185397"/>
                <a:chExt cx="583830" cy="775754"/>
              </a:xfrm>
            </p:grpSpPr>
            <p:sp>
              <p:nvSpPr>
                <p:cNvPr id="36" name="iŝļíḑe">
                  <a:extLst>
                    <a:ext uri="{FF2B5EF4-FFF2-40B4-BE49-F238E27FC236}">
                      <a16:creationId xmlns:a16="http://schemas.microsoft.com/office/drawing/2014/main" id="{C056236B-A68A-469B-8F37-FD8E05673A0E}"/>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şḷíḍé">
                  <a:extLst>
                    <a:ext uri="{FF2B5EF4-FFF2-40B4-BE49-F238E27FC236}">
                      <a16:creationId xmlns:a16="http://schemas.microsoft.com/office/drawing/2014/main" id="{4057651A-6975-4980-9EEA-3D776F63E3DA}"/>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Sľïḓe">
                  <a:extLst>
                    <a:ext uri="{FF2B5EF4-FFF2-40B4-BE49-F238E27FC236}">
                      <a16:creationId xmlns:a16="http://schemas.microsoft.com/office/drawing/2014/main" id="{4AC1BF3C-1236-40A2-BF88-E7F30CC6C76A}"/>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sḻídê">
                  <a:extLst>
                    <a:ext uri="{FF2B5EF4-FFF2-40B4-BE49-F238E27FC236}">
                      <a16:creationId xmlns:a16="http://schemas.microsoft.com/office/drawing/2014/main" id="{8FCC4FBD-7AC0-441E-B564-7D58DDD12463}"/>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îS1íḋè">
                  <a:extLst>
                    <a:ext uri="{FF2B5EF4-FFF2-40B4-BE49-F238E27FC236}">
                      <a16:creationId xmlns:a16="http://schemas.microsoft.com/office/drawing/2014/main" id="{BA19AFE3-BD90-45CC-A75F-C719B04E74ED}"/>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şļíde">
                  <a:extLst>
                    <a:ext uri="{FF2B5EF4-FFF2-40B4-BE49-F238E27FC236}">
                      <a16:creationId xmlns:a16="http://schemas.microsoft.com/office/drawing/2014/main" id="{AB167AC9-81C2-419A-AF4C-72881E27563B}"/>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5" name="文本框 34">
                <a:extLst>
                  <a:ext uri="{FF2B5EF4-FFF2-40B4-BE49-F238E27FC236}">
                    <a16:creationId xmlns:a16="http://schemas.microsoft.com/office/drawing/2014/main" id="{0997C386-D211-4CE4-88A8-6682A53EA0EA}"/>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1" name="矩形 50">
            <a:extLst>
              <a:ext uri="{FF2B5EF4-FFF2-40B4-BE49-F238E27FC236}">
                <a16:creationId xmlns:a16="http://schemas.microsoft.com/office/drawing/2014/main" id="{095A4DCC-408F-4B27-B3B9-98C2670C55DD}"/>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extLst>
      <p:ext uri="{BB962C8B-B14F-4D97-AF65-F5344CB8AC3E}">
        <p14:creationId xmlns:p14="http://schemas.microsoft.com/office/powerpoint/2010/main" val="21015216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5E5FEED6-71E0-4E42-B25A-C3601DE2ACF6}"/>
              </a:ext>
            </a:extLst>
          </p:cNvPr>
          <p:cNvSpPr>
            <a:spLocks noGrp="1"/>
          </p:cNvSpPr>
          <p:nvPr>
            <p:ph type="title"/>
          </p:nvPr>
        </p:nvSpPr>
        <p:spPr/>
        <p:txBody>
          <a:bodyPr/>
          <a:lstStyle/>
          <a:p>
            <a:r>
              <a:rPr lang="zh-CN" altLang="en-US" dirty="0">
                <a:cs typeface="+mn-ea"/>
                <a:sym typeface="+mn-lt"/>
              </a:rPr>
              <a:t>成果展示页</a:t>
            </a:r>
            <a:endParaRPr lang="en-US" dirty="0"/>
          </a:p>
        </p:txBody>
      </p:sp>
      <p:sp>
        <p:nvSpPr>
          <p:cNvPr id="3" name="灯片编号占位符 2">
            <a:extLst>
              <a:ext uri="{FF2B5EF4-FFF2-40B4-BE49-F238E27FC236}">
                <a16:creationId xmlns:a16="http://schemas.microsoft.com/office/drawing/2014/main" id="{924FE1D3-D6EF-4EC9-98B7-47B45E8ADC61}"/>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44</a:t>
            </a:fld>
            <a:endParaRPr lang="en-US" dirty="0">
              <a:solidFill>
                <a:srgbClr val="000000">
                  <a:tint val="75000"/>
                </a:srgbClr>
              </a:solidFill>
            </a:endParaRPr>
          </a:p>
        </p:txBody>
      </p:sp>
      <p:pic>
        <p:nvPicPr>
          <p:cNvPr id="29" name="图片占位符 28">
            <a:extLst>
              <a:ext uri="{FF2B5EF4-FFF2-40B4-BE49-F238E27FC236}">
                <a16:creationId xmlns:a16="http://schemas.microsoft.com/office/drawing/2014/main" id="{9DB4E72C-F201-4F7F-8A71-B96DE27DE23A}"/>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57" r="257"/>
          <a:stretch>
            <a:fillRect/>
          </a:stretch>
        </p:blipFill>
        <p:spPr/>
      </p:pic>
      <p:pic>
        <p:nvPicPr>
          <p:cNvPr id="27" name="图片占位符 26">
            <a:extLst>
              <a:ext uri="{FF2B5EF4-FFF2-40B4-BE49-F238E27FC236}">
                <a16:creationId xmlns:a16="http://schemas.microsoft.com/office/drawing/2014/main" id="{179FA964-1F2B-4D5B-A614-3084A5A9E78F}"/>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491" r="491"/>
          <a:stretch>
            <a:fillRect/>
          </a:stretch>
        </p:blipFill>
        <p:spPr/>
      </p:pic>
      <p:pic>
        <p:nvPicPr>
          <p:cNvPr id="21" name="图片占位符 20">
            <a:extLst>
              <a:ext uri="{FF2B5EF4-FFF2-40B4-BE49-F238E27FC236}">
                <a16:creationId xmlns:a16="http://schemas.microsoft.com/office/drawing/2014/main" id="{968BB22D-8EEF-4A41-9DEA-F18973201B92}"/>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t="99" b="99"/>
          <a:stretch>
            <a:fillRect/>
          </a:stretch>
        </p:blipFill>
        <p:spPr/>
      </p:pic>
      <p:pic>
        <p:nvPicPr>
          <p:cNvPr id="25" name="图片占位符 24">
            <a:extLst>
              <a:ext uri="{FF2B5EF4-FFF2-40B4-BE49-F238E27FC236}">
                <a16:creationId xmlns:a16="http://schemas.microsoft.com/office/drawing/2014/main" id="{1E9DCC4E-412E-4D92-B29B-26A1D61A999D}"/>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217" r="217"/>
          <a:stretch>
            <a:fillRect/>
          </a:stretch>
        </p:blipFill>
        <p:spPr/>
      </p:pic>
      <p:pic>
        <p:nvPicPr>
          <p:cNvPr id="19" name="图片占位符 18">
            <a:extLst>
              <a:ext uri="{FF2B5EF4-FFF2-40B4-BE49-F238E27FC236}">
                <a16:creationId xmlns:a16="http://schemas.microsoft.com/office/drawing/2014/main" id="{CA655FC2-BAFC-4F1E-AC8E-D2FD7E0FEC95}"/>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38" r="138"/>
          <a:stretch>
            <a:fillRect/>
          </a:stretch>
        </p:blipFill>
        <p:spPr/>
      </p:pic>
      <p:pic>
        <p:nvPicPr>
          <p:cNvPr id="23" name="图片占位符 22">
            <a:extLst>
              <a:ext uri="{FF2B5EF4-FFF2-40B4-BE49-F238E27FC236}">
                <a16:creationId xmlns:a16="http://schemas.microsoft.com/office/drawing/2014/main" id="{1232DAC3-2399-417E-9EAC-217E2D151ACB}"/>
              </a:ext>
            </a:extLst>
          </p:cNvPr>
          <p:cNvPicPr>
            <a:picLocks noGrp="1" noChangeAspect="1"/>
          </p:cNvPicPr>
          <p:nvPr>
            <p:ph type="pic" sz="quarter" idx="15"/>
          </p:nvPr>
        </p:nvPicPr>
        <p:blipFill>
          <a:blip r:embed="rId7">
            <a:extLst>
              <a:ext uri="{28A0092B-C50C-407E-A947-70E740481C1C}">
                <a14:useLocalDpi xmlns:a14="http://schemas.microsoft.com/office/drawing/2010/main" val="0"/>
              </a:ext>
            </a:extLst>
          </a:blip>
          <a:srcRect l="194" r="194"/>
          <a:stretch>
            <a:fillRect/>
          </a:stretch>
        </p:blipFill>
        <p:spPr/>
      </p:pic>
      <p:sp>
        <p:nvSpPr>
          <p:cNvPr id="11" name="文本占位符 10">
            <a:extLst>
              <a:ext uri="{FF2B5EF4-FFF2-40B4-BE49-F238E27FC236}">
                <a16:creationId xmlns:a16="http://schemas.microsoft.com/office/drawing/2014/main" id="{7D34BF52-ED0B-4622-B335-D484FABED0C4}"/>
              </a:ext>
            </a:extLst>
          </p:cNvPr>
          <p:cNvSpPr>
            <a:spLocks noGrp="1"/>
          </p:cNvSpPr>
          <p:nvPr>
            <p:ph type="body" sz="quarter" idx="16"/>
          </p:nvPr>
        </p:nvSpPr>
        <p:spPr/>
        <p:txBody>
          <a:bodyPr/>
          <a:lstStyle/>
          <a:p>
            <a:r>
              <a:rPr lang="zh-CN" altLang="en-US" dirty="0">
                <a:sym typeface="+mn-lt"/>
              </a:rPr>
              <a:t>请在此</a:t>
            </a:r>
            <a:endParaRPr lang="en-US" altLang="zh-CN" dirty="0">
              <a:sym typeface="+mn-lt"/>
            </a:endParaRPr>
          </a:p>
          <a:p>
            <a:r>
              <a:rPr lang="zh-CN" altLang="en-US" dirty="0">
                <a:sym typeface="+mn-lt"/>
              </a:rPr>
              <a:t>输入标题</a:t>
            </a:r>
          </a:p>
        </p:txBody>
      </p:sp>
      <p:sp>
        <p:nvSpPr>
          <p:cNvPr id="12" name="文本占位符 11">
            <a:extLst>
              <a:ext uri="{FF2B5EF4-FFF2-40B4-BE49-F238E27FC236}">
                <a16:creationId xmlns:a16="http://schemas.microsoft.com/office/drawing/2014/main" id="{D2A46D7C-2658-4C4F-A61E-FDA792316979}"/>
              </a:ext>
            </a:extLst>
          </p:cNvPr>
          <p:cNvSpPr>
            <a:spLocks noGrp="1"/>
          </p:cNvSpPr>
          <p:nvPr>
            <p:ph type="body" sz="quarter" idx="17"/>
          </p:nvPr>
        </p:nvSpPr>
        <p:spPr/>
        <p:txBody>
          <a:bodyPr/>
          <a:lstStyle/>
          <a:p>
            <a:r>
              <a:rPr lang="zh-CN" altLang="en-US" dirty="0">
                <a:solidFill>
                  <a:schemeClr val="tx1">
                    <a:lumMod val="75000"/>
                    <a:lumOff val="25000"/>
                  </a:schemeClr>
                </a:solidFill>
                <a:cs typeface="+mn-ea"/>
                <a:sym typeface="+mn-lt"/>
              </a:rPr>
              <a:t>输入小标题</a:t>
            </a:r>
          </a:p>
        </p:txBody>
      </p:sp>
      <p:sp>
        <p:nvSpPr>
          <p:cNvPr id="13" name="文本占位符 12">
            <a:extLst>
              <a:ext uri="{FF2B5EF4-FFF2-40B4-BE49-F238E27FC236}">
                <a16:creationId xmlns:a16="http://schemas.microsoft.com/office/drawing/2014/main" id="{1C555C66-69D8-4055-8691-7814C973BFBA}"/>
              </a:ext>
            </a:extLst>
          </p:cNvPr>
          <p:cNvSpPr>
            <a:spLocks noGrp="1"/>
          </p:cNvSpPr>
          <p:nvPr>
            <p:ph type="body" sz="quarter" idx="18"/>
          </p:nvPr>
        </p:nvSpPr>
        <p:spPr/>
        <p:txBody>
          <a:bodyPr/>
          <a:lstStyle/>
          <a:p>
            <a:r>
              <a:rPr lang="zh-CN" altLang="en-US" dirty="0">
                <a:solidFill>
                  <a:schemeClr val="tx1">
                    <a:lumMod val="75000"/>
                    <a:lumOff val="25000"/>
                  </a:schemeClr>
                </a:solidFill>
                <a:cs typeface="+mn-ea"/>
                <a:sym typeface="+mn-lt"/>
              </a:rPr>
              <a:t>输入小标题</a:t>
            </a:r>
          </a:p>
        </p:txBody>
      </p:sp>
      <p:sp>
        <p:nvSpPr>
          <p:cNvPr id="14" name="文本占位符 13">
            <a:extLst>
              <a:ext uri="{FF2B5EF4-FFF2-40B4-BE49-F238E27FC236}">
                <a16:creationId xmlns:a16="http://schemas.microsoft.com/office/drawing/2014/main" id="{7826B599-643F-4A18-81EF-DEB674D2A44B}"/>
              </a:ext>
            </a:extLst>
          </p:cNvPr>
          <p:cNvSpPr>
            <a:spLocks noGrp="1"/>
          </p:cNvSpPr>
          <p:nvPr>
            <p:ph type="body" sz="quarter" idx="19"/>
          </p:nvPr>
        </p:nvSpPr>
        <p:spPr/>
        <p:txBody>
          <a:bodyPr/>
          <a:lstStyle/>
          <a:p>
            <a:r>
              <a:rPr lang="zh-CN" altLang="en-US" dirty="0">
                <a:solidFill>
                  <a:schemeClr val="tx1">
                    <a:lumMod val="75000"/>
                    <a:lumOff val="25000"/>
                  </a:schemeClr>
                </a:solidFill>
                <a:cs typeface="+mn-ea"/>
                <a:sym typeface="+mn-lt"/>
              </a:rPr>
              <a:t>输入小标题</a:t>
            </a:r>
          </a:p>
        </p:txBody>
      </p:sp>
      <p:sp>
        <p:nvSpPr>
          <p:cNvPr id="15" name="文本占位符 14">
            <a:extLst>
              <a:ext uri="{FF2B5EF4-FFF2-40B4-BE49-F238E27FC236}">
                <a16:creationId xmlns:a16="http://schemas.microsoft.com/office/drawing/2014/main" id="{1E9822DE-5B20-4776-8472-2AC246E50BD8}"/>
              </a:ext>
            </a:extLst>
          </p:cNvPr>
          <p:cNvSpPr>
            <a:spLocks noGrp="1"/>
          </p:cNvSpPr>
          <p:nvPr>
            <p:ph type="body" sz="quarter" idx="20"/>
          </p:nvPr>
        </p:nvSpPr>
        <p:spPr/>
        <p:txBody>
          <a:bodyPr/>
          <a:lstStyle/>
          <a:p>
            <a:r>
              <a:rPr lang="zh-CN" altLang="en-US" dirty="0">
                <a:solidFill>
                  <a:schemeClr val="tx1">
                    <a:lumMod val="75000"/>
                    <a:lumOff val="25000"/>
                  </a:schemeClr>
                </a:solidFill>
                <a:cs typeface="+mn-ea"/>
                <a:sym typeface="+mn-lt"/>
              </a:rPr>
              <a:t>输入小标题</a:t>
            </a:r>
          </a:p>
        </p:txBody>
      </p:sp>
      <p:sp>
        <p:nvSpPr>
          <p:cNvPr id="16" name="文本占位符 15">
            <a:extLst>
              <a:ext uri="{FF2B5EF4-FFF2-40B4-BE49-F238E27FC236}">
                <a16:creationId xmlns:a16="http://schemas.microsoft.com/office/drawing/2014/main" id="{2AA5E7C2-25BA-46AA-A2B1-7AE352404467}"/>
              </a:ext>
            </a:extLst>
          </p:cNvPr>
          <p:cNvSpPr>
            <a:spLocks noGrp="1"/>
          </p:cNvSpPr>
          <p:nvPr>
            <p:ph type="body" sz="quarter" idx="21"/>
          </p:nvPr>
        </p:nvSpPr>
        <p:spPr/>
        <p:txBody>
          <a:bodyPr/>
          <a:lstStyle/>
          <a:p>
            <a:r>
              <a:rPr lang="zh-CN" altLang="en-US" dirty="0">
                <a:solidFill>
                  <a:schemeClr val="tx1">
                    <a:lumMod val="75000"/>
                    <a:lumOff val="25000"/>
                  </a:schemeClr>
                </a:solidFill>
                <a:cs typeface="+mn-ea"/>
                <a:sym typeface="+mn-lt"/>
              </a:rPr>
              <a:t>输入小标题</a:t>
            </a:r>
          </a:p>
        </p:txBody>
      </p:sp>
      <p:sp>
        <p:nvSpPr>
          <p:cNvPr id="17" name="文本占位符 16">
            <a:extLst>
              <a:ext uri="{FF2B5EF4-FFF2-40B4-BE49-F238E27FC236}">
                <a16:creationId xmlns:a16="http://schemas.microsoft.com/office/drawing/2014/main" id="{A142174F-9DE5-4A7A-83D1-5F7B7178CD41}"/>
              </a:ext>
            </a:extLst>
          </p:cNvPr>
          <p:cNvSpPr>
            <a:spLocks noGrp="1"/>
          </p:cNvSpPr>
          <p:nvPr>
            <p:ph type="body" sz="quarter" idx="22"/>
          </p:nvPr>
        </p:nvSpPr>
        <p:spPr/>
        <p:txBody>
          <a:bodyPr/>
          <a:lstStyle/>
          <a:p>
            <a:r>
              <a:rPr lang="zh-CN" altLang="en-US" dirty="0">
                <a:solidFill>
                  <a:schemeClr val="tx1">
                    <a:lumMod val="75000"/>
                    <a:lumOff val="25000"/>
                  </a:schemeClr>
                </a:solidFill>
                <a:cs typeface="+mn-ea"/>
                <a:sym typeface="+mn-lt"/>
              </a:rPr>
              <a:t>输入小标题</a:t>
            </a:r>
          </a:p>
        </p:txBody>
      </p:sp>
      <p:grpSp>
        <p:nvGrpSpPr>
          <p:cNvPr id="18" name="组合 17">
            <a:extLst>
              <a:ext uri="{FF2B5EF4-FFF2-40B4-BE49-F238E27FC236}">
                <a16:creationId xmlns:a16="http://schemas.microsoft.com/office/drawing/2014/main" id="{457A9FD6-2FC1-48DC-9568-96108DCEFC13}"/>
              </a:ext>
            </a:extLst>
          </p:cNvPr>
          <p:cNvGrpSpPr/>
          <p:nvPr/>
        </p:nvGrpSpPr>
        <p:grpSpPr>
          <a:xfrm>
            <a:off x="0" y="-715587"/>
            <a:ext cx="676656" cy="602672"/>
            <a:chOff x="0" y="6950133"/>
            <a:chExt cx="676656" cy="602672"/>
          </a:xfrm>
        </p:grpSpPr>
        <p:sp>
          <p:nvSpPr>
            <p:cNvPr id="20" name="矩形 19">
              <a:extLst>
                <a:ext uri="{FF2B5EF4-FFF2-40B4-BE49-F238E27FC236}">
                  <a16:creationId xmlns:a16="http://schemas.microsoft.com/office/drawing/2014/main" id="{9877F7BB-93FC-49A6-A7AA-93E3FE8C6C56}"/>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22" name="组合 21">
              <a:extLst>
                <a:ext uri="{FF2B5EF4-FFF2-40B4-BE49-F238E27FC236}">
                  <a16:creationId xmlns:a16="http://schemas.microsoft.com/office/drawing/2014/main" id="{25ACF15B-EC90-4A21-BBB6-BD2ECC1AD008}"/>
                </a:ext>
              </a:extLst>
            </p:cNvPr>
            <p:cNvGrpSpPr/>
            <p:nvPr/>
          </p:nvGrpSpPr>
          <p:grpSpPr>
            <a:xfrm>
              <a:off x="47544" y="7038552"/>
              <a:ext cx="581568" cy="425834"/>
              <a:chOff x="84575" y="6977592"/>
              <a:chExt cx="581568" cy="425834"/>
            </a:xfrm>
          </p:grpSpPr>
          <p:grpSp>
            <p:nvGrpSpPr>
              <p:cNvPr id="24" name="组合 23">
                <a:extLst>
                  <a:ext uri="{FF2B5EF4-FFF2-40B4-BE49-F238E27FC236}">
                    <a16:creationId xmlns:a16="http://schemas.microsoft.com/office/drawing/2014/main" id="{4C9820A8-099A-4D83-918E-9470F0819EA0}"/>
                  </a:ext>
                </a:extLst>
              </p:cNvPr>
              <p:cNvGrpSpPr/>
              <p:nvPr/>
            </p:nvGrpSpPr>
            <p:grpSpPr>
              <a:xfrm>
                <a:off x="84575" y="6979654"/>
                <a:ext cx="317380" cy="421711"/>
                <a:chOff x="14690033" y="2185397"/>
                <a:chExt cx="583830" cy="775754"/>
              </a:xfrm>
            </p:grpSpPr>
            <p:sp>
              <p:nvSpPr>
                <p:cNvPr id="28" name="iŝļíḑe">
                  <a:extLst>
                    <a:ext uri="{FF2B5EF4-FFF2-40B4-BE49-F238E27FC236}">
                      <a16:creationId xmlns:a16="http://schemas.microsoft.com/office/drawing/2014/main" id="{F54F9D5A-E64E-4AD4-8CFB-1FAE58EB3E8B}"/>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şḷíḍé">
                  <a:extLst>
                    <a:ext uri="{FF2B5EF4-FFF2-40B4-BE49-F238E27FC236}">
                      <a16:creationId xmlns:a16="http://schemas.microsoft.com/office/drawing/2014/main" id="{F20A5C1F-F945-4F32-9CCF-3ED90B1798C0}"/>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Sľïḓe">
                  <a:extLst>
                    <a:ext uri="{FF2B5EF4-FFF2-40B4-BE49-F238E27FC236}">
                      <a16:creationId xmlns:a16="http://schemas.microsoft.com/office/drawing/2014/main" id="{E06B80B2-8B32-4EBE-8536-83D6E4BCF286}"/>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ḻídê">
                  <a:extLst>
                    <a:ext uri="{FF2B5EF4-FFF2-40B4-BE49-F238E27FC236}">
                      <a16:creationId xmlns:a16="http://schemas.microsoft.com/office/drawing/2014/main" id="{D7CD3E3D-9C91-44D3-937A-60BFBBF8913A}"/>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S1íḋè">
                  <a:extLst>
                    <a:ext uri="{FF2B5EF4-FFF2-40B4-BE49-F238E27FC236}">
                      <a16:creationId xmlns:a16="http://schemas.microsoft.com/office/drawing/2014/main" id="{600FDD74-FE32-4073-8F0F-05E9B8E7CB50}"/>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şļíde">
                  <a:extLst>
                    <a:ext uri="{FF2B5EF4-FFF2-40B4-BE49-F238E27FC236}">
                      <a16:creationId xmlns:a16="http://schemas.microsoft.com/office/drawing/2014/main" id="{BE1FDEBF-5D2C-4C80-AB84-7DDF03895AEF}"/>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6" name="文本框 25">
                <a:extLst>
                  <a:ext uri="{FF2B5EF4-FFF2-40B4-BE49-F238E27FC236}">
                    <a16:creationId xmlns:a16="http://schemas.microsoft.com/office/drawing/2014/main" id="{100375AC-23D1-45CC-B874-3875F5F67182}"/>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5" name="矩形 34">
            <a:extLst>
              <a:ext uri="{FF2B5EF4-FFF2-40B4-BE49-F238E27FC236}">
                <a16:creationId xmlns:a16="http://schemas.microsoft.com/office/drawing/2014/main" id="{00E92357-C31B-4051-9317-8E91EB95BAB1}"/>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extLst>
      <p:ext uri="{BB962C8B-B14F-4D97-AF65-F5344CB8AC3E}">
        <p14:creationId xmlns:p14="http://schemas.microsoft.com/office/powerpoint/2010/main" val="17333599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074B434B-A52F-4125-A93E-1759EF1F771E}"/>
              </a:ext>
            </a:extLst>
          </p:cNvPr>
          <p:cNvSpPr>
            <a:spLocks noGrp="1"/>
          </p:cNvSpPr>
          <p:nvPr>
            <p:ph type="title"/>
          </p:nvPr>
        </p:nvSpPr>
        <p:spPr/>
        <p:txBody>
          <a:bodyPr/>
          <a:lstStyle/>
          <a:p>
            <a:r>
              <a:rPr lang="zh-CN" altLang="en-US" dirty="0">
                <a:cs typeface="+mn-ea"/>
                <a:sym typeface="+mn-lt"/>
              </a:rPr>
              <a:t>成果展示页</a:t>
            </a:r>
            <a:endParaRPr lang="en-US" dirty="0"/>
          </a:p>
        </p:txBody>
      </p:sp>
      <p:sp>
        <p:nvSpPr>
          <p:cNvPr id="3" name="灯片编号占位符 2">
            <a:extLst>
              <a:ext uri="{FF2B5EF4-FFF2-40B4-BE49-F238E27FC236}">
                <a16:creationId xmlns:a16="http://schemas.microsoft.com/office/drawing/2014/main" id="{A83B9C2B-BEF8-4E9C-ABB5-19ED1531D2F2}"/>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45</a:t>
            </a:fld>
            <a:endParaRPr lang="en-US" dirty="0">
              <a:solidFill>
                <a:srgbClr val="000000">
                  <a:tint val="75000"/>
                </a:srgbClr>
              </a:solidFill>
            </a:endParaRPr>
          </a:p>
        </p:txBody>
      </p:sp>
      <p:sp>
        <p:nvSpPr>
          <p:cNvPr id="11" name="文本占位符 10">
            <a:extLst>
              <a:ext uri="{FF2B5EF4-FFF2-40B4-BE49-F238E27FC236}">
                <a16:creationId xmlns:a16="http://schemas.microsoft.com/office/drawing/2014/main" id="{67D28FC8-09A7-41FA-8941-6E79C5893431}"/>
              </a:ext>
            </a:extLst>
          </p:cNvPr>
          <p:cNvSpPr>
            <a:spLocks noGrp="1"/>
          </p:cNvSpPr>
          <p:nvPr>
            <p:ph type="body" sz="quarter" idx="16"/>
          </p:nvPr>
        </p:nvSpPr>
        <p:spPr/>
        <p:txBody>
          <a:bodyPr/>
          <a:lstStyle/>
          <a:p>
            <a:r>
              <a:rPr lang="zh-CN" altLang="en-US" dirty="0">
                <a:sym typeface="+mn-lt"/>
              </a:rPr>
              <a:t>请在此输入标题</a:t>
            </a:r>
          </a:p>
        </p:txBody>
      </p:sp>
      <p:pic>
        <p:nvPicPr>
          <p:cNvPr id="19" name="图片占位符 18">
            <a:extLst>
              <a:ext uri="{FF2B5EF4-FFF2-40B4-BE49-F238E27FC236}">
                <a16:creationId xmlns:a16="http://schemas.microsoft.com/office/drawing/2014/main" id="{5E155371-288C-49B5-82CF-621315601146}"/>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13" r="113"/>
          <a:stretch>
            <a:fillRect/>
          </a:stretch>
        </p:blipFill>
        <p:spPr/>
      </p:pic>
      <p:pic>
        <p:nvPicPr>
          <p:cNvPr id="27" name="图片占位符 26">
            <a:extLst>
              <a:ext uri="{FF2B5EF4-FFF2-40B4-BE49-F238E27FC236}">
                <a16:creationId xmlns:a16="http://schemas.microsoft.com/office/drawing/2014/main" id="{08F69B05-E644-4497-877A-9E07A3724138}"/>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a:stretch>
            <a:fillRect/>
          </a:stretch>
        </p:blipFill>
        <p:spPr/>
      </p:pic>
      <p:pic>
        <p:nvPicPr>
          <p:cNvPr id="29" name="图片占位符 28">
            <a:extLst>
              <a:ext uri="{FF2B5EF4-FFF2-40B4-BE49-F238E27FC236}">
                <a16:creationId xmlns:a16="http://schemas.microsoft.com/office/drawing/2014/main" id="{F99E4DC8-B6E4-4288-BBD0-73B29EED8F33}"/>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a:stretch>
            <a:fillRect/>
          </a:stretch>
        </p:blipFill>
        <p:spPr/>
      </p:pic>
      <p:pic>
        <p:nvPicPr>
          <p:cNvPr id="31" name="图片占位符 30">
            <a:extLst>
              <a:ext uri="{FF2B5EF4-FFF2-40B4-BE49-F238E27FC236}">
                <a16:creationId xmlns:a16="http://schemas.microsoft.com/office/drawing/2014/main" id="{0F2B8A01-75AC-4DA3-BDF3-4A1DB07DEB3C}"/>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t="42" b="42"/>
          <a:stretch>
            <a:fillRect/>
          </a:stretch>
        </p:blipFill>
        <p:spPr/>
      </p:pic>
      <p:pic>
        <p:nvPicPr>
          <p:cNvPr id="33" name="图片占位符 32">
            <a:extLst>
              <a:ext uri="{FF2B5EF4-FFF2-40B4-BE49-F238E27FC236}">
                <a16:creationId xmlns:a16="http://schemas.microsoft.com/office/drawing/2014/main" id="{E9E19A70-85CF-4D3D-AABB-2C7838F4C23B}"/>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l="113" r="113"/>
          <a:stretch>
            <a:fillRect/>
          </a:stretch>
        </p:blipFill>
        <p:spPr/>
      </p:pic>
      <p:sp>
        <p:nvSpPr>
          <p:cNvPr id="12" name="文本占位符 11">
            <a:extLst>
              <a:ext uri="{FF2B5EF4-FFF2-40B4-BE49-F238E27FC236}">
                <a16:creationId xmlns:a16="http://schemas.microsoft.com/office/drawing/2014/main" id="{7380830B-BA01-47E3-8F0B-06214203C4C6}"/>
              </a:ext>
            </a:extLst>
          </p:cNvPr>
          <p:cNvSpPr>
            <a:spLocks noGrp="1"/>
          </p:cNvSpPr>
          <p:nvPr>
            <p:ph type="body" sz="quarter" idx="17"/>
          </p:nvPr>
        </p:nvSpPr>
        <p:spPr/>
        <p:txBody>
          <a:bodyPr/>
          <a:lstStyle/>
          <a:p>
            <a:r>
              <a:rPr lang="zh-CN" altLang="en-US"/>
              <a:t>请输入文案</a:t>
            </a:r>
            <a:endParaRPr lang="en-US"/>
          </a:p>
        </p:txBody>
      </p:sp>
      <p:sp>
        <p:nvSpPr>
          <p:cNvPr id="13" name="文本占位符 12">
            <a:extLst>
              <a:ext uri="{FF2B5EF4-FFF2-40B4-BE49-F238E27FC236}">
                <a16:creationId xmlns:a16="http://schemas.microsoft.com/office/drawing/2014/main" id="{FD7D0BB1-4733-4449-9DC1-8285D2B99700}"/>
              </a:ext>
            </a:extLst>
          </p:cNvPr>
          <p:cNvSpPr>
            <a:spLocks noGrp="1"/>
          </p:cNvSpPr>
          <p:nvPr>
            <p:ph type="body" sz="quarter" idx="18"/>
          </p:nvPr>
        </p:nvSpPr>
        <p:spPr/>
        <p:txBody>
          <a:bodyPr/>
          <a:lstStyle/>
          <a:p>
            <a:r>
              <a:rPr lang="zh-CN" altLang="en-US"/>
              <a:t>请输入文案</a:t>
            </a:r>
            <a:endParaRPr lang="en-US"/>
          </a:p>
        </p:txBody>
      </p:sp>
      <p:sp>
        <p:nvSpPr>
          <p:cNvPr id="14" name="文本占位符 13">
            <a:extLst>
              <a:ext uri="{FF2B5EF4-FFF2-40B4-BE49-F238E27FC236}">
                <a16:creationId xmlns:a16="http://schemas.microsoft.com/office/drawing/2014/main" id="{2BE2F052-1695-4859-9554-494CD103A97F}"/>
              </a:ext>
            </a:extLst>
          </p:cNvPr>
          <p:cNvSpPr>
            <a:spLocks noGrp="1"/>
          </p:cNvSpPr>
          <p:nvPr>
            <p:ph type="body" sz="quarter" idx="19"/>
          </p:nvPr>
        </p:nvSpPr>
        <p:spPr/>
        <p:txBody>
          <a:bodyPr/>
          <a:lstStyle/>
          <a:p>
            <a:r>
              <a:rPr lang="zh-CN" altLang="en-US"/>
              <a:t>请输入文案</a:t>
            </a:r>
            <a:endParaRPr lang="en-US"/>
          </a:p>
        </p:txBody>
      </p:sp>
      <p:sp>
        <p:nvSpPr>
          <p:cNvPr id="15" name="文本占位符 14">
            <a:extLst>
              <a:ext uri="{FF2B5EF4-FFF2-40B4-BE49-F238E27FC236}">
                <a16:creationId xmlns:a16="http://schemas.microsoft.com/office/drawing/2014/main" id="{FBA39299-D0C3-4F5D-B5D3-13F24133148A}"/>
              </a:ext>
            </a:extLst>
          </p:cNvPr>
          <p:cNvSpPr>
            <a:spLocks noGrp="1"/>
          </p:cNvSpPr>
          <p:nvPr>
            <p:ph type="body" sz="quarter" idx="20"/>
          </p:nvPr>
        </p:nvSpPr>
        <p:spPr/>
        <p:txBody>
          <a:bodyPr/>
          <a:lstStyle/>
          <a:p>
            <a:r>
              <a:rPr lang="zh-CN" altLang="en-US"/>
              <a:t>请输入文案</a:t>
            </a:r>
            <a:endParaRPr lang="en-US"/>
          </a:p>
        </p:txBody>
      </p:sp>
      <p:sp>
        <p:nvSpPr>
          <p:cNvPr id="16" name="文本占位符 15">
            <a:extLst>
              <a:ext uri="{FF2B5EF4-FFF2-40B4-BE49-F238E27FC236}">
                <a16:creationId xmlns:a16="http://schemas.microsoft.com/office/drawing/2014/main" id="{09AAF3D6-9F98-4468-B770-B3A03FD536EF}"/>
              </a:ext>
            </a:extLst>
          </p:cNvPr>
          <p:cNvSpPr>
            <a:spLocks noGrp="1"/>
          </p:cNvSpPr>
          <p:nvPr>
            <p:ph type="body" sz="quarter" idx="21"/>
          </p:nvPr>
        </p:nvSpPr>
        <p:spPr/>
        <p:txBody>
          <a:bodyPr/>
          <a:lstStyle/>
          <a:p>
            <a:r>
              <a:rPr lang="zh-CN" altLang="en-US"/>
              <a:t>请输入文案</a:t>
            </a:r>
            <a:endParaRPr lang="en-US"/>
          </a:p>
        </p:txBody>
      </p:sp>
      <p:sp>
        <p:nvSpPr>
          <p:cNvPr id="17" name="文本占位符 16">
            <a:extLst>
              <a:ext uri="{FF2B5EF4-FFF2-40B4-BE49-F238E27FC236}">
                <a16:creationId xmlns:a16="http://schemas.microsoft.com/office/drawing/2014/main" id="{0347CB16-3A02-41AD-BD47-B119A26EB2D8}"/>
              </a:ext>
            </a:extLst>
          </p:cNvPr>
          <p:cNvSpPr>
            <a:spLocks noGrp="1"/>
          </p:cNvSpPr>
          <p:nvPr>
            <p:ph type="body" sz="quarter" idx="22"/>
          </p:nvPr>
        </p:nvSpPr>
        <p:spPr/>
        <p:txBody>
          <a:bodyPr/>
          <a:lstStyle/>
          <a:p>
            <a:r>
              <a:rPr lang="zh-CN" altLang="en-US"/>
              <a:t>请输入文案</a:t>
            </a:r>
            <a:endParaRPr lang="en-US"/>
          </a:p>
        </p:txBody>
      </p:sp>
      <p:pic>
        <p:nvPicPr>
          <p:cNvPr id="25" name="图片占位符 24">
            <a:extLst>
              <a:ext uri="{FF2B5EF4-FFF2-40B4-BE49-F238E27FC236}">
                <a16:creationId xmlns:a16="http://schemas.microsoft.com/office/drawing/2014/main" id="{B22DDAB9-81BE-4527-A8B0-2A3708A2A2DF}"/>
              </a:ext>
            </a:extLst>
          </p:cNvPr>
          <p:cNvPicPr>
            <a:picLocks noGrp="1" noChangeAspect="1"/>
          </p:cNvPicPr>
          <p:nvPr>
            <p:ph type="pic" sz="quarter" idx="11"/>
          </p:nvPr>
        </p:nvPicPr>
        <p:blipFill>
          <a:blip r:embed="rId7">
            <a:extLst>
              <a:ext uri="{28A0092B-C50C-407E-A947-70E740481C1C}">
                <a14:useLocalDpi xmlns:a14="http://schemas.microsoft.com/office/drawing/2010/main" val="0"/>
              </a:ext>
            </a:extLst>
          </a:blip>
          <a:srcRect l="40" r="40"/>
          <a:stretch>
            <a:fillRect/>
          </a:stretch>
        </p:blipFill>
        <p:spPr/>
      </p:pic>
      <p:grpSp>
        <p:nvGrpSpPr>
          <p:cNvPr id="18" name="组合 17">
            <a:extLst>
              <a:ext uri="{FF2B5EF4-FFF2-40B4-BE49-F238E27FC236}">
                <a16:creationId xmlns:a16="http://schemas.microsoft.com/office/drawing/2014/main" id="{4BC2FEF8-A7E7-47D9-8774-F72AA01D7DBC}"/>
              </a:ext>
            </a:extLst>
          </p:cNvPr>
          <p:cNvGrpSpPr/>
          <p:nvPr/>
        </p:nvGrpSpPr>
        <p:grpSpPr>
          <a:xfrm>
            <a:off x="0" y="-715587"/>
            <a:ext cx="676656" cy="602672"/>
            <a:chOff x="0" y="6950133"/>
            <a:chExt cx="676656" cy="602672"/>
          </a:xfrm>
        </p:grpSpPr>
        <p:sp>
          <p:nvSpPr>
            <p:cNvPr id="20" name="矩形 19">
              <a:extLst>
                <a:ext uri="{FF2B5EF4-FFF2-40B4-BE49-F238E27FC236}">
                  <a16:creationId xmlns:a16="http://schemas.microsoft.com/office/drawing/2014/main" id="{861F4C77-F6CF-4240-BA9C-CF7D177A4100}"/>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21" name="组合 20">
              <a:extLst>
                <a:ext uri="{FF2B5EF4-FFF2-40B4-BE49-F238E27FC236}">
                  <a16:creationId xmlns:a16="http://schemas.microsoft.com/office/drawing/2014/main" id="{E07B8B68-6B63-412D-A575-580147C99DF5}"/>
                </a:ext>
              </a:extLst>
            </p:cNvPr>
            <p:cNvGrpSpPr/>
            <p:nvPr/>
          </p:nvGrpSpPr>
          <p:grpSpPr>
            <a:xfrm>
              <a:off x="47544" y="7038552"/>
              <a:ext cx="581568" cy="425834"/>
              <a:chOff x="84575" y="6977592"/>
              <a:chExt cx="581568" cy="425834"/>
            </a:xfrm>
          </p:grpSpPr>
          <p:grpSp>
            <p:nvGrpSpPr>
              <p:cNvPr id="22" name="组合 21">
                <a:extLst>
                  <a:ext uri="{FF2B5EF4-FFF2-40B4-BE49-F238E27FC236}">
                    <a16:creationId xmlns:a16="http://schemas.microsoft.com/office/drawing/2014/main" id="{18A28C57-35FD-488C-8C29-4DAEC722A29A}"/>
                  </a:ext>
                </a:extLst>
              </p:cNvPr>
              <p:cNvGrpSpPr/>
              <p:nvPr/>
            </p:nvGrpSpPr>
            <p:grpSpPr>
              <a:xfrm>
                <a:off x="84575" y="6979654"/>
                <a:ext cx="317380" cy="421711"/>
                <a:chOff x="14690033" y="2185397"/>
                <a:chExt cx="583830" cy="775754"/>
              </a:xfrm>
            </p:grpSpPr>
            <p:sp>
              <p:nvSpPr>
                <p:cNvPr id="24" name="iŝļíḑe">
                  <a:extLst>
                    <a:ext uri="{FF2B5EF4-FFF2-40B4-BE49-F238E27FC236}">
                      <a16:creationId xmlns:a16="http://schemas.microsoft.com/office/drawing/2014/main" id="{33A43A7F-93F8-4F41-8465-F4CD360ABD63}"/>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şḷíḍé">
                  <a:extLst>
                    <a:ext uri="{FF2B5EF4-FFF2-40B4-BE49-F238E27FC236}">
                      <a16:creationId xmlns:a16="http://schemas.microsoft.com/office/drawing/2014/main" id="{01A502ED-7046-4444-A381-712138E50409}"/>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Sľïḓe">
                  <a:extLst>
                    <a:ext uri="{FF2B5EF4-FFF2-40B4-BE49-F238E27FC236}">
                      <a16:creationId xmlns:a16="http://schemas.microsoft.com/office/drawing/2014/main" id="{6CD8918D-E86D-4311-985C-08834F6BDFC7}"/>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sḻídê">
                  <a:extLst>
                    <a:ext uri="{FF2B5EF4-FFF2-40B4-BE49-F238E27FC236}">
                      <a16:creationId xmlns:a16="http://schemas.microsoft.com/office/drawing/2014/main" id="{093FED25-D5EA-4BA4-B991-12F134E45E71}"/>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S1íḋè">
                  <a:extLst>
                    <a:ext uri="{FF2B5EF4-FFF2-40B4-BE49-F238E27FC236}">
                      <a16:creationId xmlns:a16="http://schemas.microsoft.com/office/drawing/2014/main" id="{CF4E9E84-14CF-429E-8F13-8D44D8B3B065}"/>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şļíde">
                  <a:extLst>
                    <a:ext uri="{FF2B5EF4-FFF2-40B4-BE49-F238E27FC236}">
                      <a16:creationId xmlns:a16="http://schemas.microsoft.com/office/drawing/2014/main" id="{30750CF0-185F-4A94-9339-5B477FDA0578}"/>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3" name="文本框 22">
                <a:extLst>
                  <a:ext uri="{FF2B5EF4-FFF2-40B4-BE49-F238E27FC236}">
                    <a16:creationId xmlns:a16="http://schemas.microsoft.com/office/drawing/2014/main" id="{13496851-4D32-4D4A-B3BF-181E8D469947}"/>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5" name="矩形 34">
            <a:extLst>
              <a:ext uri="{FF2B5EF4-FFF2-40B4-BE49-F238E27FC236}">
                <a16:creationId xmlns:a16="http://schemas.microsoft.com/office/drawing/2014/main" id="{70D10EC3-C93C-483F-B200-650609820D65}"/>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extLst>
      <p:ext uri="{BB962C8B-B14F-4D97-AF65-F5344CB8AC3E}">
        <p14:creationId xmlns:p14="http://schemas.microsoft.com/office/powerpoint/2010/main" val="7185794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a:extLst>
              <a:ext uri="{FF2B5EF4-FFF2-40B4-BE49-F238E27FC236}">
                <a16:creationId xmlns:a16="http://schemas.microsoft.com/office/drawing/2014/main" id="{68C3A003-85C5-43AA-8F84-43E793C0C8B7}"/>
              </a:ext>
            </a:extLst>
          </p:cNvPr>
          <p:cNvSpPr>
            <a:spLocks noGrp="1"/>
          </p:cNvSpPr>
          <p:nvPr>
            <p:ph type="subTitle" idx="1"/>
          </p:nvPr>
        </p:nvSpPr>
        <p:spPr/>
        <p:txBody>
          <a:bodyPr/>
          <a:lstStyle/>
          <a:p>
            <a:r>
              <a:rPr lang="en-US" altLang="zh-CN" dirty="0">
                <a:cs typeface="+mn-ea"/>
                <a:sym typeface="+mn-lt"/>
              </a:rPr>
              <a:t>CONCLUSION ANALYSIS AND SUMMARY</a:t>
            </a:r>
          </a:p>
        </p:txBody>
      </p:sp>
      <p:sp>
        <p:nvSpPr>
          <p:cNvPr id="6" name="标题 5">
            <a:extLst>
              <a:ext uri="{FF2B5EF4-FFF2-40B4-BE49-F238E27FC236}">
                <a16:creationId xmlns:a16="http://schemas.microsoft.com/office/drawing/2014/main" id="{BB75BF13-98E3-4ADD-AC2A-6E8926FEF93D}"/>
              </a:ext>
            </a:extLst>
          </p:cNvPr>
          <p:cNvSpPr>
            <a:spLocks noGrp="1"/>
          </p:cNvSpPr>
          <p:nvPr>
            <p:ph type="ctrTitle"/>
          </p:nvPr>
        </p:nvSpPr>
        <p:spPr/>
        <p:txBody>
          <a:bodyPr/>
          <a:lstStyle/>
          <a:p>
            <a:r>
              <a:rPr lang="zh-CN" altLang="en-US" dirty="0">
                <a:cs typeface="+mn-ea"/>
                <a:sym typeface="+mn-lt"/>
              </a:rPr>
              <a:t>结论分析与总结</a:t>
            </a:r>
            <a:endParaRPr lang="en-US" dirty="0">
              <a:cs typeface="+mn-ea"/>
              <a:sym typeface="+mn-lt"/>
            </a:endParaRPr>
          </a:p>
        </p:txBody>
      </p:sp>
      <p:sp>
        <p:nvSpPr>
          <p:cNvPr id="9" name="文本占位符 8">
            <a:extLst>
              <a:ext uri="{FF2B5EF4-FFF2-40B4-BE49-F238E27FC236}">
                <a16:creationId xmlns:a16="http://schemas.microsoft.com/office/drawing/2014/main" id="{F17A26B9-BC55-4BC6-B6CC-D9E29DC06D29}"/>
              </a:ext>
            </a:extLst>
          </p:cNvPr>
          <p:cNvSpPr>
            <a:spLocks noGrp="1"/>
          </p:cNvSpPr>
          <p:nvPr>
            <p:ph type="body" sz="quarter" idx="12"/>
          </p:nvPr>
        </p:nvSpPr>
        <p:spPr/>
        <p:txBody>
          <a:bodyPr/>
          <a:lstStyle/>
          <a:p>
            <a:pPr marL="0" indent="0">
              <a:buNone/>
            </a:pPr>
            <a:r>
              <a:rPr lang="en-US" altLang="zh-CN" dirty="0">
                <a:cs typeface="+mn-ea"/>
                <a:sym typeface="+mn-lt"/>
              </a:rPr>
              <a:t>04</a:t>
            </a:r>
            <a:endParaRPr lang="en-US" dirty="0">
              <a:cs typeface="+mn-ea"/>
              <a:sym typeface="+mn-lt"/>
            </a:endParaRPr>
          </a:p>
        </p:txBody>
      </p:sp>
      <p:grpSp>
        <p:nvGrpSpPr>
          <p:cNvPr id="5" name="组合 4">
            <a:extLst>
              <a:ext uri="{FF2B5EF4-FFF2-40B4-BE49-F238E27FC236}">
                <a16:creationId xmlns:a16="http://schemas.microsoft.com/office/drawing/2014/main" id="{1D7C5EDD-79E0-4500-B012-6E29643F6CB8}"/>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73910EE1-DABD-4904-B530-752C8E1ED5C4}"/>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0" name="组合 9">
              <a:extLst>
                <a:ext uri="{FF2B5EF4-FFF2-40B4-BE49-F238E27FC236}">
                  <a16:creationId xmlns:a16="http://schemas.microsoft.com/office/drawing/2014/main" id="{6EAF55B9-2DDE-4E92-A3CD-D08CDAC68497}"/>
                </a:ext>
              </a:extLst>
            </p:cNvPr>
            <p:cNvGrpSpPr/>
            <p:nvPr/>
          </p:nvGrpSpPr>
          <p:grpSpPr>
            <a:xfrm>
              <a:off x="47544" y="7038552"/>
              <a:ext cx="581568" cy="425834"/>
              <a:chOff x="84575" y="6977592"/>
              <a:chExt cx="581568" cy="425834"/>
            </a:xfrm>
          </p:grpSpPr>
          <p:grpSp>
            <p:nvGrpSpPr>
              <p:cNvPr id="11" name="组合 10">
                <a:extLst>
                  <a:ext uri="{FF2B5EF4-FFF2-40B4-BE49-F238E27FC236}">
                    <a16:creationId xmlns:a16="http://schemas.microsoft.com/office/drawing/2014/main" id="{922F2A38-3059-4326-AA3C-B82F512318BF}"/>
                  </a:ext>
                </a:extLst>
              </p:cNvPr>
              <p:cNvGrpSpPr/>
              <p:nvPr/>
            </p:nvGrpSpPr>
            <p:grpSpPr>
              <a:xfrm>
                <a:off x="84575" y="6979654"/>
                <a:ext cx="317380" cy="421711"/>
                <a:chOff x="14690033" y="2185397"/>
                <a:chExt cx="583830" cy="775754"/>
              </a:xfrm>
            </p:grpSpPr>
            <p:sp>
              <p:nvSpPr>
                <p:cNvPr id="13" name="iŝļíḑe">
                  <a:extLst>
                    <a:ext uri="{FF2B5EF4-FFF2-40B4-BE49-F238E27FC236}">
                      <a16:creationId xmlns:a16="http://schemas.microsoft.com/office/drawing/2014/main" id="{F94A8BE7-86B4-47CB-8B98-6B83D52728B2}"/>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şḷíḍé">
                  <a:extLst>
                    <a:ext uri="{FF2B5EF4-FFF2-40B4-BE49-F238E27FC236}">
                      <a16:creationId xmlns:a16="http://schemas.microsoft.com/office/drawing/2014/main" id="{03268180-1988-4476-ACE7-BC9AB30C35BF}"/>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ľïḓe">
                  <a:extLst>
                    <a:ext uri="{FF2B5EF4-FFF2-40B4-BE49-F238E27FC236}">
                      <a16:creationId xmlns:a16="http://schemas.microsoft.com/office/drawing/2014/main" id="{64AF129D-73D5-4EFA-930A-79F8D1B8671B}"/>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ídê">
                  <a:extLst>
                    <a:ext uri="{FF2B5EF4-FFF2-40B4-BE49-F238E27FC236}">
                      <a16:creationId xmlns:a16="http://schemas.microsoft.com/office/drawing/2014/main" id="{7DC73FB9-1882-4E1B-A227-689ED1DAD049}"/>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îS1íḋè">
                  <a:extLst>
                    <a:ext uri="{FF2B5EF4-FFF2-40B4-BE49-F238E27FC236}">
                      <a16:creationId xmlns:a16="http://schemas.microsoft.com/office/drawing/2014/main" id="{A3AEAE03-F630-45E6-973E-7359169BDEFC}"/>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şļíde">
                  <a:extLst>
                    <a:ext uri="{FF2B5EF4-FFF2-40B4-BE49-F238E27FC236}">
                      <a16:creationId xmlns:a16="http://schemas.microsoft.com/office/drawing/2014/main" id="{2F0F8298-7735-4626-9095-C6430964A46A}"/>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2" name="文本框 11">
                <a:extLst>
                  <a:ext uri="{FF2B5EF4-FFF2-40B4-BE49-F238E27FC236}">
                    <a16:creationId xmlns:a16="http://schemas.microsoft.com/office/drawing/2014/main" id="{B54EA18A-06D1-4D03-A538-9CCD704ED568}"/>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a:extLst>
              <a:ext uri="{FF2B5EF4-FFF2-40B4-BE49-F238E27FC236}">
                <a16:creationId xmlns:a16="http://schemas.microsoft.com/office/drawing/2014/main" id="{027D747E-1913-4861-90CA-479DE2E803FD}"/>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27174517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692627C-F867-4783-A2E7-CC9283EF6617}"/>
              </a:ext>
            </a:extLst>
          </p:cNvPr>
          <p:cNvSpPr>
            <a:spLocks noGrp="1"/>
          </p:cNvSpPr>
          <p:nvPr>
            <p:ph type="title"/>
          </p:nvPr>
        </p:nvSpPr>
        <p:spPr/>
        <p:txBody>
          <a:bodyPr/>
          <a:lstStyle/>
          <a:p>
            <a:r>
              <a:rPr lang="zh-CN" altLang="en-US" dirty="0">
                <a:cs typeface="+mn-ea"/>
                <a:sym typeface="+mn-lt"/>
              </a:rPr>
              <a:t>数据图表页（条形条）：表示各项的数量对比</a:t>
            </a:r>
            <a:endParaRPr lang="en-US" dirty="0"/>
          </a:p>
        </p:txBody>
      </p:sp>
      <p:sp>
        <p:nvSpPr>
          <p:cNvPr id="3" name="灯片编号占位符 2">
            <a:extLst>
              <a:ext uri="{FF2B5EF4-FFF2-40B4-BE49-F238E27FC236}">
                <a16:creationId xmlns:a16="http://schemas.microsoft.com/office/drawing/2014/main" id="{4334BFCA-6FFD-4406-847E-11C3C53319BC}"/>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47</a:t>
            </a:fld>
            <a:endParaRPr lang="en-US" dirty="0">
              <a:solidFill>
                <a:srgbClr val="000000">
                  <a:tint val="75000"/>
                </a:srgbClr>
              </a:solidFill>
            </a:endParaRPr>
          </a:p>
        </p:txBody>
      </p:sp>
      <p:graphicFrame>
        <p:nvGraphicFramePr>
          <p:cNvPr id="8" name="图表 7">
            <a:extLst>
              <a:ext uri="{FF2B5EF4-FFF2-40B4-BE49-F238E27FC236}">
                <a16:creationId xmlns:a16="http://schemas.microsoft.com/office/drawing/2014/main" id="{FA555F5B-8F51-4236-9B7B-CF8B0FB82F2B}"/>
              </a:ext>
            </a:extLst>
          </p:cNvPr>
          <p:cNvGraphicFramePr/>
          <p:nvPr>
            <p:extLst>
              <p:ext uri="{D42A27DB-BD31-4B8C-83A1-F6EECF244321}">
                <p14:modId xmlns:p14="http://schemas.microsoft.com/office/powerpoint/2010/main" val="4045976855"/>
              </p:ext>
            </p:extLst>
          </p:nvPr>
        </p:nvGraphicFramePr>
        <p:xfrm>
          <a:off x="515938" y="1557338"/>
          <a:ext cx="8077344" cy="457200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7">
            <a:extLst>
              <a:ext uri="{FF2B5EF4-FFF2-40B4-BE49-F238E27FC236}">
                <a16:creationId xmlns:a16="http://schemas.microsoft.com/office/drawing/2014/main" id="{ADDAC6A2-86BD-4DF9-A446-4E194F1B7A40}"/>
              </a:ext>
            </a:extLst>
          </p:cNvPr>
          <p:cNvSpPr txBox="1">
            <a:spLocks noChangeArrowheads="1"/>
          </p:cNvSpPr>
          <p:nvPr/>
        </p:nvSpPr>
        <p:spPr bwMode="auto">
          <a:xfrm>
            <a:off x="554398" y="1196975"/>
            <a:ext cx="279840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i="0" u="none" strike="noStrike" kern="1200" cap="none" spc="0" normalizeH="0" noProof="0" dirty="0">
                <a:ln>
                  <a:noFill/>
                </a:ln>
                <a:solidFill>
                  <a:schemeClr val="tx1">
                    <a:lumMod val="75000"/>
                    <a:lumOff val="25000"/>
                  </a:schemeClr>
                </a:solidFill>
                <a:effectLst/>
                <a:uLnTx/>
                <a:uFillTx/>
                <a:latin typeface="+mn-lt"/>
                <a:ea typeface="+mn-ea"/>
                <a:cs typeface="+mn-ea"/>
                <a:sym typeface="+mn-lt"/>
              </a:rPr>
              <a:t>请在此输入图表的标题</a:t>
            </a:r>
          </a:p>
        </p:txBody>
      </p:sp>
      <p:cxnSp>
        <p:nvCxnSpPr>
          <p:cNvPr id="4" name="直接箭头连接符 3">
            <a:extLst>
              <a:ext uri="{FF2B5EF4-FFF2-40B4-BE49-F238E27FC236}">
                <a16:creationId xmlns:a16="http://schemas.microsoft.com/office/drawing/2014/main" id="{BAC9206D-E4ED-46CB-BC56-A5D5CA79DBEC}"/>
              </a:ext>
            </a:extLst>
          </p:cNvPr>
          <p:cNvCxnSpPr>
            <a:cxnSpLocks/>
          </p:cNvCxnSpPr>
          <p:nvPr/>
        </p:nvCxnSpPr>
        <p:spPr>
          <a:xfrm>
            <a:off x="9082110" y="2174240"/>
            <a:ext cx="0" cy="1602382"/>
          </a:xfrm>
          <a:prstGeom prst="straightConnector1">
            <a:avLst/>
          </a:prstGeom>
          <a:ln w="6350" cap="flat" cmpd="sng" algn="ctr">
            <a:solidFill>
              <a:srgbClr val="6E6F73"/>
            </a:solidFill>
            <a:prstDash val="solid"/>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B625112E-8790-445E-9515-B83E5273734E}"/>
              </a:ext>
            </a:extLst>
          </p:cNvPr>
          <p:cNvSpPr/>
          <p:nvPr/>
        </p:nvSpPr>
        <p:spPr>
          <a:xfrm>
            <a:off x="8604905" y="2606099"/>
            <a:ext cx="1305165" cy="738664"/>
          </a:xfrm>
          <a:prstGeom prst="rect">
            <a:avLst/>
          </a:prstGeom>
          <a:solidFill>
            <a:srgbClr val="FFFFFF"/>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76</a:t>
            </a:r>
            <a:r>
              <a:rPr kumimoji="0" lang="en-US" altLang="zh-CN" sz="32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a:t>
            </a: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 </a:t>
            </a:r>
            <a:endParaRPr kumimoji="0" lang="en-US" sz="4800" b="0" i="0" u="none" strike="noStrike" kern="1200" cap="none" spc="300" normalizeH="0" noProof="0" dirty="0">
              <a:ln>
                <a:noFill/>
              </a:ln>
              <a:solidFill>
                <a:schemeClr val="accent1"/>
              </a:solidFill>
              <a:effectLst/>
              <a:uLnTx/>
              <a:uFillTx/>
              <a:latin typeface="Impact" panose="020B0806030902050204" pitchFamily="34" charset="0"/>
            </a:endParaRPr>
          </a:p>
        </p:txBody>
      </p:sp>
      <p:grpSp>
        <p:nvGrpSpPr>
          <p:cNvPr id="12" name="组合 11">
            <a:extLst>
              <a:ext uri="{FF2B5EF4-FFF2-40B4-BE49-F238E27FC236}">
                <a16:creationId xmlns:a16="http://schemas.microsoft.com/office/drawing/2014/main" id="{62372D5A-D04E-498B-9171-7E7DEB9658E9}"/>
              </a:ext>
            </a:extLst>
          </p:cNvPr>
          <p:cNvGrpSpPr/>
          <p:nvPr/>
        </p:nvGrpSpPr>
        <p:grpSpPr>
          <a:xfrm>
            <a:off x="4892040" y="2189480"/>
            <a:ext cx="6820535" cy="1602382"/>
            <a:chOff x="4892040" y="2084140"/>
            <a:chExt cx="6820535" cy="1692482"/>
          </a:xfrm>
        </p:grpSpPr>
        <p:cxnSp>
          <p:nvCxnSpPr>
            <p:cNvPr id="6" name="直接连接符 5">
              <a:extLst>
                <a:ext uri="{FF2B5EF4-FFF2-40B4-BE49-F238E27FC236}">
                  <a16:creationId xmlns:a16="http://schemas.microsoft.com/office/drawing/2014/main" id="{CA250E5F-D7D7-4C5D-A511-B83F85A54FE5}"/>
                </a:ext>
              </a:extLst>
            </p:cNvPr>
            <p:cNvCxnSpPr>
              <a:cxnSpLocks/>
            </p:cNvCxnSpPr>
            <p:nvPr/>
          </p:nvCxnSpPr>
          <p:spPr>
            <a:xfrm>
              <a:off x="7574280" y="2084140"/>
              <a:ext cx="4138294" cy="0"/>
            </a:xfrm>
            <a:prstGeom prst="line">
              <a:avLst/>
            </a:prstGeom>
            <a:ln w="9525" cap="flat" cmpd="sng" algn="ctr">
              <a:solidFill>
                <a:schemeClr val="bg1">
                  <a:lumMod val="7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E6A80B58-C56C-43EC-AABC-61DF94D55E03}"/>
                </a:ext>
              </a:extLst>
            </p:cNvPr>
            <p:cNvCxnSpPr>
              <a:cxnSpLocks/>
            </p:cNvCxnSpPr>
            <p:nvPr/>
          </p:nvCxnSpPr>
          <p:spPr>
            <a:xfrm>
              <a:off x="4892040" y="3768574"/>
              <a:ext cx="6820535" cy="0"/>
            </a:xfrm>
            <a:prstGeom prst="line">
              <a:avLst/>
            </a:prstGeom>
            <a:ln w="9525" cap="flat" cmpd="sng" algn="ctr">
              <a:solidFill>
                <a:schemeClr val="bg1">
                  <a:lumMod val="7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矩形 41">
              <a:extLst>
                <a:ext uri="{FF2B5EF4-FFF2-40B4-BE49-F238E27FC236}">
                  <a16:creationId xmlns:a16="http://schemas.microsoft.com/office/drawing/2014/main" id="{E9D30E3B-9F7F-4069-92BF-E956943CC9A6}"/>
                </a:ext>
              </a:extLst>
            </p:cNvPr>
            <p:cNvSpPr>
              <a:spLocks noChangeArrowheads="1"/>
            </p:cNvSpPr>
            <p:nvPr/>
          </p:nvSpPr>
          <p:spPr bwMode="auto">
            <a:xfrm>
              <a:off x="9933710" y="2084140"/>
              <a:ext cx="1738436" cy="1692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108000" marR="0" lvl="1" indent="0" defTabSz="914400" rtl="0" eaLnBrk="1" fontAlgn="auto" latinLnBrk="0" hangingPunct="1">
                <a:lnSpc>
                  <a:spcPct val="100000"/>
                </a:lnSpc>
                <a:spcBef>
                  <a:spcPts val="0"/>
                </a:spcBef>
                <a:spcAft>
                  <a:spcPts val="0"/>
                </a:spcAft>
                <a:buClr>
                  <a:srgbClr val="44546A">
                    <a:lumMod val="100000"/>
                  </a:srgbClr>
                </a:buClr>
                <a:buSzPct val="100000"/>
                <a:buFontTx/>
                <a:buNone/>
                <a:tabLst/>
                <a:defRPr/>
              </a:pPr>
              <a:r>
                <a:rPr kumimoji="0" lang="zh-CN" altLang="en-US" i="0" u="none" strike="noStrike" kern="1200" cap="none" spc="0" normalizeH="0" noProof="0" dirty="0">
                  <a:ln>
                    <a:noFill/>
                  </a:ln>
                  <a:solidFill>
                    <a:schemeClr val="accent1"/>
                  </a:solidFill>
                  <a:effectLst/>
                  <a:uLnTx/>
                  <a:uFillTx/>
                  <a:latin typeface="+mn-lt"/>
                  <a:ea typeface="+mn-ea"/>
                  <a:cs typeface="+mn-ea"/>
                  <a:sym typeface="+mn-lt"/>
                </a:rPr>
                <a:t>请在此输入内容</a:t>
              </a:r>
            </a:p>
          </p:txBody>
        </p:sp>
      </p:grpSp>
      <p:sp>
        <p:nvSpPr>
          <p:cNvPr id="11" name="矩形 10">
            <a:extLst>
              <a:ext uri="{FF2B5EF4-FFF2-40B4-BE49-F238E27FC236}">
                <a16:creationId xmlns:a16="http://schemas.microsoft.com/office/drawing/2014/main" id="{55A6C29F-D518-4E91-862F-A547C7C732E8}"/>
              </a:ext>
            </a:extLst>
          </p:cNvPr>
          <p:cNvSpPr/>
          <p:nvPr/>
        </p:nvSpPr>
        <p:spPr>
          <a:xfrm>
            <a:off x="8076990" y="4410115"/>
            <a:ext cx="3635585" cy="1543371"/>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tx1">
                    <a:lumMod val="65000"/>
                    <a:lumOff val="35000"/>
                  </a:schemeClr>
                </a:solidFill>
              </a14:hiddenLine>
            </a:ext>
          </a:extLst>
        </p:spPr>
        <p:txBody>
          <a:bodyPr wrap="square" lIns="0" tIns="0" rIns="0" bIns="0">
            <a:spAutoFit/>
          </a:bodyPr>
          <a:lstStyle/>
          <a:p>
            <a:pPr marL="285750" lvl="0" indent="-285750" defTabSz="914400">
              <a:lnSpc>
                <a:spcPct val="130000"/>
              </a:lnSpc>
              <a:spcBef>
                <a:spcPct val="50000"/>
              </a:spcBef>
              <a:buFont typeface="Arial" panose="020B0604020202020204" pitchFamily="34" charset="0"/>
              <a:buChar char="•"/>
              <a:defRPr/>
            </a:pPr>
            <a:r>
              <a:rPr lang="zh-CN" altLang="en-US" dirty="0">
                <a:solidFill>
                  <a:schemeClr val="tx1">
                    <a:lumMod val="75000"/>
                    <a:lumOff val="25000"/>
                  </a:schemeClr>
                </a:solidFill>
              </a:rPr>
              <a:t>请在此输入内容请在此输入内容请在此输入内容请在此输入内容</a:t>
            </a:r>
            <a:endParaRPr lang="en-US" altLang="zh-CN" dirty="0">
              <a:solidFill>
                <a:schemeClr val="tx1">
                  <a:lumMod val="75000"/>
                  <a:lumOff val="25000"/>
                </a:schemeClr>
              </a:solidFill>
            </a:endParaRPr>
          </a:p>
          <a:p>
            <a:pPr marL="285750" indent="-285750" defTabSz="914400">
              <a:lnSpc>
                <a:spcPct val="130000"/>
              </a:lnSpc>
              <a:spcBef>
                <a:spcPct val="50000"/>
              </a:spcBef>
              <a:buFont typeface="Arial" panose="020B0604020202020204" pitchFamily="34" charset="0"/>
              <a:buChar char="•"/>
              <a:defRPr/>
            </a:pPr>
            <a:r>
              <a:rPr lang="zh-CN" altLang="en-US" dirty="0">
                <a:solidFill>
                  <a:schemeClr val="tx1">
                    <a:lumMod val="75000"/>
                    <a:lumOff val="25000"/>
                  </a:schemeClr>
                </a:solidFill>
              </a:rPr>
              <a:t>请在此输入内容请在此输入内容请在此输入内容请在此输入内容</a:t>
            </a:r>
          </a:p>
        </p:txBody>
      </p:sp>
      <p:grpSp>
        <p:nvGrpSpPr>
          <p:cNvPr id="13" name="组合 12">
            <a:extLst>
              <a:ext uri="{FF2B5EF4-FFF2-40B4-BE49-F238E27FC236}">
                <a16:creationId xmlns:a16="http://schemas.microsoft.com/office/drawing/2014/main" id="{10497BFC-1889-4A69-A7DB-FC2F5E76BFFE}"/>
              </a:ext>
            </a:extLst>
          </p:cNvPr>
          <p:cNvGrpSpPr/>
          <p:nvPr/>
        </p:nvGrpSpPr>
        <p:grpSpPr>
          <a:xfrm>
            <a:off x="0" y="-715587"/>
            <a:ext cx="676656" cy="602672"/>
            <a:chOff x="0" y="6950133"/>
            <a:chExt cx="676656" cy="602672"/>
          </a:xfrm>
        </p:grpSpPr>
        <p:sp>
          <p:nvSpPr>
            <p:cNvPr id="14" name="矩形 13">
              <a:extLst>
                <a:ext uri="{FF2B5EF4-FFF2-40B4-BE49-F238E27FC236}">
                  <a16:creationId xmlns:a16="http://schemas.microsoft.com/office/drawing/2014/main" id="{044BEC74-9622-46C7-A185-E4E2124D9E6F}"/>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5" name="组合 14">
              <a:extLst>
                <a:ext uri="{FF2B5EF4-FFF2-40B4-BE49-F238E27FC236}">
                  <a16:creationId xmlns:a16="http://schemas.microsoft.com/office/drawing/2014/main" id="{898652C4-E33B-4099-85B3-0EB9A141434C}"/>
                </a:ext>
              </a:extLst>
            </p:cNvPr>
            <p:cNvGrpSpPr/>
            <p:nvPr/>
          </p:nvGrpSpPr>
          <p:grpSpPr>
            <a:xfrm>
              <a:off x="47544" y="7038552"/>
              <a:ext cx="581568" cy="425834"/>
              <a:chOff x="84575" y="6977592"/>
              <a:chExt cx="581568" cy="425834"/>
            </a:xfrm>
          </p:grpSpPr>
          <p:grpSp>
            <p:nvGrpSpPr>
              <p:cNvPr id="16" name="组合 15">
                <a:extLst>
                  <a:ext uri="{FF2B5EF4-FFF2-40B4-BE49-F238E27FC236}">
                    <a16:creationId xmlns:a16="http://schemas.microsoft.com/office/drawing/2014/main" id="{A0A378DB-B937-4BAB-AD99-EC3F7DE1B7DA}"/>
                  </a:ext>
                </a:extLst>
              </p:cNvPr>
              <p:cNvGrpSpPr/>
              <p:nvPr/>
            </p:nvGrpSpPr>
            <p:grpSpPr>
              <a:xfrm>
                <a:off x="84575" y="6979654"/>
                <a:ext cx="317380" cy="421711"/>
                <a:chOff x="14690033" y="2185397"/>
                <a:chExt cx="583830" cy="775754"/>
              </a:xfrm>
            </p:grpSpPr>
            <p:sp>
              <p:nvSpPr>
                <p:cNvPr id="18" name="iŝļíḑe">
                  <a:extLst>
                    <a:ext uri="{FF2B5EF4-FFF2-40B4-BE49-F238E27FC236}">
                      <a16:creationId xmlns:a16="http://schemas.microsoft.com/office/drawing/2014/main" id="{338405FF-2990-4650-B694-C11888C73C74}"/>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şḷíḍé">
                  <a:extLst>
                    <a:ext uri="{FF2B5EF4-FFF2-40B4-BE49-F238E27FC236}">
                      <a16:creationId xmlns:a16="http://schemas.microsoft.com/office/drawing/2014/main" id="{6248FAB4-54A4-4DA8-8665-D8686BD5DDCD}"/>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ïSľïḓe">
                  <a:extLst>
                    <a:ext uri="{FF2B5EF4-FFF2-40B4-BE49-F238E27FC236}">
                      <a16:creationId xmlns:a16="http://schemas.microsoft.com/office/drawing/2014/main" id="{1C75D07F-B009-4637-8140-C24D3DA6A3D6}"/>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sḻídê">
                  <a:extLst>
                    <a:ext uri="{FF2B5EF4-FFF2-40B4-BE49-F238E27FC236}">
                      <a16:creationId xmlns:a16="http://schemas.microsoft.com/office/drawing/2014/main" id="{8F1ACB32-D600-4B6A-BA50-C19B13840A9D}"/>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S1íḋè">
                  <a:extLst>
                    <a:ext uri="{FF2B5EF4-FFF2-40B4-BE49-F238E27FC236}">
                      <a16:creationId xmlns:a16="http://schemas.microsoft.com/office/drawing/2014/main" id="{F7F40C29-DF59-45BF-AA54-00CEE2C9B9C6}"/>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şļíde">
                  <a:extLst>
                    <a:ext uri="{FF2B5EF4-FFF2-40B4-BE49-F238E27FC236}">
                      <a16:creationId xmlns:a16="http://schemas.microsoft.com/office/drawing/2014/main" id="{DEA66E19-185A-446A-A459-1C3800EC3625}"/>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7" name="文本框 16">
                <a:extLst>
                  <a:ext uri="{FF2B5EF4-FFF2-40B4-BE49-F238E27FC236}">
                    <a16:creationId xmlns:a16="http://schemas.microsoft.com/office/drawing/2014/main" id="{EC53611B-B5CD-4259-99A1-F4FA90BD7FF2}"/>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4" name="矩形 23">
            <a:extLst>
              <a:ext uri="{FF2B5EF4-FFF2-40B4-BE49-F238E27FC236}">
                <a16:creationId xmlns:a16="http://schemas.microsoft.com/office/drawing/2014/main" id="{922C5673-6289-4B18-B586-400F68C90121}"/>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40050866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3256AE0-8D58-4887-8861-9BAF2B86A316}"/>
              </a:ext>
            </a:extLst>
          </p:cNvPr>
          <p:cNvSpPr>
            <a:spLocks noGrp="1"/>
          </p:cNvSpPr>
          <p:nvPr>
            <p:ph type="title"/>
          </p:nvPr>
        </p:nvSpPr>
        <p:spPr/>
        <p:txBody>
          <a:bodyPr/>
          <a:lstStyle/>
          <a:p>
            <a:r>
              <a:rPr lang="zh-CN" altLang="en-US" dirty="0">
                <a:cs typeface="+mn-ea"/>
                <a:sym typeface="+mn-lt"/>
              </a:rPr>
              <a:t>数据图表页（条形条）：表示各项的数量对比</a:t>
            </a:r>
            <a:endParaRPr lang="en-US" dirty="0"/>
          </a:p>
        </p:txBody>
      </p:sp>
      <p:sp>
        <p:nvSpPr>
          <p:cNvPr id="3" name="灯片编号占位符 2">
            <a:extLst>
              <a:ext uri="{FF2B5EF4-FFF2-40B4-BE49-F238E27FC236}">
                <a16:creationId xmlns:a16="http://schemas.microsoft.com/office/drawing/2014/main" id="{84658882-C733-43C2-86EC-57E5F7E4FB43}"/>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48</a:t>
            </a:fld>
            <a:endParaRPr lang="en-US" dirty="0">
              <a:solidFill>
                <a:srgbClr val="000000">
                  <a:tint val="75000"/>
                </a:srgbClr>
              </a:solidFill>
            </a:endParaRPr>
          </a:p>
        </p:txBody>
      </p:sp>
      <p:sp>
        <p:nvSpPr>
          <p:cNvPr id="4" name="AutoShape 3">
            <a:extLst>
              <a:ext uri="{FF2B5EF4-FFF2-40B4-BE49-F238E27FC236}">
                <a16:creationId xmlns:a16="http://schemas.microsoft.com/office/drawing/2014/main" id="{27CE3A5E-91EA-4FBD-BB0C-2068587AF2EE}"/>
              </a:ext>
            </a:extLst>
          </p:cNvPr>
          <p:cNvSpPr>
            <a:spLocks noChangeAspect="1" noChangeArrowheads="1" noTextEdit="1"/>
          </p:cNvSpPr>
          <p:nvPr/>
        </p:nvSpPr>
        <p:spPr bwMode="auto">
          <a:xfrm>
            <a:off x="1362518" y="1203962"/>
            <a:ext cx="4162704" cy="5341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cs typeface="+mn-cs"/>
            </a:endParaRPr>
          </a:p>
        </p:txBody>
      </p:sp>
      <p:graphicFrame>
        <p:nvGraphicFramePr>
          <p:cNvPr id="52" name="图表 51">
            <a:extLst>
              <a:ext uri="{FF2B5EF4-FFF2-40B4-BE49-F238E27FC236}">
                <a16:creationId xmlns:a16="http://schemas.microsoft.com/office/drawing/2014/main" id="{38690C03-085E-499F-837B-475415CEE1C4}"/>
              </a:ext>
            </a:extLst>
          </p:cNvPr>
          <p:cNvGraphicFramePr/>
          <p:nvPr>
            <p:extLst>
              <p:ext uri="{D42A27DB-BD31-4B8C-83A1-F6EECF244321}">
                <p14:modId xmlns:p14="http://schemas.microsoft.com/office/powerpoint/2010/main" val="2404650246"/>
              </p:ext>
            </p:extLst>
          </p:nvPr>
        </p:nvGraphicFramePr>
        <p:xfrm>
          <a:off x="2295236" y="2209107"/>
          <a:ext cx="4645891" cy="3688080"/>
        </p:xfrm>
        <a:graphic>
          <a:graphicData uri="http://schemas.openxmlformats.org/drawingml/2006/chart">
            <c:chart xmlns:c="http://schemas.openxmlformats.org/drawingml/2006/chart" xmlns:r="http://schemas.openxmlformats.org/officeDocument/2006/relationships" r:id="rId2"/>
          </a:graphicData>
        </a:graphic>
      </p:graphicFrame>
      <p:sp>
        <p:nvSpPr>
          <p:cNvPr id="56" name="iS1íḍê">
            <a:extLst>
              <a:ext uri="{FF2B5EF4-FFF2-40B4-BE49-F238E27FC236}">
                <a16:creationId xmlns:a16="http://schemas.microsoft.com/office/drawing/2014/main" id="{777435D5-5273-4C89-BA51-E6CFD0326ED2}"/>
              </a:ext>
            </a:extLst>
          </p:cNvPr>
          <p:cNvSpPr/>
          <p:nvPr/>
        </p:nvSpPr>
        <p:spPr>
          <a:xfrm>
            <a:off x="8281555" y="2551021"/>
            <a:ext cx="3431019"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000" b="1" dirty="0">
                <a:solidFill>
                  <a:schemeClr val="accent1"/>
                </a:solidFill>
                <a:cs typeface="+mn-ea"/>
                <a:sym typeface="+mn-lt"/>
              </a:rPr>
              <a:t>请在此输入标题</a:t>
            </a:r>
            <a:r>
              <a:rPr lang="zh-CN" altLang="en-US" sz="2000" b="1" dirty="0">
                <a:solidFill>
                  <a:schemeClr val="accent1"/>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57" name="ï$1idé">
            <a:extLst>
              <a:ext uri="{FF2B5EF4-FFF2-40B4-BE49-F238E27FC236}">
                <a16:creationId xmlns:a16="http://schemas.microsoft.com/office/drawing/2014/main" id="{A31BBD14-BF47-4C87-BCCE-24C3F9DBC934}"/>
              </a:ext>
            </a:extLst>
          </p:cNvPr>
          <p:cNvSpPr/>
          <p:nvPr/>
        </p:nvSpPr>
        <p:spPr bwMode="auto">
          <a:xfrm>
            <a:off x="8281555" y="2923798"/>
            <a:ext cx="3431019"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58" name="iS1íḍê">
            <a:extLst>
              <a:ext uri="{FF2B5EF4-FFF2-40B4-BE49-F238E27FC236}">
                <a16:creationId xmlns:a16="http://schemas.microsoft.com/office/drawing/2014/main" id="{2D8C92F0-83A3-44E7-97D8-EB5FB9B0304F}"/>
              </a:ext>
            </a:extLst>
          </p:cNvPr>
          <p:cNvSpPr/>
          <p:nvPr/>
        </p:nvSpPr>
        <p:spPr>
          <a:xfrm>
            <a:off x="8281555" y="4272148"/>
            <a:ext cx="3431019"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000" b="1" dirty="0">
                <a:solidFill>
                  <a:schemeClr val="tx1">
                    <a:lumMod val="75000"/>
                    <a:lumOff val="25000"/>
                  </a:schemeClr>
                </a:solidFill>
                <a:cs typeface="+mn-ea"/>
                <a:sym typeface="+mn-lt"/>
              </a:rPr>
              <a:t>请在此输入标题</a:t>
            </a:r>
            <a:r>
              <a:rPr lang="zh-CN" altLang="en-US" sz="2000" b="1" dirty="0">
                <a:solidFill>
                  <a:schemeClr val="tx1">
                    <a:lumMod val="75000"/>
                    <a:lumOff val="25000"/>
                  </a:schemeClr>
                </a:solidFill>
                <a:cs typeface="+mn-ea"/>
                <a:sym typeface="Webdings" panose="05030102010509060703" pitchFamily="18" charset="2"/>
              </a:rPr>
              <a:t></a:t>
            </a:r>
            <a:endParaRPr lang="en-US" altLang="zh-CN" sz="2000" b="1" dirty="0">
              <a:solidFill>
                <a:schemeClr val="tx1">
                  <a:lumMod val="75000"/>
                  <a:lumOff val="25000"/>
                </a:schemeClr>
              </a:solidFill>
              <a:cs typeface="+mn-ea"/>
              <a:sym typeface="+mn-lt"/>
            </a:endParaRPr>
          </a:p>
        </p:txBody>
      </p:sp>
      <p:sp>
        <p:nvSpPr>
          <p:cNvPr id="59" name="ï$1idé">
            <a:extLst>
              <a:ext uri="{FF2B5EF4-FFF2-40B4-BE49-F238E27FC236}">
                <a16:creationId xmlns:a16="http://schemas.microsoft.com/office/drawing/2014/main" id="{4A6B14C2-83C7-4875-9D33-47A868F83435}"/>
              </a:ext>
            </a:extLst>
          </p:cNvPr>
          <p:cNvSpPr/>
          <p:nvPr/>
        </p:nvSpPr>
        <p:spPr bwMode="auto">
          <a:xfrm>
            <a:off x="8281555" y="4644925"/>
            <a:ext cx="3431019"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60" name="任意多边形: 形状 59">
            <a:extLst>
              <a:ext uri="{FF2B5EF4-FFF2-40B4-BE49-F238E27FC236}">
                <a16:creationId xmlns:a16="http://schemas.microsoft.com/office/drawing/2014/main" id="{EFAD1D2F-F5D0-4F5D-B3D6-F07D4A0FCBDB}"/>
              </a:ext>
            </a:extLst>
          </p:cNvPr>
          <p:cNvSpPr/>
          <p:nvPr/>
        </p:nvSpPr>
        <p:spPr>
          <a:xfrm>
            <a:off x="5581228" y="2732558"/>
            <a:ext cx="2645394" cy="0"/>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accent1"/>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1" name="任意多边形: 形状 60">
            <a:extLst>
              <a:ext uri="{FF2B5EF4-FFF2-40B4-BE49-F238E27FC236}">
                <a16:creationId xmlns:a16="http://schemas.microsoft.com/office/drawing/2014/main" id="{29F039BC-AA00-4C0C-ACD1-46E830B01A1E}"/>
              </a:ext>
            </a:extLst>
          </p:cNvPr>
          <p:cNvSpPr/>
          <p:nvPr/>
        </p:nvSpPr>
        <p:spPr>
          <a:xfrm>
            <a:off x="4093699" y="4463182"/>
            <a:ext cx="4132923" cy="0"/>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64" name="组合 63">
            <a:extLst>
              <a:ext uri="{FF2B5EF4-FFF2-40B4-BE49-F238E27FC236}">
                <a16:creationId xmlns:a16="http://schemas.microsoft.com/office/drawing/2014/main" id="{A7A5646E-59B2-46D5-A33E-3DFDBF6B46B2}"/>
              </a:ext>
            </a:extLst>
          </p:cNvPr>
          <p:cNvGrpSpPr/>
          <p:nvPr/>
        </p:nvGrpSpPr>
        <p:grpSpPr>
          <a:xfrm>
            <a:off x="2161078" y="1499792"/>
            <a:ext cx="3718560" cy="700889"/>
            <a:chOff x="2682240" y="1499792"/>
            <a:chExt cx="3931920" cy="700889"/>
          </a:xfrm>
        </p:grpSpPr>
        <p:sp>
          <p:nvSpPr>
            <p:cNvPr id="14" name="文本框 13">
              <a:extLst>
                <a:ext uri="{FF2B5EF4-FFF2-40B4-BE49-F238E27FC236}">
                  <a16:creationId xmlns:a16="http://schemas.microsoft.com/office/drawing/2014/main" id="{E22EDE4A-9BB8-4DBF-ABA6-AE5609D5D047}"/>
                </a:ext>
              </a:extLst>
            </p:cNvPr>
            <p:cNvSpPr txBox="1"/>
            <p:nvPr/>
          </p:nvSpPr>
          <p:spPr>
            <a:xfrm>
              <a:off x="2682240" y="1499792"/>
              <a:ext cx="3931920" cy="307777"/>
            </a:xfrm>
            <a:prstGeom prst="rect">
              <a:avLst/>
            </a:prstGeom>
            <a:noFill/>
          </p:spPr>
          <p:txBody>
            <a:bodyPr wrap="none" lIns="0" tIns="0" rIns="0" bIns="0" rtlCol="0" anchor="ctr">
              <a:noAutofit/>
            </a:bodyPr>
            <a:lstStyle/>
            <a:p>
              <a:pPr lvl="0" algn="ctr" defTabSz="914400">
                <a:defRPr/>
              </a:pPr>
              <a:r>
                <a:rPr lang="zh-CN" altLang="en-US" sz="2000" b="1" dirty="0">
                  <a:solidFill>
                    <a:schemeClr val="tx1">
                      <a:lumMod val="75000"/>
                      <a:lumOff val="25000"/>
                    </a:schemeClr>
                  </a:solidFill>
                </a:rPr>
                <a:t>请在此输入图表的标题</a:t>
              </a:r>
            </a:p>
          </p:txBody>
        </p:sp>
        <p:cxnSp>
          <p:nvCxnSpPr>
            <p:cNvPr id="54" name="直接连接符 53">
              <a:extLst>
                <a:ext uri="{FF2B5EF4-FFF2-40B4-BE49-F238E27FC236}">
                  <a16:creationId xmlns:a16="http://schemas.microsoft.com/office/drawing/2014/main" id="{CBCB4E4D-9B8D-4497-BF67-6A99897D5985}"/>
                </a:ext>
              </a:extLst>
            </p:cNvPr>
            <p:cNvCxnSpPr/>
            <p:nvPr/>
          </p:nvCxnSpPr>
          <p:spPr>
            <a:xfrm>
              <a:off x="2682240" y="1899920"/>
              <a:ext cx="393192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文本框 54">
              <a:extLst>
                <a:ext uri="{FF2B5EF4-FFF2-40B4-BE49-F238E27FC236}">
                  <a16:creationId xmlns:a16="http://schemas.microsoft.com/office/drawing/2014/main" id="{69DD1FA8-C37A-498B-A4C8-9F8E5E84F276}"/>
                </a:ext>
              </a:extLst>
            </p:cNvPr>
            <p:cNvSpPr txBox="1"/>
            <p:nvPr/>
          </p:nvSpPr>
          <p:spPr>
            <a:xfrm>
              <a:off x="5410950" y="1985237"/>
              <a:ext cx="1203210" cy="215444"/>
            </a:xfrm>
            <a:prstGeom prst="rect">
              <a:avLst/>
            </a:prstGeom>
            <a:noFill/>
          </p:spPr>
          <p:txBody>
            <a:bodyPr wrap="square" lIns="0" tIns="0" rIns="0" bIns="0" rtlCol="0" anchor="ctr">
              <a:spAutoFit/>
            </a:bodyPr>
            <a:lstStyle/>
            <a:p>
              <a:pPr algn="r"/>
              <a:r>
                <a:rPr lang="zh-CN" altLang="en-US" sz="1400" dirty="0">
                  <a:solidFill>
                    <a:schemeClr val="tx1">
                      <a:lumMod val="75000"/>
                      <a:lumOff val="25000"/>
                    </a:schemeClr>
                  </a:solidFill>
                </a:rPr>
                <a:t>单位（亿元）</a:t>
              </a:r>
              <a:endParaRPr lang="en-US" sz="1400" dirty="0">
                <a:solidFill>
                  <a:schemeClr val="tx1">
                    <a:lumMod val="75000"/>
                    <a:lumOff val="25000"/>
                  </a:schemeClr>
                </a:solidFill>
              </a:endParaRPr>
            </a:p>
          </p:txBody>
        </p:sp>
      </p:grpSp>
      <p:grpSp>
        <p:nvGrpSpPr>
          <p:cNvPr id="16" name="组合 15">
            <a:extLst>
              <a:ext uri="{FF2B5EF4-FFF2-40B4-BE49-F238E27FC236}">
                <a16:creationId xmlns:a16="http://schemas.microsoft.com/office/drawing/2014/main" id="{0678F513-C361-4701-B276-52BB22E95737}"/>
              </a:ext>
            </a:extLst>
          </p:cNvPr>
          <p:cNvGrpSpPr/>
          <p:nvPr/>
        </p:nvGrpSpPr>
        <p:grpSpPr>
          <a:xfrm>
            <a:off x="0" y="-715587"/>
            <a:ext cx="676656" cy="602672"/>
            <a:chOff x="0" y="6950133"/>
            <a:chExt cx="676656" cy="602672"/>
          </a:xfrm>
        </p:grpSpPr>
        <p:sp>
          <p:nvSpPr>
            <p:cNvPr id="17" name="矩形 16">
              <a:extLst>
                <a:ext uri="{FF2B5EF4-FFF2-40B4-BE49-F238E27FC236}">
                  <a16:creationId xmlns:a16="http://schemas.microsoft.com/office/drawing/2014/main" id="{0D08F2CC-B32C-4A2F-83C3-032270FBF3EE}"/>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8" name="组合 17">
              <a:extLst>
                <a:ext uri="{FF2B5EF4-FFF2-40B4-BE49-F238E27FC236}">
                  <a16:creationId xmlns:a16="http://schemas.microsoft.com/office/drawing/2014/main" id="{8F037B2E-7C89-446D-A6D9-13175589BC2B}"/>
                </a:ext>
              </a:extLst>
            </p:cNvPr>
            <p:cNvGrpSpPr/>
            <p:nvPr/>
          </p:nvGrpSpPr>
          <p:grpSpPr>
            <a:xfrm>
              <a:off x="47544" y="7038552"/>
              <a:ext cx="581568" cy="425834"/>
              <a:chOff x="84575" y="6977592"/>
              <a:chExt cx="581568" cy="425834"/>
            </a:xfrm>
          </p:grpSpPr>
          <p:grpSp>
            <p:nvGrpSpPr>
              <p:cNvPr id="19" name="组合 18">
                <a:extLst>
                  <a:ext uri="{FF2B5EF4-FFF2-40B4-BE49-F238E27FC236}">
                    <a16:creationId xmlns:a16="http://schemas.microsoft.com/office/drawing/2014/main" id="{FF3BF848-9B5B-4D67-A3C3-BA41D7319638}"/>
                  </a:ext>
                </a:extLst>
              </p:cNvPr>
              <p:cNvGrpSpPr/>
              <p:nvPr/>
            </p:nvGrpSpPr>
            <p:grpSpPr>
              <a:xfrm>
                <a:off x="84575" y="6979654"/>
                <a:ext cx="317380" cy="421711"/>
                <a:chOff x="14690033" y="2185397"/>
                <a:chExt cx="583830" cy="775754"/>
              </a:xfrm>
            </p:grpSpPr>
            <p:sp>
              <p:nvSpPr>
                <p:cNvPr id="21" name="iŝļíḑe">
                  <a:extLst>
                    <a:ext uri="{FF2B5EF4-FFF2-40B4-BE49-F238E27FC236}">
                      <a16:creationId xmlns:a16="http://schemas.microsoft.com/office/drawing/2014/main" id="{1AD3E74E-18A9-4927-AEA7-E98A06AA0138}"/>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şḷíḍé">
                  <a:extLst>
                    <a:ext uri="{FF2B5EF4-FFF2-40B4-BE49-F238E27FC236}">
                      <a16:creationId xmlns:a16="http://schemas.microsoft.com/office/drawing/2014/main" id="{688FD326-16F3-4411-8184-5D68DD08FE07}"/>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ïSľïḓe">
                  <a:extLst>
                    <a:ext uri="{FF2B5EF4-FFF2-40B4-BE49-F238E27FC236}">
                      <a16:creationId xmlns:a16="http://schemas.microsoft.com/office/drawing/2014/main" id="{A065E106-3E4D-4D98-9EF2-73BB3A163B3F}"/>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sḻídê">
                  <a:extLst>
                    <a:ext uri="{FF2B5EF4-FFF2-40B4-BE49-F238E27FC236}">
                      <a16:creationId xmlns:a16="http://schemas.microsoft.com/office/drawing/2014/main" id="{AF3E5FF4-063C-44D2-964A-84B779E1A16D}"/>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S1íḋè">
                  <a:extLst>
                    <a:ext uri="{FF2B5EF4-FFF2-40B4-BE49-F238E27FC236}">
                      <a16:creationId xmlns:a16="http://schemas.microsoft.com/office/drawing/2014/main" id="{668872C0-F034-4F46-BE4A-70842F74439D}"/>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şļíde">
                  <a:extLst>
                    <a:ext uri="{FF2B5EF4-FFF2-40B4-BE49-F238E27FC236}">
                      <a16:creationId xmlns:a16="http://schemas.microsoft.com/office/drawing/2014/main" id="{D7A0DBA8-EE92-4369-868E-9EFFDA52BF0E}"/>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0" name="文本框 19">
                <a:extLst>
                  <a:ext uri="{FF2B5EF4-FFF2-40B4-BE49-F238E27FC236}">
                    <a16:creationId xmlns:a16="http://schemas.microsoft.com/office/drawing/2014/main" id="{0FBCBF6D-0DB0-4AF6-9B33-D7F5E4182AC2}"/>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7" name="矩形 26">
            <a:extLst>
              <a:ext uri="{FF2B5EF4-FFF2-40B4-BE49-F238E27FC236}">
                <a16:creationId xmlns:a16="http://schemas.microsoft.com/office/drawing/2014/main" id="{1B3B5B60-7DDD-40EB-8A89-59A98A46F896}"/>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40306075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5421A1-89D5-455C-B340-7E361E3E0B78}"/>
              </a:ext>
            </a:extLst>
          </p:cNvPr>
          <p:cNvSpPr>
            <a:spLocks noGrp="1"/>
          </p:cNvSpPr>
          <p:nvPr>
            <p:ph type="title"/>
          </p:nvPr>
        </p:nvSpPr>
        <p:spPr/>
        <p:txBody>
          <a:bodyPr/>
          <a:lstStyle/>
          <a:p>
            <a:r>
              <a:rPr lang="zh-CN" altLang="en-US" dirty="0">
                <a:cs typeface="+mn-ea"/>
                <a:sym typeface="+mn-lt"/>
              </a:rPr>
              <a:t>数据图表页（柱状图）：表示各项的数量对比</a:t>
            </a:r>
            <a:endParaRPr lang="en-US" dirty="0"/>
          </a:p>
        </p:txBody>
      </p:sp>
      <p:sp>
        <p:nvSpPr>
          <p:cNvPr id="3" name="灯片编号占位符 2">
            <a:extLst>
              <a:ext uri="{FF2B5EF4-FFF2-40B4-BE49-F238E27FC236}">
                <a16:creationId xmlns:a16="http://schemas.microsoft.com/office/drawing/2014/main" id="{FDF7FBED-1F38-457B-A4F1-4DC14C39F974}"/>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49</a:t>
            </a:fld>
            <a:endParaRPr lang="en-US" dirty="0">
              <a:solidFill>
                <a:srgbClr val="000000">
                  <a:tint val="75000"/>
                </a:srgbClr>
              </a:solidFill>
            </a:endParaRPr>
          </a:p>
        </p:txBody>
      </p:sp>
      <p:sp>
        <p:nvSpPr>
          <p:cNvPr id="138" name="文本框 137">
            <a:extLst>
              <a:ext uri="{FF2B5EF4-FFF2-40B4-BE49-F238E27FC236}">
                <a16:creationId xmlns:a16="http://schemas.microsoft.com/office/drawing/2014/main" id="{0BF5528E-6F29-4271-9627-E29C9F2F29ED}"/>
              </a:ext>
            </a:extLst>
          </p:cNvPr>
          <p:cNvSpPr txBox="1"/>
          <p:nvPr/>
        </p:nvSpPr>
        <p:spPr>
          <a:xfrm>
            <a:off x="2752019"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noProof="0" dirty="0">
                <a:ln>
                  <a:noFill/>
                </a:ln>
                <a:solidFill>
                  <a:srgbClr val="FFFFFF"/>
                </a:solidFill>
                <a:effectLst/>
                <a:uLnTx/>
                <a:uFillTx/>
                <a:cs typeface="+mn-cs"/>
              </a:rPr>
              <a:t>一月</a:t>
            </a:r>
            <a:endParaRPr kumimoji="0" lang="en-US" sz="1400" b="0" i="0" u="none" strike="noStrike" kern="1200" cap="none" spc="0" normalizeH="0" noProof="0" dirty="0">
              <a:ln>
                <a:noFill/>
              </a:ln>
              <a:solidFill>
                <a:srgbClr val="FFFFFF"/>
              </a:solidFill>
              <a:effectLst/>
              <a:uLnTx/>
              <a:uFillTx/>
              <a:cs typeface="+mn-cs"/>
            </a:endParaRPr>
          </a:p>
        </p:txBody>
      </p:sp>
      <p:sp>
        <p:nvSpPr>
          <p:cNvPr id="139" name="文本框 138">
            <a:extLst>
              <a:ext uri="{FF2B5EF4-FFF2-40B4-BE49-F238E27FC236}">
                <a16:creationId xmlns:a16="http://schemas.microsoft.com/office/drawing/2014/main" id="{FBDE1C89-ABC6-45BB-A0E7-F661C913CCC1}"/>
              </a:ext>
            </a:extLst>
          </p:cNvPr>
          <p:cNvSpPr txBox="1"/>
          <p:nvPr/>
        </p:nvSpPr>
        <p:spPr>
          <a:xfrm>
            <a:off x="3471158"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noProof="0" dirty="0">
                <a:ln>
                  <a:noFill/>
                </a:ln>
                <a:solidFill>
                  <a:srgbClr val="FFFFFF"/>
                </a:solidFill>
                <a:effectLst/>
                <a:uLnTx/>
                <a:uFillTx/>
                <a:cs typeface="+mn-cs"/>
              </a:rPr>
              <a:t>二月</a:t>
            </a:r>
            <a:endParaRPr kumimoji="0" lang="en-US" sz="1400" b="0" i="0" u="none" strike="noStrike" kern="1200" cap="none" spc="0" normalizeH="0" noProof="0" dirty="0">
              <a:ln>
                <a:noFill/>
              </a:ln>
              <a:solidFill>
                <a:srgbClr val="FFFFFF"/>
              </a:solidFill>
              <a:effectLst/>
              <a:uLnTx/>
              <a:uFillTx/>
              <a:cs typeface="+mn-cs"/>
            </a:endParaRPr>
          </a:p>
        </p:txBody>
      </p:sp>
      <p:sp>
        <p:nvSpPr>
          <p:cNvPr id="140" name="文本框 139">
            <a:extLst>
              <a:ext uri="{FF2B5EF4-FFF2-40B4-BE49-F238E27FC236}">
                <a16:creationId xmlns:a16="http://schemas.microsoft.com/office/drawing/2014/main" id="{81736F9D-C78D-4082-A3D0-B0FCE175E5B9}"/>
              </a:ext>
            </a:extLst>
          </p:cNvPr>
          <p:cNvSpPr txBox="1"/>
          <p:nvPr/>
        </p:nvSpPr>
        <p:spPr>
          <a:xfrm>
            <a:off x="4190297"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noProof="0" dirty="0">
                <a:ln>
                  <a:noFill/>
                </a:ln>
                <a:solidFill>
                  <a:srgbClr val="FFFFFF"/>
                </a:solidFill>
                <a:effectLst/>
                <a:uLnTx/>
                <a:uFillTx/>
                <a:cs typeface="+mn-cs"/>
              </a:rPr>
              <a:t>三月</a:t>
            </a:r>
            <a:endParaRPr kumimoji="0" lang="en-US" sz="1400" b="0" i="0" u="none" strike="noStrike" kern="1200" cap="none" spc="0" normalizeH="0" noProof="0" dirty="0">
              <a:ln>
                <a:noFill/>
              </a:ln>
              <a:solidFill>
                <a:srgbClr val="FFFFFF"/>
              </a:solidFill>
              <a:effectLst/>
              <a:uLnTx/>
              <a:uFillTx/>
              <a:cs typeface="+mn-cs"/>
            </a:endParaRPr>
          </a:p>
        </p:txBody>
      </p:sp>
      <p:sp>
        <p:nvSpPr>
          <p:cNvPr id="141" name="文本框 140">
            <a:extLst>
              <a:ext uri="{FF2B5EF4-FFF2-40B4-BE49-F238E27FC236}">
                <a16:creationId xmlns:a16="http://schemas.microsoft.com/office/drawing/2014/main" id="{1FFF85E4-6735-4F19-AE48-A9480B340C6E}"/>
              </a:ext>
            </a:extLst>
          </p:cNvPr>
          <p:cNvSpPr txBox="1"/>
          <p:nvPr/>
        </p:nvSpPr>
        <p:spPr>
          <a:xfrm>
            <a:off x="4909436"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noProof="0" dirty="0">
                <a:ln>
                  <a:noFill/>
                </a:ln>
                <a:solidFill>
                  <a:srgbClr val="FFFFFF"/>
                </a:solidFill>
                <a:effectLst/>
                <a:uLnTx/>
                <a:uFillTx/>
                <a:cs typeface="+mn-cs"/>
              </a:rPr>
              <a:t>四月</a:t>
            </a:r>
            <a:endParaRPr kumimoji="0" lang="en-US" sz="1400" b="0" i="0" u="none" strike="noStrike" kern="1200" cap="none" spc="0" normalizeH="0" noProof="0" dirty="0">
              <a:ln>
                <a:noFill/>
              </a:ln>
              <a:solidFill>
                <a:srgbClr val="FFFFFF"/>
              </a:solidFill>
              <a:effectLst/>
              <a:uLnTx/>
              <a:uFillTx/>
              <a:cs typeface="+mn-cs"/>
            </a:endParaRPr>
          </a:p>
        </p:txBody>
      </p:sp>
      <p:sp>
        <p:nvSpPr>
          <p:cNvPr id="142" name="文本框 141">
            <a:extLst>
              <a:ext uri="{FF2B5EF4-FFF2-40B4-BE49-F238E27FC236}">
                <a16:creationId xmlns:a16="http://schemas.microsoft.com/office/drawing/2014/main" id="{17BD820A-7F86-4779-BDCB-2F18B4834DDA}"/>
              </a:ext>
            </a:extLst>
          </p:cNvPr>
          <p:cNvSpPr txBox="1"/>
          <p:nvPr/>
        </p:nvSpPr>
        <p:spPr>
          <a:xfrm>
            <a:off x="5628575"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noProof="0" dirty="0">
                <a:ln>
                  <a:noFill/>
                </a:ln>
                <a:solidFill>
                  <a:srgbClr val="FFFFFF"/>
                </a:solidFill>
                <a:effectLst/>
                <a:uLnTx/>
                <a:uFillTx/>
                <a:cs typeface="+mn-cs"/>
              </a:rPr>
              <a:t>五月</a:t>
            </a:r>
            <a:endParaRPr kumimoji="0" lang="en-US" sz="1400" b="0" i="0" u="none" strike="noStrike" kern="1200" cap="none" spc="0" normalizeH="0" noProof="0" dirty="0">
              <a:ln>
                <a:noFill/>
              </a:ln>
              <a:solidFill>
                <a:srgbClr val="FFFFFF"/>
              </a:solidFill>
              <a:effectLst/>
              <a:uLnTx/>
              <a:uFillTx/>
              <a:cs typeface="+mn-cs"/>
            </a:endParaRPr>
          </a:p>
        </p:txBody>
      </p:sp>
      <p:sp>
        <p:nvSpPr>
          <p:cNvPr id="143" name="文本框 142">
            <a:extLst>
              <a:ext uri="{FF2B5EF4-FFF2-40B4-BE49-F238E27FC236}">
                <a16:creationId xmlns:a16="http://schemas.microsoft.com/office/drawing/2014/main" id="{B2918D3B-9413-4ECF-9EEB-15485CD32BA3}"/>
              </a:ext>
            </a:extLst>
          </p:cNvPr>
          <p:cNvSpPr txBox="1"/>
          <p:nvPr/>
        </p:nvSpPr>
        <p:spPr>
          <a:xfrm>
            <a:off x="6347714"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noProof="0" dirty="0">
                <a:ln>
                  <a:noFill/>
                </a:ln>
                <a:solidFill>
                  <a:srgbClr val="FFFFFF"/>
                </a:solidFill>
                <a:effectLst/>
                <a:uLnTx/>
                <a:uFillTx/>
                <a:cs typeface="+mn-cs"/>
              </a:rPr>
              <a:t>六月</a:t>
            </a:r>
            <a:endParaRPr kumimoji="0" lang="en-US" sz="1400" b="0" i="0" u="none" strike="noStrike" kern="1200" cap="none" spc="0" normalizeH="0" noProof="0" dirty="0">
              <a:ln>
                <a:noFill/>
              </a:ln>
              <a:solidFill>
                <a:srgbClr val="FFFFFF"/>
              </a:solidFill>
              <a:effectLst/>
              <a:uLnTx/>
              <a:uFillTx/>
              <a:cs typeface="+mn-cs"/>
            </a:endParaRPr>
          </a:p>
        </p:txBody>
      </p:sp>
      <p:sp>
        <p:nvSpPr>
          <p:cNvPr id="144" name="文本框 143">
            <a:extLst>
              <a:ext uri="{FF2B5EF4-FFF2-40B4-BE49-F238E27FC236}">
                <a16:creationId xmlns:a16="http://schemas.microsoft.com/office/drawing/2014/main" id="{8C12FBE5-D722-4977-B3FE-71460D22A18F}"/>
              </a:ext>
            </a:extLst>
          </p:cNvPr>
          <p:cNvSpPr txBox="1"/>
          <p:nvPr/>
        </p:nvSpPr>
        <p:spPr>
          <a:xfrm>
            <a:off x="7066853"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noProof="0" dirty="0">
                <a:ln>
                  <a:noFill/>
                </a:ln>
                <a:solidFill>
                  <a:srgbClr val="FFFFFF"/>
                </a:solidFill>
                <a:effectLst/>
                <a:uLnTx/>
                <a:uFillTx/>
                <a:cs typeface="+mn-cs"/>
              </a:rPr>
              <a:t>七月</a:t>
            </a:r>
            <a:endParaRPr kumimoji="0" lang="en-US" sz="1400" i="0" u="none" strike="noStrike" kern="1200" cap="none" spc="0" normalizeH="0" noProof="0" dirty="0">
              <a:ln>
                <a:noFill/>
              </a:ln>
              <a:solidFill>
                <a:srgbClr val="FFFFFF"/>
              </a:solidFill>
              <a:effectLst/>
              <a:uLnTx/>
              <a:uFillTx/>
              <a:cs typeface="+mn-cs"/>
            </a:endParaRPr>
          </a:p>
        </p:txBody>
      </p:sp>
      <p:sp>
        <p:nvSpPr>
          <p:cNvPr id="145" name="文本框 144">
            <a:extLst>
              <a:ext uri="{FF2B5EF4-FFF2-40B4-BE49-F238E27FC236}">
                <a16:creationId xmlns:a16="http://schemas.microsoft.com/office/drawing/2014/main" id="{603452AE-3977-4C05-BB03-36C1E471456D}"/>
              </a:ext>
            </a:extLst>
          </p:cNvPr>
          <p:cNvSpPr txBox="1"/>
          <p:nvPr/>
        </p:nvSpPr>
        <p:spPr>
          <a:xfrm>
            <a:off x="7785992"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noProof="0" dirty="0">
                <a:ln>
                  <a:noFill/>
                </a:ln>
                <a:solidFill>
                  <a:srgbClr val="FFFFFF"/>
                </a:solidFill>
                <a:effectLst/>
                <a:uLnTx/>
                <a:uFillTx/>
                <a:cs typeface="+mn-cs"/>
              </a:rPr>
              <a:t>八月</a:t>
            </a:r>
            <a:endParaRPr kumimoji="0" lang="en-US" sz="1400" b="0" i="0" u="none" strike="noStrike" kern="1200" cap="none" spc="0" normalizeH="0" noProof="0" dirty="0">
              <a:ln>
                <a:noFill/>
              </a:ln>
              <a:solidFill>
                <a:srgbClr val="FFFFFF"/>
              </a:solidFill>
              <a:effectLst/>
              <a:uLnTx/>
              <a:uFillTx/>
              <a:cs typeface="+mn-cs"/>
            </a:endParaRPr>
          </a:p>
        </p:txBody>
      </p:sp>
      <p:sp>
        <p:nvSpPr>
          <p:cNvPr id="146" name="文本框 145">
            <a:extLst>
              <a:ext uri="{FF2B5EF4-FFF2-40B4-BE49-F238E27FC236}">
                <a16:creationId xmlns:a16="http://schemas.microsoft.com/office/drawing/2014/main" id="{D49CFE47-77C2-4516-B1FC-AD3F3FC8DC70}"/>
              </a:ext>
            </a:extLst>
          </p:cNvPr>
          <p:cNvSpPr txBox="1"/>
          <p:nvPr/>
        </p:nvSpPr>
        <p:spPr>
          <a:xfrm>
            <a:off x="8505131"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noProof="0" dirty="0">
                <a:ln>
                  <a:noFill/>
                </a:ln>
                <a:solidFill>
                  <a:srgbClr val="FFFFFF"/>
                </a:solidFill>
                <a:effectLst/>
                <a:uLnTx/>
                <a:uFillTx/>
                <a:cs typeface="+mn-cs"/>
              </a:rPr>
              <a:t>九月</a:t>
            </a:r>
            <a:endParaRPr kumimoji="0" lang="en-US" sz="1400" b="1" i="0" u="none" strike="noStrike" kern="1200" cap="none" spc="0" normalizeH="0" noProof="0" dirty="0">
              <a:ln>
                <a:noFill/>
              </a:ln>
              <a:solidFill>
                <a:srgbClr val="FFFFFF"/>
              </a:solidFill>
              <a:effectLst/>
              <a:uLnTx/>
              <a:uFillTx/>
              <a:cs typeface="+mn-cs"/>
            </a:endParaRPr>
          </a:p>
        </p:txBody>
      </p:sp>
      <p:sp>
        <p:nvSpPr>
          <p:cNvPr id="147" name="文本框 146">
            <a:extLst>
              <a:ext uri="{FF2B5EF4-FFF2-40B4-BE49-F238E27FC236}">
                <a16:creationId xmlns:a16="http://schemas.microsoft.com/office/drawing/2014/main" id="{2AC8D89B-E7F1-46B3-8BBE-E5E8255D50D9}"/>
              </a:ext>
            </a:extLst>
          </p:cNvPr>
          <p:cNvSpPr txBox="1"/>
          <p:nvPr/>
        </p:nvSpPr>
        <p:spPr>
          <a:xfrm>
            <a:off x="9224270"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noProof="0" dirty="0">
                <a:ln>
                  <a:noFill/>
                </a:ln>
                <a:solidFill>
                  <a:srgbClr val="FFFFFF"/>
                </a:solidFill>
                <a:effectLst/>
                <a:uLnTx/>
                <a:uFillTx/>
                <a:cs typeface="+mn-cs"/>
              </a:rPr>
              <a:t>十月</a:t>
            </a:r>
            <a:endParaRPr kumimoji="0" lang="en-US" sz="1400" b="0" i="0" u="none" strike="noStrike" kern="1200" cap="none" spc="0" normalizeH="0" noProof="0" dirty="0">
              <a:ln>
                <a:noFill/>
              </a:ln>
              <a:solidFill>
                <a:srgbClr val="FFFFFF"/>
              </a:solidFill>
              <a:effectLst/>
              <a:uLnTx/>
              <a:uFillTx/>
              <a:cs typeface="+mn-cs"/>
            </a:endParaRPr>
          </a:p>
        </p:txBody>
      </p:sp>
      <p:sp>
        <p:nvSpPr>
          <p:cNvPr id="148" name="文本框 147">
            <a:extLst>
              <a:ext uri="{FF2B5EF4-FFF2-40B4-BE49-F238E27FC236}">
                <a16:creationId xmlns:a16="http://schemas.microsoft.com/office/drawing/2014/main" id="{98D3131F-83AF-4B3B-AA8F-AD23450D3B74}"/>
              </a:ext>
            </a:extLst>
          </p:cNvPr>
          <p:cNvSpPr txBox="1"/>
          <p:nvPr/>
        </p:nvSpPr>
        <p:spPr>
          <a:xfrm>
            <a:off x="9943409"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noProof="0" dirty="0">
                <a:ln>
                  <a:noFill/>
                </a:ln>
                <a:solidFill>
                  <a:srgbClr val="FFFFFF"/>
                </a:solidFill>
                <a:effectLst/>
                <a:uLnTx/>
                <a:uFillTx/>
                <a:cs typeface="+mn-cs"/>
              </a:rPr>
              <a:t>十一月</a:t>
            </a:r>
            <a:endParaRPr kumimoji="0" lang="en-US" sz="1400" i="0" u="none" strike="noStrike" kern="1200" cap="none" spc="0" normalizeH="0" noProof="0" dirty="0">
              <a:ln>
                <a:noFill/>
              </a:ln>
              <a:solidFill>
                <a:srgbClr val="FFFFFF"/>
              </a:solidFill>
              <a:effectLst/>
              <a:uLnTx/>
              <a:uFillTx/>
              <a:cs typeface="+mn-cs"/>
            </a:endParaRPr>
          </a:p>
        </p:txBody>
      </p:sp>
      <p:sp>
        <p:nvSpPr>
          <p:cNvPr id="149" name="文本框 148">
            <a:extLst>
              <a:ext uri="{FF2B5EF4-FFF2-40B4-BE49-F238E27FC236}">
                <a16:creationId xmlns:a16="http://schemas.microsoft.com/office/drawing/2014/main" id="{A6E6E2DA-C9E1-47BC-B4B1-3F332C48CCC9}"/>
              </a:ext>
            </a:extLst>
          </p:cNvPr>
          <p:cNvSpPr txBox="1"/>
          <p:nvPr/>
        </p:nvSpPr>
        <p:spPr>
          <a:xfrm>
            <a:off x="10662550"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noProof="0" dirty="0">
                <a:ln>
                  <a:noFill/>
                </a:ln>
                <a:solidFill>
                  <a:srgbClr val="FFFFFF"/>
                </a:solidFill>
                <a:effectLst/>
                <a:uLnTx/>
                <a:uFillTx/>
                <a:cs typeface="+mn-cs"/>
              </a:rPr>
              <a:t>十二月</a:t>
            </a:r>
            <a:endParaRPr kumimoji="0" lang="en-US" sz="1400" b="0" i="0" u="none" strike="noStrike" kern="1200" cap="none" spc="0" normalizeH="0" noProof="0" dirty="0">
              <a:ln>
                <a:noFill/>
              </a:ln>
              <a:solidFill>
                <a:srgbClr val="FFFFFF"/>
              </a:solidFill>
              <a:effectLst/>
              <a:uLnTx/>
              <a:uFillTx/>
              <a:cs typeface="+mn-cs"/>
            </a:endParaRPr>
          </a:p>
        </p:txBody>
      </p:sp>
      <p:grpSp>
        <p:nvGrpSpPr>
          <p:cNvPr id="107" name="组合 106">
            <a:extLst>
              <a:ext uri="{FF2B5EF4-FFF2-40B4-BE49-F238E27FC236}">
                <a16:creationId xmlns:a16="http://schemas.microsoft.com/office/drawing/2014/main" id="{B0D1E79C-50C7-43A3-96E9-31C8D2EF91E3}"/>
              </a:ext>
            </a:extLst>
          </p:cNvPr>
          <p:cNvGrpSpPr/>
          <p:nvPr/>
        </p:nvGrpSpPr>
        <p:grpSpPr>
          <a:xfrm>
            <a:off x="8686800" y="944563"/>
            <a:ext cx="498572" cy="1101793"/>
            <a:chOff x="8686800" y="944563"/>
            <a:chExt cx="498572" cy="1101793"/>
          </a:xfrm>
        </p:grpSpPr>
        <p:grpSp>
          <p:nvGrpSpPr>
            <p:cNvPr id="130" name="组合 129">
              <a:extLst>
                <a:ext uri="{FF2B5EF4-FFF2-40B4-BE49-F238E27FC236}">
                  <a16:creationId xmlns:a16="http://schemas.microsoft.com/office/drawing/2014/main" id="{127BCFD7-B5C4-40C8-8EC8-5962D55635A3}"/>
                </a:ext>
              </a:extLst>
            </p:cNvPr>
            <p:cNvGrpSpPr/>
            <p:nvPr/>
          </p:nvGrpSpPr>
          <p:grpSpPr>
            <a:xfrm>
              <a:off x="8717280" y="944563"/>
              <a:ext cx="468092" cy="758962"/>
              <a:chOff x="23199090" y="1111251"/>
              <a:chExt cx="771525" cy="1250950"/>
            </a:xfrm>
          </p:grpSpPr>
          <p:sp>
            <p:nvSpPr>
              <p:cNvPr id="131" name="i$ľîḓê">
                <a:extLst>
                  <a:ext uri="{FF2B5EF4-FFF2-40B4-BE49-F238E27FC236}">
                    <a16:creationId xmlns:a16="http://schemas.microsoft.com/office/drawing/2014/main" id="{4782B1DF-E762-4E8E-A2FF-712C1E989147}"/>
                  </a:ext>
                </a:extLst>
              </p:cNvPr>
              <p:cNvSpPr/>
              <p:nvPr/>
            </p:nvSpPr>
            <p:spPr bwMode="auto">
              <a:xfrm>
                <a:off x="23300690" y="1782763"/>
                <a:ext cx="407988" cy="579438"/>
              </a:xfrm>
              <a:custGeom>
                <a:avLst/>
                <a:gdLst>
                  <a:gd name="T0" fmla="*/ 250 w 257"/>
                  <a:gd name="T1" fmla="*/ 259 h 366"/>
                  <a:gd name="T2" fmla="*/ 238 w 257"/>
                  <a:gd name="T3" fmla="*/ 263 h 366"/>
                  <a:gd name="T4" fmla="*/ 146 w 257"/>
                  <a:gd name="T5" fmla="*/ 306 h 366"/>
                  <a:gd name="T6" fmla="*/ 64 w 257"/>
                  <a:gd name="T7" fmla="*/ 224 h 366"/>
                  <a:gd name="T8" fmla="*/ 123 w 257"/>
                  <a:gd name="T9" fmla="*/ 146 h 366"/>
                  <a:gd name="T10" fmla="*/ 141 w 257"/>
                  <a:gd name="T11" fmla="*/ 143 h 366"/>
                  <a:gd name="T12" fmla="*/ 167 w 257"/>
                  <a:gd name="T13" fmla="*/ 137 h 366"/>
                  <a:gd name="T14" fmla="*/ 199 w 257"/>
                  <a:gd name="T15" fmla="*/ 108 h 366"/>
                  <a:gd name="T16" fmla="*/ 207 w 257"/>
                  <a:gd name="T17" fmla="*/ 56 h 366"/>
                  <a:gd name="T18" fmla="*/ 206 w 257"/>
                  <a:gd name="T19" fmla="*/ 45 h 366"/>
                  <a:gd name="T20" fmla="*/ 206 w 257"/>
                  <a:gd name="T21" fmla="*/ 5 h 366"/>
                  <a:gd name="T22" fmla="*/ 202 w 257"/>
                  <a:gd name="T23" fmla="*/ 0 h 366"/>
                  <a:gd name="T24" fmla="*/ 146 w 257"/>
                  <a:gd name="T25" fmla="*/ 0 h 366"/>
                  <a:gd name="T26" fmla="*/ 142 w 257"/>
                  <a:gd name="T27" fmla="*/ 5 h 366"/>
                  <a:gd name="T28" fmla="*/ 141 w 257"/>
                  <a:gd name="T29" fmla="*/ 56 h 366"/>
                  <a:gd name="T30" fmla="*/ 107 w 257"/>
                  <a:gd name="T31" fmla="*/ 85 h 366"/>
                  <a:gd name="T32" fmla="*/ 31 w 257"/>
                  <a:gd name="T33" fmla="*/ 135 h 366"/>
                  <a:gd name="T34" fmla="*/ 0 w 257"/>
                  <a:gd name="T35" fmla="*/ 224 h 366"/>
                  <a:gd name="T36" fmla="*/ 35 w 257"/>
                  <a:gd name="T37" fmla="*/ 318 h 366"/>
                  <a:gd name="T38" fmla="*/ 138 w 257"/>
                  <a:gd name="T39" fmla="*/ 366 h 366"/>
                  <a:gd name="T40" fmla="*/ 174 w 257"/>
                  <a:gd name="T41" fmla="*/ 361 h 366"/>
                  <a:gd name="T42" fmla="*/ 256 w 257"/>
                  <a:gd name="T43" fmla="*/ 270 h 366"/>
                  <a:gd name="T44" fmla="*/ 250 w 257"/>
                  <a:gd name="T45" fmla="*/ 25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7" h="366">
                    <a:moveTo>
                      <a:pt x="250" y="259"/>
                    </a:moveTo>
                    <a:cubicBezTo>
                      <a:pt x="245" y="257"/>
                      <a:pt x="240" y="259"/>
                      <a:pt x="238" y="263"/>
                    </a:cubicBezTo>
                    <a:cubicBezTo>
                      <a:pt x="204" y="312"/>
                      <a:pt x="147" y="306"/>
                      <a:pt x="146" y="306"/>
                    </a:cubicBezTo>
                    <a:cubicBezTo>
                      <a:pt x="101" y="306"/>
                      <a:pt x="64" y="269"/>
                      <a:pt x="64" y="224"/>
                    </a:cubicBezTo>
                    <a:cubicBezTo>
                      <a:pt x="64" y="188"/>
                      <a:pt x="88" y="156"/>
                      <a:pt x="123" y="146"/>
                    </a:cubicBezTo>
                    <a:cubicBezTo>
                      <a:pt x="129" y="144"/>
                      <a:pt x="135" y="144"/>
                      <a:pt x="141" y="143"/>
                    </a:cubicBezTo>
                    <a:cubicBezTo>
                      <a:pt x="150" y="142"/>
                      <a:pt x="159" y="141"/>
                      <a:pt x="167" y="137"/>
                    </a:cubicBezTo>
                    <a:cubicBezTo>
                      <a:pt x="181" y="131"/>
                      <a:pt x="193" y="121"/>
                      <a:pt x="199" y="108"/>
                    </a:cubicBezTo>
                    <a:cubicBezTo>
                      <a:pt x="207" y="91"/>
                      <a:pt x="207" y="73"/>
                      <a:pt x="207" y="56"/>
                    </a:cubicBezTo>
                    <a:cubicBezTo>
                      <a:pt x="207" y="52"/>
                      <a:pt x="206" y="49"/>
                      <a:pt x="206" y="45"/>
                    </a:cubicBezTo>
                    <a:cubicBezTo>
                      <a:pt x="206" y="5"/>
                      <a:pt x="206" y="5"/>
                      <a:pt x="206" y="5"/>
                    </a:cubicBezTo>
                    <a:cubicBezTo>
                      <a:pt x="206" y="2"/>
                      <a:pt x="204" y="0"/>
                      <a:pt x="202" y="0"/>
                    </a:cubicBezTo>
                    <a:cubicBezTo>
                      <a:pt x="146" y="0"/>
                      <a:pt x="146" y="0"/>
                      <a:pt x="146" y="0"/>
                    </a:cubicBezTo>
                    <a:cubicBezTo>
                      <a:pt x="144" y="0"/>
                      <a:pt x="142" y="2"/>
                      <a:pt x="142" y="5"/>
                    </a:cubicBezTo>
                    <a:cubicBezTo>
                      <a:pt x="142" y="5"/>
                      <a:pt x="141" y="55"/>
                      <a:pt x="141" y="56"/>
                    </a:cubicBezTo>
                    <a:cubicBezTo>
                      <a:pt x="141" y="74"/>
                      <a:pt x="128" y="79"/>
                      <a:pt x="107" y="85"/>
                    </a:cubicBezTo>
                    <a:cubicBezTo>
                      <a:pt x="77" y="93"/>
                      <a:pt x="50" y="111"/>
                      <a:pt x="31" y="135"/>
                    </a:cubicBezTo>
                    <a:cubicBezTo>
                      <a:pt x="11" y="161"/>
                      <a:pt x="0" y="192"/>
                      <a:pt x="0" y="224"/>
                    </a:cubicBezTo>
                    <a:cubicBezTo>
                      <a:pt x="0" y="259"/>
                      <a:pt x="12" y="292"/>
                      <a:pt x="35" y="318"/>
                    </a:cubicBezTo>
                    <a:cubicBezTo>
                      <a:pt x="61" y="349"/>
                      <a:pt x="99" y="366"/>
                      <a:pt x="138" y="366"/>
                    </a:cubicBezTo>
                    <a:cubicBezTo>
                      <a:pt x="150" y="366"/>
                      <a:pt x="162" y="364"/>
                      <a:pt x="174" y="361"/>
                    </a:cubicBezTo>
                    <a:cubicBezTo>
                      <a:pt x="218" y="348"/>
                      <a:pt x="250" y="312"/>
                      <a:pt x="256" y="270"/>
                    </a:cubicBezTo>
                    <a:cubicBezTo>
                      <a:pt x="257" y="265"/>
                      <a:pt x="254" y="261"/>
                      <a:pt x="250" y="259"/>
                    </a:cubicBezTo>
                  </a:path>
                </a:pathLst>
              </a:custGeom>
              <a:solidFill>
                <a:srgbClr val="B5B8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2" name="iṣ1îdè">
                <a:extLst>
                  <a:ext uri="{FF2B5EF4-FFF2-40B4-BE49-F238E27FC236}">
                    <a16:creationId xmlns:a16="http://schemas.microsoft.com/office/drawing/2014/main" id="{8785A2DA-27FF-45D5-99DE-9E3DED0A0308}"/>
                  </a:ext>
                </a:extLst>
              </p:cNvPr>
              <p:cNvSpPr/>
              <p:nvPr/>
            </p:nvSpPr>
            <p:spPr bwMode="auto">
              <a:xfrm>
                <a:off x="23410228" y="2181226"/>
                <a:ext cx="295275" cy="114300"/>
              </a:xfrm>
              <a:custGeom>
                <a:avLst/>
                <a:gdLst>
                  <a:gd name="T0" fmla="*/ 181 w 186"/>
                  <a:gd name="T1" fmla="*/ 7 h 72"/>
                  <a:gd name="T2" fmla="*/ 169 w 186"/>
                  <a:gd name="T3" fmla="*/ 11 h 72"/>
                  <a:gd name="T4" fmla="*/ 169 w 186"/>
                  <a:gd name="T5" fmla="*/ 11 h 72"/>
                  <a:gd name="T6" fmla="*/ 46 w 186"/>
                  <a:gd name="T7" fmla="*/ 48 h 72"/>
                  <a:gd name="T8" fmla="*/ 46 w 186"/>
                  <a:gd name="T9" fmla="*/ 48 h 72"/>
                  <a:gd name="T10" fmla="*/ 46 w 186"/>
                  <a:gd name="T11" fmla="*/ 48 h 72"/>
                  <a:gd name="T12" fmla="*/ 23 w 186"/>
                  <a:gd name="T13" fmla="*/ 34 h 72"/>
                  <a:gd name="T14" fmla="*/ 0 w 186"/>
                  <a:gd name="T15" fmla="*/ 0 h 72"/>
                  <a:gd name="T16" fmla="*/ 94 w 186"/>
                  <a:gd name="T17" fmla="*/ 72 h 72"/>
                  <a:gd name="T18" fmla="*/ 186 w 186"/>
                  <a:gd name="T19" fmla="*/ 11 h 72"/>
                  <a:gd name="T20" fmla="*/ 181 w 186"/>
                  <a:gd name="T21"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72">
                    <a:moveTo>
                      <a:pt x="181" y="7"/>
                    </a:moveTo>
                    <a:cubicBezTo>
                      <a:pt x="176" y="5"/>
                      <a:pt x="171" y="7"/>
                      <a:pt x="169" y="11"/>
                    </a:cubicBezTo>
                    <a:cubicBezTo>
                      <a:pt x="169" y="11"/>
                      <a:pt x="169" y="11"/>
                      <a:pt x="169" y="11"/>
                    </a:cubicBezTo>
                    <a:cubicBezTo>
                      <a:pt x="135" y="60"/>
                      <a:pt x="75" y="59"/>
                      <a:pt x="46" y="48"/>
                    </a:cubicBezTo>
                    <a:cubicBezTo>
                      <a:pt x="46" y="48"/>
                      <a:pt x="46" y="48"/>
                      <a:pt x="46" y="48"/>
                    </a:cubicBezTo>
                    <a:cubicBezTo>
                      <a:pt x="46" y="48"/>
                      <a:pt x="46" y="48"/>
                      <a:pt x="46" y="48"/>
                    </a:cubicBezTo>
                    <a:cubicBezTo>
                      <a:pt x="37" y="44"/>
                      <a:pt x="30" y="39"/>
                      <a:pt x="23" y="34"/>
                    </a:cubicBezTo>
                    <a:cubicBezTo>
                      <a:pt x="10" y="22"/>
                      <a:pt x="4" y="12"/>
                      <a:pt x="0" y="0"/>
                    </a:cubicBezTo>
                    <a:cubicBezTo>
                      <a:pt x="12" y="42"/>
                      <a:pt x="49" y="72"/>
                      <a:pt x="94" y="72"/>
                    </a:cubicBezTo>
                    <a:cubicBezTo>
                      <a:pt x="136" y="72"/>
                      <a:pt x="171" y="47"/>
                      <a:pt x="186" y="11"/>
                    </a:cubicBezTo>
                    <a:cubicBezTo>
                      <a:pt x="185" y="10"/>
                      <a:pt x="183" y="8"/>
                      <a:pt x="181" y="7"/>
                    </a:cubicBezTo>
                    <a:close/>
                  </a:path>
                </a:pathLst>
              </a:custGeom>
              <a:solidFill>
                <a:srgbClr val="8B8D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3" name="îṣ1îḋé">
                <a:extLst>
                  <a:ext uri="{FF2B5EF4-FFF2-40B4-BE49-F238E27FC236}">
                    <a16:creationId xmlns:a16="http://schemas.microsoft.com/office/drawing/2014/main" id="{8AAC6413-AE06-4BC6-8C76-B1E0385EFDB4}"/>
                  </a:ext>
                </a:extLst>
              </p:cNvPr>
              <p:cNvSpPr/>
              <p:nvPr/>
            </p:nvSpPr>
            <p:spPr bwMode="auto">
              <a:xfrm>
                <a:off x="23299103" y="1954213"/>
                <a:ext cx="153988" cy="317500"/>
              </a:xfrm>
              <a:custGeom>
                <a:avLst/>
                <a:gdLst>
                  <a:gd name="T0" fmla="*/ 97 w 97"/>
                  <a:gd name="T1" fmla="*/ 0 h 200"/>
                  <a:gd name="T2" fmla="*/ 94 w 97"/>
                  <a:gd name="T3" fmla="*/ 1 h 200"/>
                  <a:gd name="T4" fmla="*/ 17 w 97"/>
                  <a:gd name="T5" fmla="*/ 140 h 200"/>
                  <a:gd name="T6" fmla="*/ 61 w 97"/>
                  <a:gd name="T7" fmla="*/ 200 h 200"/>
                  <a:gd name="T8" fmla="*/ 38 w 97"/>
                  <a:gd name="T9" fmla="*/ 155 h 200"/>
                  <a:gd name="T10" fmla="*/ 97 w 97"/>
                  <a:gd name="T11" fmla="*/ 0 h 200"/>
                </a:gdLst>
                <a:ahLst/>
                <a:cxnLst>
                  <a:cxn ang="0">
                    <a:pos x="T0" y="T1"/>
                  </a:cxn>
                  <a:cxn ang="0">
                    <a:pos x="T2" y="T3"/>
                  </a:cxn>
                  <a:cxn ang="0">
                    <a:pos x="T4" y="T5"/>
                  </a:cxn>
                  <a:cxn ang="0">
                    <a:pos x="T6" y="T7"/>
                  </a:cxn>
                  <a:cxn ang="0">
                    <a:pos x="T8" y="T9"/>
                  </a:cxn>
                  <a:cxn ang="0">
                    <a:pos x="T10" y="T11"/>
                  </a:cxn>
                </a:cxnLst>
                <a:rect l="0" t="0" r="r" b="b"/>
                <a:pathLst>
                  <a:path w="97" h="200">
                    <a:moveTo>
                      <a:pt x="97" y="0"/>
                    </a:moveTo>
                    <a:cubicBezTo>
                      <a:pt x="96" y="0"/>
                      <a:pt x="95" y="1"/>
                      <a:pt x="94" y="1"/>
                    </a:cubicBezTo>
                    <a:cubicBezTo>
                      <a:pt x="34" y="18"/>
                      <a:pt x="0" y="80"/>
                      <a:pt x="17" y="140"/>
                    </a:cubicBezTo>
                    <a:cubicBezTo>
                      <a:pt x="25" y="165"/>
                      <a:pt x="40" y="186"/>
                      <a:pt x="61" y="200"/>
                    </a:cubicBezTo>
                    <a:cubicBezTo>
                      <a:pt x="51" y="187"/>
                      <a:pt x="43" y="172"/>
                      <a:pt x="38" y="155"/>
                    </a:cubicBezTo>
                    <a:cubicBezTo>
                      <a:pt x="20" y="95"/>
                      <a:pt x="46" y="32"/>
                      <a:pt x="97" y="0"/>
                    </a:cubicBezTo>
                  </a:path>
                </a:pathLst>
              </a:custGeom>
              <a:solidFill>
                <a:srgbClr val="C4C6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4" name="iṣliḍé">
                <a:extLst>
                  <a:ext uri="{FF2B5EF4-FFF2-40B4-BE49-F238E27FC236}">
                    <a16:creationId xmlns:a16="http://schemas.microsoft.com/office/drawing/2014/main" id="{77013160-2C81-4F2F-9E60-F03A47254315}"/>
                  </a:ext>
                </a:extLst>
              </p:cNvPr>
              <p:cNvSpPr/>
              <p:nvPr/>
            </p:nvSpPr>
            <p:spPr bwMode="auto">
              <a:xfrm>
                <a:off x="23230840" y="1187451"/>
                <a:ext cx="708025" cy="336550"/>
              </a:xfrm>
              <a:custGeom>
                <a:avLst/>
                <a:gdLst>
                  <a:gd name="T0" fmla="*/ 1 w 446"/>
                  <a:gd name="T1" fmla="*/ 0 h 212"/>
                  <a:gd name="T2" fmla="*/ 446 w 446"/>
                  <a:gd name="T3" fmla="*/ 0 h 212"/>
                  <a:gd name="T4" fmla="*/ 446 w 446"/>
                  <a:gd name="T5" fmla="*/ 212 h 212"/>
                  <a:gd name="T6" fmla="*/ 0 w 446"/>
                  <a:gd name="T7" fmla="*/ 212 h 212"/>
                  <a:gd name="T8" fmla="*/ 1 w 446"/>
                  <a:gd name="T9" fmla="*/ 0 h 212"/>
                </a:gdLst>
                <a:ahLst/>
                <a:cxnLst>
                  <a:cxn ang="0">
                    <a:pos x="T0" y="T1"/>
                  </a:cxn>
                  <a:cxn ang="0">
                    <a:pos x="T2" y="T3"/>
                  </a:cxn>
                  <a:cxn ang="0">
                    <a:pos x="T4" y="T5"/>
                  </a:cxn>
                  <a:cxn ang="0">
                    <a:pos x="T6" y="T7"/>
                  </a:cxn>
                  <a:cxn ang="0">
                    <a:pos x="T8" y="T9"/>
                  </a:cxn>
                </a:cxnLst>
                <a:rect l="0" t="0" r="r" b="b"/>
                <a:pathLst>
                  <a:path w="446" h="212">
                    <a:moveTo>
                      <a:pt x="1" y="0"/>
                    </a:moveTo>
                    <a:lnTo>
                      <a:pt x="446" y="0"/>
                    </a:lnTo>
                    <a:lnTo>
                      <a:pt x="446" y="212"/>
                    </a:lnTo>
                    <a:lnTo>
                      <a:pt x="0" y="212"/>
                    </a:lnTo>
                    <a:lnTo>
                      <a:pt x="1" y="0"/>
                    </a:lnTo>
                    <a:close/>
                  </a:path>
                </a:pathLst>
              </a:custGeom>
              <a:solidFill>
                <a:srgbClr val="797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5" name="îśľîďé">
                <a:extLst>
                  <a:ext uri="{FF2B5EF4-FFF2-40B4-BE49-F238E27FC236}">
                    <a16:creationId xmlns:a16="http://schemas.microsoft.com/office/drawing/2014/main" id="{CFE42031-A380-4FFC-961B-0C7C8E80C0F0}"/>
                  </a:ext>
                </a:extLst>
              </p:cNvPr>
              <p:cNvSpPr/>
              <p:nvPr/>
            </p:nvSpPr>
            <p:spPr bwMode="auto">
              <a:xfrm>
                <a:off x="23230840" y="1524001"/>
                <a:ext cx="708025" cy="184150"/>
              </a:xfrm>
              <a:custGeom>
                <a:avLst/>
                <a:gdLst>
                  <a:gd name="T0" fmla="*/ 0 w 446"/>
                  <a:gd name="T1" fmla="*/ 0 h 116"/>
                  <a:gd name="T2" fmla="*/ 116 w 446"/>
                  <a:gd name="T3" fmla="*/ 116 h 116"/>
                  <a:gd name="T4" fmla="*/ 223 w 446"/>
                  <a:gd name="T5" fmla="*/ 116 h 116"/>
                  <a:gd name="T6" fmla="*/ 330 w 446"/>
                  <a:gd name="T7" fmla="*/ 116 h 116"/>
                  <a:gd name="T8" fmla="*/ 446 w 446"/>
                  <a:gd name="T9" fmla="*/ 0 h 116"/>
                  <a:gd name="T10" fmla="*/ 0 w 446"/>
                  <a:gd name="T11" fmla="*/ 0 h 116"/>
                </a:gdLst>
                <a:ahLst/>
                <a:cxnLst>
                  <a:cxn ang="0">
                    <a:pos x="T0" y="T1"/>
                  </a:cxn>
                  <a:cxn ang="0">
                    <a:pos x="T2" y="T3"/>
                  </a:cxn>
                  <a:cxn ang="0">
                    <a:pos x="T4" y="T5"/>
                  </a:cxn>
                  <a:cxn ang="0">
                    <a:pos x="T6" y="T7"/>
                  </a:cxn>
                  <a:cxn ang="0">
                    <a:pos x="T8" y="T9"/>
                  </a:cxn>
                  <a:cxn ang="0">
                    <a:pos x="T10" y="T11"/>
                  </a:cxn>
                </a:cxnLst>
                <a:rect l="0" t="0" r="r" b="b"/>
                <a:pathLst>
                  <a:path w="446" h="116">
                    <a:moveTo>
                      <a:pt x="0" y="0"/>
                    </a:moveTo>
                    <a:lnTo>
                      <a:pt x="116" y="116"/>
                    </a:lnTo>
                    <a:lnTo>
                      <a:pt x="223" y="116"/>
                    </a:lnTo>
                    <a:lnTo>
                      <a:pt x="330" y="116"/>
                    </a:lnTo>
                    <a:lnTo>
                      <a:pt x="446" y="0"/>
                    </a:lnTo>
                    <a:lnTo>
                      <a:pt x="0" y="0"/>
                    </a:lnTo>
                    <a:close/>
                  </a:path>
                </a:pathLst>
              </a:custGeom>
              <a:solidFill>
                <a:srgbClr val="8B8D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6" name="i$ḷîḑê">
                <a:extLst>
                  <a:ext uri="{FF2B5EF4-FFF2-40B4-BE49-F238E27FC236}">
                    <a16:creationId xmlns:a16="http://schemas.microsoft.com/office/drawing/2014/main" id="{959D689F-0462-4A7A-98D7-DFC6B61267AE}"/>
                  </a:ext>
                </a:extLst>
              </p:cNvPr>
              <p:cNvSpPr/>
              <p:nvPr/>
            </p:nvSpPr>
            <p:spPr bwMode="auto">
              <a:xfrm>
                <a:off x="23491190" y="1708151"/>
                <a:ext cx="182563" cy="82550"/>
              </a:xfrm>
              <a:custGeom>
                <a:avLst/>
                <a:gdLst>
                  <a:gd name="T0" fmla="*/ 108 w 115"/>
                  <a:gd name="T1" fmla="*/ 52 h 52"/>
                  <a:gd name="T2" fmla="*/ 7 w 115"/>
                  <a:gd name="T3" fmla="*/ 52 h 52"/>
                  <a:gd name="T4" fmla="*/ 0 w 115"/>
                  <a:gd name="T5" fmla="*/ 45 h 52"/>
                  <a:gd name="T6" fmla="*/ 0 w 115"/>
                  <a:gd name="T7" fmla="*/ 0 h 52"/>
                  <a:gd name="T8" fmla="*/ 115 w 115"/>
                  <a:gd name="T9" fmla="*/ 0 h 52"/>
                  <a:gd name="T10" fmla="*/ 115 w 115"/>
                  <a:gd name="T11" fmla="*/ 45 h 52"/>
                  <a:gd name="T12" fmla="*/ 108 w 115"/>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15" h="52">
                    <a:moveTo>
                      <a:pt x="108" y="52"/>
                    </a:moveTo>
                    <a:cubicBezTo>
                      <a:pt x="7" y="52"/>
                      <a:pt x="7" y="52"/>
                      <a:pt x="7" y="52"/>
                    </a:cubicBezTo>
                    <a:cubicBezTo>
                      <a:pt x="3" y="52"/>
                      <a:pt x="0" y="49"/>
                      <a:pt x="0" y="45"/>
                    </a:cubicBezTo>
                    <a:cubicBezTo>
                      <a:pt x="0" y="0"/>
                      <a:pt x="0" y="0"/>
                      <a:pt x="0" y="0"/>
                    </a:cubicBezTo>
                    <a:cubicBezTo>
                      <a:pt x="115" y="0"/>
                      <a:pt x="115" y="0"/>
                      <a:pt x="115" y="0"/>
                    </a:cubicBezTo>
                    <a:cubicBezTo>
                      <a:pt x="115" y="45"/>
                      <a:pt x="115" y="45"/>
                      <a:pt x="115" y="45"/>
                    </a:cubicBezTo>
                    <a:cubicBezTo>
                      <a:pt x="115" y="49"/>
                      <a:pt x="112" y="52"/>
                      <a:pt x="108" y="52"/>
                    </a:cubicBezTo>
                    <a:close/>
                  </a:path>
                </a:pathLst>
              </a:custGeom>
              <a:solidFill>
                <a:srgbClr val="797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7" name="isḻîḋé">
                <a:extLst>
                  <a:ext uri="{FF2B5EF4-FFF2-40B4-BE49-F238E27FC236}">
                    <a16:creationId xmlns:a16="http://schemas.microsoft.com/office/drawing/2014/main" id="{0988E0CF-A1BF-4006-A2D3-5E6ACD5D1709}"/>
                  </a:ext>
                </a:extLst>
              </p:cNvPr>
              <p:cNvSpPr/>
              <p:nvPr/>
            </p:nvSpPr>
            <p:spPr bwMode="auto">
              <a:xfrm>
                <a:off x="23199090" y="1111251"/>
                <a:ext cx="771525" cy="76200"/>
              </a:xfrm>
              <a:custGeom>
                <a:avLst/>
                <a:gdLst>
                  <a:gd name="T0" fmla="*/ 478 w 487"/>
                  <a:gd name="T1" fmla="*/ 48 h 48"/>
                  <a:gd name="T2" fmla="*/ 8 w 487"/>
                  <a:gd name="T3" fmla="*/ 48 h 48"/>
                  <a:gd name="T4" fmla="*/ 0 w 487"/>
                  <a:gd name="T5" fmla="*/ 39 h 48"/>
                  <a:gd name="T6" fmla="*/ 0 w 487"/>
                  <a:gd name="T7" fmla="*/ 8 h 48"/>
                  <a:gd name="T8" fmla="*/ 8 w 487"/>
                  <a:gd name="T9" fmla="*/ 0 h 48"/>
                  <a:gd name="T10" fmla="*/ 478 w 487"/>
                  <a:gd name="T11" fmla="*/ 0 h 48"/>
                  <a:gd name="T12" fmla="*/ 487 w 487"/>
                  <a:gd name="T13" fmla="*/ 8 h 48"/>
                  <a:gd name="T14" fmla="*/ 487 w 487"/>
                  <a:gd name="T15" fmla="*/ 39 h 48"/>
                  <a:gd name="T16" fmla="*/ 478 w 487"/>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7" h="48">
                    <a:moveTo>
                      <a:pt x="478" y="48"/>
                    </a:moveTo>
                    <a:cubicBezTo>
                      <a:pt x="8" y="48"/>
                      <a:pt x="8" y="48"/>
                      <a:pt x="8" y="48"/>
                    </a:cubicBezTo>
                    <a:cubicBezTo>
                      <a:pt x="3" y="48"/>
                      <a:pt x="0" y="44"/>
                      <a:pt x="0" y="39"/>
                    </a:cubicBezTo>
                    <a:cubicBezTo>
                      <a:pt x="0" y="8"/>
                      <a:pt x="0" y="8"/>
                      <a:pt x="0" y="8"/>
                    </a:cubicBezTo>
                    <a:cubicBezTo>
                      <a:pt x="0" y="4"/>
                      <a:pt x="3" y="0"/>
                      <a:pt x="8" y="0"/>
                    </a:cubicBezTo>
                    <a:cubicBezTo>
                      <a:pt x="478" y="0"/>
                      <a:pt x="478" y="0"/>
                      <a:pt x="478" y="0"/>
                    </a:cubicBezTo>
                    <a:cubicBezTo>
                      <a:pt x="483" y="0"/>
                      <a:pt x="487" y="4"/>
                      <a:pt x="487" y="8"/>
                    </a:cubicBezTo>
                    <a:cubicBezTo>
                      <a:pt x="487" y="39"/>
                      <a:pt x="487" y="39"/>
                      <a:pt x="487" y="39"/>
                    </a:cubicBezTo>
                    <a:cubicBezTo>
                      <a:pt x="487" y="44"/>
                      <a:pt x="483" y="48"/>
                      <a:pt x="478" y="48"/>
                    </a:cubicBezTo>
                    <a:close/>
                  </a:path>
                </a:pathLst>
              </a:custGeom>
              <a:solidFill>
                <a:srgbClr val="8B8D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sp>
          <p:nvSpPr>
            <p:cNvPr id="150" name="íṣ1îḓê">
              <a:extLst>
                <a:ext uri="{FF2B5EF4-FFF2-40B4-BE49-F238E27FC236}">
                  <a16:creationId xmlns:a16="http://schemas.microsoft.com/office/drawing/2014/main" id="{9541896F-B6CF-4673-8CBE-4797BA9FE7E7}"/>
                </a:ext>
              </a:extLst>
            </p:cNvPr>
            <p:cNvSpPr/>
            <p:nvPr/>
          </p:nvSpPr>
          <p:spPr bwMode="auto">
            <a:xfrm>
              <a:off x="8686800" y="1687581"/>
              <a:ext cx="184658" cy="358775"/>
            </a:xfrm>
            <a:custGeom>
              <a:avLst/>
              <a:gdLst>
                <a:gd name="T0" fmla="*/ 275 w 279"/>
                <a:gd name="T1" fmla="*/ 17 h 227"/>
                <a:gd name="T2" fmla="*/ 277 w 279"/>
                <a:gd name="T3" fmla="*/ 5 h 227"/>
                <a:gd name="T4" fmla="*/ 265 w 279"/>
                <a:gd name="T5" fmla="*/ 3 h 227"/>
                <a:gd name="T6" fmla="*/ 3 w 279"/>
                <a:gd name="T7" fmla="*/ 199 h 227"/>
                <a:gd name="T8" fmla="*/ 0 w 279"/>
                <a:gd name="T9" fmla="*/ 206 h 227"/>
                <a:gd name="T10" fmla="*/ 0 w 279"/>
                <a:gd name="T11" fmla="*/ 227 h 227"/>
                <a:gd name="T12" fmla="*/ 16 w 279"/>
                <a:gd name="T13" fmla="*/ 210 h 227"/>
                <a:gd name="T14" fmla="*/ 275 w 279"/>
                <a:gd name="T15" fmla="*/ 17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27">
                  <a:moveTo>
                    <a:pt x="275" y="17"/>
                  </a:moveTo>
                  <a:cubicBezTo>
                    <a:pt x="279" y="14"/>
                    <a:pt x="279" y="9"/>
                    <a:pt x="277" y="5"/>
                  </a:cubicBezTo>
                  <a:cubicBezTo>
                    <a:pt x="274" y="1"/>
                    <a:pt x="269" y="0"/>
                    <a:pt x="265" y="3"/>
                  </a:cubicBezTo>
                  <a:cubicBezTo>
                    <a:pt x="3" y="199"/>
                    <a:pt x="3" y="199"/>
                    <a:pt x="3" y="199"/>
                  </a:cubicBezTo>
                  <a:cubicBezTo>
                    <a:pt x="1" y="200"/>
                    <a:pt x="0" y="203"/>
                    <a:pt x="0" y="206"/>
                  </a:cubicBezTo>
                  <a:cubicBezTo>
                    <a:pt x="0" y="227"/>
                    <a:pt x="0" y="227"/>
                    <a:pt x="0" y="227"/>
                  </a:cubicBezTo>
                  <a:cubicBezTo>
                    <a:pt x="16" y="210"/>
                    <a:pt x="16" y="210"/>
                    <a:pt x="16" y="210"/>
                  </a:cubicBezTo>
                  <a:lnTo>
                    <a:pt x="275" y="17"/>
                  </a:lnTo>
                  <a:close/>
                </a:path>
              </a:pathLst>
            </a:custGeom>
            <a:solidFill>
              <a:srgbClr val="797A82"/>
            </a:solidFill>
            <a:ln>
              <a:solidFill>
                <a:srgbClr val="808189"/>
              </a:solid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1" name="iş1iḋê">
              <a:extLst>
                <a:ext uri="{FF2B5EF4-FFF2-40B4-BE49-F238E27FC236}">
                  <a16:creationId xmlns:a16="http://schemas.microsoft.com/office/drawing/2014/main" id="{C24D2698-701D-4A0E-8BA9-6B694257D69F}"/>
                </a:ext>
              </a:extLst>
            </p:cNvPr>
            <p:cNvSpPr/>
            <p:nvPr/>
          </p:nvSpPr>
          <p:spPr bwMode="auto">
            <a:xfrm>
              <a:off x="8864185" y="1619527"/>
              <a:ext cx="294599" cy="376361"/>
            </a:xfrm>
            <a:custGeom>
              <a:avLst/>
              <a:gdLst>
                <a:gd name="T0" fmla="*/ 330 w 332"/>
                <a:gd name="T1" fmla="*/ 239 h 838"/>
                <a:gd name="T2" fmla="*/ 327 w 332"/>
                <a:gd name="T3" fmla="*/ 232 h 838"/>
                <a:gd name="T4" fmla="*/ 21 w 332"/>
                <a:gd name="T5" fmla="*/ 2 h 838"/>
                <a:gd name="T6" fmla="*/ 10 w 332"/>
                <a:gd name="T7" fmla="*/ 2 h 838"/>
                <a:gd name="T8" fmla="*/ 0 w 332"/>
                <a:gd name="T9" fmla="*/ 9 h 838"/>
                <a:gd name="T10" fmla="*/ 5 w 332"/>
                <a:gd name="T11" fmla="*/ 11 h 838"/>
                <a:gd name="T12" fmla="*/ 314 w 332"/>
                <a:gd name="T13" fmla="*/ 243 h 838"/>
                <a:gd name="T14" fmla="*/ 315 w 332"/>
                <a:gd name="T15" fmla="*/ 825 h 838"/>
                <a:gd name="T16" fmla="*/ 302 w 332"/>
                <a:gd name="T17" fmla="*/ 838 h 838"/>
                <a:gd name="T18" fmla="*/ 323 w 332"/>
                <a:gd name="T19" fmla="*/ 838 h 838"/>
                <a:gd name="T20" fmla="*/ 329 w 332"/>
                <a:gd name="T21" fmla="*/ 835 h 838"/>
                <a:gd name="T22" fmla="*/ 332 w 332"/>
                <a:gd name="T23" fmla="*/ 829 h 838"/>
                <a:gd name="T24" fmla="*/ 330 w 332"/>
                <a:gd name="T25" fmla="*/ 239 h 838"/>
                <a:gd name="connsiteX0" fmla="*/ 9940 w 9944"/>
                <a:gd name="connsiteY0" fmla="*/ 2846 h 9994"/>
                <a:gd name="connsiteX1" fmla="*/ 9849 w 9944"/>
                <a:gd name="connsiteY1" fmla="*/ 2762 h 9994"/>
                <a:gd name="connsiteX2" fmla="*/ 633 w 9944"/>
                <a:gd name="connsiteY2" fmla="*/ 18 h 9994"/>
                <a:gd name="connsiteX3" fmla="*/ 301 w 9944"/>
                <a:gd name="connsiteY3" fmla="*/ 18 h 9994"/>
                <a:gd name="connsiteX4" fmla="*/ 0 w 9944"/>
                <a:gd name="connsiteY4" fmla="*/ 101 h 9994"/>
                <a:gd name="connsiteX5" fmla="*/ 151 w 9944"/>
                <a:gd name="connsiteY5" fmla="*/ 125 h 9994"/>
                <a:gd name="connsiteX6" fmla="*/ 9458 w 9944"/>
                <a:gd name="connsiteY6" fmla="*/ 2894 h 9994"/>
                <a:gd name="connsiteX7" fmla="*/ 9488 w 9944"/>
                <a:gd name="connsiteY7" fmla="*/ 9839 h 9994"/>
                <a:gd name="connsiteX8" fmla="*/ 9096 w 9944"/>
                <a:gd name="connsiteY8" fmla="*/ 9994 h 9994"/>
                <a:gd name="connsiteX9" fmla="*/ 9729 w 9944"/>
                <a:gd name="connsiteY9" fmla="*/ 9994 h 9994"/>
                <a:gd name="connsiteX10" fmla="*/ 9910 w 9944"/>
                <a:gd name="connsiteY10" fmla="*/ 9958 h 9994"/>
                <a:gd name="connsiteX11" fmla="*/ 9940 w 9944"/>
                <a:gd name="connsiteY11" fmla="*/ 2846 h 9994"/>
                <a:gd name="connsiteX0" fmla="*/ 9996 w 9996"/>
                <a:gd name="connsiteY0" fmla="*/ 2848 h 10000"/>
                <a:gd name="connsiteX1" fmla="*/ 9904 w 9996"/>
                <a:gd name="connsiteY1" fmla="*/ 2764 h 10000"/>
                <a:gd name="connsiteX2" fmla="*/ 637 w 9996"/>
                <a:gd name="connsiteY2" fmla="*/ 18 h 10000"/>
                <a:gd name="connsiteX3" fmla="*/ 303 w 9996"/>
                <a:gd name="connsiteY3" fmla="*/ 18 h 10000"/>
                <a:gd name="connsiteX4" fmla="*/ 0 w 9996"/>
                <a:gd name="connsiteY4" fmla="*/ 101 h 10000"/>
                <a:gd name="connsiteX5" fmla="*/ 152 w 9996"/>
                <a:gd name="connsiteY5" fmla="*/ 125 h 10000"/>
                <a:gd name="connsiteX6" fmla="*/ 9511 w 9996"/>
                <a:gd name="connsiteY6" fmla="*/ 2896 h 10000"/>
                <a:gd name="connsiteX7" fmla="*/ 9541 w 9996"/>
                <a:gd name="connsiteY7" fmla="*/ 9845 h 10000"/>
                <a:gd name="connsiteX8" fmla="*/ 9147 w 9996"/>
                <a:gd name="connsiteY8" fmla="*/ 10000 h 10000"/>
                <a:gd name="connsiteX9" fmla="*/ 9784 w 9996"/>
                <a:gd name="connsiteY9" fmla="*/ 10000 h 10000"/>
                <a:gd name="connsiteX10" fmla="*/ 9996 w 9996"/>
                <a:gd name="connsiteY10" fmla="*/ 2848 h 10000"/>
                <a:gd name="connsiteX0" fmla="*/ 10000 w 10000"/>
                <a:gd name="connsiteY0" fmla="*/ 2848 h 10000"/>
                <a:gd name="connsiteX1" fmla="*/ 9908 w 10000"/>
                <a:gd name="connsiteY1" fmla="*/ 2764 h 10000"/>
                <a:gd name="connsiteX2" fmla="*/ 637 w 10000"/>
                <a:gd name="connsiteY2" fmla="*/ 18 h 10000"/>
                <a:gd name="connsiteX3" fmla="*/ 303 w 10000"/>
                <a:gd name="connsiteY3" fmla="*/ 18 h 10000"/>
                <a:gd name="connsiteX4" fmla="*/ 0 w 10000"/>
                <a:gd name="connsiteY4" fmla="*/ 101 h 10000"/>
                <a:gd name="connsiteX5" fmla="*/ 152 w 10000"/>
                <a:gd name="connsiteY5" fmla="*/ 125 h 10000"/>
                <a:gd name="connsiteX6" fmla="*/ 9515 w 10000"/>
                <a:gd name="connsiteY6" fmla="*/ 2896 h 10000"/>
                <a:gd name="connsiteX7" fmla="*/ 9545 w 10000"/>
                <a:gd name="connsiteY7" fmla="*/ 9845 h 10000"/>
                <a:gd name="connsiteX8" fmla="*/ 9151 w 10000"/>
                <a:gd name="connsiteY8" fmla="*/ 10000 h 10000"/>
                <a:gd name="connsiteX9" fmla="*/ 10000 w 10000"/>
                <a:gd name="connsiteY9" fmla="*/ 2848 h 10000"/>
                <a:gd name="connsiteX0" fmla="*/ 10000 w 10000"/>
                <a:gd name="connsiteY0" fmla="*/ 2848 h 9845"/>
                <a:gd name="connsiteX1" fmla="*/ 9908 w 10000"/>
                <a:gd name="connsiteY1" fmla="*/ 2764 h 9845"/>
                <a:gd name="connsiteX2" fmla="*/ 637 w 10000"/>
                <a:gd name="connsiteY2" fmla="*/ 18 h 9845"/>
                <a:gd name="connsiteX3" fmla="*/ 303 w 10000"/>
                <a:gd name="connsiteY3" fmla="*/ 18 h 9845"/>
                <a:gd name="connsiteX4" fmla="*/ 0 w 10000"/>
                <a:gd name="connsiteY4" fmla="*/ 101 h 9845"/>
                <a:gd name="connsiteX5" fmla="*/ 152 w 10000"/>
                <a:gd name="connsiteY5" fmla="*/ 125 h 9845"/>
                <a:gd name="connsiteX6" fmla="*/ 9515 w 10000"/>
                <a:gd name="connsiteY6" fmla="*/ 2896 h 9845"/>
                <a:gd name="connsiteX7" fmla="*/ 9545 w 10000"/>
                <a:gd name="connsiteY7" fmla="*/ 9845 h 9845"/>
                <a:gd name="connsiteX8" fmla="*/ 10000 w 10000"/>
                <a:gd name="connsiteY8" fmla="*/ 2848 h 9845"/>
                <a:gd name="connsiteX0" fmla="*/ 10000 w 10376"/>
                <a:gd name="connsiteY0" fmla="*/ 2893 h 3139"/>
                <a:gd name="connsiteX1" fmla="*/ 9908 w 10376"/>
                <a:gd name="connsiteY1" fmla="*/ 2808 h 3139"/>
                <a:gd name="connsiteX2" fmla="*/ 637 w 10376"/>
                <a:gd name="connsiteY2" fmla="*/ 18 h 3139"/>
                <a:gd name="connsiteX3" fmla="*/ 303 w 10376"/>
                <a:gd name="connsiteY3" fmla="*/ 18 h 3139"/>
                <a:gd name="connsiteX4" fmla="*/ 0 w 10376"/>
                <a:gd name="connsiteY4" fmla="*/ 103 h 3139"/>
                <a:gd name="connsiteX5" fmla="*/ 152 w 10376"/>
                <a:gd name="connsiteY5" fmla="*/ 127 h 3139"/>
                <a:gd name="connsiteX6" fmla="*/ 9515 w 10376"/>
                <a:gd name="connsiteY6" fmla="*/ 2942 h 3139"/>
                <a:gd name="connsiteX7" fmla="*/ 10000 w 10376"/>
                <a:gd name="connsiteY7" fmla="*/ 2893 h 3139"/>
                <a:gd name="connsiteX0" fmla="*/ 9170 w 10493"/>
                <a:gd name="connsiteY0" fmla="*/ 9372 h 10291"/>
                <a:gd name="connsiteX1" fmla="*/ 9549 w 10493"/>
                <a:gd name="connsiteY1" fmla="*/ 8946 h 10291"/>
                <a:gd name="connsiteX2" fmla="*/ 614 w 10493"/>
                <a:gd name="connsiteY2" fmla="*/ 57 h 10291"/>
                <a:gd name="connsiteX3" fmla="*/ 292 w 10493"/>
                <a:gd name="connsiteY3" fmla="*/ 57 h 10291"/>
                <a:gd name="connsiteX4" fmla="*/ 0 w 10493"/>
                <a:gd name="connsiteY4" fmla="*/ 328 h 10291"/>
                <a:gd name="connsiteX5" fmla="*/ 146 w 10493"/>
                <a:gd name="connsiteY5" fmla="*/ 405 h 10291"/>
                <a:gd name="connsiteX6" fmla="*/ 9170 w 10493"/>
                <a:gd name="connsiteY6" fmla="*/ 9372 h 10291"/>
                <a:gd name="connsiteX0" fmla="*/ 735 w 10138"/>
                <a:gd name="connsiteY0" fmla="*/ 652 h 9193"/>
                <a:gd name="connsiteX1" fmla="*/ 10138 w 10138"/>
                <a:gd name="connsiteY1" fmla="*/ 9193 h 9193"/>
                <a:gd name="connsiteX2" fmla="*/ 1203 w 10138"/>
                <a:gd name="connsiteY2" fmla="*/ 304 h 9193"/>
                <a:gd name="connsiteX3" fmla="*/ 881 w 10138"/>
                <a:gd name="connsiteY3" fmla="*/ 304 h 9193"/>
                <a:gd name="connsiteX4" fmla="*/ 589 w 10138"/>
                <a:gd name="connsiteY4" fmla="*/ 575 h 9193"/>
                <a:gd name="connsiteX5" fmla="*/ 735 w 10138"/>
                <a:gd name="connsiteY5" fmla="*/ 652 h 9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8" h="9193">
                  <a:moveTo>
                    <a:pt x="735" y="652"/>
                  </a:moveTo>
                  <a:cubicBezTo>
                    <a:pt x="2326" y="2088"/>
                    <a:pt x="10060" y="9251"/>
                    <a:pt x="10138" y="9193"/>
                  </a:cubicBezTo>
                  <a:cubicBezTo>
                    <a:pt x="10216" y="9135"/>
                    <a:pt x="4181" y="3267"/>
                    <a:pt x="1203" y="304"/>
                  </a:cubicBezTo>
                  <a:cubicBezTo>
                    <a:pt x="1114" y="228"/>
                    <a:pt x="969" y="228"/>
                    <a:pt x="881" y="304"/>
                  </a:cubicBezTo>
                  <a:lnTo>
                    <a:pt x="589" y="575"/>
                  </a:lnTo>
                  <a:cubicBezTo>
                    <a:pt x="638" y="601"/>
                    <a:pt x="-856" y="-784"/>
                    <a:pt x="735" y="652"/>
                  </a:cubicBezTo>
                  <a:close/>
                </a:path>
              </a:pathLst>
            </a:custGeom>
            <a:solidFill>
              <a:srgbClr val="797A82"/>
            </a:solidFill>
            <a:ln>
              <a:solidFill>
                <a:srgbClr val="808189"/>
              </a:solid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graphicFrame>
        <p:nvGraphicFramePr>
          <p:cNvPr id="154" name="图表 153">
            <a:extLst>
              <a:ext uri="{FF2B5EF4-FFF2-40B4-BE49-F238E27FC236}">
                <a16:creationId xmlns:a16="http://schemas.microsoft.com/office/drawing/2014/main" id="{4D9D2E38-698C-4EE0-A264-FD2076522C7A}"/>
              </a:ext>
            </a:extLst>
          </p:cNvPr>
          <p:cNvGraphicFramePr/>
          <p:nvPr>
            <p:extLst>
              <p:ext uri="{D42A27DB-BD31-4B8C-83A1-F6EECF244321}">
                <p14:modId xmlns:p14="http://schemas.microsoft.com/office/powerpoint/2010/main" val="243307349"/>
              </p:ext>
            </p:extLst>
          </p:nvPr>
        </p:nvGraphicFramePr>
        <p:xfrm>
          <a:off x="2233912" y="2037145"/>
          <a:ext cx="9853915" cy="3246560"/>
        </p:xfrm>
        <a:graphic>
          <a:graphicData uri="http://schemas.openxmlformats.org/drawingml/2006/chart">
            <c:chart xmlns:c="http://schemas.openxmlformats.org/drawingml/2006/chart" xmlns:r="http://schemas.openxmlformats.org/officeDocument/2006/relationships" r:id="rId2"/>
          </a:graphicData>
        </a:graphic>
      </p:graphicFrame>
      <p:sp>
        <p:nvSpPr>
          <p:cNvPr id="156" name="椭圆 155">
            <a:extLst>
              <a:ext uri="{FF2B5EF4-FFF2-40B4-BE49-F238E27FC236}">
                <a16:creationId xmlns:a16="http://schemas.microsoft.com/office/drawing/2014/main" id="{C9EACC3E-2892-4FFB-A5D2-766595F43EC8}"/>
              </a:ext>
            </a:extLst>
          </p:cNvPr>
          <p:cNvSpPr/>
          <p:nvPr/>
        </p:nvSpPr>
        <p:spPr>
          <a:xfrm>
            <a:off x="8674556" y="1852259"/>
            <a:ext cx="515931" cy="515931"/>
          </a:xfrm>
          <a:prstGeom prst="ellipse">
            <a:avLst/>
          </a:prstGeom>
          <a:solidFill>
            <a:schemeClr val="bg1"/>
          </a:solidFill>
          <a:ln w="28575" cap="flat" cmpd="sng" algn="ctr">
            <a:solidFill>
              <a:schemeClr val="accent1"/>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noProof="0" dirty="0">
                <a:ln>
                  <a:noFill/>
                </a:ln>
                <a:solidFill>
                  <a:schemeClr val="accent1"/>
                </a:solidFill>
                <a:effectLst/>
                <a:uLnTx/>
                <a:uFillTx/>
                <a:cs typeface="+mn-cs"/>
              </a:rPr>
              <a:t>98</a:t>
            </a:r>
          </a:p>
        </p:txBody>
      </p:sp>
      <p:grpSp>
        <p:nvGrpSpPr>
          <p:cNvPr id="29" name="组合 28">
            <a:extLst>
              <a:ext uri="{FF2B5EF4-FFF2-40B4-BE49-F238E27FC236}">
                <a16:creationId xmlns:a16="http://schemas.microsoft.com/office/drawing/2014/main" id="{1624481E-0DD1-4DEC-B60B-C207EFC192CA}"/>
              </a:ext>
            </a:extLst>
          </p:cNvPr>
          <p:cNvGrpSpPr/>
          <p:nvPr/>
        </p:nvGrpSpPr>
        <p:grpSpPr>
          <a:xfrm>
            <a:off x="0" y="-715587"/>
            <a:ext cx="676656" cy="602672"/>
            <a:chOff x="0" y="6950133"/>
            <a:chExt cx="676656" cy="602672"/>
          </a:xfrm>
        </p:grpSpPr>
        <p:sp>
          <p:nvSpPr>
            <p:cNvPr id="30" name="矩形 29">
              <a:extLst>
                <a:ext uri="{FF2B5EF4-FFF2-40B4-BE49-F238E27FC236}">
                  <a16:creationId xmlns:a16="http://schemas.microsoft.com/office/drawing/2014/main" id="{A1478742-C453-45B6-A396-564BBC19EC91}"/>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31" name="组合 30">
              <a:extLst>
                <a:ext uri="{FF2B5EF4-FFF2-40B4-BE49-F238E27FC236}">
                  <a16:creationId xmlns:a16="http://schemas.microsoft.com/office/drawing/2014/main" id="{8DCB5705-0BA8-428E-AD2B-D6199C2A8B1D}"/>
                </a:ext>
              </a:extLst>
            </p:cNvPr>
            <p:cNvGrpSpPr/>
            <p:nvPr/>
          </p:nvGrpSpPr>
          <p:grpSpPr>
            <a:xfrm>
              <a:off x="47544" y="7038552"/>
              <a:ext cx="581568" cy="425834"/>
              <a:chOff x="84575" y="6977592"/>
              <a:chExt cx="581568" cy="425834"/>
            </a:xfrm>
          </p:grpSpPr>
          <p:grpSp>
            <p:nvGrpSpPr>
              <p:cNvPr id="32" name="组合 31">
                <a:extLst>
                  <a:ext uri="{FF2B5EF4-FFF2-40B4-BE49-F238E27FC236}">
                    <a16:creationId xmlns:a16="http://schemas.microsoft.com/office/drawing/2014/main" id="{D4884E4A-D5F0-4D27-9C91-EF082F97CE32}"/>
                  </a:ext>
                </a:extLst>
              </p:cNvPr>
              <p:cNvGrpSpPr/>
              <p:nvPr/>
            </p:nvGrpSpPr>
            <p:grpSpPr>
              <a:xfrm>
                <a:off x="84575" y="6979654"/>
                <a:ext cx="317380" cy="421711"/>
                <a:chOff x="14690033" y="2185397"/>
                <a:chExt cx="583830" cy="775754"/>
              </a:xfrm>
            </p:grpSpPr>
            <p:sp>
              <p:nvSpPr>
                <p:cNvPr id="34" name="iŝļíḑe">
                  <a:extLst>
                    <a:ext uri="{FF2B5EF4-FFF2-40B4-BE49-F238E27FC236}">
                      <a16:creationId xmlns:a16="http://schemas.microsoft.com/office/drawing/2014/main" id="{094113DD-B5CB-4209-83B8-47AF584633ED}"/>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şḷíḍé">
                  <a:extLst>
                    <a:ext uri="{FF2B5EF4-FFF2-40B4-BE49-F238E27FC236}">
                      <a16:creationId xmlns:a16="http://schemas.microsoft.com/office/drawing/2014/main" id="{3A434743-239A-45E8-B5EB-59262D16D414}"/>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Sľïḓe">
                  <a:extLst>
                    <a:ext uri="{FF2B5EF4-FFF2-40B4-BE49-F238E27FC236}">
                      <a16:creationId xmlns:a16="http://schemas.microsoft.com/office/drawing/2014/main" id="{4344E9A8-2C68-4767-8576-8B3D5E7D93DF}"/>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sḻídê">
                  <a:extLst>
                    <a:ext uri="{FF2B5EF4-FFF2-40B4-BE49-F238E27FC236}">
                      <a16:creationId xmlns:a16="http://schemas.microsoft.com/office/drawing/2014/main" id="{22987B5F-B5E9-4A6B-AEAE-BBD6E4C2C8E7}"/>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íḋè">
                  <a:extLst>
                    <a:ext uri="{FF2B5EF4-FFF2-40B4-BE49-F238E27FC236}">
                      <a16:creationId xmlns:a16="http://schemas.microsoft.com/office/drawing/2014/main" id="{F32568DD-DEE7-49BA-A33D-0A455171CEDA}"/>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şļíde">
                  <a:extLst>
                    <a:ext uri="{FF2B5EF4-FFF2-40B4-BE49-F238E27FC236}">
                      <a16:creationId xmlns:a16="http://schemas.microsoft.com/office/drawing/2014/main" id="{A0265140-BB52-4386-848D-466CC3B1DC46}"/>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3" name="文本框 32">
                <a:extLst>
                  <a:ext uri="{FF2B5EF4-FFF2-40B4-BE49-F238E27FC236}">
                    <a16:creationId xmlns:a16="http://schemas.microsoft.com/office/drawing/2014/main" id="{847DDFA0-DA37-479C-B036-EC242BD7CFE9}"/>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40" name="矩形 39">
            <a:extLst>
              <a:ext uri="{FF2B5EF4-FFF2-40B4-BE49-F238E27FC236}">
                <a16:creationId xmlns:a16="http://schemas.microsoft.com/office/drawing/2014/main" id="{348831AA-1398-4505-807E-AF2D3B8B02F8}"/>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3039210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标题 75">
            <a:extLst>
              <a:ext uri="{FF2B5EF4-FFF2-40B4-BE49-F238E27FC236}">
                <a16:creationId xmlns:a16="http://schemas.microsoft.com/office/drawing/2014/main" id="{7310B5CE-E985-4E20-BC3E-91E506CD2E5B}"/>
              </a:ext>
            </a:extLst>
          </p:cNvPr>
          <p:cNvSpPr>
            <a:spLocks noGrp="1"/>
          </p:cNvSpPr>
          <p:nvPr>
            <p:ph type="ctrTitle"/>
          </p:nvPr>
        </p:nvSpPr>
        <p:spPr/>
        <p:txBody>
          <a:bodyPr/>
          <a:lstStyle/>
          <a:p>
            <a:pPr algn="dist"/>
            <a:r>
              <a:rPr lang="zh-CN" altLang="en-US" dirty="0">
                <a:cs typeface="+mn-ea"/>
                <a:sym typeface="+mn-lt"/>
              </a:rPr>
              <a:t>上海大学汇报答辩通用模板</a:t>
            </a:r>
            <a:endParaRPr lang="en-US" dirty="0">
              <a:cs typeface="+mn-ea"/>
              <a:sym typeface="+mn-lt"/>
            </a:endParaRPr>
          </a:p>
        </p:txBody>
      </p:sp>
      <p:sp>
        <p:nvSpPr>
          <p:cNvPr id="77" name="副标题 76">
            <a:extLst>
              <a:ext uri="{FF2B5EF4-FFF2-40B4-BE49-F238E27FC236}">
                <a16:creationId xmlns:a16="http://schemas.microsoft.com/office/drawing/2014/main" id="{CF91E93B-766D-4C12-B956-C80286C67CF8}"/>
              </a:ext>
            </a:extLst>
          </p:cNvPr>
          <p:cNvSpPr>
            <a:spLocks noGrp="1"/>
          </p:cNvSpPr>
          <p:nvPr>
            <p:ph type="subTitle" idx="1"/>
          </p:nvPr>
        </p:nvSpPr>
        <p:spPr/>
        <p:txBody>
          <a:bodyPr/>
          <a:lstStyle/>
          <a:p>
            <a:pPr algn="dist"/>
            <a:r>
              <a:rPr lang="en-US" dirty="0">
                <a:cs typeface="+mn-ea"/>
                <a:sym typeface="+mn-lt"/>
              </a:rPr>
              <a:t>GENERAL REPORTING TEMPLATE FOR SHANGHAI UNIVERSITY</a:t>
            </a:r>
          </a:p>
        </p:txBody>
      </p:sp>
      <p:sp>
        <p:nvSpPr>
          <p:cNvPr id="78" name="内容占位符 77">
            <a:extLst>
              <a:ext uri="{FF2B5EF4-FFF2-40B4-BE49-F238E27FC236}">
                <a16:creationId xmlns:a16="http://schemas.microsoft.com/office/drawing/2014/main" id="{7C1E4133-D418-48FE-9CC1-25B2D2E86FF4}"/>
              </a:ext>
            </a:extLst>
          </p:cNvPr>
          <p:cNvSpPr>
            <a:spLocks noGrp="1"/>
          </p:cNvSpPr>
          <p:nvPr>
            <p:ph sz="quarter" idx="13"/>
          </p:nvPr>
        </p:nvSpPr>
        <p:spPr/>
        <p:txBody>
          <a:bodyPr>
            <a:normAutofit/>
          </a:bodyPr>
          <a:lstStyle/>
          <a:p>
            <a:r>
              <a:rPr lang="zh-CN" altLang="en-US" dirty="0">
                <a:cs typeface="+mn-ea"/>
                <a:sym typeface="+mn-lt"/>
              </a:rPr>
              <a:t>指导教师：林利蒙</a:t>
            </a:r>
          </a:p>
        </p:txBody>
      </p:sp>
      <p:sp>
        <p:nvSpPr>
          <p:cNvPr id="75" name="内容占位符 74">
            <a:extLst>
              <a:ext uri="{FF2B5EF4-FFF2-40B4-BE49-F238E27FC236}">
                <a16:creationId xmlns:a16="http://schemas.microsoft.com/office/drawing/2014/main" id="{6DC5605F-C62D-4E57-B7E2-04AF36CC39AC}"/>
              </a:ext>
            </a:extLst>
          </p:cNvPr>
          <p:cNvSpPr>
            <a:spLocks noGrp="1"/>
          </p:cNvSpPr>
          <p:nvPr>
            <p:ph sz="quarter" idx="14"/>
          </p:nvPr>
        </p:nvSpPr>
        <p:spPr/>
        <p:txBody>
          <a:bodyPr>
            <a:normAutofit/>
          </a:bodyPr>
          <a:lstStyle/>
          <a:p>
            <a:r>
              <a:rPr lang="zh-CN" altLang="en-US" dirty="0">
                <a:cs typeface="+mn-ea"/>
                <a:sym typeface="+mn-lt"/>
              </a:rPr>
              <a:t>答辩人：林利蒙</a:t>
            </a:r>
            <a:endParaRPr lang="en-US" altLang="zh-CN" dirty="0">
              <a:cs typeface="+mn-ea"/>
              <a:sym typeface="+mn-lt"/>
            </a:endParaRPr>
          </a:p>
        </p:txBody>
      </p:sp>
      <p:grpSp>
        <p:nvGrpSpPr>
          <p:cNvPr id="6" name="组合 5">
            <a:extLst>
              <a:ext uri="{FF2B5EF4-FFF2-40B4-BE49-F238E27FC236}">
                <a16:creationId xmlns:a16="http://schemas.microsoft.com/office/drawing/2014/main" id="{55618513-8E6A-4B42-B3AB-1C3965E104B8}"/>
              </a:ext>
            </a:extLst>
          </p:cNvPr>
          <p:cNvGrpSpPr/>
          <p:nvPr/>
        </p:nvGrpSpPr>
        <p:grpSpPr>
          <a:xfrm>
            <a:off x="0" y="6950133"/>
            <a:ext cx="676656" cy="602672"/>
            <a:chOff x="0" y="6950133"/>
            <a:chExt cx="676656" cy="602672"/>
          </a:xfrm>
        </p:grpSpPr>
        <p:sp>
          <p:nvSpPr>
            <p:cNvPr id="7" name="矩形 6">
              <a:extLst>
                <a:ext uri="{FF2B5EF4-FFF2-40B4-BE49-F238E27FC236}">
                  <a16:creationId xmlns:a16="http://schemas.microsoft.com/office/drawing/2014/main" id="{101CA1A1-B997-4BD9-863F-E3F24DAD2DDD}"/>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8" name="组合 7">
              <a:extLst>
                <a:ext uri="{FF2B5EF4-FFF2-40B4-BE49-F238E27FC236}">
                  <a16:creationId xmlns:a16="http://schemas.microsoft.com/office/drawing/2014/main" id="{D94E1B48-F33F-4E5D-940E-BD6219F2C55A}"/>
                </a:ext>
              </a:extLst>
            </p:cNvPr>
            <p:cNvGrpSpPr/>
            <p:nvPr/>
          </p:nvGrpSpPr>
          <p:grpSpPr>
            <a:xfrm>
              <a:off x="47544" y="7038552"/>
              <a:ext cx="581568" cy="425834"/>
              <a:chOff x="84575" y="6977592"/>
              <a:chExt cx="581568" cy="425834"/>
            </a:xfrm>
          </p:grpSpPr>
          <p:grpSp>
            <p:nvGrpSpPr>
              <p:cNvPr id="9" name="组合 8">
                <a:extLst>
                  <a:ext uri="{FF2B5EF4-FFF2-40B4-BE49-F238E27FC236}">
                    <a16:creationId xmlns:a16="http://schemas.microsoft.com/office/drawing/2014/main" id="{51E9749A-0503-42CE-8E14-4A4C397ABFC8}"/>
                  </a:ext>
                </a:extLst>
              </p:cNvPr>
              <p:cNvGrpSpPr/>
              <p:nvPr/>
            </p:nvGrpSpPr>
            <p:grpSpPr>
              <a:xfrm>
                <a:off x="84575" y="6979654"/>
                <a:ext cx="317380" cy="421711"/>
                <a:chOff x="14690033" y="2185397"/>
                <a:chExt cx="583830" cy="775754"/>
              </a:xfrm>
            </p:grpSpPr>
            <p:sp>
              <p:nvSpPr>
                <p:cNvPr id="11" name="iŝļíḑe">
                  <a:extLst>
                    <a:ext uri="{FF2B5EF4-FFF2-40B4-BE49-F238E27FC236}">
                      <a16:creationId xmlns:a16="http://schemas.microsoft.com/office/drawing/2014/main" id="{CAE5BBEB-3717-465E-A487-4BAD9EC5AB3C}"/>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şḷíḍé">
                  <a:extLst>
                    <a:ext uri="{FF2B5EF4-FFF2-40B4-BE49-F238E27FC236}">
                      <a16:creationId xmlns:a16="http://schemas.microsoft.com/office/drawing/2014/main" id="{98AC192F-5266-4F1B-9DC8-238698B6D4D3}"/>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ľïḓe">
                  <a:extLst>
                    <a:ext uri="{FF2B5EF4-FFF2-40B4-BE49-F238E27FC236}">
                      <a16:creationId xmlns:a16="http://schemas.microsoft.com/office/drawing/2014/main" id="{3238A594-F9A2-48BB-A149-D510821FC23C}"/>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ḻídê">
                  <a:extLst>
                    <a:ext uri="{FF2B5EF4-FFF2-40B4-BE49-F238E27FC236}">
                      <a16:creationId xmlns:a16="http://schemas.microsoft.com/office/drawing/2014/main" id="{0A0243C6-B0F5-4B5F-93AF-0299F0297AE8}"/>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S1íḋè">
                  <a:extLst>
                    <a:ext uri="{FF2B5EF4-FFF2-40B4-BE49-F238E27FC236}">
                      <a16:creationId xmlns:a16="http://schemas.microsoft.com/office/drawing/2014/main" id="{15918DC6-2D4C-4E0E-BD6B-C5A64F1EE530}"/>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şļíde">
                  <a:extLst>
                    <a:ext uri="{FF2B5EF4-FFF2-40B4-BE49-F238E27FC236}">
                      <a16:creationId xmlns:a16="http://schemas.microsoft.com/office/drawing/2014/main" id="{5915846C-DC40-4C93-83D2-5A6AEFE6CE1E}"/>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 name="文本框 9">
                <a:extLst>
                  <a:ext uri="{FF2B5EF4-FFF2-40B4-BE49-F238E27FC236}">
                    <a16:creationId xmlns:a16="http://schemas.microsoft.com/office/drawing/2014/main" id="{37E8D43A-201F-4D7C-BFF8-1667C8EE5589}"/>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a:extLst>
              <a:ext uri="{FF2B5EF4-FFF2-40B4-BE49-F238E27FC236}">
                <a16:creationId xmlns:a16="http://schemas.microsoft.com/office/drawing/2014/main" id="{CB4C39CE-C83E-44E4-B019-3EFDD38202D5}"/>
              </a:ext>
            </a:extLst>
          </p:cNvPr>
          <p:cNvSpPr/>
          <p:nvPr/>
        </p:nvSpPr>
        <p:spPr bwMode="auto">
          <a:xfrm>
            <a:off x="812015" y="6950133"/>
            <a:ext cx="3447981"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zh-CN" spc="100" dirty="0">
                <a:solidFill>
                  <a:schemeClr val="tx1">
                    <a:lumMod val="65000"/>
                    <a:lumOff val="35000"/>
                  </a:schemeClr>
                </a:solidFill>
              </a:rPr>
              <a:t>Ctrl + </a:t>
            </a:r>
            <a:r>
              <a:rPr lang="zh-CN" altLang="en-US" spc="100" dirty="0">
                <a:solidFill>
                  <a:schemeClr val="tx1">
                    <a:lumMod val="65000"/>
                    <a:lumOff val="35000"/>
                  </a:schemeClr>
                </a:solidFill>
              </a:rPr>
              <a:t>鼠标滚轮 </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放大缩小</a:t>
            </a:r>
          </a:p>
        </p:txBody>
      </p:sp>
      <p:sp>
        <p:nvSpPr>
          <p:cNvPr id="18" name="矩形 17">
            <a:extLst>
              <a:ext uri="{FF2B5EF4-FFF2-40B4-BE49-F238E27FC236}">
                <a16:creationId xmlns:a16="http://schemas.microsoft.com/office/drawing/2014/main" id="{087BDF8A-4200-4B24-A033-2B42E9B92402}"/>
              </a:ext>
            </a:extLst>
          </p:cNvPr>
          <p:cNvSpPr/>
          <p:nvPr/>
        </p:nvSpPr>
        <p:spPr bwMode="auto">
          <a:xfrm>
            <a:off x="4395355" y="6950133"/>
            <a:ext cx="7796644"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面类型</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23236184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任意多边形: 形状 39">
            <a:extLst>
              <a:ext uri="{FF2B5EF4-FFF2-40B4-BE49-F238E27FC236}">
                <a16:creationId xmlns:a16="http://schemas.microsoft.com/office/drawing/2014/main" id="{DEEC9359-415B-4F3F-8657-C81FBAAC6AE9}"/>
              </a:ext>
            </a:extLst>
          </p:cNvPr>
          <p:cNvSpPr/>
          <p:nvPr/>
        </p:nvSpPr>
        <p:spPr bwMode="auto">
          <a:xfrm>
            <a:off x="1" y="2560320"/>
            <a:ext cx="5172151" cy="4297680"/>
          </a:xfrm>
          <a:custGeom>
            <a:avLst/>
            <a:gdLst>
              <a:gd name="connsiteX0" fmla="*/ 1318252 w 5172151"/>
              <a:gd name="connsiteY0" fmla="*/ 0 h 4297680"/>
              <a:gd name="connsiteX1" fmla="*/ 5172151 w 5172151"/>
              <a:gd name="connsiteY1" fmla="*/ 2225040 h 4297680"/>
              <a:gd name="connsiteX2" fmla="*/ 3575805 w 5172151"/>
              <a:gd name="connsiteY2" fmla="*/ 4297680 h 4297680"/>
              <a:gd name="connsiteX3" fmla="*/ 0 w 5172151"/>
              <a:gd name="connsiteY3" fmla="*/ 4297680 h 4297680"/>
              <a:gd name="connsiteX4" fmla="*/ 0 w 5172151"/>
              <a:gd name="connsiteY4" fmla="*/ 1964314 h 4297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2151" h="4297680">
                <a:moveTo>
                  <a:pt x="1318252" y="0"/>
                </a:moveTo>
                <a:lnTo>
                  <a:pt x="5172151" y="2225040"/>
                </a:lnTo>
                <a:lnTo>
                  <a:pt x="3575805" y="4297680"/>
                </a:lnTo>
                <a:lnTo>
                  <a:pt x="0" y="4297680"/>
                </a:lnTo>
                <a:lnTo>
                  <a:pt x="0" y="1964314"/>
                </a:lnTo>
                <a:close/>
              </a:path>
            </a:pathLst>
          </a:custGeom>
          <a:gradFill flip="none" rotWithShape="1">
            <a:gsLst>
              <a:gs pos="60000">
                <a:schemeClr val="bg1">
                  <a:lumMod val="50000"/>
                  <a:alpha val="10000"/>
                </a:schemeClr>
              </a:gs>
              <a:gs pos="0">
                <a:schemeClr val="bg1">
                  <a:lumMod val="50000"/>
                </a:schemeClr>
              </a:gs>
              <a:gs pos="100000">
                <a:schemeClr val="bg1">
                  <a:lumMod val="95000"/>
                  <a:alpha val="0"/>
                </a:schemeClr>
              </a:gs>
            </a:gsLst>
            <a:lin ang="8100000" scaled="1"/>
            <a:tileRect/>
          </a:gra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en-US" b="1" dirty="0">
              <a:solidFill>
                <a:schemeClr val="bg1"/>
              </a:solidFill>
              <a:cs typeface="+mn-ea"/>
              <a:sym typeface="+mn-lt"/>
            </a:endParaRPr>
          </a:p>
        </p:txBody>
      </p:sp>
      <p:graphicFrame>
        <p:nvGraphicFramePr>
          <p:cNvPr id="4" name="图表 3">
            <a:extLst>
              <a:ext uri="{FF2B5EF4-FFF2-40B4-BE49-F238E27FC236}">
                <a16:creationId xmlns:a16="http://schemas.microsoft.com/office/drawing/2014/main" id="{A65CDBED-502F-4290-B487-8A5C69385A26}"/>
              </a:ext>
            </a:extLst>
          </p:cNvPr>
          <p:cNvGraphicFramePr/>
          <p:nvPr>
            <p:extLst>
              <p:ext uri="{D42A27DB-BD31-4B8C-83A1-F6EECF244321}">
                <p14:modId xmlns:p14="http://schemas.microsoft.com/office/powerpoint/2010/main" val="2699440059"/>
              </p:ext>
            </p:extLst>
          </p:nvPr>
        </p:nvGraphicFramePr>
        <p:xfrm>
          <a:off x="544429" y="1292148"/>
          <a:ext cx="5393384" cy="48371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图表 4">
            <a:extLst>
              <a:ext uri="{FF2B5EF4-FFF2-40B4-BE49-F238E27FC236}">
                <a16:creationId xmlns:a16="http://schemas.microsoft.com/office/drawing/2014/main" id="{7F8D22E2-FC41-4AEB-9BB7-6BA07F1A8264}"/>
              </a:ext>
            </a:extLst>
          </p:cNvPr>
          <p:cNvGraphicFramePr/>
          <p:nvPr>
            <p:extLst>
              <p:ext uri="{D42A27DB-BD31-4B8C-83A1-F6EECF244321}">
                <p14:modId xmlns:p14="http://schemas.microsoft.com/office/powerpoint/2010/main" val="3984950584"/>
              </p:ext>
            </p:extLst>
          </p:nvPr>
        </p:nvGraphicFramePr>
        <p:xfrm>
          <a:off x="550663" y="1257423"/>
          <a:ext cx="5400738" cy="4837190"/>
        </p:xfrm>
        <a:graphic>
          <a:graphicData uri="http://schemas.openxmlformats.org/drawingml/2006/chart">
            <c:chart xmlns:c="http://schemas.openxmlformats.org/drawingml/2006/chart" xmlns:r="http://schemas.openxmlformats.org/officeDocument/2006/relationships" r:id="rId3"/>
          </a:graphicData>
        </a:graphic>
      </p:graphicFrame>
      <p:sp>
        <p:nvSpPr>
          <p:cNvPr id="2" name="标题 1">
            <a:extLst>
              <a:ext uri="{FF2B5EF4-FFF2-40B4-BE49-F238E27FC236}">
                <a16:creationId xmlns:a16="http://schemas.microsoft.com/office/drawing/2014/main" id="{F5A10A6D-D823-43A9-878D-9E7A48CC0AE6}"/>
              </a:ext>
            </a:extLst>
          </p:cNvPr>
          <p:cNvSpPr>
            <a:spLocks noGrp="1"/>
          </p:cNvSpPr>
          <p:nvPr>
            <p:ph type="title"/>
          </p:nvPr>
        </p:nvSpPr>
        <p:spPr/>
        <p:txBody>
          <a:bodyPr/>
          <a:lstStyle/>
          <a:p>
            <a:r>
              <a:rPr lang="zh-CN" altLang="en-US" dirty="0">
                <a:cs typeface="+mn-ea"/>
                <a:sym typeface="+mn-lt"/>
              </a:rPr>
              <a:t>数据图表页（饼图）：表示各部分间的占比</a:t>
            </a:r>
            <a:endParaRPr lang="en-US" dirty="0"/>
          </a:p>
        </p:txBody>
      </p:sp>
      <p:sp>
        <p:nvSpPr>
          <p:cNvPr id="3" name="灯片编号占位符 2">
            <a:extLst>
              <a:ext uri="{FF2B5EF4-FFF2-40B4-BE49-F238E27FC236}">
                <a16:creationId xmlns:a16="http://schemas.microsoft.com/office/drawing/2014/main" id="{1738260C-EA99-482F-8EC7-3D86BF98A595}"/>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50</a:t>
            </a:fld>
            <a:endParaRPr lang="en-US" dirty="0">
              <a:solidFill>
                <a:srgbClr val="000000">
                  <a:tint val="75000"/>
                </a:srgbClr>
              </a:solidFill>
            </a:endParaRPr>
          </a:p>
        </p:txBody>
      </p:sp>
      <p:grpSp>
        <p:nvGrpSpPr>
          <p:cNvPr id="7" name="组合 6">
            <a:extLst>
              <a:ext uri="{FF2B5EF4-FFF2-40B4-BE49-F238E27FC236}">
                <a16:creationId xmlns:a16="http://schemas.microsoft.com/office/drawing/2014/main" id="{05FE5334-4CE7-43E0-AB6C-7E6E6EA9C472}"/>
              </a:ext>
            </a:extLst>
          </p:cNvPr>
          <p:cNvGrpSpPr/>
          <p:nvPr/>
        </p:nvGrpSpPr>
        <p:grpSpPr>
          <a:xfrm>
            <a:off x="3251032" y="1734221"/>
            <a:ext cx="0" cy="3864956"/>
            <a:chOff x="2956559" y="2320290"/>
            <a:chExt cx="0" cy="3211993"/>
          </a:xfrm>
        </p:grpSpPr>
        <p:cxnSp>
          <p:nvCxnSpPr>
            <p:cNvPr id="8" name="直接连接符 7">
              <a:extLst>
                <a:ext uri="{FF2B5EF4-FFF2-40B4-BE49-F238E27FC236}">
                  <a16:creationId xmlns:a16="http://schemas.microsoft.com/office/drawing/2014/main" id="{3ADBB874-99E2-4363-92DE-8EE346A4107D}"/>
                </a:ext>
              </a:extLst>
            </p:cNvPr>
            <p:cNvCxnSpPr>
              <a:cxnSpLocks/>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6F854719-2E7E-43FA-9A75-5C008D8FD1D3}"/>
                </a:ext>
              </a:extLst>
            </p:cNvPr>
            <p:cNvCxnSpPr>
              <a:cxnSpLocks/>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组合 23">
            <a:extLst>
              <a:ext uri="{FF2B5EF4-FFF2-40B4-BE49-F238E27FC236}">
                <a16:creationId xmlns:a16="http://schemas.microsoft.com/office/drawing/2014/main" id="{C3F3D94B-89C4-468C-B69B-D16EB91AA17B}"/>
              </a:ext>
            </a:extLst>
          </p:cNvPr>
          <p:cNvGrpSpPr/>
          <p:nvPr/>
        </p:nvGrpSpPr>
        <p:grpSpPr>
          <a:xfrm rot="-5400000">
            <a:off x="3251032" y="1734221"/>
            <a:ext cx="0" cy="3864956"/>
            <a:chOff x="2956559" y="2320290"/>
            <a:chExt cx="0" cy="3211993"/>
          </a:xfrm>
        </p:grpSpPr>
        <p:cxnSp>
          <p:nvCxnSpPr>
            <p:cNvPr id="25" name="直接连接符 24">
              <a:extLst>
                <a:ext uri="{FF2B5EF4-FFF2-40B4-BE49-F238E27FC236}">
                  <a16:creationId xmlns:a16="http://schemas.microsoft.com/office/drawing/2014/main" id="{9F1486DE-CB85-4E7F-B758-7AAE3AF8C41B}"/>
                </a:ext>
              </a:extLst>
            </p:cNvPr>
            <p:cNvCxnSpPr>
              <a:cxnSpLocks/>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DE7AE239-4D72-4292-9051-CE4E4F9E3844}"/>
                </a:ext>
              </a:extLst>
            </p:cNvPr>
            <p:cNvCxnSpPr>
              <a:cxnSpLocks/>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 name="组合 26">
            <a:extLst>
              <a:ext uri="{FF2B5EF4-FFF2-40B4-BE49-F238E27FC236}">
                <a16:creationId xmlns:a16="http://schemas.microsoft.com/office/drawing/2014/main" id="{ACE60627-A592-40B5-AD9A-911423EEC186}"/>
              </a:ext>
            </a:extLst>
          </p:cNvPr>
          <p:cNvGrpSpPr/>
          <p:nvPr/>
        </p:nvGrpSpPr>
        <p:grpSpPr>
          <a:xfrm rot="1503653">
            <a:off x="3251032" y="1734221"/>
            <a:ext cx="0" cy="3864956"/>
            <a:chOff x="2956559" y="2320290"/>
            <a:chExt cx="0" cy="3211993"/>
          </a:xfrm>
        </p:grpSpPr>
        <p:cxnSp>
          <p:nvCxnSpPr>
            <p:cNvPr id="28" name="直接连接符 27">
              <a:extLst>
                <a:ext uri="{FF2B5EF4-FFF2-40B4-BE49-F238E27FC236}">
                  <a16:creationId xmlns:a16="http://schemas.microsoft.com/office/drawing/2014/main" id="{7FECA32A-85C7-4F02-882A-AE59EFAB5A5F}"/>
                </a:ext>
              </a:extLst>
            </p:cNvPr>
            <p:cNvCxnSpPr>
              <a:cxnSpLocks/>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06662F6B-32BC-405C-B291-7F1F7A2082A3}"/>
                </a:ext>
              </a:extLst>
            </p:cNvPr>
            <p:cNvCxnSpPr>
              <a:cxnSpLocks/>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组合 29">
            <a:extLst>
              <a:ext uri="{FF2B5EF4-FFF2-40B4-BE49-F238E27FC236}">
                <a16:creationId xmlns:a16="http://schemas.microsoft.com/office/drawing/2014/main" id="{A1CF77D4-F67D-45EF-9D39-8137FB988E0F}"/>
              </a:ext>
            </a:extLst>
          </p:cNvPr>
          <p:cNvGrpSpPr/>
          <p:nvPr/>
        </p:nvGrpSpPr>
        <p:grpSpPr>
          <a:xfrm rot="3600000">
            <a:off x="3251032" y="1734221"/>
            <a:ext cx="0" cy="3864956"/>
            <a:chOff x="2956559" y="2320290"/>
            <a:chExt cx="0" cy="3211993"/>
          </a:xfrm>
        </p:grpSpPr>
        <p:cxnSp>
          <p:nvCxnSpPr>
            <p:cNvPr id="31" name="直接连接符 30">
              <a:extLst>
                <a:ext uri="{FF2B5EF4-FFF2-40B4-BE49-F238E27FC236}">
                  <a16:creationId xmlns:a16="http://schemas.microsoft.com/office/drawing/2014/main" id="{932C6621-1B4A-4B74-98D2-A5D130A775DB}"/>
                </a:ext>
              </a:extLst>
            </p:cNvPr>
            <p:cNvCxnSpPr>
              <a:cxnSpLocks/>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4A52F83E-7B16-4172-A7E7-0ADAB50759B5}"/>
                </a:ext>
              </a:extLst>
            </p:cNvPr>
            <p:cNvCxnSpPr>
              <a:cxnSpLocks/>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组合 32">
            <a:extLst>
              <a:ext uri="{FF2B5EF4-FFF2-40B4-BE49-F238E27FC236}">
                <a16:creationId xmlns:a16="http://schemas.microsoft.com/office/drawing/2014/main" id="{46137392-CBAE-4FDD-B182-DE22FA0BA407}"/>
              </a:ext>
            </a:extLst>
          </p:cNvPr>
          <p:cNvGrpSpPr/>
          <p:nvPr/>
        </p:nvGrpSpPr>
        <p:grpSpPr>
          <a:xfrm rot="7200000">
            <a:off x="3251032" y="1734221"/>
            <a:ext cx="0" cy="3864956"/>
            <a:chOff x="2956559" y="2320290"/>
            <a:chExt cx="0" cy="3211993"/>
          </a:xfrm>
        </p:grpSpPr>
        <p:cxnSp>
          <p:nvCxnSpPr>
            <p:cNvPr id="34" name="直接连接符 33">
              <a:extLst>
                <a:ext uri="{FF2B5EF4-FFF2-40B4-BE49-F238E27FC236}">
                  <a16:creationId xmlns:a16="http://schemas.microsoft.com/office/drawing/2014/main" id="{BA5DAD5B-670B-4C8F-8CDC-99A1D16B0CAE}"/>
                </a:ext>
              </a:extLst>
            </p:cNvPr>
            <p:cNvCxnSpPr>
              <a:cxnSpLocks/>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1D8D0749-344B-4324-B5F8-6D396E17194E}"/>
                </a:ext>
              </a:extLst>
            </p:cNvPr>
            <p:cNvCxnSpPr>
              <a:cxnSpLocks/>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组合 35">
            <a:extLst>
              <a:ext uri="{FF2B5EF4-FFF2-40B4-BE49-F238E27FC236}">
                <a16:creationId xmlns:a16="http://schemas.microsoft.com/office/drawing/2014/main" id="{B11A1F74-906B-42C8-BA82-84009D5DBCF9}"/>
              </a:ext>
            </a:extLst>
          </p:cNvPr>
          <p:cNvGrpSpPr/>
          <p:nvPr/>
        </p:nvGrpSpPr>
        <p:grpSpPr>
          <a:xfrm rot="9000000">
            <a:off x="3251032" y="1734221"/>
            <a:ext cx="0" cy="3864956"/>
            <a:chOff x="2956559" y="2320290"/>
            <a:chExt cx="0" cy="3211993"/>
          </a:xfrm>
        </p:grpSpPr>
        <p:cxnSp>
          <p:nvCxnSpPr>
            <p:cNvPr id="37" name="直接连接符 36">
              <a:extLst>
                <a:ext uri="{FF2B5EF4-FFF2-40B4-BE49-F238E27FC236}">
                  <a16:creationId xmlns:a16="http://schemas.microsoft.com/office/drawing/2014/main" id="{D766A603-C638-4489-9DE1-888503104539}"/>
                </a:ext>
              </a:extLst>
            </p:cNvPr>
            <p:cNvCxnSpPr>
              <a:cxnSpLocks/>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EAF498C6-4C5E-4C43-B63B-C43D6C825C7E}"/>
                </a:ext>
              </a:extLst>
            </p:cNvPr>
            <p:cNvCxnSpPr>
              <a:cxnSpLocks/>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文本框 38">
            <a:extLst>
              <a:ext uri="{FF2B5EF4-FFF2-40B4-BE49-F238E27FC236}">
                <a16:creationId xmlns:a16="http://schemas.microsoft.com/office/drawing/2014/main" id="{8077481A-13E0-4AFB-BF39-300E50B28F00}"/>
              </a:ext>
            </a:extLst>
          </p:cNvPr>
          <p:cNvSpPr txBox="1"/>
          <p:nvPr/>
        </p:nvSpPr>
        <p:spPr>
          <a:xfrm>
            <a:off x="2307823" y="2732809"/>
            <a:ext cx="1886418" cy="1886418"/>
          </a:xfrm>
          <a:prstGeom prst="ellipse">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non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i="0" u="none" strike="noStrike" kern="1200" cap="none" spc="0" normalizeH="0" baseline="0" noProof="0" dirty="0">
                <a:ln>
                  <a:noFill/>
                </a:ln>
                <a:solidFill>
                  <a:schemeClr val="tx1">
                    <a:lumMod val="75000"/>
                    <a:lumOff val="25000"/>
                  </a:schemeClr>
                </a:solidFill>
                <a:effectLst/>
                <a:uLnTx/>
                <a:uFillTx/>
              </a:rPr>
              <a:t>时间成本</a:t>
            </a:r>
            <a:endParaRPr kumimoji="0" lang="en-US" altLang="zh-CN" sz="2400" i="0" u="none" strike="noStrike" kern="1200" cap="none" spc="0" normalizeH="0" baseline="0" noProof="0" dirty="0">
              <a:ln>
                <a:noFill/>
              </a:ln>
              <a:solidFill>
                <a:schemeClr val="tx1">
                  <a:lumMod val="75000"/>
                  <a:lumOff val="25000"/>
                </a:schemeClr>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4000" b="1" dirty="0">
                <a:solidFill>
                  <a:schemeClr val="accent1"/>
                </a:solidFill>
                <a:latin typeface="+mj-lt"/>
              </a:rPr>
              <a:t>XX</a:t>
            </a:r>
            <a:endParaRPr kumimoji="0" lang="en-US" altLang="zh-CN" sz="4000" b="1" i="0" u="none" strike="noStrike" kern="1200" cap="none" spc="0" normalizeH="0" baseline="0" noProof="0" dirty="0">
              <a:ln>
                <a:noFill/>
              </a:ln>
              <a:solidFill>
                <a:srgbClr val="4A4A4A"/>
              </a:solidFill>
              <a:effectLst/>
              <a:uLnTx/>
              <a:uFillTx/>
              <a:latin typeface="+mj-lt"/>
            </a:endParaRPr>
          </a:p>
        </p:txBody>
      </p:sp>
      <p:sp>
        <p:nvSpPr>
          <p:cNvPr id="43" name="iS1íḍê">
            <a:extLst>
              <a:ext uri="{FF2B5EF4-FFF2-40B4-BE49-F238E27FC236}">
                <a16:creationId xmlns:a16="http://schemas.microsoft.com/office/drawing/2014/main" id="{25DE7A6A-2B15-46E2-B24C-B9E386A40F46}"/>
              </a:ext>
            </a:extLst>
          </p:cNvPr>
          <p:cNvSpPr/>
          <p:nvPr/>
        </p:nvSpPr>
        <p:spPr>
          <a:xfrm>
            <a:off x="7147667" y="1926181"/>
            <a:ext cx="4564908"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400" b="1" dirty="0">
                <a:solidFill>
                  <a:schemeClr val="accent1"/>
                </a:solidFill>
                <a:cs typeface="+mn-ea"/>
                <a:sym typeface="+mn-lt"/>
              </a:rPr>
              <a:t>请在此输入标题</a:t>
            </a:r>
            <a:r>
              <a:rPr lang="zh-CN" altLang="en-US" sz="2400" b="1" dirty="0">
                <a:solidFill>
                  <a:schemeClr val="accent1"/>
                </a:solidFill>
                <a:cs typeface="+mn-ea"/>
                <a:sym typeface="Webdings" panose="05030102010509060703" pitchFamily="18" charset="2"/>
              </a:rPr>
              <a:t></a:t>
            </a:r>
            <a:endParaRPr lang="en-US" altLang="zh-CN" sz="2400" b="1" dirty="0">
              <a:solidFill>
                <a:schemeClr val="accent1"/>
              </a:solidFill>
              <a:cs typeface="+mn-ea"/>
              <a:sym typeface="+mn-lt"/>
            </a:endParaRPr>
          </a:p>
        </p:txBody>
      </p:sp>
      <p:sp>
        <p:nvSpPr>
          <p:cNvPr id="44" name="ï$1idé">
            <a:extLst>
              <a:ext uri="{FF2B5EF4-FFF2-40B4-BE49-F238E27FC236}">
                <a16:creationId xmlns:a16="http://schemas.microsoft.com/office/drawing/2014/main" id="{1ACBEC85-A079-440A-AAE1-67C5791FF5AF}"/>
              </a:ext>
            </a:extLst>
          </p:cNvPr>
          <p:cNvSpPr/>
          <p:nvPr/>
        </p:nvSpPr>
        <p:spPr bwMode="auto">
          <a:xfrm>
            <a:off x="7147667" y="2390398"/>
            <a:ext cx="456490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49" name="iS1íḍê">
            <a:extLst>
              <a:ext uri="{FF2B5EF4-FFF2-40B4-BE49-F238E27FC236}">
                <a16:creationId xmlns:a16="http://schemas.microsoft.com/office/drawing/2014/main" id="{4AF9E4FF-3928-42A3-80CB-426C047CAF83}"/>
              </a:ext>
            </a:extLst>
          </p:cNvPr>
          <p:cNvSpPr/>
          <p:nvPr/>
        </p:nvSpPr>
        <p:spPr>
          <a:xfrm>
            <a:off x="7147667" y="4301358"/>
            <a:ext cx="4564908"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400" b="1" dirty="0">
                <a:solidFill>
                  <a:schemeClr val="tx1">
                    <a:lumMod val="75000"/>
                    <a:lumOff val="25000"/>
                  </a:schemeClr>
                </a:solidFill>
                <a:cs typeface="+mn-ea"/>
                <a:sym typeface="+mn-lt"/>
              </a:rPr>
              <a:t>请在此输入标题</a:t>
            </a:r>
            <a:r>
              <a:rPr lang="zh-CN" altLang="en-US" sz="2400" b="1" dirty="0">
                <a:solidFill>
                  <a:schemeClr val="tx1">
                    <a:lumMod val="75000"/>
                    <a:lumOff val="25000"/>
                  </a:schemeClr>
                </a:solidFill>
                <a:cs typeface="+mn-ea"/>
                <a:sym typeface="Webdings" panose="05030102010509060703" pitchFamily="18" charset="2"/>
              </a:rPr>
              <a:t></a:t>
            </a:r>
            <a:endParaRPr lang="en-US" altLang="zh-CN" sz="2400" b="1" dirty="0">
              <a:solidFill>
                <a:schemeClr val="tx1">
                  <a:lumMod val="75000"/>
                  <a:lumOff val="25000"/>
                </a:schemeClr>
              </a:solidFill>
              <a:cs typeface="+mn-ea"/>
              <a:sym typeface="+mn-lt"/>
            </a:endParaRPr>
          </a:p>
        </p:txBody>
      </p:sp>
      <p:sp>
        <p:nvSpPr>
          <p:cNvPr id="50" name="ï$1idé">
            <a:extLst>
              <a:ext uri="{FF2B5EF4-FFF2-40B4-BE49-F238E27FC236}">
                <a16:creationId xmlns:a16="http://schemas.microsoft.com/office/drawing/2014/main" id="{4F77E7E7-CCA2-4C11-8470-622846C2A92F}"/>
              </a:ext>
            </a:extLst>
          </p:cNvPr>
          <p:cNvSpPr/>
          <p:nvPr/>
        </p:nvSpPr>
        <p:spPr bwMode="auto">
          <a:xfrm>
            <a:off x="7147667" y="4765575"/>
            <a:ext cx="456490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51" name="任意多边形: 形状 50">
            <a:extLst>
              <a:ext uri="{FF2B5EF4-FFF2-40B4-BE49-F238E27FC236}">
                <a16:creationId xmlns:a16="http://schemas.microsoft.com/office/drawing/2014/main" id="{3E75D24D-2D15-4E2A-A89C-A14975589EA3}"/>
              </a:ext>
            </a:extLst>
          </p:cNvPr>
          <p:cNvSpPr/>
          <p:nvPr/>
        </p:nvSpPr>
        <p:spPr>
          <a:xfrm>
            <a:off x="4942390" y="2095018"/>
            <a:ext cx="2233914" cy="0"/>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accent1"/>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任意多边形: 形状 51">
            <a:extLst>
              <a:ext uri="{FF2B5EF4-FFF2-40B4-BE49-F238E27FC236}">
                <a16:creationId xmlns:a16="http://schemas.microsoft.com/office/drawing/2014/main" id="{54B32767-B993-4DD2-BE1D-6DD45F331C9C}"/>
              </a:ext>
            </a:extLst>
          </p:cNvPr>
          <p:cNvSpPr/>
          <p:nvPr/>
        </p:nvSpPr>
        <p:spPr>
          <a:xfrm flipV="1">
            <a:off x="5429250" y="4456831"/>
            <a:ext cx="1762294" cy="45719"/>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tx1">
                <a:lumMod val="50000"/>
                <a:lumOff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组合 40">
            <a:extLst>
              <a:ext uri="{FF2B5EF4-FFF2-40B4-BE49-F238E27FC236}">
                <a16:creationId xmlns:a16="http://schemas.microsoft.com/office/drawing/2014/main" id="{D8DAA6AC-D6C0-45A5-B0AA-5FCC7B188461}"/>
              </a:ext>
            </a:extLst>
          </p:cNvPr>
          <p:cNvGrpSpPr/>
          <p:nvPr/>
        </p:nvGrpSpPr>
        <p:grpSpPr>
          <a:xfrm>
            <a:off x="0" y="-715587"/>
            <a:ext cx="676656" cy="602672"/>
            <a:chOff x="0" y="6950133"/>
            <a:chExt cx="676656" cy="602672"/>
          </a:xfrm>
        </p:grpSpPr>
        <p:sp>
          <p:nvSpPr>
            <p:cNvPr id="42" name="矩形 41">
              <a:extLst>
                <a:ext uri="{FF2B5EF4-FFF2-40B4-BE49-F238E27FC236}">
                  <a16:creationId xmlns:a16="http://schemas.microsoft.com/office/drawing/2014/main" id="{EA587AE8-6EE9-4386-B2FD-9B7EB6D499F4}"/>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45" name="组合 44">
              <a:extLst>
                <a:ext uri="{FF2B5EF4-FFF2-40B4-BE49-F238E27FC236}">
                  <a16:creationId xmlns:a16="http://schemas.microsoft.com/office/drawing/2014/main" id="{ABC10F5C-B47E-482D-8F18-F71DAA54686D}"/>
                </a:ext>
              </a:extLst>
            </p:cNvPr>
            <p:cNvGrpSpPr/>
            <p:nvPr/>
          </p:nvGrpSpPr>
          <p:grpSpPr>
            <a:xfrm>
              <a:off x="47544" y="7038552"/>
              <a:ext cx="581568" cy="425834"/>
              <a:chOff x="84575" y="6977592"/>
              <a:chExt cx="581568" cy="425834"/>
            </a:xfrm>
          </p:grpSpPr>
          <p:grpSp>
            <p:nvGrpSpPr>
              <p:cNvPr id="46" name="组合 45">
                <a:extLst>
                  <a:ext uri="{FF2B5EF4-FFF2-40B4-BE49-F238E27FC236}">
                    <a16:creationId xmlns:a16="http://schemas.microsoft.com/office/drawing/2014/main" id="{54C2EE2E-F6C0-4001-8733-9B7774CBDEF8}"/>
                  </a:ext>
                </a:extLst>
              </p:cNvPr>
              <p:cNvGrpSpPr/>
              <p:nvPr/>
            </p:nvGrpSpPr>
            <p:grpSpPr>
              <a:xfrm>
                <a:off x="84575" y="6979654"/>
                <a:ext cx="317380" cy="421711"/>
                <a:chOff x="14690033" y="2185397"/>
                <a:chExt cx="583830" cy="775754"/>
              </a:xfrm>
            </p:grpSpPr>
            <p:sp>
              <p:nvSpPr>
                <p:cNvPr id="48" name="iŝļíḑe">
                  <a:extLst>
                    <a:ext uri="{FF2B5EF4-FFF2-40B4-BE49-F238E27FC236}">
                      <a16:creationId xmlns:a16="http://schemas.microsoft.com/office/drawing/2014/main" id="{BC0786F9-C980-4CD2-A992-CBA6B44E8874}"/>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şḷíḍé">
                  <a:extLst>
                    <a:ext uri="{FF2B5EF4-FFF2-40B4-BE49-F238E27FC236}">
                      <a16:creationId xmlns:a16="http://schemas.microsoft.com/office/drawing/2014/main" id="{9A09316B-E21D-4558-A338-FFA31D421260}"/>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ľïḓe">
                  <a:extLst>
                    <a:ext uri="{FF2B5EF4-FFF2-40B4-BE49-F238E27FC236}">
                      <a16:creationId xmlns:a16="http://schemas.microsoft.com/office/drawing/2014/main" id="{398E8C2B-E065-4922-84BF-BEEDC39E1E97}"/>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ḻídê">
                  <a:extLst>
                    <a:ext uri="{FF2B5EF4-FFF2-40B4-BE49-F238E27FC236}">
                      <a16:creationId xmlns:a16="http://schemas.microsoft.com/office/drawing/2014/main" id="{ADD63ECB-2EDC-4197-84A1-2C4A16FDB9E5}"/>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îS1íḋè">
                  <a:extLst>
                    <a:ext uri="{FF2B5EF4-FFF2-40B4-BE49-F238E27FC236}">
                      <a16:creationId xmlns:a16="http://schemas.microsoft.com/office/drawing/2014/main" id="{98910A66-D9FA-4CA3-B931-06957798CAE7}"/>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íşļíde">
                  <a:extLst>
                    <a:ext uri="{FF2B5EF4-FFF2-40B4-BE49-F238E27FC236}">
                      <a16:creationId xmlns:a16="http://schemas.microsoft.com/office/drawing/2014/main" id="{2BEB7D85-BAD1-473F-88A7-7FE631E45B8C}"/>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47" name="文本框 46">
                <a:extLst>
                  <a:ext uri="{FF2B5EF4-FFF2-40B4-BE49-F238E27FC236}">
                    <a16:creationId xmlns:a16="http://schemas.microsoft.com/office/drawing/2014/main" id="{77B9B849-48F7-4170-8D5A-ACCBE89437CB}"/>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8" name="矩形 57">
            <a:extLst>
              <a:ext uri="{FF2B5EF4-FFF2-40B4-BE49-F238E27FC236}">
                <a16:creationId xmlns:a16="http://schemas.microsoft.com/office/drawing/2014/main" id="{B9934779-E5BF-4E3B-8BFF-968A18FDB309}"/>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34416342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15">
            <a:extLst>
              <a:ext uri="{FF2B5EF4-FFF2-40B4-BE49-F238E27FC236}">
                <a16:creationId xmlns:a16="http://schemas.microsoft.com/office/drawing/2014/main" id="{9316D1C7-20BF-4225-9B24-4EE97A742B2B}"/>
              </a:ext>
            </a:extLst>
          </p:cNvPr>
          <p:cNvGraphicFramePr/>
          <p:nvPr>
            <p:extLst>
              <p:ext uri="{D42A27DB-BD31-4B8C-83A1-F6EECF244321}">
                <p14:modId xmlns:p14="http://schemas.microsoft.com/office/powerpoint/2010/main" val="2079830812"/>
              </p:ext>
            </p:extLst>
          </p:nvPr>
        </p:nvGraphicFramePr>
        <p:xfrm>
          <a:off x="5069711" y="2316479"/>
          <a:ext cx="5602147" cy="3112047"/>
        </p:xfrm>
        <a:graphic>
          <a:graphicData uri="http://schemas.openxmlformats.org/drawingml/2006/chart">
            <c:chart xmlns:c="http://schemas.openxmlformats.org/drawingml/2006/chart" xmlns:r="http://schemas.openxmlformats.org/officeDocument/2006/relationships" r:id="rId2"/>
          </a:graphicData>
        </a:graphic>
      </p:graphicFrame>
      <p:sp>
        <p:nvSpPr>
          <p:cNvPr id="2" name="标题 1">
            <a:extLst>
              <a:ext uri="{FF2B5EF4-FFF2-40B4-BE49-F238E27FC236}">
                <a16:creationId xmlns:a16="http://schemas.microsoft.com/office/drawing/2014/main" id="{42C9B78A-99FB-4767-967D-1028521A32C1}"/>
              </a:ext>
            </a:extLst>
          </p:cNvPr>
          <p:cNvSpPr>
            <a:spLocks noGrp="1"/>
          </p:cNvSpPr>
          <p:nvPr>
            <p:ph type="title"/>
          </p:nvPr>
        </p:nvSpPr>
        <p:spPr/>
        <p:txBody>
          <a:bodyPr/>
          <a:lstStyle/>
          <a:p>
            <a:r>
              <a:rPr lang="zh-CN" altLang="en-US" dirty="0">
                <a:latin typeface="+mn-lt"/>
                <a:ea typeface="+mn-ea"/>
                <a:cs typeface="+mn-ea"/>
                <a:sym typeface="+mn-lt"/>
              </a:rPr>
              <a:t>数据图表页（折线图）：表示对象发展的趋势</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5A6D2E95-4B9B-4AAA-A55F-2A71674BD75C}"/>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51</a:t>
            </a:fld>
            <a:endParaRPr lang="en-US" dirty="0">
              <a:solidFill>
                <a:srgbClr val="000000">
                  <a:tint val="75000"/>
                </a:srgbClr>
              </a:solidFill>
              <a:cs typeface="+mn-ea"/>
              <a:sym typeface="+mn-lt"/>
            </a:endParaRPr>
          </a:p>
        </p:txBody>
      </p:sp>
      <p:sp>
        <p:nvSpPr>
          <p:cNvPr id="40" name="任意多边形: 形状 39">
            <a:extLst>
              <a:ext uri="{FF2B5EF4-FFF2-40B4-BE49-F238E27FC236}">
                <a16:creationId xmlns:a16="http://schemas.microsoft.com/office/drawing/2014/main" id="{FA0152C2-332F-42FD-AEC6-CF35544C5A49}"/>
              </a:ext>
            </a:extLst>
          </p:cNvPr>
          <p:cNvSpPr/>
          <p:nvPr/>
        </p:nvSpPr>
        <p:spPr>
          <a:xfrm>
            <a:off x="10731073" y="2590000"/>
            <a:ext cx="981500" cy="494031"/>
          </a:xfrm>
          <a:custGeom>
            <a:avLst/>
            <a:gdLst>
              <a:gd name="connsiteX0" fmla="*/ 0 w 981500"/>
              <a:gd name="connsiteY0" fmla="*/ 0 h 494031"/>
              <a:gd name="connsiteX1" fmla="*/ 721189 w 981500"/>
              <a:gd name="connsiteY1" fmla="*/ 0 h 494031"/>
              <a:gd name="connsiteX2" fmla="*/ 721189 w 981500"/>
              <a:gd name="connsiteY2" fmla="*/ 1340 h 494031"/>
              <a:gd name="connsiteX3" fmla="*/ 734484 w 981500"/>
              <a:gd name="connsiteY3" fmla="*/ 0 h 494031"/>
              <a:gd name="connsiteX4" fmla="*/ 981500 w 981500"/>
              <a:gd name="connsiteY4" fmla="*/ 247016 h 494031"/>
              <a:gd name="connsiteX5" fmla="*/ 734484 w 981500"/>
              <a:gd name="connsiteY5" fmla="*/ 494031 h 494031"/>
              <a:gd name="connsiteX6" fmla="*/ 721189 w 981500"/>
              <a:gd name="connsiteY6" fmla="*/ 492691 h 494031"/>
              <a:gd name="connsiteX7" fmla="*/ 721189 w 981500"/>
              <a:gd name="connsiteY7" fmla="*/ 494030 h 494031"/>
              <a:gd name="connsiteX8" fmla="*/ 0 w 981500"/>
              <a:gd name="connsiteY8" fmla="*/ 494030 h 49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500" h="494031">
                <a:moveTo>
                  <a:pt x="0" y="0"/>
                </a:moveTo>
                <a:lnTo>
                  <a:pt x="721189" y="0"/>
                </a:lnTo>
                <a:lnTo>
                  <a:pt x="721189" y="1340"/>
                </a:lnTo>
                <a:lnTo>
                  <a:pt x="734484" y="0"/>
                </a:lnTo>
                <a:cubicBezTo>
                  <a:pt x="870907" y="0"/>
                  <a:pt x="981500" y="110593"/>
                  <a:pt x="981500" y="247016"/>
                </a:cubicBezTo>
                <a:cubicBezTo>
                  <a:pt x="981500" y="383438"/>
                  <a:pt x="870907" y="494031"/>
                  <a:pt x="734484" y="494031"/>
                </a:cubicBezTo>
                <a:lnTo>
                  <a:pt x="721189" y="492691"/>
                </a:lnTo>
                <a:lnTo>
                  <a:pt x="721189" y="494030"/>
                </a:lnTo>
                <a:lnTo>
                  <a:pt x="0" y="49403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zh-CN" altLang="en-US" dirty="0">
                <a:cs typeface="+mn-ea"/>
                <a:sym typeface="+mn-lt"/>
              </a:rPr>
              <a:t>标签名</a:t>
            </a:r>
            <a:endParaRPr lang="en-US" dirty="0">
              <a:cs typeface="+mn-ea"/>
              <a:sym typeface="+mn-lt"/>
            </a:endParaRPr>
          </a:p>
        </p:txBody>
      </p:sp>
      <p:sp>
        <p:nvSpPr>
          <p:cNvPr id="41" name="任意多边形: 形状 40">
            <a:extLst>
              <a:ext uri="{FF2B5EF4-FFF2-40B4-BE49-F238E27FC236}">
                <a16:creationId xmlns:a16="http://schemas.microsoft.com/office/drawing/2014/main" id="{17716CC4-C615-41CB-AA70-041490CADAEB}"/>
              </a:ext>
            </a:extLst>
          </p:cNvPr>
          <p:cNvSpPr/>
          <p:nvPr/>
        </p:nvSpPr>
        <p:spPr>
          <a:xfrm>
            <a:off x="10731074" y="3304147"/>
            <a:ext cx="981491" cy="494031"/>
          </a:xfrm>
          <a:custGeom>
            <a:avLst/>
            <a:gdLst>
              <a:gd name="connsiteX0" fmla="*/ 0 w 981491"/>
              <a:gd name="connsiteY0" fmla="*/ 0 h 494031"/>
              <a:gd name="connsiteX1" fmla="*/ 721180 w 981491"/>
              <a:gd name="connsiteY1" fmla="*/ 0 h 494031"/>
              <a:gd name="connsiteX2" fmla="*/ 721180 w 981491"/>
              <a:gd name="connsiteY2" fmla="*/ 1340 h 494031"/>
              <a:gd name="connsiteX3" fmla="*/ 734476 w 981491"/>
              <a:gd name="connsiteY3" fmla="*/ 0 h 494031"/>
              <a:gd name="connsiteX4" fmla="*/ 981491 w 981491"/>
              <a:gd name="connsiteY4" fmla="*/ 247016 h 494031"/>
              <a:gd name="connsiteX5" fmla="*/ 734476 w 981491"/>
              <a:gd name="connsiteY5" fmla="*/ 494031 h 494031"/>
              <a:gd name="connsiteX6" fmla="*/ 721180 w 981491"/>
              <a:gd name="connsiteY6" fmla="*/ 492691 h 494031"/>
              <a:gd name="connsiteX7" fmla="*/ 721180 w 981491"/>
              <a:gd name="connsiteY7" fmla="*/ 494030 h 494031"/>
              <a:gd name="connsiteX8" fmla="*/ 0 w 981491"/>
              <a:gd name="connsiteY8" fmla="*/ 494030 h 49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491" h="494031">
                <a:moveTo>
                  <a:pt x="0" y="0"/>
                </a:moveTo>
                <a:lnTo>
                  <a:pt x="721180" y="0"/>
                </a:lnTo>
                <a:lnTo>
                  <a:pt x="721180" y="1340"/>
                </a:lnTo>
                <a:lnTo>
                  <a:pt x="734476" y="0"/>
                </a:lnTo>
                <a:cubicBezTo>
                  <a:pt x="870898" y="0"/>
                  <a:pt x="981491" y="110593"/>
                  <a:pt x="981491" y="247016"/>
                </a:cubicBezTo>
                <a:cubicBezTo>
                  <a:pt x="981491" y="383438"/>
                  <a:pt x="870898" y="494031"/>
                  <a:pt x="734476" y="494031"/>
                </a:cubicBezTo>
                <a:lnTo>
                  <a:pt x="721180" y="492691"/>
                </a:lnTo>
                <a:lnTo>
                  <a:pt x="721180" y="494030"/>
                </a:lnTo>
                <a:lnTo>
                  <a:pt x="0" y="49403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zh-CN" altLang="en-US">
                <a:cs typeface="+mn-ea"/>
                <a:sym typeface="+mn-lt"/>
              </a:rPr>
              <a:t>标签名</a:t>
            </a:r>
            <a:endParaRPr lang="en-US" altLang="zh-CN" dirty="0">
              <a:cs typeface="+mn-ea"/>
              <a:sym typeface="+mn-lt"/>
            </a:endParaRPr>
          </a:p>
        </p:txBody>
      </p:sp>
      <p:sp>
        <p:nvSpPr>
          <p:cNvPr id="42" name="任意多边形: 形状 41">
            <a:extLst>
              <a:ext uri="{FF2B5EF4-FFF2-40B4-BE49-F238E27FC236}">
                <a16:creationId xmlns:a16="http://schemas.microsoft.com/office/drawing/2014/main" id="{3A41F88B-C926-42B3-82D9-E8B02EEF6C55}"/>
              </a:ext>
            </a:extLst>
          </p:cNvPr>
          <p:cNvSpPr/>
          <p:nvPr/>
        </p:nvSpPr>
        <p:spPr>
          <a:xfrm flipH="1">
            <a:off x="10731074" y="4018293"/>
            <a:ext cx="981501" cy="494031"/>
          </a:xfrm>
          <a:custGeom>
            <a:avLst/>
            <a:gdLst>
              <a:gd name="connsiteX0" fmla="*/ 981501 w 981501"/>
              <a:gd name="connsiteY0" fmla="*/ 0 h 494031"/>
              <a:gd name="connsiteX1" fmla="*/ 260311 w 981501"/>
              <a:gd name="connsiteY1" fmla="*/ 0 h 494031"/>
              <a:gd name="connsiteX2" fmla="*/ 260311 w 981501"/>
              <a:gd name="connsiteY2" fmla="*/ 1340 h 494031"/>
              <a:gd name="connsiteX3" fmla="*/ 247015 w 981501"/>
              <a:gd name="connsiteY3" fmla="*/ 0 h 494031"/>
              <a:gd name="connsiteX4" fmla="*/ 0 w 981501"/>
              <a:gd name="connsiteY4" fmla="*/ 247016 h 494031"/>
              <a:gd name="connsiteX5" fmla="*/ 247015 w 981501"/>
              <a:gd name="connsiteY5" fmla="*/ 494031 h 494031"/>
              <a:gd name="connsiteX6" fmla="*/ 260311 w 981501"/>
              <a:gd name="connsiteY6" fmla="*/ 492691 h 494031"/>
              <a:gd name="connsiteX7" fmla="*/ 260311 w 981501"/>
              <a:gd name="connsiteY7" fmla="*/ 494030 h 494031"/>
              <a:gd name="connsiteX8" fmla="*/ 981501 w 981501"/>
              <a:gd name="connsiteY8" fmla="*/ 494030 h 49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501" h="494031">
                <a:moveTo>
                  <a:pt x="981501" y="0"/>
                </a:moveTo>
                <a:lnTo>
                  <a:pt x="260311" y="0"/>
                </a:lnTo>
                <a:lnTo>
                  <a:pt x="260311" y="1340"/>
                </a:lnTo>
                <a:lnTo>
                  <a:pt x="247015" y="0"/>
                </a:lnTo>
                <a:cubicBezTo>
                  <a:pt x="110593" y="0"/>
                  <a:pt x="0" y="110593"/>
                  <a:pt x="0" y="247016"/>
                </a:cubicBezTo>
                <a:cubicBezTo>
                  <a:pt x="0" y="383438"/>
                  <a:pt x="110593" y="494031"/>
                  <a:pt x="247015" y="494031"/>
                </a:cubicBezTo>
                <a:lnTo>
                  <a:pt x="260311" y="492691"/>
                </a:lnTo>
                <a:lnTo>
                  <a:pt x="260311" y="494030"/>
                </a:lnTo>
                <a:lnTo>
                  <a:pt x="981501" y="49403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zh-CN" altLang="en-US">
                <a:cs typeface="+mn-ea"/>
                <a:sym typeface="+mn-lt"/>
              </a:rPr>
              <a:t>标签名</a:t>
            </a:r>
            <a:endParaRPr lang="en-US" altLang="zh-CN" dirty="0">
              <a:cs typeface="+mn-ea"/>
              <a:sym typeface="+mn-lt"/>
            </a:endParaRPr>
          </a:p>
        </p:txBody>
      </p:sp>
      <p:grpSp>
        <p:nvGrpSpPr>
          <p:cNvPr id="23" name="Group 33">
            <a:extLst>
              <a:ext uri="{FF2B5EF4-FFF2-40B4-BE49-F238E27FC236}">
                <a16:creationId xmlns:a16="http://schemas.microsoft.com/office/drawing/2014/main" id="{BEB49FA8-E60E-4277-A778-E8C8B184599D}"/>
              </a:ext>
            </a:extLst>
          </p:cNvPr>
          <p:cNvGrpSpPr/>
          <p:nvPr/>
        </p:nvGrpSpPr>
        <p:grpSpPr>
          <a:xfrm>
            <a:off x="9830308" y="3994088"/>
            <a:ext cx="200650" cy="97528"/>
            <a:chOff x="4752975" y="2330451"/>
            <a:chExt cx="911225" cy="442912"/>
          </a:xfrm>
        </p:grpSpPr>
        <p:sp>
          <p:nvSpPr>
            <p:cNvPr id="25" name="Freeform 6">
              <a:extLst>
                <a:ext uri="{FF2B5EF4-FFF2-40B4-BE49-F238E27FC236}">
                  <a16:creationId xmlns:a16="http://schemas.microsoft.com/office/drawing/2014/main" id="{970E3CD9-2D88-4B86-9771-057147549367}"/>
                </a:ext>
              </a:extLst>
            </p:cNvPr>
            <p:cNvSpPr>
              <a:spLocks/>
            </p:cNvSpPr>
            <p:nvPr/>
          </p:nvSpPr>
          <p:spPr bwMode="auto">
            <a:xfrm>
              <a:off x="4752975" y="2598738"/>
              <a:ext cx="176213" cy="174625"/>
            </a:xfrm>
            <a:custGeom>
              <a:avLst/>
              <a:gdLst>
                <a:gd name="T0" fmla="*/ 172 w 190"/>
                <a:gd name="T1" fmla="*/ 18 h 186"/>
                <a:gd name="T2" fmla="*/ 109 w 190"/>
                <a:gd name="T3" fmla="*/ 18 h 186"/>
                <a:gd name="T4" fmla="*/ 17 w 190"/>
                <a:gd name="T5" fmla="*/ 109 h 186"/>
                <a:gd name="T6" fmla="*/ 17 w 190"/>
                <a:gd name="T7" fmla="*/ 173 h 186"/>
                <a:gd name="T8" fmla="*/ 49 w 190"/>
                <a:gd name="T9" fmla="*/ 186 h 186"/>
                <a:gd name="T10" fmla="*/ 81 w 190"/>
                <a:gd name="T11" fmla="*/ 173 h 186"/>
                <a:gd name="T12" fmla="*/ 172 w 190"/>
                <a:gd name="T13" fmla="*/ 81 h 186"/>
                <a:gd name="T14" fmla="*/ 172 w 190"/>
                <a:gd name="T15" fmla="*/ 18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86">
                  <a:moveTo>
                    <a:pt x="172" y="18"/>
                  </a:moveTo>
                  <a:cubicBezTo>
                    <a:pt x="155" y="0"/>
                    <a:pt x="126" y="0"/>
                    <a:pt x="109" y="18"/>
                  </a:cubicBezTo>
                  <a:cubicBezTo>
                    <a:pt x="17" y="109"/>
                    <a:pt x="17" y="109"/>
                    <a:pt x="17" y="109"/>
                  </a:cubicBezTo>
                  <a:cubicBezTo>
                    <a:pt x="0" y="127"/>
                    <a:pt x="0" y="155"/>
                    <a:pt x="17" y="173"/>
                  </a:cubicBezTo>
                  <a:cubicBezTo>
                    <a:pt x="26" y="182"/>
                    <a:pt x="37" y="186"/>
                    <a:pt x="49" y="186"/>
                  </a:cubicBezTo>
                  <a:cubicBezTo>
                    <a:pt x="60" y="186"/>
                    <a:pt x="72" y="182"/>
                    <a:pt x="81" y="173"/>
                  </a:cubicBezTo>
                  <a:cubicBezTo>
                    <a:pt x="172" y="81"/>
                    <a:pt x="172" y="81"/>
                    <a:pt x="172" y="81"/>
                  </a:cubicBezTo>
                  <a:cubicBezTo>
                    <a:pt x="190" y="64"/>
                    <a:pt x="190" y="35"/>
                    <a:pt x="172"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 name="Freeform 7">
              <a:extLst>
                <a:ext uri="{FF2B5EF4-FFF2-40B4-BE49-F238E27FC236}">
                  <a16:creationId xmlns:a16="http://schemas.microsoft.com/office/drawing/2014/main" id="{583765CC-241A-42FA-98FD-216C7242FE34}"/>
                </a:ext>
              </a:extLst>
            </p:cNvPr>
            <p:cNvSpPr>
              <a:spLocks/>
            </p:cNvSpPr>
            <p:nvPr/>
          </p:nvSpPr>
          <p:spPr bwMode="auto">
            <a:xfrm>
              <a:off x="5486400" y="2330451"/>
              <a:ext cx="177800" cy="174625"/>
            </a:xfrm>
            <a:custGeom>
              <a:avLst/>
              <a:gdLst>
                <a:gd name="T0" fmla="*/ 173 w 190"/>
                <a:gd name="T1" fmla="*/ 18 h 186"/>
                <a:gd name="T2" fmla="*/ 109 w 190"/>
                <a:gd name="T3" fmla="*/ 18 h 186"/>
                <a:gd name="T4" fmla="*/ 18 w 190"/>
                <a:gd name="T5" fmla="*/ 109 h 186"/>
                <a:gd name="T6" fmla="*/ 18 w 190"/>
                <a:gd name="T7" fmla="*/ 173 h 186"/>
                <a:gd name="T8" fmla="*/ 50 w 190"/>
                <a:gd name="T9" fmla="*/ 186 h 186"/>
                <a:gd name="T10" fmla="*/ 81 w 190"/>
                <a:gd name="T11" fmla="*/ 173 h 186"/>
                <a:gd name="T12" fmla="*/ 173 w 190"/>
                <a:gd name="T13" fmla="*/ 81 h 186"/>
                <a:gd name="T14" fmla="*/ 173 w 190"/>
                <a:gd name="T15" fmla="*/ 18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86">
                  <a:moveTo>
                    <a:pt x="173" y="18"/>
                  </a:moveTo>
                  <a:cubicBezTo>
                    <a:pt x="155" y="0"/>
                    <a:pt x="127" y="0"/>
                    <a:pt x="109" y="18"/>
                  </a:cubicBezTo>
                  <a:cubicBezTo>
                    <a:pt x="18" y="109"/>
                    <a:pt x="18" y="109"/>
                    <a:pt x="18" y="109"/>
                  </a:cubicBezTo>
                  <a:cubicBezTo>
                    <a:pt x="0" y="127"/>
                    <a:pt x="0" y="155"/>
                    <a:pt x="18" y="173"/>
                  </a:cubicBezTo>
                  <a:cubicBezTo>
                    <a:pt x="27" y="182"/>
                    <a:pt x="38" y="186"/>
                    <a:pt x="50" y="186"/>
                  </a:cubicBezTo>
                  <a:cubicBezTo>
                    <a:pt x="61" y="186"/>
                    <a:pt x="73" y="181"/>
                    <a:pt x="81" y="173"/>
                  </a:cubicBezTo>
                  <a:cubicBezTo>
                    <a:pt x="173" y="81"/>
                    <a:pt x="173" y="81"/>
                    <a:pt x="173" y="81"/>
                  </a:cubicBezTo>
                  <a:cubicBezTo>
                    <a:pt x="190" y="64"/>
                    <a:pt x="190" y="35"/>
                    <a:pt x="173"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sp>
        <p:nvSpPr>
          <p:cNvPr id="28" name="矩形 27">
            <a:extLst>
              <a:ext uri="{FF2B5EF4-FFF2-40B4-BE49-F238E27FC236}">
                <a16:creationId xmlns:a16="http://schemas.microsoft.com/office/drawing/2014/main" id="{5343F74C-F89A-45BD-8EFF-6F11D6E07C21}"/>
              </a:ext>
            </a:extLst>
          </p:cNvPr>
          <p:cNvSpPr/>
          <p:nvPr/>
        </p:nvSpPr>
        <p:spPr>
          <a:xfrm rot="16200000">
            <a:off x="-190578" y="2015178"/>
            <a:ext cx="4653887" cy="3228521"/>
          </a:xfrm>
          <a:prstGeom prst="rect">
            <a:avLst/>
          </a:prstGeom>
          <a:solidFill>
            <a:srgbClr val="F9F9F9"/>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nchorCtr="0">
            <a:noAutofit/>
          </a:bodyPr>
          <a:lstStyle/>
          <a:p>
            <a:pPr algn="ctr"/>
            <a:endParaRPr lang="zh-CN" altLang="en-US">
              <a:solidFill>
                <a:schemeClr val="tx1">
                  <a:lumMod val="75000"/>
                  <a:lumOff val="25000"/>
                </a:schemeClr>
              </a:solidFill>
              <a:cs typeface="+mn-ea"/>
              <a:sym typeface="+mn-lt"/>
            </a:endParaRPr>
          </a:p>
        </p:txBody>
      </p:sp>
      <p:sp>
        <p:nvSpPr>
          <p:cNvPr id="29" name="矩形 28">
            <a:extLst>
              <a:ext uri="{FF2B5EF4-FFF2-40B4-BE49-F238E27FC236}">
                <a16:creationId xmlns:a16="http://schemas.microsoft.com/office/drawing/2014/main" id="{78BB98C9-81C0-4129-87A5-BCB60AFD40E5}"/>
              </a:ext>
            </a:extLst>
          </p:cNvPr>
          <p:cNvSpPr/>
          <p:nvPr/>
        </p:nvSpPr>
        <p:spPr>
          <a:xfrm>
            <a:off x="696703" y="2136753"/>
            <a:ext cx="2879325" cy="70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a:t>
            </a:r>
          </a:p>
        </p:txBody>
      </p:sp>
      <p:sp>
        <p:nvSpPr>
          <p:cNvPr id="30" name="矩形 29">
            <a:extLst>
              <a:ext uri="{FF2B5EF4-FFF2-40B4-BE49-F238E27FC236}">
                <a16:creationId xmlns:a16="http://schemas.microsoft.com/office/drawing/2014/main" id="{00CF1A03-3616-4216-BC1E-517C6761F5D1}"/>
              </a:ext>
            </a:extLst>
          </p:cNvPr>
          <p:cNvSpPr/>
          <p:nvPr/>
        </p:nvSpPr>
        <p:spPr>
          <a:xfrm>
            <a:off x="696703" y="1720485"/>
            <a:ext cx="2879325" cy="447174"/>
          </a:xfrm>
          <a:prstGeom prst="rect">
            <a:avLst/>
          </a:prstGeom>
        </p:spPr>
        <p:txBody>
          <a:bodyPr wrap="square" lIns="0" tIns="0" rIns="0" bIns="0" anchor="t" anchorCtr="0">
            <a:noAutofit/>
          </a:bodyPr>
          <a:lstStyle/>
          <a:p>
            <a:pPr algn="just">
              <a:lnSpc>
                <a:spcPct val="125000"/>
              </a:lnSpc>
              <a:spcBef>
                <a:spcPts val="300"/>
              </a:spcBef>
              <a:spcAft>
                <a:spcPts val="300"/>
              </a:spcAft>
            </a:pPr>
            <a:r>
              <a:rPr lang="zh-CN" altLang="en-US" sz="2000" b="1" dirty="0">
                <a:solidFill>
                  <a:schemeClr val="accent1"/>
                </a:solidFill>
                <a:cs typeface="+mn-ea"/>
                <a:sym typeface="+mn-lt"/>
              </a:rPr>
              <a:t>请在此处输入标题</a:t>
            </a:r>
            <a:r>
              <a:rPr lang="zh-CN" altLang="en-US" sz="2000" b="1" dirty="0">
                <a:solidFill>
                  <a:schemeClr val="accent1"/>
                </a:solidFill>
                <a:cs typeface="+mn-ea"/>
                <a:sym typeface="Webdings" panose="05030102010509060703" pitchFamily="18" charset="2"/>
              </a:rPr>
              <a:t></a:t>
            </a:r>
            <a:endParaRPr lang="zh-CN" altLang="en-US" sz="2000" b="1" dirty="0">
              <a:solidFill>
                <a:schemeClr val="accent1"/>
              </a:solidFill>
              <a:cs typeface="+mn-ea"/>
              <a:sym typeface="+mn-lt"/>
            </a:endParaRPr>
          </a:p>
        </p:txBody>
      </p:sp>
      <p:sp>
        <p:nvSpPr>
          <p:cNvPr id="31" name="矩形 30">
            <a:extLst>
              <a:ext uri="{FF2B5EF4-FFF2-40B4-BE49-F238E27FC236}">
                <a16:creationId xmlns:a16="http://schemas.microsoft.com/office/drawing/2014/main" id="{07C6E90D-8AF8-445E-BC90-DC6D494A28A5}"/>
              </a:ext>
            </a:extLst>
          </p:cNvPr>
          <p:cNvSpPr/>
          <p:nvPr/>
        </p:nvSpPr>
        <p:spPr>
          <a:xfrm>
            <a:off x="696703" y="3539558"/>
            <a:ext cx="2879325" cy="70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a:t>
            </a:r>
          </a:p>
        </p:txBody>
      </p:sp>
      <p:sp>
        <p:nvSpPr>
          <p:cNvPr id="32" name="矩形 31">
            <a:extLst>
              <a:ext uri="{FF2B5EF4-FFF2-40B4-BE49-F238E27FC236}">
                <a16:creationId xmlns:a16="http://schemas.microsoft.com/office/drawing/2014/main" id="{02F05C10-6C8D-4CB3-84E5-B73F3754C9B2}"/>
              </a:ext>
            </a:extLst>
          </p:cNvPr>
          <p:cNvSpPr/>
          <p:nvPr/>
        </p:nvSpPr>
        <p:spPr>
          <a:xfrm>
            <a:off x="696703" y="3123290"/>
            <a:ext cx="2879325" cy="447174"/>
          </a:xfrm>
          <a:prstGeom prst="rect">
            <a:avLst/>
          </a:prstGeom>
        </p:spPr>
        <p:txBody>
          <a:bodyPr wrap="square" lIns="0" tIns="0" rIns="0" bIns="0" anchor="t" anchorCtr="0">
            <a:noAutofit/>
          </a:bodyPr>
          <a:lstStyle/>
          <a:p>
            <a:pPr algn="just">
              <a:lnSpc>
                <a:spcPct val="125000"/>
              </a:lnSpc>
              <a:spcBef>
                <a:spcPts val="300"/>
              </a:spcBef>
              <a:spcAft>
                <a:spcPts val="300"/>
              </a:spcAft>
            </a:pPr>
            <a:r>
              <a:rPr lang="zh-CN" altLang="en-US" sz="2000" b="1" dirty="0">
                <a:solidFill>
                  <a:schemeClr val="accent2"/>
                </a:solidFill>
                <a:cs typeface="+mn-ea"/>
                <a:sym typeface="+mn-lt"/>
              </a:rPr>
              <a:t>请在此处输入标题</a:t>
            </a:r>
            <a:r>
              <a:rPr lang="zh-CN" altLang="en-US" sz="2000" b="1" dirty="0">
                <a:solidFill>
                  <a:schemeClr val="accent2"/>
                </a:solidFill>
                <a:cs typeface="+mn-ea"/>
                <a:sym typeface="Webdings" panose="05030102010509060703" pitchFamily="18" charset="2"/>
              </a:rPr>
              <a:t></a:t>
            </a:r>
            <a:endParaRPr lang="zh-CN" altLang="en-US" sz="2000" b="1" dirty="0">
              <a:solidFill>
                <a:schemeClr val="accent2"/>
              </a:solidFill>
              <a:cs typeface="+mn-ea"/>
              <a:sym typeface="+mn-lt"/>
            </a:endParaRPr>
          </a:p>
        </p:txBody>
      </p:sp>
      <p:sp>
        <p:nvSpPr>
          <p:cNvPr id="36" name="矩形 35">
            <a:extLst>
              <a:ext uri="{FF2B5EF4-FFF2-40B4-BE49-F238E27FC236}">
                <a16:creationId xmlns:a16="http://schemas.microsoft.com/office/drawing/2014/main" id="{CDEA974C-CCE8-48FE-92DF-9BDFD7B70253}"/>
              </a:ext>
            </a:extLst>
          </p:cNvPr>
          <p:cNvSpPr/>
          <p:nvPr/>
        </p:nvSpPr>
        <p:spPr>
          <a:xfrm>
            <a:off x="696703" y="4942364"/>
            <a:ext cx="2879325" cy="70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a:t>
            </a:r>
          </a:p>
        </p:txBody>
      </p:sp>
      <p:sp>
        <p:nvSpPr>
          <p:cNvPr id="37" name="矩形 36">
            <a:extLst>
              <a:ext uri="{FF2B5EF4-FFF2-40B4-BE49-F238E27FC236}">
                <a16:creationId xmlns:a16="http://schemas.microsoft.com/office/drawing/2014/main" id="{E02B20F7-54C5-41A9-965C-A7460B6C12CF}"/>
              </a:ext>
            </a:extLst>
          </p:cNvPr>
          <p:cNvSpPr/>
          <p:nvPr/>
        </p:nvSpPr>
        <p:spPr>
          <a:xfrm>
            <a:off x="696703" y="4526096"/>
            <a:ext cx="2879325" cy="447174"/>
          </a:xfrm>
          <a:prstGeom prst="rect">
            <a:avLst/>
          </a:prstGeom>
        </p:spPr>
        <p:txBody>
          <a:bodyPr wrap="square" lIns="0" tIns="0" rIns="0" bIns="0" anchor="t" anchorCtr="0">
            <a:noAutofit/>
          </a:bodyPr>
          <a:lstStyle/>
          <a:p>
            <a:pPr algn="just">
              <a:lnSpc>
                <a:spcPct val="125000"/>
              </a:lnSpc>
              <a:spcBef>
                <a:spcPts val="300"/>
              </a:spcBef>
              <a:spcAft>
                <a:spcPts val="300"/>
              </a:spcAft>
            </a:pPr>
            <a:r>
              <a:rPr lang="zh-CN" altLang="en-US" sz="2000" b="1" dirty="0">
                <a:solidFill>
                  <a:schemeClr val="tx1">
                    <a:lumMod val="75000"/>
                    <a:lumOff val="25000"/>
                  </a:schemeClr>
                </a:solidFill>
                <a:cs typeface="+mn-ea"/>
                <a:sym typeface="+mn-lt"/>
              </a:rPr>
              <a:t>请在此处输入标题</a:t>
            </a:r>
            <a:r>
              <a:rPr lang="zh-CN" altLang="en-US" sz="2000" b="1" dirty="0">
                <a:solidFill>
                  <a:schemeClr val="tx1">
                    <a:lumMod val="75000"/>
                    <a:lumOff val="25000"/>
                  </a:schemeClr>
                </a:solidFill>
                <a:cs typeface="+mn-ea"/>
                <a:sym typeface="Webdings" panose="05030102010509060703" pitchFamily="18" charset="2"/>
              </a:rPr>
              <a:t></a:t>
            </a:r>
            <a:endParaRPr lang="zh-CN" altLang="en-US" sz="2000" b="1" dirty="0">
              <a:solidFill>
                <a:schemeClr val="tx1">
                  <a:lumMod val="75000"/>
                  <a:lumOff val="25000"/>
                </a:schemeClr>
              </a:solidFill>
              <a:cs typeface="+mn-ea"/>
              <a:sym typeface="+mn-lt"/>
            </a:endParaRPr>
          </a:p>
        </p:txBody>
      </p:sp>
      <p:grpSp>
        <p:nvGrpSpPr>
          <p:cNvPr id="33" name="组合 32">
            <a:extLst>
              <a:ext uri="{FF2B5EF4-FFF2-40B4-BE49-F238E27FC236}">
                <a16:creationId xmlns:a16="http://schemas.microsoft.com/office/drawing/2014/main" id="{8721A281-621C-4C9B-8638-F448618C4556}"/>
              </a:ext>
            </a:extLst>
          </p:cNvPr>
          <p:cNvGrpSpPr/>
          <p:nvPr/>
        </p:nvGrpSpPr>
        <p:grpSpPr>
          <a:xfrm>
            <a:off x="0" y="-715587"/>
            <a:ext cx="676656" cy="602672"/>
            <a:chOff x="0" y="6950133"/>
            <a:chExt cx="676656" cy="602672"/>
          </a:xfrm>
        </p:grpSpPr>
        <p:sp>
          <p:nvSpPr>
            <p:cNvPr id="38" name="矩形 37">
              <a:extLst>
                <a:ext uri="{FF2B5EF4-FFF2-40B4-BE49-F238E27FC236}">
                  <a16:creationId xmlns:a16="http://schemas.microsoft.com/office/drawing/2014/main" id="{C470127D-3E02-4177-A821-20A51E06CDAA}"/>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39" name="组合 38">
              <a:extLst>
                <a:ext uri="{FF2B5EF4-FFF2-40B4-BE49-F238E27FC236}">
                  <a16:creationId xmlns:a16="http://schemas.microsoft.com/office/drawing/2014/main" id="{DA7A80EB-2A16-44DB-A01F-9EF4701AB37C}"/>
                </a:ext>
              </a:extLst>
            </p:cNvPr>
            <p:cNvGrpSpPr/>
            <p:nvPr/>
          </p:nvGrpSpPr>
          <p:grpSpPr>
            <a:xfrm>
              <a:off x="47544" y="7038552"/>
              <a:ext cx="581568" cy="425834"/>
              <a:chOff x="84575" y="6977592"/>
              <a:chExt cx="581568" cy="425834"/>
            </a:xfrm>
          </p:grpSpPr>
          <p:grpSp>
            <p:nvGrpSpPr>
              <p:cNvPr id="44" name="组合 43">
                <a:extLst>
                  <a:ext uri="{FF2B5EF4-FFF2-40B4-BE49-F238E27FC236}">
                    <a16:creationId xmlns:a16="http://schemas.microsoft.com/office/drawing/2014/main" id="{68D9DEFF-2AB9-4583-B6DB-22A3D8258C47}"/>
                  </a:ext>
                </a:extLst>
              </p:cNvPr>
              <p:cNvGrpSpPr/>
              <p:nvPr/>
            </p:nvGrpSpPr>
            <p:grpSpPr>
              <a:xfrm>
                <a:off x="84575" y="6979654"/>
                <a:ext cx="317380" cy="421711"/>
                <a:chOff x="14690033" y="2185397"/>
                <a:chExt cx="583830" cy="775754"/>
              </a:xfrm>
            </p:grpSpPr>
            <p:sp>
              <p:nvSpPr>
                <p:cNvPr id="46" name="iŝļíḑe">
                  <a:extLst>
                    <a:ext uri="{FF2B5EF4-FFF2-40B4-BE49-F238E27FC236}">
                      <a16:creationId xmlns:a16="http://schemas.microsoft.com/office/drawing/2014/main" id="{CF67F796-E720-4E16-A611-04233DB1C430}"/>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şḷíḍé">
                  <a:extLst>
                    <a:ext uri="{FF2B5EF4-FFF2-40B4-BE49-F238E27FC236}">
                      <a16:creationId xmlns:a16="http://schemas.microsoft.com/office/drawing/2014/main" id="{72127B49-F767-4D7F-9342-2FA4209DCD10}"/>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Sľïḓe">
                  <a:extLst>
                    <a:ext uri="{FF2B5EF4-FFF2-40B4-BE49-F238E27FC236}">
                      <a16:creationId xmlns:a16="http://schemas.microsoft.com/office/drawing/2014/main" id="{EBDB6BB8-216D-421F-AD09-C54AF267A4C5}"/>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sḻídê">
                  <a:extLst>
                    <a:ext uri="{FF2B5EF4-FFF2-40B4-BE49-F238E27FC236}">
                      <a16:creationId xmlns:a16="http://schemas.microsoft.com/office/drawing/2014/main" id="{31AC59CC-3423-45D6-8477-0448F5DF07BB}"/>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S1íḋè">
                  <a:extLst>
                    <a:ext uri="{FF2B5EF4-FFF2-40B4-BE49-F238E27FC236}">
                      <a16:creationId xmlns:a16="http://schemas.microsoft.com/office/drawing/2014/main" id="{02C88F94-69A7-4C2D-BE0E-914C5EBD4253}"/>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şļíde">
                  <a:extLst>
                    <a:ext uri="{FF2B5EF4-FFF2-40B4-BE49-F238E27FC236}">
                      <a16:creationId xmlns:a16="http://schemas.microsoft.com/office/drawing/2014/main" id="{C338A3C8-CFFE-4E44-BDCE-121589C941F9}"/>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45" name="文本框 44">
                <a:extLst>
                  <a:ext uri="{FF2B5EF4-FFF2-40B4-BE49-F238E27FC236}">
                    <a16:creationId xmlns:a16="http://schemas.microsoft.com/office/drawing/2014/main" id="{677BEEDC-78A1-415B-AAE2-BD9E14CB984F}"/>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2" name="矩形 51">
            <a:extLst>
              <a:ext uri="{FF2B5EF4-FFF2-40B4-BE49-F238E27FC236}">
                <a16:creationId xmlns:a16="http://schemas.microsoft.com/office/drawing/2014/main" id="{943BD6CD-F42F-4C33-B9A0-6330851752E3}"/>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图表 → 编辑数据 → 更改数据</a:t>
            </a:r>
          </a:p>
        </p:txBody>
      </p:sp>
      <p:sp>
        <p:nvSpPr>
          <p:cNvPr id="53" name="TextBox 7">
            <a:extLst>
              <a:ext uri="{FF2B5EF4-FFF2-40B4-BE49-F238E27FC236}">
                <a16:creationId xmlns:a16="http://schemas.microsoft.com/office/drawing/2014/main" id="{2F366253-F825-40F9-8174-9D7C29049F71}"/>
              </a:ext>
            </a:extLst>
          </p:cNvPr>
          <p:cNvSpPr txBox="1">
            <a:spLocks noChangeArrowheads="1"/>
          </p:cNvSpPr>
          <p:nvPr/>
        </p:nvSpPr>
        <p:spPr bwMode="auto">
          <a:xfrm>
            <a:off x="6623983" y="1943735"/>
            <a:ext cx="24936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i="0" u="none" strike="noStrike" kern="1200" cap="none" spc="0" normalizeH="0" noProof="0" dirty="0">
                <a:ln>
                  <a:noFill/>
                </a:ln>
                <a:solidFill>
                  <a:schemeClr val="tx1">
                    <a:lumMod val="75000"/>
                    <a:lumOff val="25000"/>
                  </a:schemeClr>
                </a:solidFill>
                <a:effectLst/>
                <a:uLnTx/>
                <a:uFillTx/>
                <a:latin typeface="+mn-lt"/>
                <a:ea typeface="+mn-ea"/>
                <a:cs typeface="+mn-ea"/>
                <a:sym typeface="+mn-lt"/>
              </a:rPr>
              <a:t>请在此输入图表的标题</a:t>
            </a:r>
          </a:p>
        </p:txBody>
      </p:sp>
    </p:spTree>
    <p:extLst>
      <p:ext uri="{BB962C8B-B14F-4D97-AF65-F5344CB8AC3E}">
        <p14:creationId xmlns:p14="http://schemas.microsoft.com/office/powerpoint/2010/main" val="42069543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253DA40C-355A-4056-83E8-11931E79AC27}"/>
              </a:ext>
            </a:extLst>
          </p:cNvPr>
          <p:cNvSpPr/>
          <p:nvPr/>
        </p:nvSpPr>
        <p:spPr>
          <a:xfrm>
            <a:off x="2546430" y="1688418"/>
            <a:ext cx="9166145" cy="3219248"/>
          </a:xfrm>
          <a:prstGeom prst="rect">
            <a:avLst/>
          </a:prstGeom>
          <a:gradFill flip="none" rotWithShape="1">
            <a:gsLst>
              <a:gs pos="0">
                <a:schemeClr val="bg1">
                  <a:lumMod val="95000"/>
                </a:schemeClr>
              </a:gs>
              <a:gs pos="100000">
                <a:schemeClr val="bg1">
                  <a:lumMod val="8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white"/>
              </a:solidFill>
              <a:effectLst/>
              <a:uLnTx/>
              <a:uFillTx/>
              <a:cs typeface="+mn-cs"/>
            </a:endParaRPr>
          </a:p>
        </p:txBody>
      </p:sp>
      <p:sp>
        <p:nvSpPr>
          <p:cNvPr id="6" name="椭圆 5">
            <a:extLst>
              <a:ext uri="{FF2B5EF4-FFF2-40B4-BE49-F238E27FC236}">
                <a16:creationId xmlns:a16="http://schemas.microsoft.com/office/drawing/2014/main" id="{BF2FE978-97D3-4634-9667-266AE4A07161}"/>
              </a:ext>
            </a:extLst>
          </p:cNvPr>
          <p:cNvSpPr/>
          <p:nvPr/>
        </p:nvSpPr>
        <p:spPr>
          <a:xfrm>
            <a:off x="659834" y="1688418"/>
            <a:ext cx="4171628" cy="4171625"/>
          </a:xfrm>
          <a:prstGeom prst="ellipse">
            <a:avLst/>
          </a:prstGeom>
          <a:solidFill>
            <a:schemeClr val="bg1"/>
          </a:solidFill>
          <a:ln w="12700" cap="flat" cmpd="sng" algn="ctr">
            <a:solidFill>
              <a:srgbClr val="9A9A9A"/>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white"/>
              </a:solidFill>
              <a:effectLst/>
              <a:uLnTx/>
              <a:uFillTx/>
              <a:cs typeface="+mn-cs"/>
            </a:endParaRPr>
          </a:p>
        </p:txBody>
      </p:sp>
      <p:graphicFrame>
        <p:nvGraphicFramePr>
          <p:cNvPr id="30" name="图示 29">
            <a:extLst>
              <a:ext uri="{FF2B5EF4-FFF2-40B4-BE49-F238E27FC236}">
                <a16:creationId xmlns:a16="http://schemas.microsoft.com/office/drawing/2014/main" id="{381C517E-BB85-48A8-BC5E-8A8758BB2704}"/>
              </a:ext>
            </a:extLst>
          </p:cNvPr>
          <p:cNvGraphicFramePr/>
          <p:nvPr>
            <p:extLst>
              <p:ext uri="{D42A27DB-BD31-4B8C-83A1-F6EECF244321}">
                <p14:modId xmlns:p14="http://schemas.microsoft.com/office/powerpoint/2010/main" val="3881428374"/>
              </p:ext>
            </p:extLst>
          </p:nvPr>
        </p:nvGraphicFramePr>
        <p:xfrm>
          <a:off x="-816290" y="1273955"/>
          <a:ext cx="7030976" cy="46873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标题 1">
            <a:extLst>
              <a:ext uri="{FF2B5EF4-FFF2-40B4-BE49-F238E27FC236}">
                <a16:creationId xmlns:a16="http://schemas.microsoft.com/office/drawing/2014/main" id="{C64A85ED-86E4-42D6-BBA2-0B9216B6F27A}"/>
              </a:ext>
            </a:extLst>
          </p:cNvPr>
          <p:cNvSpPr>
            <a:spLocks noGrp="1"/>
          </p:cNvSpPr>
          <p:nvPr>
            <p:ph type="title"/>
          </p:nvPr>
        </p:nvSpPr>
        <p:spPr/>
        <p:txBody>
          <a:bodyPr/>
          <a:lstStyle/>
          <a:p>
            <a:r>
              <a:rPr lang="zh-CN" altLang="en-US" dirty="0"/>
              <a:t>创意图表示例</a:t>
            </a:r>
            <a:endParaRPr lang="en-US" dirty="0"/>
          </a:p>
        </p:txBody>
      </p:sp>
      <p:sp>
        <p:nvSpPr>
          <p:cNvPr id="3" name="灯片编号占位符 2">
            <a:extLst>
              <a:ext uri="{FF2B5EF4-FFF2-40B4-BE49-F238E27FC236}">
                <a16:creationId xmlns:a16="http://schemas.microsoft.com/office/drawing/2014/main" id="{151AB0E4-E955-46E0-B137-826B238ABE73}"/>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52</a:t>
            </a:fld>
            <a:endParaRPr lang="en-US" dirty="0">
              <a:solidFill>
                <a:srgbClr val="000000">
                  <a:tint val="75000"/>
                </a:srgbClr>
              </a:solidFill>
            </a:endParaRPr>
          </a:p>
        </p:txBody>
      </p:sp>
      <p:sp>
        <p:nvSpPr>
          <p:cNvPr id="5" name="矩形 41">
            <a:extLst>
              <a:ext uri="{FF2B5EF4-FFF2-40B4-BE49-F238E27FC236}">
                <a16:creationId xmlns:a16="http://schemas.microsoft.com/office/drawing/2014/main" id="{644BE79C-F223-4FB5-9EB4-F7C9F0CA166E}"/>
              </a:ext>
            </a:extLst>
          </p:cNvPr>
          <p:cNvSpPr>
            <a:spLocks noChangeArrowheads="1"/>
          </p:cNvSpPr>
          <p:nvPr/>
        </p:nvSpPr>
        <p:spPr bwMode="auto">
          <a:xfrm>
            <a:off x="8861851" y="1688418"/>
            <a:ext cx="2850724" cy="3219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108000" lvl="1" indent="0" defTabSz="914400" eaLnBrk="1" hangingPunct="1">
              <a:buClr>
                <a:srgbClr val="44546A">
                  <a:lumMod val="100000"/>
                </a:srgbClr>
              </a:buClr>
              <a:buSzPct val="100000"/>
              <a:defRPr/>
            </a:pPr>
            <a:r>
              <a:rPr lang="zh-CN" altLang="en-US" sz="2000" dirty="0">
                <a:solidFill>
                  <a:schemeClr val="accent1"/>
                </a:solidFill>
                <a:latin typeface="+mn-lt"/>
                <a:ea typeface="+mn-ea"/>
                <a:cs typeface="+mn-ea"/>
                <a:sym typeface="+mn-lt"/>
              </a:rPr>
              <a:t>请在此输入标题</a:t>
            </a:r>
          </a:p>
        </p:txBody>
      </p:sp>
      <p:sp>
        <p:nvSpPr>
          <p:cNvPr id="17" name="man-walking_10862">
            <a:extLst>
              <a:ext uri="{FF2B5EF4-FFF2-40B4-BE49-F238E27FC236}">
                <a16:creationId xmlns:a16="http://schemas.microsoft.com/office/drawing/2014/main" id="{016EDD35-33BA-4944-97E0-83618CBF8F9F}"/>
              </a:ext>
            </a:extLst>
          </p:cNvPr>
          <p:cNvSpPr>
            <a:spLocks noChangeAspect="1"/>
          </p:cNvSpPr>
          <p:nvPr/>
        </p:nvSpPr>
        <p:spPr bwMode="auto">
          <a:xfrm flipH="1">
            <a:off x="2040916" y="2551964"/>
            <a:ext cx="1409464" cy="1780712"/>
          </a:xfrm>
          <a:custGeom>
            <a:avLst/>
            <a:gdLst>
              <a:gd name="connsiteX0" fmla="*/ 175750 w 469690"/>
              <a:gd name="connsiteY0" fmla="*/ 113308 h 593404"/>
              <a:gd name="connsiteX1" fmla="*/ 199544 w 469690"/>
              <a:gd name="connsiteY1" fmla="*/ 114288 h 593404"/>
              <a:gd name="connsiteX2" fmla="*/ 202987 w 469690"/>
              <a:gd name="connsiteY2" fmla="*/ 114288 h 593404"/>
              <a:gd name="connsiteX3" fmla="*/ 326948 w 469690"/>
              <a:gd name="connsiteY3" fmla="*/ 123747 h 593404"/>
              <a:gd name="connsiteX4" fmla="*/ 398398 w 469690"/>
              <a:gd name="connsiteY4" fmla="*/ 223486 h 593404"/>
              <a:gd name="connsiteX5" fmla="*/ 342443 w 469690"/>
              <a:gd name="connsiteY5" fmla="*/ 256159 h 593404"/>
              <a:gd name="connsiteX6" fmla="*/ 308010 w 469690"/>
              <a:gd name="connsiteY6" fmla="*/ 186514 h 593404"/>
              <a:gd name="connsiteX7" fmla="*/ 256359 w 469690"/>
              <a:gd name="connsiteY7" fmla="*/ 183074 h 593404"/>
              <a:gd name="connsiteX8" fmla="*/ 303705 w 469690"/>
              <a:gd name="connsiteY8" fmla="*/ 269917 h 593404"/>
              <a:gd name="connsiteX9" fmla="*/ 308010 w 469690"/>
              <a:gd name="connsiteY9" fmla="*/ 281954 h 593404"/>
              <a:gd name="connsiteX10" fmla="*/ 462100 w 469690"/>
              <a:gd name="connsiteY10" fmla="*/ 529584 h 593404"/>
              <a:gd name="connsiteX11" fmla="*/ 407867 w 469690"/>
              <a:gd name="connsiteY11" fmla="*/ 570855 h 593404"/>
              <a:gd name="connsiteX12" fmla="*/ 275298 w 469690"/>
              <a:gd name="connsiteY12" fmla="*/ 352460 h 593404"/>
              <a:gd name="connsiteX13" fmla="*/ 260663 w 469690"/>
              <a:gd name="connsiteY13" fmla="*/ 369656 h 593404"/>
              <a:gd name="connsiteX14" fmla="*/ 175440 w 469690"/>
              <a:gd name="connsiteY14" fmla="*/ 441022 h 593404"/>
              <a:gd name="connsiteX15" fmla="*/ 204709 w 469690"/>
              <a:gd name="connsiteY15" fmla="*/ 554518 h 593404"/>
              <a:gd name="connsiteX16" fmla="*/ 137563 w 469690"/>
              <a:gd name="connsiteY16" fmla="*/ 566556 h 593404"/>
              <a:gd name="connsiteX17" fmla="*/ 107434 w 469690"/>
              <a:gd name="connsiteY17" fmla="*/ 447900 h 593404"/>
              <a:gd name="connsiteX18" fmla="*/ 105712 w 469690"/>
              <a:gd name="connsiteY18" fmla="*/ 437582 h 593404"/>
              <a:gd name="connsiteX19" fmla="*/ 111738 w 469690"/>
              <a:gd name="connsiteY19" fmla="*/ 410928 h 593404"/>
              <a:gd name="connsiteX20" fmla="*/ 202126 w 469690"/>
              <a:gd name="connsiteY20" fmla="*/ 325805 h 593404"/>
              <a:gd name="connsiteX21" fmla="*/ 153919 w 469690"/>
              <a:gd name="connsiteY21" fmla="*/ 236384 h 593404"/>
              <a:gd name="connsiteX22" fmla="*/ 40288 w 469690"/>
              <a:gd name="connsiteY22" fmla="*/ 318067 h 593404"/>
              <a:gd name="connsiteX23" fmla="*/ 23071 w 469690"/>
              <a:gd name="connsiteY23" fmla="*/ 256159 h 593404"/>
              <a:gd name="connsiteX24" fmla="*/ 125511 w 469690"/>
              <a:gd name="connsiteY24" fmla="*/ 159859 h 593404"/>
              <a:gd name="connsiteX25" fmla="*/ 175750 w 469690"/>
              <a:gd name="connsiteY25" fmla="*/ 113308 h 593404"/>
              <a:gd name="connsiteX26" fmla="*/ 114345 w 469690"/>
              <a:gd name="connsiteY26" fmla="*/ 0 h 593404"/>
              <a:gd name="connsiteX27" fmla="*/ 169401 w 469690"/>
              <a:gd name="connsiteY27" fmla="*/ 55470 h 593404"/>
              <a:gd name="connsiteX28" fmla="*/ 114345 w 469690"/>
              <a:gd name="connsiteY28" fmla="*/ 110940 h 593404"/>
              <a:gd name="connsiteX29" fmla="*/ 59289 w 469690"/>
              <a:gd name="connsiteY29" fmla="*/ 55470 h 593404"/>
              <a:gd name="connsiteX30" fmla="*/ 114345 w 469690"/>
              <a:gd name="connsiteY30" fmla="*/ 0 h 59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69690" h="593404">
                <a:moveTo>
                  <a:pt x="175750" y="113308"/>
                </a:moveTo>
                <a:cubicBezTo>
                  <a:pt x="183672" y="111924"/>
                  <a:pt x="191797" y="112139"/>
                  <a:pt x="199544" y="114288"/>
                </a:cubicBezTo>
                <a:cubicBezTo>
                  <a:pt x="200405" y="114288"/>
                  <a:pt x="201265" y="114288"/>
                  <a:pt x="202987" y="114288"/>
                </a:cubicBezTo>
                <a:cubicBezTo>
                  <a:pt x="244307" y="116868"/>
                  <a:pt x="285628" y="120307"/>
                  <a:pt x="326948" y="123747"/>
                </a:cubicBezTo>
                <a:cubicBezTo>
                  <a:pt x="365686" y="126326"/>
                  <a:pt x="383764" y="193392"/>
                  <a:pt x="398398" y="223486"/>
                </a:cubicBezTo>
                <a:cubicBezTo>
                  <a:pt x="417336" y="260459"/>
                  <a:pt x="361382" y="293132"/>
                  <a:pt x="342443" y="256159"/>
                </a:cubicBezTo>
                <a:cubicBezTo>
                  <a:pt x="331252" y="232944"/>
                  <a:pt x="319201" y="209729"/>
                  <a:pt x="308010" y="186514"/>
                </a:cubicBezTo>
                <a:cubicBezTo>
                  <a:pt x="290793" y="185654"/>
                  <a:pt x="273576" y="183934"/>
                  <a:pt x="256359" y="183074"/>
                </a:cubicBezTo>
                <a:cubicBezTo>
                  <a:pt x="272715" y="211449"/>
                  <a:pt x="288210" y="240683"/>
                  <a:pt x="303705" y="269917"/>
                </a:cubicBezTo>
                <a:cubicBezTo>
                  <a:pt x="305427" y="273356"/>
                  <a:pt x="307149" y="277655"/>
                  <a:pt x="308010" y="281954"/>
                </a:cubicBezTo>
                <a:cubicBezTo>
                  <a:pt x="320922" y="303450"/>
                  <a:pt x="396676" y="431564"/>
                  <a:pt x="462100" y="529584"/>
                </a:cubicBezTo>
                <a:cubicBezTo>
                  <a:pt x="489647" y="563977"/>
                  <a:pt x="435414" y="606108"/>
                  <a:pt x="407867" y="570855"/>
                </a:cubicBezTo>
                <a:cubicBezTo>
                  <a:pt x="363964" y="514107"/>
                  <a:pt x="320061" y="420386"/>
                  <a:pt x="275298" y="352460"/>
                </a:cubicBezTo>
                <a:cubicBezTo>
                  <a:pt x="272715" y="359338"/>
                  <a:pt x="267550" y="365357"/>
                  <a:pt x="260663" y="369656"/>
                </a:cubicBezTo>
                <a:cubicBezTo>
                  <a:pt x="227952" y="387713"/>
                  <a:pt x="199544" y="412647"/>
                  <a:pt x="175440" y="441022"/>
                </a:cubicBezTo>
                <a:cubicBezTo>
                  <a:pt x="184909" y="478854"/>
                  <a:pt x="194379" y="516686"/>
                  <a:pt x="204709" y="554518"/>
                </a:cubicBezTo>
                <a:cubicBezTo>
                  <a:pt x="215039" y="597510"/>
                  <a:pt x="147893" y="609547"/>
                  <a:pt x="137563" y="566556"/>
                </a:cubicBezTo>
                <a:cubicBezTo>
                  <a:pt x="127233" y="527004"/>
                  <a:pt x="116903" y="487452"/>
                  <a:pt x="107434" y="447900"/>
                </a:cubicBezTo>
                <a:cubicBezTo>
                  <a:pt x="106573" y="444461"/>
                  <a:pt x="105712" y="441022"/>
                  <a:pt x="105712" y="437582"/>
                </a:cubicBezTo>
                <a:cubicBezTo>
                  <a:pt x="103991" y="429844"/>
                  <a:pt x="104851" y="420386"/>
                  <a:pt x="111738" y="410928"/>
                </a:cubicBezTo>
                <a:cubicBezTo>
                  <a:pt x="138424" y="378255"/>
                  <a:pt x="168554" y="349880"/>
                  <a:pt x="202126" y="325805"/>
                </a:cubicBezTo>
                <a:cubicBezTo>
                  <a:pt x="186631" y="295711"/>
                  <a:pt x="170275" y="266477"/>
                  <a:pt x="153919" y="236384"/>
                </a:cubicBezTo>
                <a:cubicBezTo>
                  <a:pt x="126372" y="274216"/>
                  <a:pt x="90217" y="303450"/>
                  <a:pt x="40288" y="318067"/>
                </a:cubicBezTo>
                <a:cubicBezTo>
                  <a:pt x="-171" y="330104"/>
                  <a:pt x="-17388" y="267337"/>
                  <a:pt x="23071" y="256159"/>
                </a:cubicBezTo>
                <a:cubicBezTo>
                  <a:pt x="73861" y="240683"/>
                  <a:pt x="103991" y="205430"/>
                  <a:pt x="125511" y="159859"/>
                </a:cubicBezTo>
                <a:cubicBezTo>
                  <a:pt x="130031" y="135999"/>
                  <a:pt x="151982" y="117459"/>
                  <a:pt x="175750" y="113308"/>
                </a:cubicBezTo>
                <a:close/>
                <a:moveTo>
                  <a:pt x="114345" y="0"/>
                </a:moveTo>
                <a:cubicBezTo>
                  <a:pt x="144752" y="0"/>
                  <a:pt x="169401" y="24835"/>
                  <a:pt x="169401" y="55470"/>
                </a:cubicBezTo>
                <a:cubicBezTo>
                  <a:pt x="169401" y="86105"/>
                  <a:pt x="144752" y="110940"/>
                  <a:pt x="114345" y="110940"/>
                </a:cubicBezTo>
                <a:cubicBezTo>
                  <a:pt x="83938" y="110940"/>
                  <a:pt x="59289" y="86105"/>
                  <a:pt x="59289" y="55470"/>
                </a:cubicBezTo>
                <a:cubicBezTo>
                  <a:pt x="59289" y="24835"/>
                  <a:pt x="83938" y="0"/>
                  <a:pt x="114345" y="0"/>
                </a:cubicBezTo>
                <a:close/>
              </a:path>
            </a:pathLst>
          </a:custGeom>
          <a:solidFill>
            <a:schemeClr val="accent1"/>
          </a:solidFill>
          <a:ln w="28575" cap="flat" cmpd="sng" algn="ctr">
            <a:solidFill>
              <a:schemeClr val="bg1"/>
            </a:solidFill>
            <a:prstDash val="solid"/>
            <a:miter lim="800000"/>
            <a:headEnd type="none" w="med" len="med"/>
            <a:tailEnd type="none" w="med" len="med"/>
          </a:ln>
          <a:effectLst>
            <a:innerShdw dist="76200" dir="120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sp>
      <p:sp>
        <p:nvSpPr>
          <p:cNvPr id="18" name="TextBox 7">
            <a:extLst>
              <a:ext uri="{FF2B5EF4-FFF2-40B4-BE49-F238E27FC236}">
                <a16:creationId xmlns:a16="http://schemas.microsoft.com/office/drawing/2014/main" id="{AD7BA1BD-978C-4784-BD3D-370B9B18A6D9}"/>
              </a:ext>
            </a:extLst>
          </p:cNvPr>
          <p:cNvSpPr txBox="1">
            <a:spLocks noChangeArrowheads="1"/>
          </p:cNvSpPr>
          <p:nvPr/>
        </p:nvSpPr>
        <p:spPr bwMode="auto">
          <a:xfrm>
            <a:off x="1532360" y="4398484"/>
            <a:ext cx="242657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lvl="0" algn="ctr" defTabSz="914400" eaLnBrk="1" hangingPunct="1">
              <a:defRPr/>
            </a:pPr>
            <a:r>
              <a:rPr lang="zh-CN" altLang="en-US" sz="2000" dirty="0">
                <a:solidFill>
                  <a:prstClr val="black"/>
                </a:solidFill>
                <a:latin typeface="+mn-lt"/>
                <a:ea typeface="+mn-ea"/>
                <a:cs typeface="+mn-ea"/>
                <a:sym typeface="+mn-lt"/>
              </a:rPr>
              <a:t>请在此输入</a:t>
            </a:r>
            <a:endParaRPr lang="en-US" altLang="zh-CN" sz="2000" dirty="0">
              <a:solidFill>
                <a:prstClr val="black"/>
              </a:solidFill>
              <a:latin typeface="+mn-lt"/>
              <a:ea typeface="+mn-ea"/>
              <a:cs typeface="+mn-ea"/>
              <a:sym typeface="+mn-lt"/>
            </a:endParaRPr>
          </a:p>
          <a:p>
            <a:pPr lvl="0" algn="ctr" defTabSz="914400" eaLnBrk="1" hangingPunct="1">
              <a:defRPr/>
            </a:pPr>
            <a:r>
              <a:rPr lang="zh-CN" altLang="en-US" sz="2000" dirty="0">
                <a:solidFill>
                  <a:prstClr val="black"/>
                </a:solidFill>
                <a:latin typeface="+mn-lt"/>
                <a:ea typeface="+mn-ea"/>
                <a:cs typeface="+mn-ea"/>
                <a:sym typeface="+mn-lt"/>
              </a:rPr>
              <a:t>图表的标题</a:t>
            </a:r>
          </a:p>
        </p:txBody>
      </p:sp>
      <p:sp>
        <p:nvSpPr>
          <p:cNvPr id="19" name="矩形 18">
            <a:extLst>
              <a:ext uri="{FF2B5EF4-FFF2-40B4-BE49-F238E27FC236}">
                <a16:creationId xmlns:a16="http://schemas.microsoft.com/office/drawing/2014/main" id="{7FD29C80-225A-44D0-B57C-81356614DF5A}"/>
              </a:ext>
            </a:extLst>
          </p:cNvPr>
          <p:cNvSpPr/>
          <p:nvPr/>
        </p:nvSpPr>
        <p:spPr>
          <a:xfrm>
            <a:off x="7741227" y="5241448"/>
            <a:ext cx="3971347" cy="63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a:lnSpc>
                <a:spcPct val="120000"/>
              </a:lnSpc>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左侧气泡的数量，相应各气泡大小间距也会调整</a:t>
            </a:r>
            <a:endParaRPr lang="en-US" altLang="zh-CN" sz="1600" dirty="0">
              <a:solidFill>
                <a:schemeClr val="tx1">
                  <a:lumMod val="75000"/>
                  <a:lumOff val="25000"/>
                </a:schemeClr>
              </a:solidFill>
              <a:cs typeface="+mn-ea"/>
              <a:sym typeface="+mn-lt"/>
            </a:endParaRPr>
          </a:p>
        </p:txBody>
      </p:sp>
      <p:cxnSp>
        <p:nvCxnSpPr>
          <p:cNvPr id="24" name="直接箭头连接符 23">
            <a:extLst>
              <a:ext uri="{FF2B5EF4-FFF2-40B4-BE49-F238E27FC236}">
                <a16:creationId xmlns:a16="http://schemas.microsoft.com/office/drawing/2014/main" id="{B6F084D1-03B2-4D4C-9F40-E33663F396BB}"/>
              </a:ext>
            </a:extLst>
          </p:cNvPr>
          <p:cNvCxnSpPr>
            <a:cxnSpLocks/>
          </p:cNvCxnSpPr>
          <p:nvPr/>
        </p:nvCxnSpPr>
        <p:spPr>
          <a:xfrm>
            <a:off x="7885008" y="1688418"/>
            <a:ext cx="0" cy="3219248"/>
          </a:xfrm>
          <a:prstGeom prst="straightConnector1">
            <a:avLst/>
          </a:prstGeom>
          <a:ln w="6350" cap="flat" cmpd="sng" algn="ctr">
            <a:solidFill>
              <a:srgbClr val="6E6F73"/>
            </a:solidFill>
            <a:prstDash val="solid"/>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A82E6C56-A2A2-4B0E-BFFB-8E0777A6F1D9}"/>
              </a:ext>
            </a:extLst>
          </p:cNvPr>
          <p:cNvCxnSpPr/>
          <p:nvPr/>
        </p:nvCxnSpPr>
        <p:spPr>
          <a:xfrm flipH="1">
            <a:off x="1481701" y="4016356"/>
            <a:ext cx="629920" cy="0"/>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36A4F30E-7D75-4170-BAD5-D039C43B1C5F}"/>
              </a:ext>
            </a:extLst>
          </p:cNvPr>
          <p:cNvCxnSpPr>
            <a:cxnSpLocks/>
          </p:cNvCxnSpPr>
          <p:nvPr/>
        </p:nvCxnSpPr>
        <p:spPr>
          <a:xfrm flipH="1">
            <a:off x="1997321" y="3944569"/>
            <a:ext cx="114300" cy="0"/>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34F9D5DD-1BD9-4074-BA0C-42341DEB8E35}"/>
              </a:ext>
            </a:extLst>
          </p:cNvPr>
          <p:cNvCxnSpPr>
            <a:cxnSpLocks/>
          </p:cNvCxnSpPr>
          <p:nvPr/>
        </p:nvCxnSpPr>
        <p:spPr>
          <a:xfrm flipH="1">
            <a:off x="2214490" y="3547647"/>
            <a:ext cx="214289" cy="0"/>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9357A1EB-F34B-4D52-8C4C-854D9AC0B4B9}"/>
              </a:ext>
            </a:extLst>
          </p:cNvPr>
          <p:cNvCxnSpPr>
            <a:cxnSpLocks/>
          </p:cNvCxnSpPr>
          <p:nvPr/>
        </p:nvCxnSpPr>
        <p:spPr>
          <a:xfrm flipH="1">
            <a:off x="2314479" y="3475860"/>
            <a:ext cx="114300" cy="0"/>
          </a:xfrm>
          <a:prstGeom prst="line">
            <a:avLst/>
          </a:prstGeom>
          <a:ln w="28575" cap="rnd"/>
        </p:spPr>
        <p:style>
          <a:lnRef idx="1">
            <a:schemeClr val="accent1"/>
          </a:lnRef>
          <a:fillRef idx="0">
            <a:schemeClr val="accent1"/>
          </a:fillRef>
          <a:effectRef idx="0">
            <a:schemeClr val="accent1"/>
          </a:effectRef>
          <a:fontRef idx="minor">
            <a:schemeClr val="tx1"/>
          </a:fontRef>
        </p:style>
      </p:cxnSp>
      <p:sp>
        <p:nvSpPr>
          <p:cNvPr id="29" name="椭圆 28">
            <a:extLst>
              <a:ext uri="{FF2B5EF4-FFF2-40B4-BE49-F238E27FC236}">
                <a16:creationId xmlns:a16="http://schemas.microsoft.com/office/drawing/2014/main" id="{D4B53DE3-593B-4F7D-AA36-2530CE49C787}"/>
              </a:ext>
            </a:extLst>
          </p:cNvPr>
          <p:cNvSpPr/>
          <p:nvPr/>
        </p:nvSpPr>
        <p:spPr>
          <a:xfrm>
            <a:off x="7170025" y="2583061"/>
            <a:ext cx="1429966" cy="1429964"/>
          </a:xfrm>
          <a:prstGeom prst="ellipse">
            <a:avLst/>
          </a:prstGeom>
          <a:solidFill>
            <a:srgbClr val="FFFFFF"/>
          </a:solidFill>
          <a:ln w="12700" cap="flat" cmpd="sng" algn="ctr">
            <a:solidFill>
              <a:schemeClr val="accent1">
                <a:shade val="50000"/>
              </a:schemeClr>
            </a:solidFill>
            <a:prstDash val="solid"/>
            <a:miter lim="800000"/>
          </a:ln>
          <a:effectLst>
            <a:innerShdw dist="139700" dir="2700000">
              <a:prstClr val="black">
                <a:alpha val="5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none" lIns="216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80</a:t>
            </a:r>
            <a:r>
              <a:rPr kumimoji="0" lang="en-US" altLang="zh-CN" sz="32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a:t>
            </a: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 </a:t>
            </a:r>
            <a:endPar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endParaRPr>
          </a:p>
        </p:txBody>
      </p:sp>
    </p:spTree>
    <p:extLst>
      <p:ext uri="{BB962C8B-B14F-4D97-AF65-F5344CB8AC3E}">
        <p14:creationId xmlns:p14="http://schemas.microsoft.com/office/powerpoint/2010/main" val="30887753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E10EE0D-1E31-4F0B-9CF3-DE4A1EAB8126}"/>
              </a:ext>
            </a:extLst>
          </p:cNvPr>
          <p:cNvSpPr>
            <a:spLocks noGrp="1"/>
          </p:cNvSpPr>
          <p:nvPr>
            <p:ph type="title"/>
          </p:nvPr>
        </p:nvSpPr>
        <p:spPr/>
        <p:txBody>
          <a:bodyPr/>
          <a:lstStyle/>
          <a:p>
            <a:r>
              <a:rPr lang="zh-CN" altLang="en-US" dirty="0"/>
              <a:t>表格页</a:t>
            </a:r>
            <a:endParaRPr lang="en-US" dirty="0"/>
          </a:p>
        </p:txBody>
      </p:sp>
      <p:sp>
        <p:nvSpPr>
          <p:cNvPr id="3" name="灯片编号占位符 2">
            <a:extLst>
              <a:ext uri="{FF2B5EF4-FFF2-40B4-BE49-F238E27FC236}">
                <a16:creationId xmlns:a16="http://schemas.microsoft.com/office/drawing/2014/main" id="{2D1137DD-36ED-4A05-A2B6-A7D386FA6CEE}"/>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53</a:t>
            </a:fld>
            <a:endParaRPr lang="en-US" dirty="0">
              <a:solidFill>
                <a:srgbClr val="000000">
                  <a:tint val="75000"/>
                </a:srgbClr>
              </a:solidFill>
            </a:endParaRPr>
          </a:p>
        </p:txBody>
      </p:sp>
      <p:graphicFrame>
        <p:nvGraphicFramePr>
          <p:cNvPr id="4" name="表格 3">
            <a:extLst>
              <a:ext uri="{FF2B5EF4-FFF2-40B4-BE49-F238E27FC236}">
                <a16:creationId xmlns:a16="http://schemas.microsoft.com/office/drawing/2014/main" id="{2835B330-5597-4C41-B927-4E1A5ED0780A}"/>
              </a:ext>
            </a:extLst>
          </p:cNvPr>
          <p:cNvGraphicFramePr>
            <a:graphicFrameLocks noGrp="1"/>
          </p:cNvGraphicFramePr>
          <p:nvPr>
            <p:extLst>
              <p:ext uri="{D42A27DB-BD31-4B8C-83A1-F6EECF244321}">
                <p14:modId xmlns:p14="http://schemas.microsoft.com/office/powerpoint/2010/main" val="3489977936"/>
              </p:ext>
            </p:extLst>
          </p:nvPr>
        </p:nvGraphicFramePr>
        <p:xfrm>
          <a:off x="515936" y="1196975"/>
          <a:ext cx="11217726" cy="3756984"/>
        </p:xfrm>
        <a:graphic>
          <a:graphicData uri="http://schemas.openxmlformats.org/drawingml/2006/table">
            <a:tbl>
              <a:tblPr firstRow="1" bandRow="1">
                <a:tableStyleId>{74C1A8A3-306A-4EB7-A6B1-4F7E0EB9C5D6}</a:tableStyleId>
              </a:tblPr>
              <a:tblGrid>
                <a:gridCol w="1246414">
                  <a:extLst>
                    <a:ext uri="{9D8B030D-6E8A-4147-A177-3AD203B41FA5}">
                      <a16:colId xmlns:a16="http://schemas.microsoft.com/office/drawing/2014/main" val="2239926448"/>
                    </a:ext>
                  </a:extLst>
                </a:gridCol>
                <a:gridCol w="1246414">
                  <a:extLst>
                    <a:ext uri="{9D8B030D-6E8A-4147-A177-3AD203B41FA5}">
                      <a16:colId xmlns:a16="http://schemas.microsoft.com/office/drawing/2014/main" val="1358160140"/>
                    </a:ext>
                  </a:extLst>
                </a:gridCol>
                <a:gridCol w="1246414">
                  <a:extLst>
                    <a:ext uri="{9D8B030D-6E8A-4147-A177-3AD203B41FA5}">
                      <a16:colId xmlns:a16="http://schemas.microsoft.com/office/drawing/2014/main" val="2531595552"/>
                    </a:ext>
                  </a:extLst>
                </a:gridCol>
                <a:gridCol w="1246414">
                  <a:extLst>
                    <a:ext uri="{9D8B030D-6E8A-4147-A177-3AD203B41FA5}">
                      <a16:colId xmlns:a16="http://schemas.microsoft.com/office/drawing/2014/main" val="977106141"/>
                    </a:ext>
                  </a:extLst>
                </a:gridCol>
                <a:gridCol w="1246414">
                  <a:extLst>
                    <a:ext uri="{9D8B030D-6E8A-4147-A177-3AD203B41FA5}">
                      <a16:colId xmlns:a16="http://schemas.microsoft.com/office/drawing/2014/main" val="3991594092"/>
                    </a:ext>
                  </a:extLst>
                </a:gridCol>
                <a:gridCol w="1246414">
                  <a:extLst>
                    <a:ext uri="{9D8B030D-6E8A-4147-A177-3AD203B41FA5}">
                      <a16:colId xmlns:a16="http://schemas.microsoft.com/office/drawing/2014/main" val="1415276029"/>
                    </a:ext>
                  </a:extLst>
                </a:gridCol>
                <a:gridCol w="1246414">
                  <a:extLst>
                    <a:ext uri="{9D8B030D-6E8A-4147-A177-3AD203B41FA5}">
                      <a16:colId xmlns:a16="http://schemas.microsoft.com/office/drawing/2014/main" val="2247047163"/>
                    </a:ext>
                  </a:extLst>
                </a:gridCol>
                <a:gridCol w="1246414">
                  <a:extLst>
                    <a:ext uri="{9D8B030D-6E8A-4147-A177-3AD203B41FA5}">
                      <a16:colId xmlns:a16="http://schemas.microsoft.com/office/drawing/2014/main" val="1950462349"/>
                    </a:ext>
                  </a:extLst>
                </a:gridCol>
                <a:gridCol w="1246414">
                  <a:extLst>
                    <a:ext uri="{9D8B030D-6E8A-4147-A177-3AD203B41FA5}">
                      <a16:colId xmlns:a16="http://schemas.microsoft.com/office/drawing/2014/main" val="3599855603"/>
                    </a:ext>
                  </a:extLst>
                </a:gridCol>
              </a:tblGrid>
              <a:tr h="536712">
                <a:tc>
                  <a:txBody>
                    <a:bodyPr/>
                    <a:lstStyle/>
                    <a:p>
                      <a:pPr algn="ctr"/>
                      <a:endParaRPr lang="zh-CN" altLang="en-US" sz="2000" b="1" baseline="0" dirty="0">
                        <a:solidFill>
                          <a:schemeClr val="accent1"/>
                        </a:solidFill>
                        <a:latin typeface="+mn-lt"/>
                        <a:ea typeface="+mj-ea"/>
                      </a:endParaRPr>
                    </a:p>
                  </a:txBody>
                  <a:tcPr marL="109192" marR="109192" marT="54596" marB="54596" anchor="ctr">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4984582"/>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051155992"/>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665949170"/>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3477418193"/>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634943110"/>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2069146954"/>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B w="1905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31518046"/>
                  </a:ext>
                </a:extLst>
              </a:tr>
            </a:tbl>
          </a:graphicData>
        </a:graphic>
      </p:graphicFrame>
      <p:sp>
        <p:nvSpPr>
          <p:cNvPr id="5" name="文本框 4">
            <a:extLst>
              <a:ext uri="{FF2B5EF4-FFF2-40B4-BE49-F238E27FC236}">
                <a16:creationId xmlns:a16="http://schemas.microsoft.com/office/drawing/2014/main" id="{C8CCCA4E-30D9-4F44-A65F-530008301198}"/>
              </a:ext>
            </a:extLst>
          </p:cNvPr>
          <p:cNvSpPr txBox="1"/>
          <p:nvPr/>
        </p:nvSpPr>
        <p:spPr>
          <a:xfrm>
            <a:off x="515938" y="5226626"/>
            <a:ext cx="11217722" cy="902711"/>
          </a:xfrm>
          <a:prstGeom prst="rect">
            <a:avLst/>
          </a:prstGeom>
          <a:solidFill>
            <a:schemeClr val="bg1"/>
          </a:solidFill>
          <a:ln w="19050" cap="flat" cmpd="sng" algn="ctr">
            <a:solidFill>
              <a:schemeClr val="accent1"/>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zh-CN" altLang="en-US" sz="1600" dirty="0">
                <a:solidFill>
                  <a:schemeClr val="tx1">
                    <a:lumMod val="75000"/>
                    <a:lumOff val="25000"/>
                  </a:schemeClr>
                </a:solidFill>
                <a:cs typeface="+mn-ea"/>
                <a:sym typeface="+mn-lt"/>
              </a:rPr>
              <a:t>这页是结论分析中经常会用到的表格页样例，在汇报答辩中，表格页切忌花哨浮夸，这种力求简洁专业的表格样式会是答辩中的首选，而且你可以根据实际情况，在表格的布局选项栏中新增或删除行列的数量。下方这块区域可以写表格的结论</a:t>
            </a:r>
            <a:endParaRPr lang="en-US" altLang="zh-CN" sz="1600" dirty="0">
              <a:solidFill>
                <a:schemeClr val="tx1">
                  <a:lumMod val="75000"/>
                  <a:lumOff val="25000"/>
                </a:schemeClr>
              </a:solidFill>
              <a:cs typeface="+mn-ea"/>
              <a:sym typeface="+mn-lt"/>
            </a:endParaRPr>
          </a:p>
        </p:txBody>
      </p:sp>
      <p:grpSp>
        <p:nvGrpSpPr>
          <p:cNvPr id="6" name="组合 5">
            <a:extLst>
              <a:ext uri="{FF2B5EF4-FFF2-40B4-BE49-F238E27FC236}">
                <a16:creationId xmlns:a16="http://schemas.microsoft.com/office/drawing/2014/main" id="{02EA21B2-6E33-4D86-8F57-C3B1CC6BC8DF}"/>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F8E772B9-DF99-41B0-A6AD-2198FD358C75}"/>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8" name="组合 7">
              <a:extLst>
                <a:ext uri="{FF2B5EF4-FFF2-40B4-BE49-F238E27FC236}">
                  <a16:creationId xmlns:a16="http://schemas.microsoft.com/office/drawing/2014/main" id="{9FF93274-4B4D-4201-8C72-7201ECC93CF7}"/>
                </a:ext>
              </a:extLst>
            </p:cNvPr>
            <p:cNvGrpSpPr/>
            <p:nvPr/>
          </p:nvGrpSpPr>
          <p:grpSpPr>
            <a:xfrm>
              <a:off x="47544" y="7038552"/>
              <a:ext cx="581568" cy="425834"/>
              <a:chOff x="84575" y="6977592"/>
              <a:chExt cx="581568" cy="425834"/>
            </a:xfrm>
          </p:grpSpPr>
          <p:grpSp>
            <p:nvGrpSpPr>
              <p:cNvPr id="9" name="组合 8">
                <a:extLst>
                  <a:ext uri="{FF2B5EF4-FFF2-40B4-BE49-F238E27FC236}">
                    <a16:creationId xmlns:a16="http://schemas.microsoft.com/office/drawing/2014/main" id="{135EC48A-EAAF-4948-AE22-7FA7F29E951D}"/>
                  </a:ext>
                </a:extLst>
              </p:cNvPr>
              <p:cNvGrpSpPr/>
              <p:nvPr/>
            </p:nvGrpSpPr>
            <p:grpSpPr>
              <a:xfrm>
                <a:off x="84575" y="6979654"/>
                <a:ext cx="317380" cy="421711"/>
                <a:chOff x="14690033" y="2185397"/>
                <a:chExt cx="583830" cy="775754"/>
              </a:xfrm>
            </p:grpSpPr>
            <p:sp>
              <p:nvSpPr>
                <p:cNvPr id="11" name="iŝļíḑe">
                  <a:extLst>
                    <a:ext uri="{FF2B5EF4-FFF2-40B4-BE49-F238E27FC236}">
                      <a16:creationId xmlns:a16="http://schemas.microsoft.com/office/drawing/2014/main" id="{81C15237-2246-4F20-9A14-1AF507B78EAB}"/>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şḷíḍé">
                  <a:extLst>
                    <a:ext uri="{FF2B5EF4-FFF2-40B4-BE49-F238E27FC236}">
                      <a16:creationId xmlns:a16="http://schemas.microsoft.com/office/drawing/2014/main" id="{BDD22C85-7313-43CB-8C86-D49C5D779EBC}"/>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ľïḓe">
                  <a:extLst>
                    <a:ext uri="{FF2B5EF4-FFF2-40B4-BE49-F238E27FC236}">
                      <a16:creationId xmlns:a16="http://schemas.microsoft.com/office/drawing/2014/main" id="{670A566A-C29F-40B4-85F8-A605F6FBD073}"/>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ḻídê">
                  <a:extLst>
                    <a:ext uri="{FF2B5EF4-FFF2-40B4-BE49-F238E27FC236}">
                      <a16:creationId xmlns:a16="http://schemas.microsoft.com/office/drawing/2014/main" id="{7F8365C1-A867-4AFD-9B52-2F1BDC27B28A}"/>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S1íḋè">
                  <a:extLst>
                    <a:ext uri="{FF2B5EF4-FFF2-40B4-BE49-F238E27FC236}">
                      <a16:creationId xmlns:a16="http://schemas.microsoft.com/office/drawing/2014/main" id="{C2799584-1062-42EB-8FC7-B813812A25F1}"/>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şļíde">
                  <a:extLst>
                    <a:ext uri="{FF2B5EF4-FFF2-40B4-BE49-F238E27FC236}">
                      <a16:creationId xmlns:a16="http://schemas.microsoft.com/office/drawing/2014/main" id="{4EED5889-8F48-466C-A4FE-644FF97D2929}"/>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 name="文本框 9">
                <a:extLst>
                  <a:ext uri="{FF2B5EF4-FFF2-40B4-BE49-F238E27FC236}">
                    <a16:creationId xmlns:a16="http://schemas.microsoft.com/office/drawing/2014/main" id="{7F057B05-7E10-4E66-936F-270DA3CB742E}"/>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a:extLst>
              <a:ext uri="{FF2B5EF4-FFF2-40B4-BE49-F238E27FC236}">
                <a16:creationId xmlns:a16="http://schemas.microsoft.com/office/drawing/2014/main" id="{D130F152-8B68-4F2D-8544-0457D3AA7F20}"/>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30649339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标题 28">
            <a:extLst>
              <a:ext uri="{FF2B5EF4-FFF2-40B4-BE49-F238E27FC236}">
                <a16:creationId xmlns:a16="http://schemas.microsoft.com/office/drawing/2014/main" id="{1B9E2F2B-D70E-47A1-9812-F4A8DCFB5AD5}"/>
              </a:ext>
            </a:extLst>
          </p:cNvPr>
          <p:cNvSpPr>
            <a:spLocks noGrp="1"/>
          </p:cNvSpPr>
          <p:nvPr>
            <p:ph type="title"/>
          </p:nvPr>
        </p:nvSpPr>
        <p:spPr/>
        <p:txBody>
          <a:bodyPr/>
          <a:lstStyle/>
          <a:p>
            <a:r>
              <a:rPr lang="zh-CN" altLang="en-US" dirty="0">
                <a:latin typeface="+mn-lt"/>
                <a:ea typeface="+mn-ea"/>
                <a:cs typeface="+mn-ea"/>
                <a:sym typeface="+mn-lt"/>
              </a:rPr>
              <a:t>总结介绍页</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3601F8C1-CA66-4014-8ECB-FC56A3344C07}"/>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54</a:t>
            </a:fld>
            <a:endParaRPr lang="en-US" dirty="0">
              <a:solidFill>
                <a:srgbClr val="000000">
                  <a:tint val="75000"/>
                </a:srgbClr>
              </a:solidFill>
              <a:cs typeface="+mn-ea"/>
              <a:sym typeface="+mn-lt"/>
            </a:endParaRPr>
          </a:p>
        </p:txBody>
      </p:sp>
      <p:pic>
        <p:nvPicPr>
          <p:cNvPr id="10" name="图片占位符 9">
            <a:extLst>
              <a:ext uri="{FF2B5EF4-FFF2-40B4-BE49-F238E27FC236}">
                <a16:creationId xmlns:a16="http://schemas.microsoft.com/office/drawing/2014/main" id="{89CD82B2-33E0-47CF-8272-388B11536B1D}"/>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03" b="103"/>
          <a:stretch>
            <a:fillRect/>
          </a:stretch>
        </p:blipFill>
        <p:spPr/>
      </p:pic>
      <p:sp>
        <p:nvSpPr>
          <p:cNvPr id="5" name="îṧľîḍé">
            <a:extLst>
              <a:ext uri="{FF2B5EF4-FFF2-40B4-BE49-F238E27FC236}">
                <a16:creationId xmlns:a16="http://schemas.microsoft.com/office/drawing/2014/main" id="{40ECA51A-F785-4BF4-A6E0-5594A4BF15FE}"/>
              </a:ext>
            </a:extLst>
          </p:cNvPr>
          <p:cNvSpPr/>
          <p:nvPr/>
        </p:nvSpPr>
        <p:spPr>
          <a:xfrm>
            <a:off x="515937" y="1196975"/>
            <a:ext cx="11209217" cy="4937125"/>
          </a:xfrm>
          <a:prstGeom prst="rect">
            <a:avLst/>
          </a:prstGeom>
          <a:noFill/>
          <a:ln w="12700" cap="rnd">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cs typeface="+mn-ea"/>
              <a:sym typeface="+mn-lt"/>
            </a:endParaRPr>
          </a:p>
        </p:txBody>
      </p:sp>
      <p:sp>
        <p:nvSpPr>
          <p:cNvPr id="27" name="i$lîdê">
            <a:extLst>
              <a:ext uri="{FF2B5EF4-FFF2-40B4-BE49-F238E27FC236}">
                <a16:creationId xmlns:a16="http://schemas.microsoft.com/office/drawing/2014/main" id="{F276496F-2691-45EA-B866-B901C348E831}"/>
              </a:ext>
            </a:extLst>
          </p:cNvPr>
          <p:cNvSpPr/>
          <p:nvPr/>
        </p:nvSpPr>
        <p:spPr>
          <a:xfrm>
            <a:off x="683550" y="4413192"/>
            <a:ext cx="2279166" cy="547043"/>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8" name="íšḷïḓe">
            <a:extLst>
              <a:ext uri="{FF2B5EF4-FFF2-40B4-BE49-F238E27FC236}">
                <a16:creationId xmlns:a16="http://schemas.microsoft.com/office/drawing/2014/main" id="{51E86053-09AD-4215-AAB7-348312C4AA7A}"/>
              </a:ext>
            </a:extLst>
          </p:cNvPr>
          <p:cNvSpPr/>
          <p:nvPr/>
        </p:nvSpPr>
        <p:spPr bwMode="auto">
          <a:xfrm>
            <a:off x="683550"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25" name="ïŝļiḍè">
            <a:extLst>
              <a:ext uri="{FF2B5EF4-FFF2-40B4-BE49-F238E27FC236}">
                <a16:creationId xmlns:a16="http://schemas.microsoft.com/office/drawing/2014/main" id="{5380D1C5-1188-40FD-8AAA-70D84A7998DE}"/>
              </a:ext>
            </a:extLst>
          </p:cNvPr>
          <p:cNvSpPr/>
          <p:nvPr/>
        </p:nvSpPr>
        <p:spPr>
          <a:xfrm>
            <a:off x="3543328" y="4413192"/>
            <a:ext cx="2279166" cy="547043"/>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6" name="í$ḷîḓe">
            <a:extLst>
              <a:ext uri="{FF2B5EF4-FFF2-40B4-BE49-F238E27FC236}">
                <a16:creationId xmlns:a16="http://schemas.microsoft.com/office/drawing/2014/main" id="{70A57BE6-2387-4681-9110-11CA66E99B03}"/>
              </a:ext>
            </a:extLst>
          </p:cNvPr>
          <p:cNvSpPr/>
          <p:nvPr/>
        </p:nvSpPr>
        <p:spPr bwMode="auto">
          <a:xfrm>
            <a:off x="3543328"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23" name="iṥľíďe">
            <a:extLst>
              <a:ext uri="{FF2B5EF4-FFF2-40B4-BE49-F238E27FC236}">
                <a16:creationId xmlns:a16="http://schemas.microsoft.com/office/drawing/2014/main" id="{DCBC0E6E-602C-4E54-916E-3C41D4C08D8C}"/>
              </a:ext>
            </a:extLst>
          </p:cNvPr>
          <p:cNvSpPr/>
          <p:nvPr/>
        </p:nvSpPr>
        <p:spPr>
          <a:xfrm>
            <a:off x="6403106" y="4413192"/>
            <a:ext cx="2279166" cy="547043"/>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4" name="íṩ1îḍè">
            <a:extLst>
              <a:ext uri="{FF2B5EF4-FFF2-40B4-BE49-F238E27FC236}">
                <a16:creationId xmlns:a16="http://schemas.microsoft.com/office/drawing/2014/main" id="{F24F2841-4693-41C7-80C8-8DAFB7468F25}"/>
              </a:ext>
            </a:extLst>
          </p:cNvPr>
          <p:cNvSpPr/>
          <p:nvPr/>
        </p:nvSpPr>
        <p:spPr bwMode="auto">
          <a:xfrm>
            <a:off x="6403106"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21" name="ïšḷîdê">
            <a:extLst>
              <a:ext uri="{FF2B5EF4-FFF2-40B4-BE49-F238E27FC236}">
                <a16:creationId xmlns:a16="http://schemas.microsoft.com/office/drawing/2014/main" id="{0E44DB95-A40D-42E3-8B8A-3C7E774A69F5}"/>
              </a:ext>
            </a:extLst>
          </p:cNvPr>
          <p:cNvSpPr/>
          <p:nvPr/>
        </p:nvSpPr>
        <p:spPr>
          <a:xfrm>
            <a:off x="9262884" y="4413192"/>
            <a:ext cx="2279166" cy="547043"/>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dirty="0">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2" name="iṣ1îḓê">
            <a:extLst>
              <a:ext uri="{FF2B5EF4-FFF2-40B4-BE49-F238E27FC236}">
                <a16:creationId xmlns:a16="http://schemas.microsoft.com/office/drawing/2014/main" id="{58F9AE04-B366-436E-9D16-B8F7C54619D4}"/>
              </a:ext>
            </a:extLst>
          </p:cNvPr>
          <p:cNvSpPr/>
          <p:nvPr/>
        </p:nvSpPr>
        <p:spPr bwMode="auto">
          <a:xfrm>
            <a:off x="9262884"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cxnSp>
        <p:nvCxnSpPr>
          <p:cNvPr id="18" name="直接连接符 17">
            <a:extLst>
              <a:ext uri="{FF2B5EF4-FFF2-40B4-BE49-F238E27FC236}">
                <a16:creationId xmlns:a16="http://schemas.microsoft.com/office/drawing/2014/main" id="{AF599C22-D2FE-4C4B-B07D-C86164373E66}"/>
              </a:ext>
            </a:extLst>
          </p:cNvPr>
          <p:cNvCxnSpPr/>
          <p:nvPr/>
        </p:nvCxnSpPr>
        <p:spPr>
          <a:xfrm>
            <a:off x="3253022" y="4595148"/>
            <a:ext cx="0" cy="1273215"/>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4FFFFB06-D3FA-417D-882E-BD1774E2C7B2}"/>
              </a:ext>
            </a:extLst>
          </p:cNvPr>
          <p:cNvCxnSpPr/>
          <p:nvPr/>
        </p:nvCxnSpPr>
        <p:spPr>
          <a:xfrm>
            <a:off x="6112800" y="4595148"/>
            <a:ext cx="0" cy="1273215"/>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4B6D5B51-12BB-41B9-93E5-631F774807E8}"/>
              </a:ext>
            </a:extLst>
          </p:cNvPr>
          <p:cNvCxnSpPr/>
          <p:nvPr/>
        </p:nvCxnSpPr>
        <p:spPr>
          <a:xfrm>
            <a:off x="8972578" y="4595148"/>
            <a:ext cx="0" cy="1273215"/>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3" name="矩形 32">
            <a:extLst>
              <a:ext uri="{FF2B5EF4-FFF2-40B4-BE49-F238E27FC236}">
                <a16:creationId xmlns:a16="http://schemas.microsoft.com/office/drawing/2014/main" id="{075642D8-E64A-4D0D-B65A-7094B470E391}"/>
              </a:ext>
            </a:extLst>
          </p:cNvPr>
          <p:cNvSpPr/>
          <p:nvPr/>
        </p:nvSpPr>
        <p:spPr>
          <a:xfrm>
            <a:off x="515937" y="1196975"/>
            <a:ext cx="11209217" cy="2452255"/>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30" name="组合 29">
            <a:extLst>
              <a:ext uri="{FF2B5EF4-FFF2-40B4-BE49-F238E27FC236}">
                <a16:creationId xmlns:a16="http://schemas.microsoft.com/office/drawing/2014/main" id="{A5744DB0-E50E-44F8-9A43-3F2A83EEA517}"/>
              </a:ext>
            </a:extLst>
          </p:cNvPr>
          <p:cNvGrpSpPr/>
          <p:nvPr/>
        </p:nvGrpSpPr>
        <p:grpSpPr>
          <a:xfrm>
            <a:off x="1359236" y="3221183"/>
            <a:ext cx="927794" cy="927792"/>
            <a:chOff x="6444178" y="1503679"/>
            <a:chExt cx="345682" cy="345681"/>
          </a:xfrm>
        </p:grpSpPr>
        <p:sp>
          <p:nvSpPr>
            <p:cNvPr id="31" name="ïślîḍé">
              <a:extLst>
                <a:ext uri="{FF2B5EF4-FFF2-40B4-BE49-F238E27FC236}">
                  <a16:creationId xmlns:a16="http://schemas.microsoft.com/office/drawing/2014/main" id="{D0F80A10-8B5B-4FC2-B5BE-FF33865ACFBC}"/>
                </a:ext>
              </a:extLst>
            </p:cNvPr>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5" name="ï$ļîḓê">
              <a:extLst>
                <a:ext uri="{FF2B5EF4-FFF2-40B4-BE49-F238E27FC236}">
                  <a16:creationId xmlns:a16="http://schemas.microsoft.com/office/drawing/2014/main" id="{24D6E005-25FB-417E-A213-2583D5B00911}"/>
                </a:ext>
              </a:extLst>
            </p:cNvPr>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nvGrpSpPr>
          <p:cNvPr id="39" name="组合 38">
            <a:extLst>
              <a:ext uri="{FF2B5EF4-FFF2-40B4-BE49-F238E27FC236}">
                <a16:creationId xmlns:a16="http://schemas.microsoft.com/office/drawing/2014/main" id="{28AE5623-96ED-4786-AE7C-F6B55C38B25F}"/>
              </a:ext>
            </a:extLst>
          </p:cNvPr>
          <p:cNvGrpSpPr/>
          <p:nvPr/>
        </p:nvGrpSpPr>
        <p:grpSpPr>
          <a:xfrm>
            <a:off x="4219014" y="3221183"/>
            <a:ext cx="927794" cy="927792"/>
            <a:chOff x="6444178" y="1503679"/>
            <a:chExt cx="345682" cy="345681"/>
          </a:xfrm>
        </p:grpSpPr>
        <p:sp>
          <p:nvSpPr>
            <p:cNvPr id="40" name="ïślîḍé">
              <a:extLst>
                <a:ext uri="{FF2B5EF4-FFF2-40B4-BE49-F238E27FC236}">
                  <a16:creationId xmlns:a16="http://schemas.microsoft.com/office/drawing/2014/main" id="{035D01A8-764D-4A9C-946D-81639B4A87E6}"/>
                </a:ext>
              </a:extLst>
            </p:cNvPr>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1" name="ï$ļîḓê">
              <a:extLst>
                <a:ext uri="{FF2B5EF4-FFF2-40B4-BE49-F238E27FC236}">
                  <a16:creationId xmlns:a16="http://schemas.microsoft.com/office/drawing/2014/main" id="{0F705B05-0107-421C-825E-01377D3E6E22}"/>
                </a:ext>
              </a:extLst>
            </p:cNvPr>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nvGrpSpPr>
          <p:cNvPr id="42" name="组合 41">
            <a:extLst>
              <a:ext uri="{FF2B5EF4-FFF2-40B4-BE49-F238E27FC236}">
                <a16:creationId xmlns:a16="http://schemas.microsoft.com/office/drawing/2014/main" id="{10E03C4B-1288-4132-9009-D0D6FD223057}"/>
              </a:ext>
            </a:extLst>
          </p:cNvPr>
          <p:cNvGrpSpPr/>
          <p:nvPr/>
        </p:nvGrpSpPr>
        <p:grpSpPr>
          <a:xfrm>
            <a:off x="7078792" y="3221183"/>
            <a:ext cx="927794" cy="927792"/>
            <a:chOff x="6444178" y="1503679"/>
            <a:chExt cx="345682" cy="345681"/>
          </a:xfrm>
        </p:grpSpPr>
        <p:sp>
          <p:nvSpPr>
            <p:cNvPr id="43" name="ïślîḍé">
              <a:extLst>
                <a:ext uri="{FF2B5EF4-FFF2-40B4-BE49-F238E27FC236}">
                  <a16:creationId xmlns:a16="http://schemas.microsoft.com/office/drawing/2014/main" id="{6C69C622-125B-4FC4-B841-3F3C74ECAFF6}"/>
                </a:ext>
              </a:extLst>
            </p:cNvPr>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4" name="ï$ļîḓê">
              <a:extLst>
                <a:ext uri="{FF2B5EF4-FFF2-40B4-BE49-F238E27FC236}">
                  <a16:creationId xmlns:a16="http://schemas.microsoft.com/office/drawing/2014/main" id="{B9F37253-D7B2-4C6B-9F6C-B5506A6AA77C}"/>
                </a:ext>
              </a:extLst>
            </p:cNvPr>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grpSp>
        <p:nvGrpSpPr>
          <p:cNvPr id="45" name="组合 44">
            <a:extLst>
              <a:ext uri="{FF2B5EF4-FFF2-40B4-BE49-F238E27FC236}">
                <a16:creationId xmlns:a16="http://schemas.microsoft.com/office/drawing/2014/main" id="{8F246C31-E750-4046-B399-F1ED24AF7E03}"/>
              </a:ext>
            </a:extLst>
          </p:cNvPr>
          <p:cNvGrpSpPr/>
          <p:nvPr/>
        </p:nvGrpSpPr>
        <p:grpSpPr>
          <a:xfrm>
            <a:off x="9938570" y="3221183"/>
            <a:ext cx="927794" cy="927792"/>
            <a:chOff x="6444178" y="1503679"/>
            <a:chExt cx="345682" cy="345681"/>
          </a:xfrm>
        </p:grpSpPr>
        <p:sp>
          <p:nvSpPr>
            <p:cNvPr id="46" name="ïślîḍé">
              <a:extLst>
                <a:ext uri="{FF2B5EF4-FFF2-40B4-BE49-F238E27FC236}">
                  <a16:creationId xmlns:a16="http://schemas.microsoft.com/office/drawing/2014/main" id="{74C6341D-44A9-42A0-9396-30FEF06BDFCF}"/>
                </a:ext>
              </a:extLst>
            </p:cNvPr>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7" name="ï$ļîḓê">
              <a:extLst>
                <a:ext uri="{FF2B5EF4-FFF2-40B4-BE49-F238E27FC236}">
                  <a16:creationId xmlns:a16="http://schemas.microsoft.com/office/drawing/2014/main" id="{98980291-AE47-4240-B057-D70E3B8E1944}"/>
                </a:ext>
              </a:extLst>
            </p:cNvPr>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cs typeface="+mn-ea"/>
                <a:sym typeface="+mn-lt"/>
              </a:endParaRPr>
            </a:p>
          </p:txBody>
        </p:sp>
      </p:grpSp>
      <p:sp>
        <p:nvSpPr>
          <p:cNvPr id="38" name="íṧḷídé">
            <a:extLst>
              <a:ext uri="{FF2B5EF4-FFF2-40B4-BE49-F238E27FC236}">
                <a16:creationId xmlns:a16="http://schemas.microsoft.com/office/drawing/2014/main" id="{35B7D06B-F549-4A18-9C76-676BB0BD4432}"/>
              </a:ext>
            </a:extLst>
          </p:cNvPr>
          <p:cNvSpPr txBox="1"/>
          <p:nvPr/>
        </p:nvSpPr>
        <p:spPr>
          <a:xfrm>
            <a:off x="2528605" y="1898102"/>
            <a:ext cx="7181088" cy="581926"/>
          </a:xfrm>
          <a:prstGeom prst="rect">
            <a:avLst/>
          </a:prstGeom>
          <a:noFill/>
          <a:ln>
            <a:noFill/>
          </a:ln>
        </p:spPr>
        <p:txBody>
          <a:bodyPr wrap="square" lIns="91440" tIns="45720" rIns="91440" bIns="45720" anchor="ctr" anchorCtr="0">
            <a:normAutofit/>
          </a:bodyPr>
          <a:lstStyle/>
          <a:p>
            <a:pPr lvl="0" algn="ctr" defTabSz="913765">
              <a:buSzPct val="25000"/>
              <a:defRPr/>
            </a:pPr>
            <a:r>
              <a:rPr lang="zh-CN" altLang="en-US" sz="2800" b="1" dirty="0">
                <a:solidFill>
                  <a:srgbClr val="FFFFFF"/>
                </a:solidFill>
                <a:cs typeface="+mn-ea"/>
                <a:sym typeface="+mn-lt"/>
              </a:rPr>
              <a:t>请在此输入标题</a:t>
            </a:r>
            <a:endParaRPr kumimoji="0" lang="en-US" sz="2800" b="0" i="0" u="none" strike="noStrike" kern="1200" cap="none" spc="0" normalizeH="0" baseline="0" noProof="0" dirty="0">
              <a:ln>
                <a:noFill/>
              </a:ln>
              <a:solidFill>
                <a:srgbClr val="FFFFFF"/>
              </a:solidFill>
              <a:effectLst/>
              <a:uLnTx/>
              <a:uFillTx/>
              <a:cs typeface="+mn-ea"/>
              <a:sym typeface="+mn-lt"/>
            </a:endParaRPr>
          </a:p>
        </p:txBody>
      </p:sp>
      <p:sp>
        <p:nvSpPr>
          <p:cNvPr id="48" name="ïśļiḍè">
            <a:extLst>
              <a:ext uri="{FF2B5EF4-FFF2-40B4-BE49-F238E27FC236}">
                <a16:creationId xmlns:a16="http://schemas.microsoft.com/office/drawing/2014/main" id="{41275AAB-3919-4FCF-9F2F-A06F621116B0}"/>
              </a:ext>
            </a:extLst>
          </p:cNvPr>
          <p:cNvSpPr txBox="1"/>
          <p:nvPr/>
        </p:nvSpPr>
        <p:spPr>
          <a:xfrm>
            <a:off x="2528606" y="2480028"/>
            <a:ext cx="7181086" cy="594483"/>
          </a:xfrm>
          <a:prstGeom prst="rect">
            <a:avLst/>
          </a:prstGeom>
          <a:noFill/>
          <a:ln>
            <a:noFill/>
          </a:ln>
        </p:spPr>
        <p:txBody>
          <a:bodyPr wrap="square" lIns="91440" tIns="45720" rIns="91440" bIns="45720" anchor="t" anchorCtr="0">
            <a:normAutofit/>
          </a:bodyPr>
          <a:lstStyle/>
          <a:p>
            <a:pPr algn="ctr"/>
            <a:r>
              <a:rPr lang="zh-CN" altLang="en-US" dirty="0">
                <a:solidFill>
                  <a:srgbClr val="FFFFFF"/>
                </a:solidFill>
                <a:cs typeface="+mn-ea"/>
                <a:sym typeface="+mn-lt"/>
              </a:rPr>
              <a:t>请在此输入内容请在此输入内容请在此输入内容请在此输入内容</a:t>
            </a:r>
            <a:endParaRPr lang="en-US" altLang="zh-CN" dirty="0">
              <a:solidFill>
                <a:srgbClr val="FFFFFF"/>
              </a:solidFill>
              <a:cs typeface="+mn-ea"/>
              <a:sym typeface="+mn-lt"/>
            </a:endParaRPr>
          </a:p>
        </p:txBody>
      </p:sp>
    </p:spTree>
    <p:custDataLst>
      <p:tags r:id="rId1"/>
    </p:custDataLst>
    <p:extLst>
      <p:ext uri="{BB962C8B-B14F-4D97-AF65-F5344CB8AC3E}">
        <p14:creationId xmlns:p14="http://schemas.microsoft.com/office/powerpoint/2010/main" val="28376667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51">
            <a:extLst>
              <a:ext uri="{FF2B5EF4-FFF2-40B4-BE49-F238E27FC236}">
                <a16:creationId xmlns:a16="http://schemas.microsoft.com/office/drawing/2014/main" id="{18A2618D-793C-4231-8C86-DAE94ECBF9AD}"/>
              </a:ext>
            </a:extLst>
          </p:cNvPr>
          <p:cNvSpPr>
            <a:spLocks noGrp="1"/>
          </p:cNvSpPr>
          <p:nvPr>
            <p:ph type="title"/>
          </p:nvPr>
        </p:nvSpPr>
        <p:spPr/>
        <p:txBody>
          <a:bodyPr/>
          <a:lstStyle/>
          <a:p>
            <a:r>
              <a:rPr lang="zh-CN" altLang="en-US" dirty="0">
                <a:latin typeface="+mn-lt"/>
                <a:ea typeface="+mn-ea"/>
                <a:cs typeface="+mn-ea"/>
                <a:sym typeface="+mn-lt"/>
              </a:rPr>
              <a:t>未来展望</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256116AE-301E-4DFB-A748-FDF3F7FBD229}"/>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55</a:t>
            </a:fld>
            <a:endParaRPr lang="en-US" dirty="0">
              <a:solidFill>
                <a:srgbClr val="000000">
                  <a:tint val="75000"/>
                </a:srgbClr>
              </a:solidFill>
              <a:cs typeface="+mn-ea"/>
              <a:sym typeface="+mn-lt"/>
            </a:endParaRPr>
          </a:p>
        </p:txBody>
      </p:sp>
      <p:pic>
        <p:nvPicPr>
          <p:cNvPr id="19" name="图片占位符 18">
            <a:extLst>
              <a:ext uri="{FF2B5EF4-FFF2-40B4-BE49-F238E27FC236}">
                <a16:creationId xmlns:a16="http://schemas.microsoft.com/office/drawing/2014/main" id="{659FB2C5-98AF-4EDD-893F-FB8890F703D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1259" r="21259"/>
          <a:stretch>
            <a:fillRect/>
          </a:stretch>
        </p:blipFill>
        <p:spPr/>
      </p:pic>
      <p:sp>
        <p:nvSpPr>
          <p:cNvPr id="54" name="任意多边形: 形状 53">
            <a:extLst>
              <a:ext uri="{FF2B5EF4-FFF2-40B4-BE49-F238E27FC236}">
                <a16:creationId xmlns:a16="http://schemas.microsoft.com/office/drawing/2014/main" id="{D74BFCF2-947E-4CBC-85FF-5578F22386EC}"/>
              </a:ext>
            </a:extLst>
          </p:cNvPr>
          <p:cNvSpPr/>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cs typeface="+mn-ea"/>
              <a:sym typeface="+mn-lt"/>
            </a:endParaRPr>
          </a:p>
        </p:txBody>
      </p:sp>
      <p:grpSp>
        <p:nvGrpSpPr>
          <p:cNvPr id="7" name="组合 6">
            <a:extLst>
              <a:ext uri="{FF2B5EF4-FFF2-40B4-BE49-F238E27FC236}">
                <a16:creationId xmlns:a16="http://schemas.microsoft.com/office/drawing/2014/main" id="{DC940FF8-FEAD-4CBF-9D33-C84FEE380EAD}"/>
              </a:ext>
            </a:extLst>
          </p:cNvPr>
          <p:cNvGrpSpPr/>
          <p:nvPr/>
        </p:nvGrpSpPr>
        <p:grpSpPr>
          <a:xfrm>
            <a:off x="4772003" y="1650801"/>
            <a:ext cx="463987" cy="463987"/>
            <a:chOff x="5000603" y="1593159"/>
            <a:chExt cx="463987" cy="463987"/>
          </a:xfrm>
        </p:grpSpPr>
        <p:sp>
          <p:nvSpPr>
            <p:cNvPr id="8" name="íṩ1îḋê">
              <a:extLst>
                <a:ext uri="{FF2B5EF4-FFF2-40B4-BE49-F238E27FC236}">
                  <a16:creationId xmlns:a16="http://schemas.microsoft.com/office/drawing/2014/main" id="{01805AF7-7BF2-4A17-BD8B-C9A5F81F7B15}"/>
                </a:ext>
              </a:extLst>
            </p:cNvPr>
            <p:cNvSpPr/>
            <p:nvPr/>
          </p:nvSpPr>
          <p:spPr>
            <a:xfrm rot="10800000" flipV="1">
              <a:off x="5000603" y="1593159"/>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9" name="ïSlíďe">
              <a:extLst>
                <a:ext uri="{FF2B5EF4-FFF2-40B4-BE49-F238E27FC236}">
                  <a16:creationId xmlns:a16="http://schemas.microsoft.com/office/drawing/2014/main" id="{588F7AED-76BF-4DE5-B07D-E124E740DA59}"/>
                </a:ext>
              </a:extLst>
            </p:cNvPr>
            <p:cNvSpPr/>
            <p:nvPr/>
          </p:nvSpPr>
          <p:spPr>
            <a:xfrm>
              <a:off x="5120454" y="1726900"/>
              <a:ext cx="224284" cy="1965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grpSp>
        <p:nvGrpSpPr>
          <p:cNvPr id="10" name="组合 9">
            <a:extLst>
              <a:ext uri="{FF2B5EF4-FFF2-40B4-BE49-F238E27FC236}">
                <a16:creationId xmlns:a16="http://schemas.microsoft.com/office/drawing/2014/main" id="{AA1A977B-D7B1-4EA9-81D2-25F0D56E01BD}"/>
              </a:ext>
            </a:extLst>
          </p:cNvPr>
          <p:cNvGrpSpPr/>
          <p:nvPr/>
        </p:nvGrpSpPr>
        <p:grpSpPr>
          <a:xfrm>
            <a:off x="4016888" y="2840393"/>
            <a:ext cx="463987" cy="463987"/>
            <a:chOff x="4245488" y="2782751"/>
            <a:chExt cx="463987" cy="463987"/>
          </a:xfrm>
        </p:grpSpPr>
        <p:sp>
          <p:nvSpPr>
            <p:cNvPr id="11" name="iŝliḓe">
              <a:extLst>
                <a:ext uri="{FF2B5EF4-FFF2-40B4-BE49-F238E27FC236}">
                  <a16:creationId xmlns:a16="http://schemas.microsoft.com/office/drawing/2014/main" id="{EC24361C-E1DC-4F62-BED5-827E0E92CD6C}"/>
                </a:ext>
              </a:extLst>
            </p:cNvPr>
            <p:cNvSpPr/>
            <p:nvPr/>
          </p:nvSpPr>
          <p:spPr>
            <a:xfrm rot="10800000" flipV="1">
              <a:off x="4245488" y="2782751"/>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2" name="îṩ1iḍê">
              <a:extLst>
                <a:ext uri="{FF2B5EF4-FFF2-40B4-BE49-F238E27FC236}">
                  <a16:creationId xmlns:a16="http://schemas.microsoft.com/office/drawing/2014/main" id="{2187CAAE-F115-4BDB-AD60-699C4AFC9A4F}"/>
                </a:ext>
              </a:extLst>
            </p:cNvPr>
            <p:cNvSpPr/>
            <p:nvPr/>
          </p:nvSpPr>
          <p:spPr bwMode="auto">
            <a:xfrm>
              <a:off x="4365338" y="2902573"/>
              <a:ext cx="224286" cy="224342"/>
            </a:xfrm>
            <a:custGeom>
              <a:avLst/>
              <a:gdLst>
                <a:gd name="T0" fmla="*/ 70 w 559"/>
                <a:gd name="T1" fmla="*/ 494 h 559"/>
                <a:gd name="T2" fmla="*/ 70 w 559"/>
                <a:gd name="T3" fmla="*/ 494 h 559"/>
                <a:gd name="T4" fmla="*/ 63 w 559"/>
                <a:gd name="T5" fmla="*/ 487 h 559"/>
                <a:gd name="T6" fmla="*/ 63 w 559"/>
                <a:gd name="T7" fmla="*/ 254 h 559"/>
                <a:gd name="T8" fmla="*/ 254 w 559"/>
                <a:gd name="T9" fmla="*/ 63 h 559"/>
                <a:gd name="T10" fmla="*/ 487 w 559"/>
                <a:gd name="T11" fmla="*/ 63 h 559"/>
                <a:gd name="T12" fmla="*/ 494 w 559"/>
                <a:gd name="T13" fmla="*/ 70 h 559"/>
                <a:gd name="T14" fmla="*/ 494 w 559"/>
                <a:gd name="T15" fmla="*/ 303 h 559"/>
                <a:gd name="T16" fmla="*/ 304 w 559"/>
                <a:gd name="T17" fmla="*/ 494 h 559"/>
                <a:gd name="T18" fmla="*/ 70 w 559"/>
                <a:gd name="T19" fmla="*/ 494 h 559"/>
                <a:gd name="T20" fmla="*/ 360 w 559"/>
                <a:gd name="T21" fmla="*/ 360 h 559"/>
                <a:gd name="T22" fmla="*/ 360 w 559"/>
                <a:gd name="T23" fmla="*/ 360 h 559"/>
                <a:gd name="T24" fmla="*/ 198 w 559"/>
                <a:gd name="T25" fmla="*/ 197 h 559"/>
                <a:gd name="T26" fmla="*/ 99 w 559"/>
                <a:gd name="T27" fmla="*/ 296 h 559"/>
                <a:gd name="T28" fmla="*/ 99 w 559"/>
                <a:gd name="T29" fmla="*/ 452 h 559"/>
                <a:gd name="T30" fmla="*/ 106 w 559"/>
                <a:gd name="T31" fmla="*/ 459 h 559"/>
                <a:gd name="T32" fmla="*/ 261 w 559"/>
                <a:gd name="T33" fmla="*/ 459 h 559"/>
                <a:gd name="T34" fmla="*/ 360 w 559"/>
                <a:gd name="T35" fmla="*/ 36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9" h="559">
                  <a:moveTo>
                    <a:pt x="70" y="494"/>
                  </a:moveTo>
                  <a:lnTo>
                    <a:pt x="70" y="494"/>
                  </a:lnTo>
                  <a:cubicBezTo>
                    <a:pt x="63" y="487"/>
                    <a:pt x="63" y="487"/>
                    <a:pt x="63" y="487"/>
                  </a:cubicBezTo>
                  <a:cubicBezTo>
                    <a:pt x="0" y="424"/>
                    <a:pt x="0" y="318"/>
                    <a:pt x="63" y="254"/>
                  </a:cubicBezTo>
                  <a:cubicBezTo>
                    <a:pt x="254" y="63"/>
                    <a:pt x="254" y="63"/>
                    <a:pt x="254" y="63"/>
                  </a:cubicBezTo>
                  <a:cubicBezTo>
                    <a:pt x="318" y="0"/>
                    <a:pt x="424" y="0"/>
                    <a:pt x="487" y="63"/>
                  </a:cubicBezTo>
                  <a:cubicBezTo>
                    <a:pt x="494" y="70"/>
                    <a:pt x="494" y="70"/>
                    <a:pt x="494" y="70"/>
                  </a:cubicBezTo>
                  <a:cubicBezTo>
                    <a:pt x="558" y="134"/>
                    <a:pt x="558" y="240"/>
                    <a:pt x="494" y="303"/>
                  </a:cubicBezTo>
                  <a:cubicBezTo>
                    <a:pt x="304" y="494"/>
                    <a:pt x="304" y="494"/>
                    <a:pt x="304" y="494"/>
                  </a:cubicBezTo>
                  <a:cubicBezTo>
                    <a:pt x="240" y="558"/>
                    <a:pt x="134" y="558"/>
                    <a:pt x="70" y="494"/>
                  </a:cubicBezTo>
                  <a:close/>
                  <a:moveTo>
                    <a:pt x="360" y="360"/>
                  </a:moveTo>
                  <a:lnTo>
                    <a:pt x="360" y="360"/>
                  </a:lnTo>
                  <a:cubicBezTo>
                    <a:pt x="198" y="197"/>
                    <a:pt x="198" y="197"/>
                    <a:pt x="198" y="197"/>
                  </a:cubicBezTo>
                  <a:cubicBezTo>
                    <a:pt x="99" y="296"/>
                    <a:pt x="99" y="296"/>
                    <a:pt x="99" y="296"/>
                  </a:cubicBezTo>
                  <a:cubicBezTo>
                    <a:pt x="56" y="339"/>
                    <a:pt x="56" y="409"/>
                    <a:pt x="99" y="452"/>
                  </a:cubicBezTo>
                  <a:cubicBezTo>
                    <a:pt x="106" y="459"/>
                    <a:pt x="106" y="459"/>
                    <a:pt x="106" y="459"/>
                  </a:cubicBezTo>
                  <a:cubicBezTo>
                    <a:pt x="148" y="501"/>
                    <a:pt x="219" y="501"/>
                    <a:pt x="261" y="459"/>
                  </a:cubicBezTo>
                  <a:lnTo>
                    <a:pt x="360" y="360"/>
                  </a:lnTo>
                  <a:close/>
                </a:path>
              </a:pathLst>
            </a:custGeom>
            <a:solidFill>
              <a:schemeClr val="bg1"/>
            </a:solid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wrap="square" lIns="91440" tIns="45720" rIns="91440" bIns="45720" anchor="ctr">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pPr>
                <a:defRPr/>
              </a:pPr>
              <a:endParaRPr lang="en-US">
                <a:solidFill>
                  <a:schemeClr val="tx1">
                    <a:lumMod val="75000"/>
                    <a:lumOff val="25000"/>
                  </a:schemeClr>
                </a:solidFill>
                <a:cs typeface="+mn-ea"/>
                <a:sym typeface="+mn-lt"/>
              </a:endParaRPr>
            </a:p>
          </p:txBody>
        </p:sp>
      </p:grpSp>
      <p:grpSp>
        <p:nvGrpSpPr>
          <p:cNvPr id="13" name="组合 12">
            <a:extLst>
              <a:ext uri="{FF2B5EF4-FFF2-40B4-BE49-F238E27FC236}">
                <a16:creationId xmlns:a16="http://schemas.microsoft.com/office/drawing/2014/main" id="{967881E0-2263-4C27-A815-13E585B7B0C5}"/>
              </a:ext>
            </a:extLst>
          </p:cNvPr>
          <p:cNvGrpSpPr/>
          <p:nvPr/>
        </p:nvGrpSpPr>
        <p:grpSpPr>
          <a:xfrm>
            <a:off x="4016888" y="4029985"/>
            <a:ext cx="463987" cy="463987"/>
            <a:chOff x="4245488" y="3972343"/>
            <a:chExt cx="463987" cy="463987"/>
          </a:xfrm>
        </p:grpSpPr>
        <p:sp>
          <p:nvSpPr>
            <p:cNvPr id="14" name="íṧľíḓê">
              <a:extLst>
                <a:ext uri="{FF2B5EF4-FFF2-40B4-BE49-F238E27FC236}">
                  <a16:creationId xmlns:a16="http://schemas.microsoft.com/office/drawing/2014/main" id="{6F534F79-0D81-4689-83EB-B62F3EE464A7}"/>
                </a:ext>
              </a:extLst>
            </p:cNvPr>
            <p:cNvSpPr/>
            <p:nvPr/>
          </p:nvSpPr>
          <p:spPr>
            <a:xfrm rot="10800000" flipV="1">
              <a:off x="4245488" y="3972343"/>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5" name="ïṡḷíḑé">
              <a:extLst>
                <a:ext uri="{FF2B5EF4-FFF2-40B4-BE49-F238E27FC236}">
                  <a16:creationId xmlns:a16="http://schemas.microsoft.com/office/drawing/2014/main" id="{CBBE9321-3D02-486C-855B-ECB638450D79}"/>
                </a:ext>
              </a:extLst>
            </p:cNvPr>
            <p:cNvSpPr/>
            <p:nvPr/>
          </p:nvSpPr>
          <p:spPr>
            <a:xfrm>
              <a:off x="4365338" y="4093804"/>
              <a:ext cx="224286" cy="221066"/>
            </a:xfrm>
            <a:custGeom>
              <a:avLst/>
              <a:gdLst/>
              <a:ahLst/>
              <a:cxnLst/>
              <a:rect l="0" t="0" r="0" b="0"/>
              <a:pathLst>
                <a:path w="120000" h="120000" extrusionOk="0">
                  <a:moveTo>
                    <a:pt x="105647" y="48605"/>
                  </a:moveTo>
                  <a:lnTo>
                    <a:pt x="105647" y="48605"/>
                  </a:lnTo>
                  <a:cubicBezTo>
                    <a:pt x="104252" y="50016"/>
                    <a:pt x="104252" y="58487"/>
                    <a:pt x="114219" y="64134"/>
                  </a:cubicBezTo>
                  <a:cubicBezTo>
                    <a:pt x="114219" y="64134"/>
                    <a:pt x="100066" y="66957"/>
                    <a:pt x="90299" y="54252"/>
                  </a:cubicBezTo>
                  <a:cubicBezTo>
                    <a:pt x="87308" y="54252"/>
                    <a:pt x="84518" y="55663"/>
                    <a:pt x="81727" y="55663"/>
                  </a:cubicBezTo>
                  <a:cubicBezTo>
                    <a:pt x="60598" y="55663"/>
                    <a:pt x="47840" y="42756"/>
                    <a:pt x="47840" y="27226"/>
                  </a:cubicBezTo>
                  <a:cubicBezTo>
                    <a:pt x="47840" y="12907"/>
                    <a:pt x="60598" y="0"/>
                    <a:pt x="81727" y="0"/>
                  </a:cubicBezTo>
                  <a:cubicBezTo>
                    <a:pt x="102857" y="0"/>
                    <a:pt x="119800" y="12907"/>
                    <a:pt x="119800" y="27226"/>
                  </a:cubicBezTo>
                  <a:cubicBezTo>
                    <a:pt x="119800" y="35697"/>
                    <a:pt x="114219" y="44168"/>
                    <a:pt x="105647" y="48605"/>
                  </a:cubicBezTo>
                  <a:close/>
                  <a:moveTo>
                    <a:pt x="40863" y="30050"/>
                  </a:moveTo>
                  <a:lnTo>
                    <a:pt x="40863" y="30050"/>
                  </a:lnTo>
                  <a:cubicBezTo>
                    <a:pt x="42259" y="46991"/>
                    <a:pt x="56411" y="61310"/>
                    <a:pt x="78936" y="62722"/>
                  </a:cubicBezTo>
                  <a:cubicBezTo>
                    <a:pt x="81727" y="62722"/>
                    <a:pt x="84518" y="62722"/>
                    <a:pt x="87308" y="61310"/>
                  </a:cubicBezTo>
                  <a:lnTo>
                    <a:pt x="87308" y="61310"/>
                  </a:lnTo>
                  <a:lnTo>
                    <a:pt x="87308" y="61310"/>
                  </a:lnTo>
                  <a:cubicBezTo>
                    <a:pt x="94485" y="68369"/>
                    <a:pt x="102857" y="69983"/>
                    <a:pt x="107043" y="69983"/>
                  </a:cubicBezTo>
                  <a:cubicBezTo>
                    <a:pt x="102857" y="88537"/>
                    <a:pt x="84518" y="102655"/>
                    <a:pt x="56411" y="102655"/>
                  </a:cubicBezTo>
                  <a:cubicBezTo>
                    <a:pt x="53621" y="102655"/>
                    <a:pt x="49435" y="101243"/>
                    <a:pt x="45049" y="99831"/>
                  </a:cubicBezTo>
                  <a:cubicBezTo>
                    <a:pt x="31096" y="119798"/>
                    <a:pt x="7176" y="115563"/>
                    <a:pt x="7176" y="115563"/>
                  </a:cubicBezTo>
                  <a:cubicBezTo>
                    <a:pt x="23920" y="108302"/>
                    <a:pt x="23920" y="94184"/>
                    <a:pt x="19734" y="92773"/>
                  </a:cubicBezTo>
                  <a:cubicBezTo>
                    <a:pt x="7176" y="85512"/>
                    <a:pt x="0" y="72806"/>
                    <a:pt x="0" y="59899"/>
                  </a:cubicBezTo>
                  <a:cubicBezTo>
                    <a:pt x="0" y="39932"/>
                    <a:pt x="18338" y="22789"/>
                    <a:pt x="43654" y="18554"/>
                  </a:cubicBezTo>
                  <a:cubicBezTo>
                    <a:pt x="42259" y="22789"/>
                    <a:pt x="40863" y="25815"/>
                    <a:pt x="40863" y="30050"/>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tx1">
                    <a:lumMod val="75000"/>
                    <a:lumOff val="25000"/>
                  </a:schemeClr>
                </a:solidFill>
                <a:cs typeface="+mn-ea"/>
                <a:sym typeface="+mn-lt"/>
              </a:endParaRPr>
            </a:p>
          </p:txBody>
        </p:sp>
      </p:grpSp>
      <p:grpSp>
        <p:nvGrpSpPr>
          <p:cNvPr id="16" name="组合 15">
            <a:extLst>
              <a:ext uri="{FF2B5EF4-FFF2-40B4-BE49-F238E27FC236}">
                <a16:creationId xmlns:a16="http://schemas.microsoft.com/office/drawing/2014/main" id="{B9DCB7ED-8E6B-459F-8AB7-48097B3374D9}"/>
              </a:ext>
            </a:extLst>
          </p:cNvPr>
          <p:cNvGrpSpPr/>
          <p:nvPr/>
        </p:nvGrpSpPr>
        <p:grpSpPr>
          <a:xfrm>
            <a:off x="4772003" y="5219576"/>
            <a:ext cx="463987" cy="463987"/>
            <a:chOff x="5000603" y="5161934"/>
            <a:chExt cx="463987" cy="463987"/>
          </a:xfrm>
        </p:grpSpPr>
        <p:sp>
          <p:nvSpPr>
            <p:cNvPr id="17" name="ïşļíḍè">
              <a:extLst>
                <a:ext uri="{FF2B5EF4-FFF2-40B4-BE49-F238E27FC236}">
                  <a16:creationId xmlns:a16="http://schemas.microsoft.com/office/drawing/2014/main" id="{04A60E7C-CF40-48CE-80D3-AF3C2CFC5213}"/>
                </a:ext>
              </a:extLst>
            </p:cNvPr>
            <p:cNvSpPr/>
            <p:nvPr/>
          </p:nvSpPr>
          <p:spPr>
            <a:xfrm rot="10800000" flipV="1">
              <a:off x="5000603" y="5161934"/>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18" name="ïṧļîḓê">
              <a:extLst>
                <a:ext uri="{FF2B5EF4-FFF2-40B4-BE49-F238E27FC236}">
                  <a16:creationId xmlns:a16="http://schemas.microsoft.com/office/drawing/2014/main" id="{B0BB2BEE-2DD6-4C38-A004-24F7E3F7901E}"/>
                </a:ext>
              </a:extLst>
            </p:cNvPr>
            <p:cNvSpPr/>
            <p:nvPr/>
          </p:nvSpPr>
          <p:spPr>
            <a:xfrm>
              <a:off x="5141736" y="5282574"/>
              <a:ext cx="181720" cy="222708"/>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sp>
        <p:nvSpPr>
          <p:cNvPr id="26" name="ísḻiḋé">
            <a:extLst>
              <a:ext uri="{FF2B5EF4-FFF2-40B4-BE49-F238E27FC236}">
                <a16:creationId xmlns:a16="http://schemas.microsoft.com/office/drawing/2014/main" id="{AC321F9B-F99D-44D6-95EE-4CF3F8A760F8}"/>
              </a:ext>
            </a:extLst>
          </p:cNvPr>
          <p:cNvSpPr/>
          <p:nvPr/>
        </p:nvSpPr>
        <p:spPr bwMode="auto">
          <a:xfrm flipH="1">
            <a:off x="515939" y="1913381"/>
            <a:ext cx="3962544"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377">
              <a:lnSpc>
                <a:spcPct val="120000"/>
              </a:lnSpc>
            </a:pPr>
            <a:r>
              <a:rPr lang="zh-CN" altLang="en-US" sz="1600" dirty="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7" name="îṡ1iḑé">
            <a:extLst>
              <a:ext uri="{FF2B5EF4-FFF2-40B4-BE49-F238E27FC236}">
                <a16:creationId xmlns:a16="http://schemas.microsoft.com/office/drawing/2014/main" id="{3495B739-E5A7-4F4A-95FD-24BDFE4B18B1}"/>
              </a:ext>
            </a:extLst>
          </p:cNvPr>
          <p:cNvSpPr txBox="1"/>
          <p:nvPr/>
        </p:nvSpPr>
        <p:spPr bwMode="auto">
          <a:xfrm flipH="1">
            <a:off x="515939" y="1491666"/>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请在此输入标题</a:t>
            </a:r>
            <a:endParaRPr lang="en-US" altLang="zh-CN" b="1" dirty="0">
              <a:solidFill>
                <a:schemeClr val="accent1"/>
              </a:solidFill>
              <a:cs typeface="+mn-ea"/>
              <a:sym typeface="+mn-lt"/>
            </a:endParaRPr>
          </a:p>
        </p:txBody>
      </p:sp>
      <p:sp>
        <p:nvSpPr>
          <p:cNvPr id="24" name="iśḻîḓé">
            <a:extLst>
              <a:ext uri="{FF2B5EF4-FFF2-40B4-BE49-F238E27FC236}">
                <a16:creationId xmlns:a16="http://schemas.microsoft.com/office/drawing/2014/main" id="{AC321F9B-F99D-44D6-95EE-4CF3F8A760F8}"/>
              </a:ext>
            </a:extLst>
          </p:cNvPr>
          <p:cNvSpPr/>
          <p:nvPr/>
        </p:nvSpPr>
        <p:spPr bwMode="auto">
          <a:xfrm flipH="1">
            <a:off x="515939" y="3102973"/>
            <a:ext cx="3278435"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377">
              <a:lnSpc>
                <a:spcPct val="120000"/>
              </a:lnSpc>
            </a:pPr>
            <a:r>
              <a:rPr lang="zh-CN" altLang="en-US" sz="160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5" name="î$ḷíḋé">
            <a:extLst>
              <a:ext uri="{FF2B5EF4-FFF2-40B4-BE49-F238E27FC236}">
                <a16:creationId xmlns:a16="http://schemas.microsoft.com/office/drawing/2014/main" id="{3495B739-E5A7-4F4A-95FD-24BDFE4B18B1}"/>
              </a:ext>
            </a:extLst>
          </p:cNvPr>
          <p:cNvSpPr txBox="1"/>
          <p:nvPr/>
        </p:nvSpPr>
        <p:spPr bwMode="auto">
          <a:xfrm flipH="1">
            <a:off x="515939" y="2681258"/>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a:solidFill>
                  <a:schemeClr val="accent1"/>
                </a:solidFill>
                <a:cs typeface="+mn-ea"/>
                <a:sym typeface="+mn-lt"/>
              </a:rPr>
              <a:t>请在此输入标题</a:t>
            </a:r>
            <a:endParaRPr lang="en-US" altLang="zh-CN" b="1" dirty="0">
              <a:solidFill>
                <a:schemeClr val="accent1"/>
              </a:solidFill>
              <a:cs typeface="+mn-ea"/>
              <a:sym typeface="+mn-lt"/>
            </a:endParaRPr>
          </a:p>
        </p:txBody>
      </p:sp>
      <p:sp>
        <p:nvSpPr>
          <p:cNvPr id="22" name="íṣliḓè">
            <a:extLst>
              <a:ext uri="{FF2B5EF4-FFF2-40B4-BE49-F238E27FC236}">
                <a16:creationId xmlns:a16="http://schemas.microsoft.com/office/drawing/2014/main" id="{AC321F9B-F99D-44D6-95EE-4CF3F8A760F8}"/>
              </a:ext>
            </a:extLst>
          </p:cNvPr>
          <p:cNvSpPr/>
          <p:nvPr/>
        </p:nvSpPr>
        <p:spPr bwMode="auto">
          <a:xfrm flipH="1">
            <a:off x="515939" y="4292565"/>
            <a:ext cx="3278435"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377">
              <a:lnSpc>
                <a:spcPct val="120000"/>
              </a:lnSpc>
            </a:pPr>
            <a:r>
              <a:rPr lang="zh-CN" altLang="en-US" sz="160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3" name="i$ḷiďê">
            <a:extLst>
              <a:ext uri="{FF2B5EF4-FFF2-40B4-BE49-F238E27FC236}">
                <a16:creationId xmlns:a16="http://schemas.microsoft.com/office/drawing/2014/main" id="{3495B739-E5A7-4F4A-95FD-24BDFE4B18B1}"/>
              </a:ext>
            </a:extLst>
          </p:cNvPr>
          <p:cNvSpPr txBox="1"/>
          <p:nvPr/>
        </p:nvSpPr>
        <p:spPr bwMode="auto">
          <a:xfrm flipH="1">
            <a:off x="515939" y="3870850"/>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请在此输入标题</a:t>
            </a:r>
            <a:endParaRPr lang="en-US" altLang="zh-CN" b="1" dirty="0">
              <a:solidFill>
                <a:schemeClr val="accent1"/>
              </a:solidFill>
              <a:cs typeface="+mn-ea"/>
              <a:sym typeface="+mn-lt"/>
            </a:endParaRPr>
          </a:p>
        </p:txBody>
      </p:sp>
      <p:sp>
        <p:nvSpPr>
          <p:cNvPr id="20" name="îsḷíḋe">
            <a:extLst>
              <a:ext uri="{FF2B5EF4-FFF2-40B4-BE49-F238E27FC236}">
                <a16:creationId xmlns:a16="http://schemas.microsoft.com/office/drawing/2014/main" id="{AC321F9B-F99D-44D6-95EE-4CF3F8A760F8}"/>
              </a:ext>
            </a:extLst>
          </p:cNvPr>
          <p:cNvSpPr/>
          <p:nvPr/>
        </p:nvSpPr>
        <p:spPr bwMode="auto">
          <a:xfrm flipH="1">
            <a:off x="515939" y="5482156"/>
            <a:ext cx="3962544"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377">
              <a:lnSpc>
                <a:spcPct val="120000"/>
              </a:lnSpc>
            </a:pPr>
            <a:r>
              <a:rPr lang="zh-CN" altLang="en-US" sz="1600" dirty="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1" name="iṣḷíḋe">
            <a:extLst>
              <a:ext uri="{FF2B5EF4-FFF2-40B4-BE49-F238E27FC236}">
                <a16:creationId xmlns:a16="http://schemas.microsoft.com/office/drawing/2014/main" id="{3495B739-E5A7-4F4A-95FD-24BDFE4B18B1}"/>
              </a:ext>
            </a:extLst>
          </p:cNvPr>
          <p:cNvSpPr txBox="1"/>
          <p:nvPr/>
        </p:nvSpPr>
        <p:spPr bwMode="auto">
          <a:xfrm flipH="1">
            <a:off x="515939" y="5060441"/>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请在此输入标题</a:t>
            </a:r>
            <a:endParaRPr lang="en-US" altLang="zh-CN" b="1" dirty="0">
              <a:solidFill>
                <a:schemeClr val="accent1"/>
              </a:solidFill>
              <a:cs typeface="+mn-ea"/>
              <a:sym typeface="+mn-lt"/>
            </a:endParaRPr>
          </a:p>
        </p:txBody>
      </p:sp>
    </p:spTree>
    <p:custDataLst>
      <p:tags r:id="rId1"/>
    </p:custDataLst>
    <p:extLst>
      <p:ext uri="{BB962C8B-B14F-4D97-AF65-F5344CB8AC3E}">
        <p14:creationId xmlns:p14="http://schemas.microsoft.com/office/powerpoint/2010/main" val="19667012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副标题 3">
            <a:extLst>
              <a:ext uri="{FF2B5EF4-FFF2-40B4-BE49-F238E27FC236}">
                <a16:creationId xmlns:a16="http://schemas.microsoft.com/office/drawing/2014/main" id="{95BCCA8E-9030-4F7E-9E84-BBDF1C1FE0CD}"/>
              </a:ext>
            </a:extLst>
          </p:cNvPr>
          <p:cNvSpPr>
            <a:spLocks noGrp="1"/>
          </p:cNvSpPr>
          <p:nvPr>
            <p:ph type="subTitle" idx="1"/>
          </p:nvPr>
        </p:nvSpPr>
        <p:spPr/>
        <p:txBody>
          <a:bodyPr/>
          <a:lstStyle/>
          <a:p>
            <a:r>
              <a:rPr lang="en-US" altLang="zh-CN" spc="300" dirty="0">
                <a:cs typeface="+mn-ea"/>
                <a:sym typeface="+mn-lt"/>
              </a:rPr>
              <a:t>SPECIAL FUNCTION PAGE STYLE</a:t>
            </a:r>
          </a:p>
        </p:txBody>
      </p:sp>
      <p:sp>
        <p:nvSpPr>
          <p:cNvPr id="3" name="标题 2">
            <a:extLst>
              <a:ext uri="{FF2B5EF4-FFF2-40B4-BE49-F238E27FC236}">
                <a16:creationId xmlns:a16="http://schemas.microsoft.com/office/drawing/2014/main" id="{1975C70A-A87E-46BC-A29C-6812C3A680E4}"/>
              </a:ext>
            </a:extLst>
          </p:cNvPr>
          <p:cNvSpPr>
            <a:spLocks noGrp="1"/>
          </p:cNvSpPr>
          <p:nvPr>
            <p:ph type="ctrTitle"/>
          </p:nvPr>
        </p:nvSpPr>
        <p:spPr/>
        <p:txBody>
          <a:bodyPr/>
          <a:lstStyle/>
          <a:p>
            <a:r>
              <a:rPr lang="zh-CN" altLang="en-US" dirty="0">
                <a:cs typeface="+mn-ea"/>
                <a:sym typeface="+mn-lt"/>
              </a:rPr>
              <a:t>特殊功能页面样式</a:t>
            </a:r>
            <a:endParaRPr lang="en-US" dirty="0">
              <a:cs typeface="+mn-ea"/>
              <a:sym typeface="+mn-lt"/>
            </a:endParaRPr>
          </a:p>
        </p:txBody>
      </p:sp>
      <p:sp>
        <p:nvSpPr>
          <p:cNvPr id="5" name="文本占位符 4">
            <a:extLst>
              <a:ext uri="{FF2B5EF4-FFF2-40B4-BE49-F238E27FC236}">
                <a16:creationId xmlns:a16="http://schemas.microsoft.com/office/drawing/2014/main" id="{191D5F1E-12F9-4A7B-871D-AB4556266A6F}"/>
              </a:ext>
            </a:extLst>
          </p:cNvPr>
          <p:cNvSpPr>
            <a:spLocks noGrp="1"/>
          </p:cNvSpPr>
          <p:nvPr>
            <p:ph type="body" sz="quarter" idx="12"/>
          </p:nvPr>
        </p:nvSpPr>
        <p:spPr/>
        <p:txBody>
          <a:bodyPr/>
          <a:lstStyle/>
          <a:p>
            <a:pPr marL="0" indent="0">
              <a:buNone/>
            </a:pPr>
            <a:r>
              <a:rPr lang="en-US" dirty="0">
                <a:cs typeface="+mn-ea"/>
                <a:sym typeface="+mn-lt"/>
              </a:rPr>
              <a:t>05</a:t>
            </a:r>
          </a:p>
        </p:txBody>
      </p:sp>
      <p:grpSp>
        <p:nvGrpSpPr>
          <p:cNvPr id="6" name="组合 5">
            <a:extLst>
              <a:ext uri="{FF2B5EF4-FFF2-40B4-BE49-F238E27FC236}">
                <a16:creationId xmlns:a16="http://schemas.microsoft.com/office/drawing/2014/main" id="{8500DA75-E976-4150-9D76-7B99E0E71DCA}"/>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FE241585-C9D4-4062-A803-9DFD0ADD7CC1}"/>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8" name="组合 7">
              <a:extLst>
                <a:ext uri="{FF2B5EF4-FFF2-40B4-BE49-F238E27FC236}">
                  <a16:creationId xmlns:a16="http://schemas.microsoft.com/office/drawing/2014/main" id="{ED755712-9780-4380-88A6-EE27A180C697}"/>
                </a:ext>
              </a:extLst>
            </p:cNvPr>
            <p:cNvGrpSpPr/>
            <p:nvPr/>
          </p:nvGrpSpPr>
          <p:grpSpPr>
            <a:xfrm>
              <a:off x="47544" y="7038552"/>
              <a:ext cx="581568" cy="425834"/>
              <a:chOff x="84575" y="6977592"/>
              <a:chExt cx="581568" cy="425834"/>
            </a:xfrm>
          </p:grpSpPr>
          <p:grpSp>
            <p:nvGrpSpPr>
              <p:cNvPr id="9" name="组合 8">
                <a:extLst>
                  <a:ext uri="{FF2B5EF4-FFF2-40B4-BE49-F238E27FC236}">
                    <a16:creationId xmlns:a16="http://schemas.microsoft.com/office/drawing/2014/main" id="{C94EC91B-8550-4B59-A9CA-3A7784999665}"/>
                  </a:ext>
                </a:extLst>
              </p:cNvPr>
              <p:cNvGrpSpPr/>
              <p:nvPr/>
            </p:nvGrpSpPr>
            <p:grpSpPr>
              <a:xfrm>
                <a:off x="84575" y="6979654"/>
                <a:ext cx="317380" cy="421711"/>
                <a:chOff x="14690033" y="2185397"/>
                <a:chExt cx="583830" cy="775754"/>
              </a:xfrm>
            </p:grpSpPr>
            <p:sp>
              <p:nvSpPr>
                <p:cNvPr id="11" name="iŝļíḑe">
                  <a:extLst>
                    <a:ext uri="{FF2B5EF4-FFF2-40B4-BE49-F238E27FC236}">
                      <a16:creationId xmlns:a16="http://schemas.microsoft.com/office/drawing/2014/main" id="{E1550006-7FF2-461C-864D-456C3E44FD53}"/>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şḷíḍé">
                  <a:extLst>
                    <a:ext uri="{FF2B5EF4-FFF2-40B4-BE49-F238E27FC236}">
                      <a16:creationId xmlns:a16="http://schemas.microsoft.com/office/drawing/2014/main" id="{FD79986D-2E16-4844-963F-CCEF15D49CEB}"/>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ľïḓe">
                  <a:extLst>
                    <a:ext uri="{FF2B5EF4-FFF2-40B4-BE49-F238E27FC236}">
                      <a16:creationId xmlns:a16="http://schemas.microsoft.com/office/drawing/2014/main" id="{8E234B24-8DF2-453F-A117-B24BA56E5149}"/>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ḻídê">
                  <a:extLst>
                    <a:ext uri="{FF2B5EF4-FFF2-40B4-BE49-F238E27FC236}">
                      <a16:creationId xmlns:a16="http://schemas.microsoft.com/office/drawing/2014/main" id="{BF5437BA-8A8F-4EDF-BF6A-81CC71110F6C}"/>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S1íḋè">
                  <a:extLst>
                    <a:ext uri="{FF2B5EF4-FFF2-40B4-BE49-F238E27FC236}">
                      <a16:creationId xmlns:a16="http://schemas.microsoft.com/office/drawing/2014/main" id="{69E373F8-659D-4888-AD9F-E3D73B76305C}"/>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şļíde">
                  <a:extLst>
                    <a:ext uri="{FF2B5EF4-FFF2-40B4-BE49-F238E27FC236}">
                      <a16:creationId xmlns:a16="http://schemas.microsoft.com/office/drawing/2014/main" id="{928D210C-1247-4449-853F-CE47A717B67D}"/>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 name="文本框 9">
                <a:extLst>
                  <a:ext uri="{FF2B5EF4-FFF2-40B4-BE49-F238E27FC236}">
                    <a16:creationId xmlns:a16="http://schemas.microsoft.com/office/drawing/2014/main" id="{804A84ED-A882-4849-9C3E-9854B45CBBB9}"/>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a:extLst>
              <a:ext uri="{FF2B5EF4-FFF2-40B4-BE49-F238E27FC236}">
                <a16:creationId xmlns:a16="http://schemas.microsoft.com/office/drawing/2014/main" id="{4FC5E703-7CB8-4EA2-9615-1443FD6712F4}"/>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37156413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标题 90">
            <a:extLst>
              <a:ext uri="{FF2B5EF4-FFF2-40B4-BE49-F238E27FC236}">
                <a16:creationId xmlns:a16="http://schemas.microsoft.com/office/drawing/2014/main" id="{87A76AE0-C1E8-43C2-A553-C41BFE06A684}"/>
              </a:ext>
            </a:extLst>
          </p:cNvPr>
          <p:cNvSpPr>
            <a:spLocks noGrp="1"/>
          </p:cNvSpPr>
          <p:nvPr>
            <p:ph type="title"/>
          </p:nvPr>
        </p:nvSpPr>
        <p:spPr/>
        <p:txBody>
          <a:bodyPr/>
          <a:lstStyle/>
          <a:p>
            <a:r>
              <a:rPr lang="zh-CN" altLang="en-US" dirty="0">
                <a:latin typeface="+mn-lt"/>
                <a:ea typeface="+mn-ea"/>
                <a:cs typeface="+mn-ea"/>
                <a:sym typeface="+mn-lt"/>
              </a:rPr>
              <a:t>音频播放页</a:t>
            </a:r>
          </a:p>
        </p:txBody>
      </p:sp>
      <p:sp>
        <p:nvSpPr>
          <p:cNvPr id="3" name="灯片编号占位符 2">
            <a:extLst>
              <a:ext uri="{FF2B5EF4-FFF2-40B4-BE49-F238E27FC236}">
                <a16:creationId xmlns:a16="http://schemas.microsoft.com/office/drawing/2014/main" id="{1FB7F83E-E961-4ABF-9916-7A37D048C0B6}"/>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57</a:t>
            </a:fld>
            <a:endParaRPr lang="en-US" dirty="0">
              <a:solidFill>
                <a:srgbClr val="000000">
                  <a:tint val="75000"/>
                </a:srgbClr>
              </a:solidFill>
              <a:cs typeface="+mn-ea"/>
              <a:sym typeface="+mn-lt"/>
            </a:endParaRPr>
          </a:p>
        </p:txBody>
      </p:sp>
      <p:pic>
        <p:nvPicPr>
          <p:cNvPr id="64" name="群星 - 上海大学校歌 上海大学合唱团 2011新版">
            <a:hlinkClick r:id="" action="ppaction://media"/>
            <a:extLst>
              <a:ext uri="{FF2B5EF4-FFF2-40B4-BE49-F238E27FC236}">
                <a16:creationId xmlns:a16="http://schemas.microsoft.com/office/drawing/2014/main" id="{7ECFAD24-0E74-45CB-A9A9-93BA2637D85B}"/>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62837" y="1297851"/>
            <a:ext cx="487363" cy="487363"/>
          </a:xfrm>
          <a:prstGeom prst="rect">
            <a:avLst/>
          </a:prstGeom>
        </p:spPr>
      </p:pic>
      <p:grpSp>
        <p:nvGrpSpPr>
          <p:cNvPr id="7" name="组合 6">
            <a:extLst>
              <a:ext uri="{FF2B5EF4-FFF2-40B4-BE49-F238E27FC236}">
                <a16:creationId xmlns:a16="http://schemas.microsoft.com/office/drawing/2014/main" id="{6D27FEED-A71C-4E28-A9E7-8F373FA02378}"/>
              </a:ext>
            </a:extLst>
          </p:cNvPr>
          <p:cNvGrpSpPr/>
          <p:nvPr/>
        </p:nvGrpSpPr>
        <p:grpSpPr>
          <a:xfrm>
            <a:off x="6182591" y="1478458"/>
            <a:ext cx="5529984" cy="4576399"/>
            <a:chOff x="6805527" y="1478458"/>
            <a:chExt cx="4907048" cy="4576399"/>
          </a:xfrm>
        </p:grpSpPr>
        <p:sp>
          <p:nvSpPr>
            <p:cNvPr id="4" name="矩形 3">
              <a:extLst>
                <a:ext uri="{FF2B5EF4-FFF2-40B4-BE49-F238E27FC236}">
                  <a16:creationId xmlns:a16="http://schemas.microsoft.com/office/drawing/2014/main" id="{4EFD62A1-873C-4B80-A63F-28255D4BE85C}"/>
                </a:ext>
              </a:extLst>
            </p:cNvPr>
            <p:cNvSpPr/>
            <p:nvPr/>
          </p:nvSpPr>
          <p:spPr>
            <a:xfrm>
              <a:off x="6805527" y="2666735"/>
              <a:ext cx="4907048" cy="2643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defTabSz="914400">
                <a:lnSpc>
                  <a:spcPct val="120000"/>
                </a:lnSpc>
                <a:spcBef>
                  <a:spcPct val="0"/>
                </a:spcBef>
                <a:spcAft>
                  <a:spcPts val="1800"/>
                </a:spcAft>
              </a:pPr>
              <a:r>
                <a:rPr lang="zh-CN" altLang="en-US" sz="1600" dirty="0">
                  <a:solidFill>
                    <a:schemeClr val="tx1">
                      <a:lumMod val="75000"/>
                      <a:lumOff val="25000"/>
                    </a:schemeClr>
                  </a:solidFill>
                  <a:cs typeface="+mn-ea"/>
                  <a:sym typeface="+mn-lt"/>
                </a:rPr>
                <a:t>一个共同的昨天，长江边我们奠基打桩！ 一个共同的明天，东海上我们托举朝阳！ 只因为一个共同的今天。自强！自强！ 我们锻造共和国的钢梁！</a:t>
              </a:r>
            </a:p>
            <a:p>
              <a:pPr defTabSz="914400">
                <a:lnSpc>
                  <a:spcPct val="120000"/>
                </a:lnSpc>
                <a:spcBef>
                  <a:spcPct val="0"/>
                </a:spcBef>
                <a:spcAft>
                  <a:spcPts val="1800"/>
                </a:spcAft>
              </a:pPr>
              <a:r>
                <a:rPr lang="zh-CN" altLang="en-US" sz="1600" dirty="0">
                  <a:solidFill>
                    <a:schemeClr val="tx1">
                      <a:lumMod val="75000"/>
                      <a:lumOff val="25000"/>
                    </a:schemeClr>
                  </a:solidFill>
                  <a:cs typeface="+mn-ea"/>
                  <a:sym typeface="+mn-lt"/>
                </a:rPr>
                <a:t>一个共同的寻觅，知识让我们张开翅膀！ 一个共同的目标，信念使我们步伐铿锵！ 只因为一个共同的誓言。自强！自强！ 我们奏出新时代的交响！ 自强！自强不息的自强！ 自强！自强不息的自强！</a:t>
              </a:r>
            </a:p>
          </p:txBody>
        </p:sp>
        <p:grpSp>
          <p:nvGrpSpPr>
            <p:cNvPr id="5" name="组合 4">
              <a:extLst>
                <a:ext uri="{FF2B5EF4-FFF2-40B4-BE49-F238E27FC236}">
                  <a16:creationId xmlns:a16="http://schemas.microsoft.com/office/drawing/2014/main" id="{29497B48-1AC7-4413-BB08-9CF9FCD05C8F}"/>
                </a:ext>
              </a:extLst>
            </p:cNvPr>
            <p:cNvGrpSpPr/>
            <p:nvPr/>
          </p:nvGrpSpPr>
          <p:grpSpPr>
            <a:xfrm>
              <a:off x="6805527" y="1478458"/>
              <a:ext cx="4907048" cy="523220"/>
              <a:chOff x="5691738" y="1306430"/>
              <a:chExt cx="5727717" cy="523220"/>
            </a:xfrm>
          </p:grpSpPr>
          <p:sp>
            <p:nvSpPr>
              <p:cNvPr id="30" name="任意多边形: 形状 29">
                <a:extLst>
                  <a:ext uri="{FF2B5EF4-FFF2-40B4-BE49-F238E27FC236}">
                    <a16:creationId xmlns:a16="http://schemas.microsoft.com/office/drawing/2014/main" id="{36CB30DD-AC06-42A6-947A-A67883AD0673}"/>
                  </a:ext>
                </a:extLst>
              </p:cNvPr>
              <p:cNvSpPr/>
              <p:nvPr/>
            </p:nvSpPr>
            <p:spPr>
              <a:xfrm>
                <a:off x="10497477" y="1347290"/>
                <a:ext cx="921978" cy="441501"/>
              </a:xfrm>
              <a:custGeom>
                <a:avLst/>
                <a:gdLst>
                  <a:gd name="connsiteX0" fmla="*/ 0 w 2394857"/>
                  <a:gd name="connsiteY0" fmla="*/ 638629 h 1291772"/>
                  <a:gd name="connsiteX1" fmla="*/ 783771 w 2394857"/>
                  <a:gd name="connsiteY1" fmla="*/ 638629 h 1291772"/>
                  <a:gd name="connsiteX2" fmla="*/ 885371 w 2394857"/>
                  <a:gd name="connsiteY2" fmla="*/ 449943 h 1291772"/>
                  <a:gd name="connsiteX3" fmla="*/ 1001485 w 2394857"/>
                  <a:gd name="connsiteY3" fmla="*/ 827315 h 1291772"/>
                  <a:gd name="connsiteX4" fmla="*/ 1117600 w 2394857"/>
                  <a:gd name="connsiteY4" fmla="*/ 537029 h 1291772"/>
                  <a:gd name="connsiteX5" fmla="*/ 1219200 w 2394857"/>
                  <a:gd name="connsiteY5" fmla="*/ 682172 h 1291772"/>
                  <a:gd name="connsiteX6" fmla="*/ 1320800 w 2394857"/>
                  <a:gd name="connsiteY6" fmla="*/ 0 h 1291772"/>
                  <a:gd name="connsiteX7" fmla="*/ 1422400 w 2394857"/>
                  <a:gd name="connsiteY7" fmla="*/ 1291772 h 1291772"/>
                  <a:gd name="connsiteX8" fmla="*/ 1524000 w 2394857"/>
                  <a:gd name="connsiteY8" fmla="*/ 333829 h 1291772"/>
                  <a:gd name="connsiteX9" fmla="*/ 1596571 w 2394857"/>
                  <a:gd name="connsiteY9" fmla="*/ 827315 h 1291772"/>
                  <a:gd name="connsiteX10" fmla="*/ 1698171 w 2394857"/>
                  <a:gd name="connsiteY10" fmla="*/ 595086 h 1291772"/>
                  <a:gd name="connsiteX11" fmla="*/ 2394857 w 2394857"/>
                  <a:gd name="connsiteY11" fmla="*/ 595086 h 1291772"/>
                  <a:gd name="connsiteX0" fmla="*/ 0 w 2394857"/>
                  <a:gd name="connsiteY0" fmla="*/ 638629 h 1291772"/>
                  <a:gd name="connsiteX1" fmla="*/ 783771 w 2394857"/>
                  <a:gd name="connsiteY1" fmla="*/ 638629 h 1291772"/>
                  <a:gd name="connsiteX2" fmla="*/ 885371 w 2394857"/>
                  <a:gd name="connsiteY2" fmla="*/ 449943 h 1291772"/>
                  <a:gd name="connsiteX3" fmla="*/ 1001485 w 2394857"/>
                  <a:gd name="connsiteY3" fmla="*/ 827315 h 1291772"/>
                  <a:gd name="connsiteX4" fmla="*/ 1117600 w 2394857"/>
                  <a:gd name="connsiteY4" fmla="*/ 537029 h 1291772"/>
                  <a:gd name="connsiteX5" fmla="*/ 1219200 w 2394857"/>
                  <a:gd name="connsiteY5" fmla="*/ 682172 h 1291772"/>
                  <a:gd name="connsiteX6" fmla="*/ 1320800 w 2394857"/>
                  <a:gd name="connsiteY6" fmla="*/ 0 h 1291772"/>
                  <a:gd name="connsiteX7" fmla="*/ 1422400 w 2394857"/>
                  <a:gd name="connsiteY7" fmla="*/ 1291772 h 1291772"/>
                  <a:gd name="connsiteX8" fmla="*/ 1524000 w 2394857"/>
                  <a:gd name="connsiteY8" fmla="*/ 333829 h 1291772"/>
                  <a:gd name="connsiteX9" fmla="*/ 1596571 w 2394857"/>
                  <a:gd name="connsiteY9" fmla="*/ 827315 h 1291772"/>
                  <a:gd name="connsiteX10" fmla="*/ 1698171 w 2394857"/>
                  <a:gd name="connsiteY10" fmla="*/ 642711 h 1291772"/>
                  <a:gd name="connsiteX11" fmla="*/ 2394857 w 2394857"/>
                  <a:gd name="connsiteY11" fmla="*/ 595086 h 1291772"/>
                  <a:gd name="connsiteX0" fmla="*/ 0 w 2390094"/>
                  <a:gd name="connsiteY0" fmla="*/ 638629 h 1291772"/>
                  <a:gd name="connsiteX1" fmla="*/ 783771 w 2390094"/>
                  <a:gd name="connsiteY1" fmla="*/ 638629 h 1291772"/>
                  <a:gd name="connsiteX2" fmla="*/ 885371 w 2390094"/>
                  <a:gd name="connsiteY2" fmla="*/ 449943 h 1291772"/>
                  <a:gd name="connsiteX3" fmla="*/ 1001485 w 2390094"/>
                  <a:gd name="connsiteY3" fmla="*/ 827315 h 1291772"/>
                  <a:gd name="connsiteX4" fmla="*/ 1117600 w 2390094"/>
                  <a:gd name="connsiteY4" fmla="*/ 537029 h 1291772"/>
                  <a:gd name="connsiteX5" fmla="*/ 1219200 w 2390094"/>
                  <a:gd name="connsiteY5" fmla="*/ 682172 h 1291772"/>
                  <a:gd name="connsiteX6" fmla="*/ 1320800 w 2390094"/>
                  <a:gd name="connsiteY6" fmla="*/ 0 h 1291772"/>
                  <a:gd name="connsiteX7" fmla="*/ 1422400 w 2390094"/>
                  <a:gd name="connsiteY7" fmla="*/ 1291772 h 1291772"/>
                  <a:gd name="connsiteX8" fmla="*/ 1524000 w 2390094"/>
                  <a:gd name="connsiteY8" fmla="*/ 333829 h 1291772"/>
                  <a:gd name="connsiteX9" fmla="*/ 1596571 w 2390094"/>
                  <a:gd name="connsiteY9" fmla="*/ 827315 h 1291772"/>
                  <a:gd name="connsiteX10" fmla="*/ 1698171 w 2390094"/>
                  <a:gd name="connsiteY10" fmla="*/ 642711 h 1291772"/>
                  <a:gd name="connsiteX11" fmla="*/ 2390094 w 2390094"/>
                  <a:gd name="connsiteY11" fmla="*/ 647474 h 1291772"/>
                  <a:gd name="connsiteX0" fmla="*/ 0 w 2380569"/>
                  <a:gd name="connsiteY0" fmla="*/ 638629 h 1291772"/>
                  <a:gd name="connsiteX1" fmla="*/ 783771 w 2380569"/>
                  <a:gd name="connsiteY1" fmla="*/ 638629 h 1291772"/>
                  <a:gd name="connsiteX2" fmla="*/ 885371 w 2380569"/>
                  <a:gd name="connsiteY2" fmla="*/ 449943 h 1291772"/>
                  <a:gd name="connsiteX3" fmla="*/ 1001485 w 2380569"/>
                  <a:gd name="connsiteY3" fmla="*/ 827315 h 1291772"/>
                  <a:gd name="connsiteX4" fmla="*/ 1117600 w 2380569"/>
                  <a:gd name="connsiteY4" fmla="*/ 537029 h 1291772"/>
                  <a:gd name="connsiteX5" fmla="*/ 1219200 w 2380569"/>
                  <a:gd name="connsiteY5" fmla="*/ 682172 h 1291772"/>
                  <a:gd name="connsiteX6" fmla="*/ 1320800 w 2380569"/>
                  <a:gd name="connsiteY6" fmla="*/ 0 h 1291772"/>
                  <a:gd name="connsiteX7" fmla="*/ 1422400 w 2380569"/>
                  <a:gd name="connsiteY7" fmla="*/ 1291772 h 1291772"/>
                  <a:gd name="connsiteX8" fmla="*/ 1524000 w 2380569"/>
                  <a:gd name="connsiteY8" fmla="*/ 333829 h 1291772"/>
                  <a:gd name="connsiteX9" fmla="*/ 1596571 w 2380569"/>
                  <a:gd name="connsiteY9" fmla="*/ 827315 h 1291772"/>
                  <a:gd name="connsiteX10" fmla="*/ 1698171 w 2380569"/>
                  <a:gd name="connsiteY10" fmla="*/ 642711 h 1291772"/>
                  <a:gd name="connsiteX11" fmla="*/ 2380569 w 2380569"/>
                  <a:gd name="connsiteY11" fmla="*/ 642712 h 1291772"/>
                  <a:gd name="connsiteX0" fmla="*/ 0 w 1925210"/>
                  <a:gd name="connsiteY0" fmla="*/ 638628 h 1291772"/>
                  <a:gd name="connsiteX1" fmla="*/ 328412 w 1925210"/>
                  <a:gd name="connsiteY1" fmla="*/ 638629 h 1291772"/>
                  <a:gd name="connsiteX2" fmla="*/ 430012 w 1925210"/>
                  <a:gd name="connsiteY2" fmla="*/ 449943 h 1291772"/>
                  <a:gd name="connsiteX3" fmla="*/ 546126 w 1925210"/>
                  <a:gd name="connsiteY3" fmla="*/ 827315 h 1291772"/>
                  <a:gd name="connsiteX4" fmla="*/ 662241 w 1925210"/>
                  <a:gd name="connsiteY4" fmla="*/ 537029 h 1291772"/>
                  <a:gd name="connsiteX5" fmla="*/ 763841 w 1925210"/>
                  <a:gd name="connsiteY5" fmla="*/ 682172 h 1291772"/>
                  <a:gd name="connsiteX6" fmla="*/ 865441 w 1925210"/>
                  <a:gd name="connsiteY6" fmla="*/ 0 h 1291772"/>
                  <a:gd name="connsiteX7" fmla="*/ 967041 w 1925210"/>
                  <a:gd name="connsiteY7" fmla="*/ 1291772 h 1291772"/>
                  <a:gd name="connsiteX8" fmla="*/ 1068641 w 1925210"/>
                  <a:gd name="connsiteY8" fmla="*/ 333829 h 1291772"/>
                  <a:gd name="connsiteX9" fmla="*/ 1141212 w 1925210"/>
                  <a:gd name="connsiteY9" fmla="*/ 827315 h 1291772"/>
                  <a:gd name="connsiteX10" fmla="*/ 1242812 w 1925210"/>
                  <a:gd name="connsiteY10" fmla="*/ 642711 h 1291772"/>
                  <a:gd name="connsiteX11" fmla="*/ 1925210 w 1925210"/>
                  <a:gd name="connsiteY11" fmla="*/ 642712 h 1291772"/>
                  <a:gd name="connsiteX0" fmla="*/ 0 w 2341538"/>
                  <a:gd name="connsiteY0" fmla="*/ 638629 h 1291772"/>
                  <a:gd name="connsiteX1" fmla="*/ 744740 w 2341538"/>
                  <a:gd name="connsiteY1" fmla="*/ 638629 h 1291772"/>
                  <a:gd name="connsiteX2" fmla="*/ 846340 w 2341538"/>
                  <a:gd name="connsiteY2" fmla="*/ 449943 h 1291772"/>
                  <a:gd name="connsiteX3" fmla="*/ 962454 w 2341538"/>
                  <a:gd name="connsiteY3" fmla="*/ 827315 h 1291772"/>
                  <a:gd name="connsiteX4" fmla="*/ 1078569 w 2341538"/>
                  <a:gd name="connsiteY4" fmla="*/ 537029 h 1291772"/>
                  <a:gd name="connsiteX5" fmla="*/ 1180169 w 2341538"/>
                  <a:gd name="connsiteY5" fmla="*/ 682172 h 1291772"/>
                  <a:gd name="connsiteX6" fmla="*/ 1281769 w 2341538"/>
                  <a:gd name="connsiteY6" fmla="*/ 0 h 1291772"/>
                  <a:gd name="connsiteX7" fmla="*/ 1383369 w 2341538"/>
                  <a:gd name="connsiteY7" fmla="*/ 1291772 h 1291772"/>
                  <a:gd name="connsiteX8" fmla="*/ 1484969 w 2341538"/>
                  <a:gd name="connsiteY8" fmla="*/ 333829 h 1291772"/>
                  <a:gd name="connsiteX9" fmla="*/ 1557540 w 2341538"/>
                  <a:gd name="connsiteY9" fmla="*/ 827315 h 1291772"/>
                  <a:gd name="connsiteX10" fmla="*/ 1659140 w 2341538"/>
                  <a:gd name="connsiteY10" fmla="*/ 642711 h 1291772"/>
                  <a:gd name="connsiteX11" fmla="*/ 2341538 w 2341538"/>
                  <a:gd name="connsiteY11" fmla="*/ 642712 h 1291772"/>
                  <a:gd name="connsiteX0" fmla="*/ 0 w 2341538"/>
                  <a:gd name="connsiteY0" fmla="*/ 638629 h 1291772"/>
                  <a:gd name="connsiteX1" fmla="*/ 744740 w 2341538"/>
                  <a:gd name="connsiteY1" fmla="*/ 638629 h 1291772"/>
                  <a:gd name="connsiteX2" fmla="*/ 846340 w 2341538"/>
                  <a:gd name="connsiteY2" fmla="*/ 449943 h 1291772"/>
                  <a:gd name="connsiteX3" fmla="*/ 1078569 w 2341538"/>
                  <a:gd name="connsiteY3" fmla="*/ 537029 h 1291772"/>
                  <a:gd name="connsiteX4" fmla="*/ 1180169 w 2341538"/>
                  <a:gd name="connsiteY4" fmla="*/ 682172 h 1291772"/>
                  <a:gd name="connsiteX5" fmla="*/ 1281769 w 2341538"/>
                  <a:gd name="connsiteY5" fmla="*/ 0 h 1291772"/>
                  <a:gd name="connsiteX6" fmla="*/ 1383369 w 2341538"/>
                  <a:gd name="connsiteY6" fmla="*/ 1291772 h 1291772"/>
                  <a:gd name="connsiteX7" fmla="*/ 1484969 w 2341538"/>
                  <a:gd name="connsiteY7" fmla="*/ 333829 h 1291772"/>
                  <a:gd name="connsiteX8" fmla="*/ 1557540 w 2341538"/>
                  <a:gd name="connsiteY8" fmla="*/ 827315 h 1291772"/>
                  <a:gd name="connsiteX9" fmla="*/ 1659140 w 2341538"/>
                  <a:gd name="connsiteY9" fmla="*/ 642711 h 1291772"/>
                  <a:gd name="connsiteX10" fmla="*/ 2341538 w 2341538"/>
                  <a:gd name="connsiteY10" fmla="*/ 642712 h 1291772"/>
                  <a:gd name="connsiteX0" fmla="*/ 0 w 2341538"/>
                  <a:gd name="connsiteY0" fmla="*/ 638629 h 1291772"/>
                  <a:gd name="connsiteX1" fmla="*/ 744740 w 2341538"/>
                  <a:gd name="connsiteY1" fmla="*/ 638629 h 1291772"/>
                  <a:gd name="connsiteX2" fmla="*/ 1078569 w 2341538"/>
                  <a:gd name="connsiteY2" fmla="*/ 537029 h 1291772"/>
                  <a:gd name="connsiteX3" fmla="*/ 1180169 w 2341538"/>
                  <a:gd name="connsiteY3" fmla="*/ 682172 h 1291772"/>
                  <a:gd name="connsiteX4" fmla="*/ 1281769 w 2341538"/>
                  <a:gd name="connsiteY4" fmla="*/ 0 h 1291772"/>
                  <a:gd name="connsiteX5" fmla="*/ 1383369 w 2341538"/>
                  <a:gd name="connsiteY5" fmla="*/ 1291772 h 1291772"/>
                  <a:gd name="connsiteX6" fmla="*/ 1484969 w 2341538"/>
                  <a:gd name="connsiteY6" fmla="*/ 333829 h 1291772"/>
                  <a:gd name="connsiteX7" fmla="*/ 1557540 w 2341538"/>
                  <a:gd name="connsiteY7" fmla="*/ 827315 h 1291772"/>
                  <a:gd name="connsiteX8" fmla="*/ 1659140 w 2341538"/>
                  <a:gd name="connsiteY8" fmla="*/ 642711 h 1291772"/>
                  <a:gd name="connsiteX9" fmla="*/ 2341538 w 2341538"/>
                  <a:gd name="connsiteY9" fmla="*/ 642712 h 1291772"/>
                  <a:gd name="connsiteX0" fmla="*/ 0 w 1942032"/>
                  <a:gd name="connsiteY0" fmla="*/ 657208 h 1291772"/>
                  <a:gd name="connsiteX1" fmla="*/ 345234 w 1942032"/>
                  <a:gd name="connsiteY1" fmla="*/ 638629 h 1291772"/>
                  <a:gd name="connsiteX2" fmla="*/ 679063 w 1942032"/>
                  <a:gd name="connsiteY2" fmla="*/ 537029 h 1291772"/>
                  <a:gd name="connsiteX3" fmla="*/ 780663 w 1942032"/>
                  <a:gd name="connsiteY3" fmla="*/ 682172 h 1291772"/>
                  <a:gd name="connsiteX4" fmla="*/ 882263 w 1942032"/>
                  <a:gd name="connsiteY4" fmla="*/ 0 h 1291772"/>
                  <a:gd name="connsiteX5" fmla="*/ 983863 w 1942032"/>
                  <a:gd name="connsiteY5" fmla="*/ 1291772 h 1291772"/>
                  <a:gd name="connsiteX6" fmla="*/ 1085463 w 1942032"/>
                  <a:gd name="connsiteY6" fmla="*/ 333829 h 1291772"/>
                  <a:gd name="connsiteX7" fmla="*/ 1158034 w 1942032"/>
                  <a:gd name="connsiteY7" fmla="*/ 827315 h 1291772"/>
                  <a:gd name="connsiteX8" fmla="*/ 1259634 w 1942032"/>
                  <a:gd name="connsiteY8" fmla="*/ 642711 h 1291772"/>
                  <a:gd name="connsiteX9" fmla="*/ 1942032 w 1942032"/>
                  <a:gd name="connsiteY9" fmla="*/ 642712 h 1291772"/>
                  <a:gd name="connsiteX0" fmla="*/ 0 w 1871152"/>
                  <a:gd name="connsiteY0" fmla="*/ 629339 h 1291772"/>
                  <a:gd name="connsiteX1" fmla="*/ 274354 w 1871152"/>
                  <a:gd name="connsiteY1" fmla="*/ 638629 h 1291772"/>
                  <a:gd name="connsiteX2" fmla="*/ 608183 w 1871152"/>
                  <a:gd name="connsiteY2" fmla="*/ 537029 h 1291772"/>
                  <a:gd name="connsiteX3" fmla="*/ 709783 w 1871152"/>
                  <a:gd name="connsiteY3" fmla="*/ 682172 h 1291772"/>
                  <a:gd name="connsiteX4" fmla="*/ 811383 w 1871152"/>
                  <a:gd name="connsiteY4" fmla="*/ 0 h 1291772"/>
                  <a:gd name="connsiteX5" fmla="*/ 912983 w 1871152"/>
                  <a:gd name="connsiteY5" fmla="*/ 1291772 h 1291772"/>
                  <a:gd name="connsiteX6" fmla="*/ 1014583 w 1871152"/>
                  <a:gd name="connsiteY6" fmla="*/ 333829 h 1291772"/>
                  <a:gd name="connsiteX7" fmla="*/ 1087154 w 1871152"/>
                  <a:gd name="connsiteY7" fmla="*/ 827315 h 1291772"/>
                  <a:gd name="connsiteX8" fmla="*/ 1188754 w 1871152"/>
                  <a:gd name="connsiteY8" fmla="*/ 642711 h 1291772"/>
                  <a:gd name="connsiteX9" fmla="*/ 1871152 w 1871152"/>
                  <a:gd name="connsiteY9" fmla="*/ 642712 h 1291772"/>
                  <a:gd name="connsiteX0" fmla="*/ 0 w 1871152"/>
                  <a:gd name="connsiteY0" fmla="*/ 629339 h 1291772"/>
                  <a:gd name="connsiteX1" fmla="*/ 274354 w 1871152"/>
                  <a:gd name="connsiteY1" fmla="*/ 638629 h 1291772"/>
                  <a:gd name="connsiteX2" fmla="*/ 709783 w 1871152"/>
                  <a:gd name="connsiteY2" fmla="*/ 682172 h 1291772"/>
                  <a:gd name="connsiteX3" fmla="*/ 811383 w 1871152"/>
                  <a:gd name="connsiteY3" fmla="*/ 0 h 1291772"/>
                  <a:gd name="connsiteX4" fmla="*/ 912983 w 1871152"/>
                  <a:gd name="connsiteY4" fmla="*/ 1291772 h 1291772"/>
                  <a:gd name="connsiteX5" fmla="*/ 1014583 w 1871152"/>
                  <a:gd name="connsiteY5" fmla="*/ 333829 h 1291772"/>
                  <a:gd name="connsiteX6" fmla="*/ 1087154 w 1871152"/>
                  <a:gd name="connsiteY6" fmla="*/ 827315 h 1291772"/>
                  <a:gd name="connsiteX7" fmla="*/ 1188754 w 1871152"/>
                  <a:gd name="connsiteY7" fmla="*/ 642711 h 1291772"/>
                  <a:gd name="connsiteX8" fmla="*/ 1871152 w 1871152"/>
                  <a:gd name="connsiteY8" fmla="*/ 642712 h 1291772"/>
                  <a:gd name="connsiteX0" fmla="*/ 0 w 1871152"/>
                  <a:gd name="connsiteY0" fmla="*/ 629339 h 1291772"/>
                  <a:gd name="connsiteX1" fmla="*/ 274354 w 1871152"/>
                  <a:gd name="connsiteY1" fmla="*/ 638629 h 1291772"/>
                  <a:gd name="connsiteX2" fmla="*/ 709782 w 1871152"/>
                  <a:gd name="connsiteY2" fmla="*/ 617144 h 1291772"/>
                  <a:gd name="connsiteX3" fmla="*/ 811383 w 1871152"/>
                  <a:gd name="connsiteY3" fmla="*/ 0 h 1291772"/>
                  <a:gd name="connsiteX4" fmla="*/ 912983 w 1871152"/>
                  <a:gd name="connsiteY4" fmla="*/ 1291772 h 1291772"/>
                  <a:gd name="connsiteX5" fmla="*/ 1014583 w 1871152"/>
                  <a:gd name="connsiteY5" fmla="*/ 333829 h 1291772"/>
                  <a:gd name="connsiteX6" fmla="*/ 1087154 w 1871152"/>
                  <a:gd name="connsiteY6" fmla="*/ 827315 h 1291772"/>
                  <a:gd name="connsiteX7" fmla="*/ 1188754 w 1871152"/>
                  <a:gd name="connsiteY7" fmla="*/ 642711 h 1291772"/>
                  <a:gd name="connsiteX8" fmla="*/ 1871152 w 1871152"/>
                  <a:gd name="connsiteY8" fmla="*/ 642712 h 1291772"/>
                  <a:gd name="connsiteX0" fmla="*/ 0 w 1871152"/>
                  <a:gd name="connsiteY0" fmla="*/ 629339 h 1291772"/>
                  <a:gd name="connsiteX1" fmla="*/ 709782 w 1871152"/>
                  <a:gd name="connsiteY1" fmla="*/ 617144 h 1291772"/>
                  <a:gd name="connsiteX2" fmla="*/ 811383 w 1871152"/>
                  <a:gd name="connsiteY2" fmla="*/ 0 h 1291772"/>
                  <a:gd name="connsiteX3" fmla="*/ 912983 w 1871152"/>
                  <a:gd name="connsiteY3" fmla="*/ 1291772 h 1291772"/>
                  <a:gd name="connsiteX4" fmla="*/ 1014583 w 1871152"/>
                  <a:gd name="connsiteY4" fmla="*/ 333829 h 1291772"/>
                  <a:gd name="connsiteX5" fmla="*/ 1087154 w 1871152"/>
                  <a:gd name="connsiteY5" fmla="*/ 827315 h 1291772"/>
                  <a:gd name="connsiteX6" fmla="*/ 1188754 w 1871152"/>
                  <a:gd name="connsiteY6" fmla="*/ 642711 h 1291772"/>
                  <a:gd name="connsiteX7" fmla="*/ 1871152 w 1871152"/>
                  <a:gd name="connsiteY7" fmla="*/ 642712 h 1291772"/>
                  <a:gd name="connsiteX0" fmla="*/ 0 w 1871152"/>
                  <a:gd name="connsiteY0" fmla="*/ 629339 h 1291772"/>
                  <a:gd name="connsiteX1" fmla="*/ 719449 w 1871152"/>
                  <a:gd name="connsiteY1" fmla="*/ 638043 h 1291772"/>
                  <a:gd name="connsiteX2" fmla="*/ 811383 w 1871152"/>
                  <a:gd name="connsiteY2" fmla="*/ 0 h 1291772"/>
                  <a:gd name="connsiteX3" fmla="*/ 912983 w 1871152"/>
                  <a:gd name="connsiteY3" fmla="*/ 1291772 h 1291772"/>
                  <a:gd name="connsiteX4" fmla="*/ 1014583 w 1871152"/>
                  <a:gd name="connsiteY4" fmla="*/ 333829 h 1291772"/>
                  <a:gd name="connsiteX5" fmla="*/ 1087154 w 1871152"/>
                  <a:gd name="connsiteY5" fmla="*/ 827315 h 1291772"/>
                  <a:gd name="connsiteX6" fmla="*/ 1188754 w 1871152"/>
                  <a:gd name="connsiteY6" fmla="*/ 642711 h 1291772"/>
                  <a:gd name="connsiteX7" fmla="*/ 1871152 w 1871152"/>
                  <a:gd name="connsiteY7" fmla="*/ 642712 h 129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1152" h="1291772">
                    <a:moveTo>
                      <a:pt x="0" y="629339"/>
                    </a:moveTo>
                    <a:lnTo>
                      <a:pt x="719449" y="638043"/>
                    </a:lnTo>
                    <a:lnTo>
                      <a:pt x="811383" y="0"/>
                    </a:lnTo>
                    <a:lnTo>
                      <a:pt x="912983" y="1291772"/>
                    </a:lnTo>
                    <a:lnTo>
                      <a:pt x="1014583" y="333829"/>
                    </a:lnTo>
                    <a:lnTo>
                      <a:pt x="1087154" y="827315"/>
                    </a:lnTo>
                    <a:lnTo>
                      <a:pt x="1188754" y="642711"/>
                    </a:lnTo>
                    <a:lnTo>
                      <a:pt x="1871152" y="642712"/>
                    </a:lnTo>
                  </a:path>
                </a:pathLst>
              </a:custGeom>
              <a:noFill/>
              <a:ln w="15875">
                <a:gradFill flip="none" rotWithShape="1">
                  <a:gsLst>
                    <a:gs pos="0">
                      <a:schemeClr val="accent1"/>
                    </a:gs>
                    <a:gs pos="10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2000">
                  <a:solidFill>
                    <a:schemeClr val="bg1"/>
                  </a:solidFill>
                  <a:cs typeface="+mn-ea"/>
                  <a:sym typeface="+mn-lt"/>
                </a:endParaRPr>
              </a:p>
            </p:txBody>
          </p:sp>
          <p:sp>
            <p:nvSpPr>
              <p:cNvPr id="31" name="任意多边形: 形状 30">
                <a:extLst>
                  <a:ext uri="{FF2B5EF4-FFF2-40B4-BE49-F238E27FC236}">
                    <a16:creationId xmlns:a16="http://schemas.microsoft.com/office/drawing/2014/main" id="{B5FBC1B5-125B-4904-A6E1-6596038E3388}"/>
                  </a:ext>
                </a:extLst>
              </p:cNvPr>
              <p:cNvSpPr/>
              <p:nvPr/>
            </p:nvSpPr>
            <p:spPr>
              <a:xfrm flipH="1">
                <a:off x="5691738" y="1347290"/>
                <a:ext cx="921978" cy="441501"/>
              </a:xfrm>
              <a:custGeom>
                <a:avLst/>
                <a:gdLst>
                  <a:gd name="connsiteX0" fmla="*/ 0 w 2394857"/>
                  <a:gd name="connsiteY0" fmla="*/ 638629 h 1291772"/>
                  <a:gd name="connsiteX1" fmla="*/ 783771 w 2394857"/>
                  <a:gd name="connsiteY1" fmla="*/ 638629 h 1291772"/>
                  <a:gd name="connsiteX2" fmla="*/ 885371 w 2394857"/>
                  <a:gd name="connsiteY2" fmla="*/ 449943 h 1291772"/>
                  <a:gd name="connsiteX3" fmla="*/ 1001485 w 2394857"/>
                  <a:gd name="connsiteY3" fmla="*/ 827315 h 1291772"/>
                  <a:gd name="connsiteX4" fmla="*/ 1117600 w 2394857"/>
                  <a:gd name="connsiteY4" fmla="*/ 537029 h 1291772"/>
                  <a:gd name="connsiteX5" fmla="*/ 1219200 w 2394857"/>
                  <a:gd name="connsiteY5" fmla="*/ 682172 h 1291772"/>
                  <a:gd name="connsiteX6" fmla="*/ 1320800 w 2394857"/>
                  <a:gd name="connsiteY6" fmla="*/ 0 h 1291772"/>
                  <a:gd name="connsiteX7" fmla="*/ 1422400 w 2394857"/>
                  <a:gd name="connsiteY7" fmla="*/ 1291772 h 1291772"/>
                  <a:gd name="connsiteX8" fmla="*/ 1524000 w 2394857"/>
                  <a:gd name="connsiteY8" fmla="*/ 333829 h 1291772"/>
                  <a:gd name="connsiteX9" fmla="*/ 1596571 w 2394857"/>
                  <a:gd name="connsiteY9" fmla="*/ 827315 h 1291772"/>
                  <a:gd name="connsiteX10" fmla="*/ 1698171 w 2394857"/>
                  <a:gd name="connsiteY10" fmla="*/ 595086 h 1291772"/>
                  <a:gd name="connsiteX11" fmla="*/ 2394857 w 2394857"/>
                  <a:gd name="connsiteY11" fmla="*/ 595086 h 1291772"/>
                  <a:gd name="connsiteX0" fmla="*/ 0 w 2394857"/>
                  <a:gd name="connsiteY0" fmla="*/ 638629 h 1291772"/>
                  <a:gd name="connsiteX1" fmla="*/ 783771 w 2394857"/>
                  <a:gd name="connsiteY1" fmla="*/ 638629 h 1291772"/>
                  <a:gd name="connsiteX2" fmla="*/ 885371 w 2394857"/>
                  <a:gd name="connsiteY2" fmla="*/ 449943 h 1291772"/>
                  <a:gd name="connsiteX3" fmla="*/ 1001485 w 2394857"/>
                  <a:gd name="connsiteY3" fmla="*/ 827315 h 1291772"/>
                  <a:gd name="connsiteX4" fmla="*/ 1117600 w 2394857"/>
                  <a:gd name="connsiteY4" fmla="*/ 537029 h 1291772"/>
                  <a:gd name="connsiteX5" fmla="*/ 1219200 w 2394857"/>
                  <a:gd name="connsiteY5" fmla="*/ 682172 h 1291772"/>
                  <a:gd name="connsiteX6" fmla="*/ 1320800 w 2394857"/>
                  <a:gd name="connsiteY6" fmla="*/ 0 h 1291772"/>
                  <a:gd name="connsiteX7" fmla="*/ 1422400 w 2394857"/>
                  <a:gd name="connsiteY7" fmla="*/ 1291772 h 1291772"/>
                  <a:gd name="connsiteX8" fmla="*/ 1524000 w 2394857"/>
                  <a:gd name="connsiteY8" fmla="*/ 333829 h 1291772"/>
                  <a:gd name="connsiteX9" fmla="*/ 1596571 w 2394857"/>
                  <a:gd name="connsiteY9" fmla="*/ 827315 h 1291772"/>
                  <a:gd name="connsiteX10" fmla="*/ 1698171 w 2394857"/>
                  <a:gd name="connsiteY10" fmla="*/ 642711 h 1291772"/>
                  <a:gd name="connsiteX11" fmla="*/ 2394857 w 2394857"/>
                  <a:gd name="connsiteY11" fmla="*/ 595086 h 1291772"/>
                  <a:gd name="connsiteX0" fmla="*/ 0 w 2390094"/>
                  <a:gd name="connsiteY0" fmla="*/ 638629 h 1291772"/>
                  <a:gd name="connsiteX1" fmla="*/ 783771 w 2390094"/>
                  <a:gd name="connsiteY1" fmla="*/ 638629 h 1291772"/>
                  <a:gd name="connsiteX2" fmla="*/ 885371 w 2390094"/>
                  <a:gd name="connsiteY2" fmla="*/ 449943 h 1291772"/>
                  <a:gd name="connsiteX3" fmla="*/ 1001485 w 2390094"/>
                  <a:gd name="connsiteY3" fmla="*/ 827315 h 1291772"/>
                  <a:gd name="connsiteX4" fmla="*/ 1117600 w 2390094"/>
                  <a:gd name="connsiteY4" fmla="*/ 537029 h 1291772"/>
                  <a:gd name="connsiteX5" fmla="*/ 1219200 w 2390094"/>
                  <a:gd name="connsiteY5" fmla="*/ 682172 h 1291772"/>
                  <a:gd name="connsiteX6" fmla="*/ 1320800 w 2390094"/>
                  <a:gd name="connsiteY6" fmla="*/ 0 h 1291772"/>
                  <a:gd name="connsiteX7" fmla="*/ 1422400 w 2390094"/>
                  <a:gd name="connsiteY7" fmla="*/ 1291772 h 1291772"/>
                  <a:gd name="connsiteX8" fmla="*/ 1524000 w 2390094"/>
                  <a:gd name="connsiteY8" fmla="*/ 333829 h 1291772"/>
                  <a:gd name="connsiteX9" fmla="*/ 1596571 w 2390094"/>
                  <a:gd name="connsiteY9" fmla="*/ 827315 h 1291772"/>
                  <a:gd name="connsiteX10" fmla="*/ 1698171 w 2390094"/>
                  <a:gd name="connsiteY10" fmla="*/ 642711 h 1291772"/>
                  <a:gd name="connsiteX11" fmla="*/ 2390094 w 2390094"/>
                  <a:gd name="connsiteY11" fmla="*/ 647474 h 1291772"/>
                  <a:gd name="connsiteX0" fmla="*/ 0 w 2380569"/>
                  <a:gd name="connsiteY0" fmla="*/ 638629 h 1291772"/>
                  <a:gd name="connsiteX1" fmla="*/ 783771 w 2380569"/>
                  <a:gd name="connsiteY1" fmla="*/ 638629 h 1291772"/>
                  <a:gd name="connsiteX2" fmla="*/ 885371 w 2380569"/>
                  <a:gd name="connsiteY2" fmla="*/ 449943 h 1291772"/>
                  <a:gd name="connsiteX3" fmla="*/ 1001485 w 2380569"/>
                  <a:gd name="connsiteY3" fmla="*/ 827315 h 1291772"/>
                  <a:gd name="connsiteX4" fmla="*/ 1117600 w 2380569"/>
                  <a:gd name="connsiteY4" fmla="*/ 537029 h 1291772"/>
                  <a:gd name="connsiteX5" fmla="*/ 1219200 w 2380569"/>
                  <a:gd name="connsiteY5" fmla="*/ 682172 h 1291772"/>
                  <a:gd name="connsiteX6" fmla="*/ 1320800 w 2380569"/>
                  <a:gd name="connsiteY6" fmla="*/ 0 h 1291772"/>
                  <a:gd name="connsiteX7" fmla="*/ 1422400 w 2380569"/>
                  <a:gd name="connsiteY7" fmla="*/ 1291772 h 1291772"/>
                  <a:gd name="connsiteX8" fmla="*/ 1524000 w 2380569"/>
                  <a:gd name="connsiteY8" fmla="*/ 333829 h 1291772"/>
                  <a:gd name="connsiteX9" fmla="*/ 1596571 w 2380569"/>
                  <a:gd name="connsiteY9" fmla="*/ 827315 h 1291772"/>
                  <a:gd name="connsiteX10" fmla="*/ 1698171 w 2380569"/>
                  <a:gd name="connsiteY10" fmla="*/ 642711 h 1291772"/>
                  <a:gd name="connsiteX11" fmla="*/ 2380569 w 2380569"/>
                  <a:gd name="connsiteY11" fmla="*/ 642712 h 1291772"/>
                  <a:gd name="connsiteX0" fmla="*/ 0 w 1925210"/>
                  <a:gd name="connsiteY0" fmla="*/ 638628 h 1291772"/>
                  <a:gd name="connsiteX1" fmla="*/ 328412 w 1925210"/>
                  <a:gd name="connsiteY1" fmla="*/ 638629 h 1291772"/>
                  <a:gd name="connsiteX2" fmla="*/ 430012 w 1925210"/>
                  <a:gd name="connsiteY2" fmla="*/ 449943 h 1291772"/>
                  <a:gd name="connsiteX3" fmla="*/ 546126 w 1925210"/>
                  <a:gd name="connsiteY3" fmla="*/ 827315 h 1291772"/>
                  <a:gd name="connsiteX4" fmla="*/ 662241 w 1925210"/>
                  <a:gd name="connsiteY4" fmla="*/ 537029 h 1291772"/>
                  <a:gd name="connsiteX5" fmla="*/ 763841 w 1925210"/>
                  <a:gd name="connsiteY5" fmla="*/ 682172 h 1291772"/>
                  <a:gd name="connsiteX6" fmla="*/ 865441 w 1925210"/>
                  <a:gd name="connsiteY6" fmla="*/ 0 h 1291772"/>
                  <a:gd name="connsiteX7" fmla="*/ 967041 w 1925210"/>
                  <a:gd name="connsiteY7" fmla="*/ 1291772 h 1291772"/>
                  <a:gd name="connsiteX8" fmla="*/ 1068641 w 1925210"/>
                  <a:gd name="connsiteY8" fmla="*/ 333829 h 1291772"/>
                  <a:gd name="connsiteX9" fmla="*/ 1141212 w 1925210"/>
                  <a:gd name="connsiteY9" fmla="*/ 827315 h 1291772"/>
                  <a:gd name="connsiteX10" fmla="*/ 1242812 w 1925210"/>
                  <a:gd name="connsiteY10" fmla="*/ 642711 h 1291772"/>
                  <a:gd name="connsiteX11" fmla="*/ 1925210 w 1925210"/>
                  <a:gd name="connsiteY11" fmla="*/ 642712 h 1291772"/>
                  <a:gd name="connsiteX0" fmla="*/ 0 w 2341538"/>
                  <a:gd name="connsiteY0" fmla="*/ 638629 h 1291772"/>
                  <a:gd name="connsiteX1" fmla="*/ 744740 w 2341538"/>
                  <a:gd name="connsiteY1" fmla="*/ 638629 h 1291772"/>
                  <a:gd name="connsiteX2" fmla="*/ 846340 w 2341538"/>
                  <a:gd name="connsiteY2" fmla="*/ 449943 h 1291772"/>
                  <a:gd name="connsiteX3" fmla="*/ 962454 w 2341538"/>
                  <a:gd name="connsiteY3" fmla="*/ 827315 h 1291772"/>
                  <a:gd name="connsiteX4" fmla="*/ 1078569 w 2341538"/>
                  <a:gd name="connsiteY4" fmla="*/ 537029 h 1291772"/>
                  <a:gd name="connsiteX5" fmla="*/ 1180169 w 2341538"/>
                  <a:gd name="connsiteY5" fmla="*/ 682172 h 1291772"/>
                  <a:gd name="connsiteX6" fmla="*/ 1281769 w 2341538"/>
                  <a:gd name="connsiteY6" fmla="*/ 0 h 1291772"/>
                  <a:gd name="connsiteX7" fmla="*/ 1383369 w 2341538"/>
                  <a:gd name="connsiteY7" fmla="*/ 1291772 h 1291772"/>
                  <a:gd name="connsiteX8" fmla="*/ 1484969 w 2341538"/>
                  <a:gd name="connsiteY8" fmla="*/ 333829 h 1291772"/>
                  <a:gd name="connsiteX9" fmla="*/ 1557540 w 2341538"/>
                  <a:gd name="connsiteY9" fmla="*/ 827315 h 1291772"/>
                  <a:gd name="connsiteX10" fmla="*/ 1659140 w 2341538"/>
                  <a:gd name="connsiteY10" fmla="*/ 642711 h 1291772"/>
                  <a:gd name="connsiteX11" fmla="*/ 2341538 w 2341538"/>
                  <a:gd name="connsiteY11" fmla="*/ 642712 h 1291772"/>
                  <a:gd name="connsiteX0" fmla="*/ 0 w 2341538"/>
                  <a:gd name="connsiteY0" fmla="*/ 638629 h 1291772"/>
                  <a:gd name="connsiteX1" fmla="*/ 744740 w 2341538"/>
                  <a:gd name="connsiteY1" fmla="*/ 638629 h 1291772"/>
                  <a:gd name="connsiteX2" fmla="*/ 846340 w 2341538"/>
                  <a:gd name="connsiteY2" fmla="*/ 449943 h 1291772"/>
                  <a:gd name="connsiteX3" fmla="*/ 1078569 w 2341538"/>
                  <a:gd name="connsiteY3" fmla="*/ 537029 h 1291772"/>
                  <a:gd name="connsiteX4" fmla="*/ 1180169 w 2341538"/>
                  <a:gd name="connsiteY4" fmla="*/ 682172 h 1291772"/>
                  <a:gd name="connsiteX5" fmla="*/ 1281769 w 2341538"/>
                  <a:gd name="connsiteY5" fmla="*/ 0 h 1291772"/>
                  <a:gd name="connsiteX6" fmla="*/ 1383369 w 2341538"/>
                  <a:gd name="connsiteY6" fmla="*/ 1291772 h 1291772"/>
                  <a:gd name="connsiteX7" fmla="*/ 1484969 w 2341538"/>
                  <a:gd name="connsiteY7" fmla="*/ 333829 h 1291772"/>
                  <a:gd name="connsiteX8" fmla="*/ 1557540 w 2341538"/>
                  <a:gd name="connsiteY8" fmla="*/ 827315 h 1291772"/>
                  <a:gd name="connsiteX9" fmla="*/ 1659140 w 2341538"/>
                  <a:gd name="connsiteY9" fmla="*/ 642711 h 1291772"/>
                  <a:gd name="connsiteX10" fmla="*/ 2341538 w 2341538"/>
                  <a:gd name="connsiteY10" fmla="*/ 642712 h 1291772"/>
                  <a:gd name="connsiteX0" fmla="*/ 0 w 2341538"/>
                  <a:gd name="connsiteY0" fmla="*/ 638629 h 1291772"/>
                  <a:gd name="connsiteX1" fmla="*/ 744740 w 2341538"/>
                  <a:gd name="connsiteY1" fmla="*/ 638629 h 1291772"/>
                  <a:gd name="connsiteX2" fmla="*/ 1078569 w 2341538"/>
                  <a:gd name="connsiteY2" fmla="*/ 537029 h 1291772"/>
                  <a:gd name="connsiteX3" fmla="*/ 1180169 w 2341538"/>
                  <a:gd name="connsiteY3" fmla="*/ 682172 h 1291772"/>
                  <a:gd name="connsiteX4" fmla="*/ 1281769 w 2341538"/>
                  <a:gd name="connsiteY4" fmla="*/ 0 h 1291772"/>
                  <a:gd name="connsiteX5" fmla="*/ 1383369 w 2341538"/>
                  <a:gd name="connsiteY5" fmla="*/ 1291772 h 1291772"/>
                  <a:gd name="connsiteX6" fmla="*/ 1484969 w 2341538"/>
                  <a:gd name="connsiteY6" fmla="*/ 333829 h 1291772"/>
                  <a:gd name="connsiteX7" fmla="*/ 1557540 w 2341538"/>
                  <a:gd name="connsiteY7" fmla="*/ 827315 h 1291772"/>
                  <a:gd name="connsiteX8" fmla="*/ 1659140 w 2341538"/>
                  <a:gd name="connsiteY8" fmla="*/ 642711 h 1291772"/>
                  <a:gd name="connsiteX9" fmla="*/ 2341538 w 2341538"/>
                  <a:gd name="connsiteY9" fmla="*/ 642712 h 1291772"/>
                  <a:gd name="connsiteX0" fmla="*/ 0 w 1942032"/>
                  <a:gd name="connsiteY0" fmla="*/ 657208 h 1291772"/>
                  <a:gd name="connsiteX1" fmla="*/ 345234 w 1942032"/>
                  <a:gd name="connsiteY1" fmla="*/ 638629 h 1291772"/>
                  <a:gd name="connsiteX2" fmla="*/ 679063 w 1942032"/>
                  <a:gd name="connsiteY2" fmla="*/ 537029 h 1291772"/>
                  <a:gd name="connsiteX3" fmla="*/ 780663 w 1942032"/>
                  <a:gd name="connsiteY3" fmla="*/ 682172 h 1291772"/>
                  <a:gd name="connsiteX4" fmla="*/ 882263 w 1942032"/>
                  <a:gd name="connsiteY4" fmla="*/ 0 h 1291772"/>
                  <a:gd name="connsiteX5" fmla="*/ 983863 w 1942032"/>
                  <a:gd name="connsiteY5" fmla="*/ 1291772 h 1291772"/>
                  <a:gd name="connsiteX6" fmla="*/ 1085463 w 1942032"/>
                  <a:gd name="connsiteY6" fmla="*/ 333829 h 1291772"/>
                  <a:gd name="connsiteX7" fmla="*/ 1158034 w 1942032"/>
                  <a:gd name="connsiteY7" fmla="*/ 827315 h 1291772"/>
                  <a:gd name="connsiteX8" fmla="*/ 1259634 w 1942032"/>
                  <a:gd name="connsiteY8" fmla="*/ 642711 h 1291772"/>
                  <a:gd name="connsiteX9" fmla="*/ 1942032 w 1942032"/>
                  <a:gd name="connsiteY9" fmla="*/ 642712 h 1291772"/>
                  <a:gd name="connsiteX0" fmla="*/ 0 w 1871152"/>
                  <a:gd name="connsiteY0" fmla="*/ 629339 h 1291772"/>
                  <a:gd name="connsiteX1" fmla="*/ 274354 w 1871152"/>
                  <a:gd name="connsiteY1" fmla="*/ 638629 h 1291772"/>
                  <a:gd name="connsiteX2" fmla="*/ 608183 w 1871152"/>
                  <a:gd name="connsiteY2" fmla="*/ 537029 h 1291772"/>
                  <a:gd name="connsiteX3" fmla="*/ 709783 w 1871152"/>
                  <a:gd name="connsiteY3" fmla="*/ 682172 h 1291772"/>
                  <a:gd name="connsiteX4" fmla="*/ 811383 w 1871152"/>
                  <a:gd name="connsiteY4" fmla="*/ 0 h 1291772"/>
                  <a:gd name="connsiteX5" fmla="*/ 912983 w 1871152"/>
                  <a:gd name="connsiteY5" fmla="*/ 1291772 h 1291772"/>
                  <a:gd name="connsiteX6" fmla="*/ 1014583 w 1871152"/>
                  <a:gd name="connsiteY6" fmla="*/ 333829 h 1291772"/>
                  <a:gd name="connsiteX7" fmla="*/ 1087154 w 1871152"/>
                  <a:gd name="connsiteY7" fmla="*/ 827315 h 1291772"/>
                  <a:gd name="connsiteX8" fmla="*/ 1188754 w 1871152"/>
                  <a:gd name="connsiteY8" fmla="*/ 642711 h 1291772"/>
                  <a:gd name="connsiteX9" fmla="*/ 1871152 w 1871152"/>
                  <a:gd name="connsiteY9" fmla="*/ 642712 h 1291772"/>
                  <a:gd name="connsiteX0" fmla="*/ 0 w 1871152"/>
                  <a:gd name="connsiteY0" fmla="*/ 629339 h 1291772"/>
                  <a:gd name="connsiteX1" fmla="*/ 274354 w 1871152"/>
                  <a:gd name="connsiteY1" fmla="*/ 638629 h 1291772"/>
                  <a:gd name="connsiteX2" fmla="*/ 709783 w 1871152"/>
                  <a:gd name="connsiteY2" fmla="*/ 682172 h 1291772"/>
                  <a:gd name="connsiteX3" fmla="*/ 811383 w 1871152"/>
                  <a:gd name="connsiteY3" fmla="*/ 0 h 1291772"/>
                  <a:gd name="connsiteX4" fmla="*/ 912983 w 1871152"/>
                  <a:gd name="connsiteY4" fmla="*/ 1291772 h 1291772"/>
                  <a:gd name="connsiteX5" fmla="*/ 1014583 w 1871152"/>
                  <a:gd name="connsiteY5" fmla="*/ 333829 h 1291772"/>
                  <a:gd name="connsiteX6" fmla="*/ 1087154 w 1871152"/>
                  <a:gd name="connsiteY6" fmla="*/ 827315 h 1291772"/>
                  <a:gd name="connsiteX7" fmla="*/ 1188754 w 1871152"/>
                  <a:gd name="connsiteY7" fmla="*/ 642711 h 1291772"/>
                  <a:gd name="connsiteX8" fmla="*/ 1871152 w 1871152"/>
                  <a:gd name="connsiteY8" fmla="*/ 642712 h 1291772"/>
                  <a:gd name="connsiteX0" fmla="*/ 0 w 1871152"/>
                  <a:gd name="connsiteY0" fmla="*/ 629339 h 1291772"/>
                  <a:gd name="connsiteX1" fmla="*/ 274354 w 1871152"/>
                  <a:gd name="connsiteY1" fmla="*/ 638629 h 1291772"/>
                  <a:gd name="connsiteX2" fmla="*/ 709782 w 1871152"/>
                  <a:gd name="connsiteY2" fmla="*/ 617144 h 1291772"/>
                  <a:gd name="connsiteX3" fmla="*/ 811383 w 1871152"/>
                  <a:gd name="connsiteY3" fmla="*/ 0 h 1291772"/>
                  <a:gd name="connsiteX4" fmla="*/ 912983 w 1871152"/>
                  <a:gd name="connsiteY4" fmla="*/ 1291772 h 1291772"/>
                  <a:gd name="connsiteX5" fmla="*/ 1014583 w 1871152"/>
                  <a:gd name="connsiteY5" fmla="*/ 333829 h 1291772"/>
                  <a:gd name="connsiteX6" fmla="*/ 1087154 w 1871152"/>
                  <a:gd name="connsiteY6" fmla="*/ 827315 h 1291772"/>
                  <a:gd name="connsiteX7" fmla="*/ 1188754 w 1871152"/>
                  <a:gd name="connsiteY7" fmla="*/ 642711 h 1291772"/>
                  <a:gd name="connsiteX8" fmla="*/ 1871152 w 1871152"/>
                  <a:gd name="connsiteY8" fmla="*/ 642712 h 1291772"/>
                  <a:gd name="connsiteX0" fmla="*/ 0 w 1871152"/>
                  <a:gd name="connsiteY0" fmla="*/ 629339 h 1291772"/>
                  <a:gd name="connsiteX1" fmla="*/ 709782 w 1871152"/>
                  <a:gd name="connsiteY1" fmla="*/ 617144 h 1291772"/>
                  <a:gd name="connsiteX2" fmla="*/ 811383 w 1871152"/>
                  <a:gd name="connsiteY2" fmla="*/ 0 h 1291772"/>
                  <a:gd name="connsiteX3" fmla="*/ 912983 w 1871152"/>
                  <a:gd name="connsiteY3" fmla="*/ 1291772 h 1291772"/>
                  <a:gd name="connsiteX4" fmla="*/ 1014583 w 1871152"/>
                  <a:gd name="connsiteY4" fmla="*/ 333829 h 1291772"/>
                  <a:gd name="connsiteX5" fmla="*/ 1087154 w 1871152"/>
                  <a:gd name="connsiteY5" fmla="*/ 827315 h 1291772"/>
                  <a:gd name="connsiteX6" fmla="*/ 1188754 w 1871152"/>
                  <a:gd name="connsiteY6" fmla="*/ 642711 h 1291772"/>
                  <a:gd name="connsiteX7" fmla="*/ 1871152 w 1871152"/>
                  <a:gd name="connsiteY7" fmla="*/ 642712 h 1291772"/>
                  <a:gd name="connsiteX0" fmla="*/ 0 w 1871152"/>
                  <a:gd name="connsiteY0" fmla="*/ 629339 h 1291772"/>
                  <a:gd name="connsiteX1" fmla="*/ 719449 w 1871152"/>
                  <a:gd name="connsiteY1" fmla="*/ 638043 h 1291772"/>
                  <a:gd name="connsiteX2" fmla="*/ 811383 w 1871152"/>
                  <a:gd name="connsiteY2" fmla="*/ 0 h 1291772"/>
                  <a:gd name="connsiteX3" fmla="*/ 912983 w 1871152"/>
                  <a:gd name="connsiteY3" fmla="*/ 1291772 h 1291772"/>
                  <a:gd name="connsiteX4" fmla="*/ 1014583 w 1871152"/>
                  <a:gd name="connsiteY4" fmla="*/ 333829 h 1291772"/>
                  <a:gd name="connsiteX5" fmla="*/ 1087154 w 1871152"/>
                  <a:gd name="connsiteY5" fmla="*/ 827315 h 1291772"/>
                  <a:gd name="connsiteX6" fmla="*/ 1188754 w 1871152"/>
                  <a:gd name="connsiteY6" fmla="*/ 642711 h 1291772"/>
                  <a:gd name="connsiteX7" fmla="*/ 1871152 w 1871152"/>
                  <a:gd name="connsiteY7" fmla="*/ 642712 h 129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1152" h="1291772">
                    <a:moveTo>
                      <a:pt x="0" y="629339"/>
                    </a:moveTo>
                    <a:lnTo>
                      <a:pt x="719449" y="638043"/>
                    </a:lnTo>
                    <a:lnTo>
                      <a:pt x="811383" y="0"/>
                    </a:lnTo>
                    <a:lnTo>
                      <a:pt x="912983" y="1291772"/>
                    </a:lnTo>
                    <a:lnTo>
                      <a:pt x="1014583" y="333829"/>
                    </a:lnTo>
                    <a:lnTo>
                      <a:pt x="1087154" y="827315"/>
                    </a:lnTo>
                    <a:lnTo>
                      <a:pt x="1188754" y="642711"/>
                    </a:lnTo>
                    <a:lnTo>
                      <a:pt x="1871152" y="642712"/>
                    </a:lnTo>
                  </a:path>
                </a:pathLst>
              </a:custGeom>
              <a:noFill/>
              <a:ln w="15875">
                <a:gradFill flip="none" rotWithShape="1">
                  <a:gsLst>
                    <a:gs pos="0">
                      <a:schemeClr val="accent1"/>
                    </a:gs>
                    <a:gs pos="10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2000">
                  <a:solidFill>
                    <a:schemeClr val="bg1"/>
                  </a:solidFill>
                  <a:cs typeface="+mn-ea"/>
                  <a:sym typeface="+mn-lt"/>
                </a:endParaRPr>
              </a:p>
            </p:txBody>
          </p:sp>
          <p:sp>
            <p:nvSpPr>
              <p:cNvPr id="2" name="矩形 1">
                <a:extLst>
                  <a:ext uri="{FF2B5EF4-FFF2-40B4-BE49-F238E27FC236}">
                    <a16:creationId xmlns:a16="http://schemas.microsoft.com/office/drawing/2014/main" id="{CB9E6E39-6982-4AC3-BED8-D897EC79D5C6}"/>
                  </a:ext>
                </a:extLst>
              </p:cNvPr>
              <p:cNvSpPr/>
              <p:nvPr/>
            </p:nvSpPr>
            <p:spPr>
              <a:xfrm>
                <a:off x="6585433" y="1306430"/>
                <a:ext cx="3940326" cy="523220"/>
              </a:xfrm>
              <a:prstGeom prst="rect">
                <a:avLst/>
              </a:prstGeom>
            </p:spPr>
            <p:txBody>
              <a:bodyPr wrap="square" anchor="ctr">
                <a:spAutoFit/>
              </a:bodyPr>
              <a:lstStyle/>
              <a:p>
                <a:pPr algn="dist"/>
                <a:r>
                  <a:rPr lang="en-US" altLang="zh-CN" sz="2800" b="1" dirty="0">
                    <a:solidFill>
                      <a:schemeClr val="accent1"/>
                    </a:solidFill>
                    <a:cs typeface="+mn-ea"/>
                    <a:sym typeface="+mn-lt"/>
                  </a:rPr>
                  <a:t>《</a:t>
                </a:r>
                <a:r>
                  <a:rPr lang="zh-CN" altLang="en-US" sz="2800" b="1" dirty="0">
                    <a:solidFill>
                      <a:schemeClr val="accent1"/>
                    </a:solidFill>
                    <a:cs typeface="+mn-ea"/>
                    <a:sym typeface="+mn-lt"/>
                  </a:rPr>
                  <a:t>上海大学校歌</a:t>
                </a:r>
                <a:r>
                  <a:rPr lang="en-US" altLang="zh-CN" sz="2800" b="1" dirty="0">
                    <a:solidFill>
                      <a:schemeClr val="accent1"/>
                    </a:solidFill>
                    <a:cs typeface="+mn-ea"/>
                    <a:sym typeface="+mn-lt"/>
                  </a:rPr>
                  <a:t>》</a:t>
                </a:r>
                <a:endParaRPr lang="en-US" sz="2800" b="1" dirty="0">
                  <a:solidFill>
                    <a:schemeClr val="accent1"/>
                  </a:solidFill>
                  <a:cs typeface="+mn-ea"/>
                  <a:sym typeface="+mn-lt"/>
                </a:endParaRPr>
              </a:p>
            </p:txBody>
          </p:sp>
        </p:grpSp>
        <p:grpSp>
          <p:nvGrpSpPr>
            <p:cNvPr id="6" name="组合 5">
              <a:extLst>
                <a:ext uri="{FF2B5EF4-FFF2-40B4-BE49-F238E27FC236}">
                  <a16:creationId xmlns:a16="http://schemas.microsoft.com/office/drawing/2014/main" id="{34D77708-6F1B-4870-BA13-FAB386EA764C}"/>
                </a:ext>
              </a:extLst>
            </p:cNvPr>
            <p:cNvGrpSpPr/>
            <p:nvPr/>
          </p:nvGrpSpPr>
          <p:grpSpPr>
            <a:xfrm>
              <a:off x="7485538" y="2139432"/>
              <a:ext cx="3547026" cy="468058"/>
              <a:chOff x="7068920" y="1936232"/>
              <a:chExt cx="3547026" cy="468058"/>
            </a:xfrm>
          </p:grpSpPr>
          <p:sp>
            <p:nvSpPr>
              <p:cNvPr id="34" name="矩形 33">
                <a:extLst>
                  <a:ext uri="{FF2B5EF4-FFF2-40B4-BE49-F238E27FC236}">
                    <a16:creationId xmlns:a16="http://schemas.microsoft.com/office/drawing/2014/main" id="{A33D8BF5-FE85-4169-993C-6044002C2953}"/>
                  </a:ext>
                </a:extLst>
              </p:cNvPr>
              <p:cNvSpPr/>
              <p:nvPr/>
            </p:nvSpPr>
            <p:spPr>
              <a:xfrm>
                <a:off x="7068920" y="1936232"/>
                <a:ext cx="1084990"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作词：吴仁援</a:t>
                </a:r>
              </a:p>
            </p:txBody>
          </p:sp>
          <p:sp>
            <p:nvSpPr>
              <p:cNvPr id="35" name="矩形 34">
                <a:extLst>
                  <a:ext uri="{FF2B5EF4-FFF2-40B4-BE49-F238E27FC236}">
                    <a16:creationId xmlns:a16="http://schemas.microsoft.com/office/drawing/2014/main" id="{968597FA-1A6E-4E60-8E23-1F44BB723C9D}"/>
                  </a:ext>
                </a:extLst>
              </p:cNvPr>
              <p:cNvSpPr/>
              <p:nvPr/>
            </p:nvSpPr>
            <p:spPr>
              <a:xfrm>
                <a:off x="7068920" y="2188846"/>
                <a:ext cx="1084990"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作曲：徐景新</a:t>
                </a:r>
              </a:p>
            </p:txBody>
          </p:sp>
          <p:sp>
            <p:nvSpPr>
              <p:cNvPr id="36" name="矩形 35">
                <a:extLst>
                  <a:ext uri="{FF2B5EF4-FFF2-40B4-BE49-F238E27FC236}">
                    <a16:creationId xmlns:a16="http://schemas.microsoft.com/office/drawing/2014/main" id="{EF1FFA72-2E2D-4B09-96F2-78BDDDCDD8F6}"/>
                  </a:ext>
                </a:extLst>
              </p:cNvPr>
              <p:cNvSpPr/>
              <p:nvPr/>
            </p:nvSpPr>
            <p:spPr>
              <a:xfrm>
                <a:off x="8611853" y="1936232"/>
                <a:ext cx="2004093"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伴奏：上海大学交响乐团</a:t>
                </a:r>
              </a:p>
            </p:txBody>
          </p:sp>
          <p:sp>
            <p:nvSpPr>
              <p:cNvPr id="37" name="矩形 36">
                <a:extLst>
                  <a:ext uri="{FF2B5EF4-FFF2-40B4-BE49-F238E27FC236}">
                    <a16:creationId xmlns:a16="http://schemas.microsoft.com/office/drawing/2014/main" id="{839BBDDD-CD0A-4E08-BCFF-B40D4C0726C2}"/>
                  </a:ext>
                </a:extLst>
              </p:cNvPr>
              <p:cNvSpPr/>
              <p:nvPr/>
            </p:nvSpPr>
            <p:spPr>
              <a:xfrm>
                <a:off x="8611853" y="2188846"/>
                <a:ext cx="2004093"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演唱：上海大学合唱团</a:t>
                </a:r>
              </a:p>
            </p:txBody>
          </p:sp>
        </p:grpSp>
        <p:grpSp>
          <p:nvGrpSpPr>
            <p:cNvPr id="66" name="组合 65">
              <a:extLst>
                <a:ext uri="{FF2B5EF4-FFF2-40B4-BE49-F238E27FC236}">
                  <a16:creationId xmlns:a16="http://schemas.microsoft.com/office/drawing/2014/main" id="{4AF05633-A2BF-411F-94ED-608EF823D8C8}"/>
                </a:ext>
              </a:extLst>
            </p:cNvPr>
            <p:cNvGrpSpPr/>
            <p:nvPr/>
          </p:nvGrpSpPr>
          <p:grpSpPr>
            <a:xfrm>
              <a:off x="6805527" y="5531770"/>
              <a:ext cx="4907048" cy="523087"/>
              <a:chOff x="5834456" y="5729197"/>
              <a:chExt cx="5354912" cy="523087"/>
            </a:xfrm>
            <a:gradFill flip="none" rotWithShape="1">
              <a:gsLst>
                <a:gs pos="0">
                  <a:schemeClr val="accent1"/>
                </a:gs>
                <a:gs pos="100000">
                  <a:schemeClr val="accent1">
                    <a:alpha val="0"/>
                  </a:schemeClr>
                </a:gs>
              </a:gsLst>
              <a:lin ang="5400000" scaled="1"/>
              <a:tileRect/>
            </a:gradFill>
          </p:grpSpPr>
          <p:sp>
            <p:nvSpPr>
              <p:cNvPr id="39" name="矩形 38">
                <a:extLst>
                  <a:ext uri="{FF2B5EF4-FFF2-40B4-BE49-F238E27FC236}">
                    <a16:creationId xmlns:a16="http://schemas.microsoft.com/office/drawing/2014/main" id="{FB6EE1C9-8108-4762-B153-060B4FFD42EF}"/>
                  </a:ext>
                </a:extLst>
              </p:cNvPr>
              <p:cNvSpPr/>
              <p:nvPr/>
            </p:nvSpPr>
            <p:spPr>
              <a:xfrm>
                <a:off x="5834456"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0" name="矩形 39">
                <a:extLst>
                  <a:ext uri="{FF2B5EF4-FFF2-40B4-BE49-F238E27FC236}">
                    <a16:creationId xmlns:a16="http://schemas.microsoft.com/office/drawing/2014/main" id="{6A19BA43-CEDD-47D2-8AD0-506848773D34}"/>
                  </a:ext>
                </a:extLst>
              </p:cNvPr>
              <p:cNvSpPr/>
              <p:nvPr/>
            </p:nvSpPr>
            <p:spPr>
              <a:xfrm>
                <a:off x="6062253"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1" name="矩形 40">
                <a:extLst>
                  <a:ext uri="{FF2B5EF4-FFF2-40B4-BE49-F238E27FC236}">
                    <a16:creationId xmlns:a16="http://schemas.microsoft.com/office/drawing/2014/main" id="{5984583F-F450-4A9F-90BF-5C578B81D1D0}"/>
                  </a:ext>
                </a:extLst>
              </p:cNvPr>
              <p:cNvSpPr/>
              <p:nvPr/>
            </p:nvSpPr>
            <p:spPr>
              <a:xfrm>
                <a:off x="6290049"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2" name="矩形 41">
                <a:extLst>
                  <a:ext uri="{FF2B5EF4-FFF2-40B4-BE49-F238E27FC236}">
                    <a16:creationId xmlns:a16="http://schemas.microsoft.com/office/drawing/2014/main" id="{E5335436-96B9-4347-85DA-BC80F40C3702}"/>
                  </a:ext>
                </a:extLst>
              </p:cNvPr>
              <p:cNvSpPr/>
              <p:nvPr/>
            </p:nvSpPr>
            <p:spPr>
              <a:xfrm>
                <a:off x="6517846"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3" name="矩形 42">
                <a:extLst>
                  <a:ext uri="{FF2B5EF4-FFF2-40B4-BE49-F238E27FC236}">
                    <a16:creationId xmlns:a16="http://schemas.microsoft.com/office/drawing/2014/main" id="{95DA546E-8F45-4CB8-A3D5-2131564531B6}"/>
                  </a:ext>
                </a:extLst>
              </p:cNvPr>
              <p:cNvSpPr/>
              <p:nvPr/>
            </p:nvSpPr>
            <p:spPr>
              <a:xfrm>
                <a:off x="6745643"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4" name="矩形 43">
                <a:extLst>
                  <a:ext uri="{FF2B5EF4-FFF2-40B4-BE49-F238E27FC236}">
                    <a16:creationId xmlns:a16="http://schemas.microsoft.com/office/drawing/2014/main" id="{2D0E85A5-D607-4E83-AF57-76336FF1C4DE}"/>
                  </a:ext>
                </a:extLst>
              </p:cNvPr>
              <p:cNvSpPr/>
              <p:nvPr/>
            </p:nvSpPr>
            <p:spPr>
              <a:xfrm>
                <a:off x="6973440"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5" name="矩形 44">
                <a:extLst>
                  <a:ext uri="{FF2B5EF4-FFF2-40B4-BE49-F238E27FC236}">
                    <a16:creationId xmlns:a16="http://schemas.microsoft.com/office/drawing/2014/main" id="{0059A445-895E-4477-8480-7149D1BB9DC5}"/>
                  </a:ext>
                </a:extLst>
              </p:cNvPr>
              <p:cNvSpPr/>
              <p:nvPr/>
            </p:nvSpPr>
            <p:spPr>
              <a:xfrm>
                <a:off x="7201236"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6" name="矩形 45">
                <a:extLst>
                  <a:ext uri="{FF2B5EF4-FFF2-40B4-BE49-F238E27FC236}">
                    <a16:creationId xmlns:a16="http://schemas.microsoft.com/office/drawing/2014/main" id="{7B5D908C-3522-4CBA-A547-FDC9A509C8E9}"/>
                  </a:ext>
                </a:extLst>
              </p:cNvPr>
              <p:cNvSpPr/>
              <p:nvPr/>
            </p:nvSpPr>
            <p:spPr>
              <a:xfrm>
                <a:off x="7429033"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7" name="矩形 46">
                <a:extLst>
                  <a:ext uri="{FF2B5EF4-FFF2-40B4-BE49-F238E27FC236}">
                    <a16:creationId xmlns:a16="http://schemas.microsoft.com/office/drawing/2014/main" id="{90324977-D108-4B22-98E6-C6E53C95CD03}"/>
                  </a:ext>
                </a:extLst>
              </p:cNvPr>
              <p:cNvSpPr/>
              <p:nvPr/>
            </p:nvSpPr>
            <p:spPr>
              <a:xfrm>
                <a:off x="7656830"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8" name="矩形 47">
                <a:extLst>
                  <a:ext uri="{FF2B5EF4-FFF2-40B4-BE49-F238E27FC236}">
                    <a16:creationId xmlns:a16="http://schemas.microsoft.com/office/drawing/2014/main" id="{31D0E0BD-F98B-4DFB-AA24-F3AA21217D69}"/>
                  </a:ext>
                </a:extLst>
              </p:cNvPr>
              <p:cNvSpPr/>
              <p:nvPr/>
            </p:nvSpPr>
            <p:spPr>
              <a:xfrm>
                <a:off x="7884627"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9" name="矩形 48">
                <a:extLst>
                  <a:ext uri="{FF2B5EF4-FFF2-40B4-BE49-F238E27FC236}">
                    <a16:creationId xmlns:a16="http://schemas.microsoft.com/office/drawing/2014/main" id="{6042EE38-88A4-4692-BACC-C978B8985A4B}"/>
                  </a:ext>
                </a:extLst>
              </p:cNvPr>
              <p:cNvSpPr/>
              <p:nvPr/>
            </p:nvSpPr>
            <p:spPr>
              <a:xfrm>
                <a:off x="8112423"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0" name="矩形 49">
                <a:extLst>
                  <a:ext uri="{FF2B5EF4-FFF2-40B4-BE49-F238E27FC236}">
                    <a16:creationId xmlns:a16="http://schemas.microsoft.com/office/drawing/2014/main" id="{23B5FA9A-98F4-45EC-8E75-93D55CC82985}"/>
                  </a:ext>
                </a:extLst>
              </p:cNvPr>
              <p:cNvSpPr/>
              <p:nvPr/>
            </p:nvSpPr>
            <p:spPr>
              <a:xfrm>
                <a:off x="8340220"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1" name="矩形 50">
                <a:extLst>
                  <a:ext uri="{FF2B5EF4-FFF2-40B4-BE49-F238E27FC236}">
                    <a16:creationId xmlns:a16="http://schemas.microsoft.com/office/drawing/2014/main" id="{8403F246-BD41-4154-8909-0EF120624D50}"/>
                  </a:ext>
                </a:extLst>
              </p:cNvPr>
              <p:cNvSpPr/>
              <p:nvPr/>
            </p:nvSpPr>
            <p:spPr>
              <a:xfrm>
                <a:off x="8568017"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2" name="矩形 51">
                <a:extLst>
                  <a:ext uri="{FF2B5EF4-FFF2-40B4-BE49-F238E27FC236}">
                    <a16:creationId xmlns:a16="http://schemas.microsoft.com/office/drawing/2014/main" id="{8506F34B-D551-40DC-9DAE-9CCBD8D132E1}"/>
                  </a:ext>
                </a:extLst>
              </p:cNvPr>
              <p:cNvSpPr/>
              <p:nvPr/>
            </p:nvSpPr>
            <p:spPr>
              <a:xfrm>
                <a:off x="8795813"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3" name="矩形 52">
                <a:extLst>
                  <a:ext uri="{FF2B5EF4-FFF2-40B4-BE49-F238E27FC236}">
                    <a16:creationId xmlns:a16="http://schemas.microsoft.com/office/drawing/2014/main" id="{E41731F5-5973-401C-8C92-AE1CD1CA9367}"/>
                  </a:ext>
                </a:extLst>
              </p:cNvPr>
              <p:cNvSpPr/>
              <p:nvPr/>
            </p:nvSpPr>
            <p:spPr>
              <a:xfrm>
                <a:off x="9023610"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4" name="矩形 53">
                <a:extLst>
                  <a:ext uri="{FF2B5EF4-FFF2-40B4-BE49-F238E27FC236}">
                    <a16:creationId xmlns:a16="http://schemas.microsoft.com/office/drawing/2014/main" id="{ABC0D6F0-A8C6-46D7-A9C8-2B2AE5A46C27}"/>
                  </a:ext>
                </a:extLst>
              </p:cNvPr>
              <p:cNvSpPr/>
              <p:nvPr/>
            </p:nvSpPr>
            <p:spPr>
              <a:xfrm>
                <a:off x="9251407"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5" name="矩形 54">
                <a:extLst>
                  <a:ext uri="{FF2B5EF4-FFF2-40B4-BE49-F238E27FC236}">
                    <a16:creationId xmlns:a16="http://schemas.microsoft.com/office/drawing/2014/main" id="{A49548FB-6FE1-47DE-A78F-A214CE22547A}"/>
                  </a:ext>
                </a:extLst>
              </p:cNvPr>
              <p:cNvSpPr/>
              <p:nvPr/>
            </p:nvSpPr>
            <p:spPr>
              <a:xfrm>
                <a:off x="9479204"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6" name="矩形 55">
                <a:extLst>
                  <a:ext uri="{FF2B5EF4-FFF2-40B4-BE49-F238E27FC236}">
                    <a16:creationId xmlns:a16="http://schemas.microsoft.com/office/drawing/2014/main" id="{953F36D9-347A-4BEB-B44E-01270C49ED27}"/>
                  </a:ext>
                </a:extLst>
              </p:cNvPr>
              <p:cNvSpPr/>
              <p:nvPr/>
            </p:nvSpPr>
            <p:spPr>
              <a:xfrm>
                <a:off x="9707000"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7" name="矩形 56">
                <a:extLst>
                  <a:ext uri="{FF2B5EF4-FFF2-40B4-BE49-F238E27FC236}">
                    <a16:creationId xmlns:a16="http://schemas.microsoft.com/office/drawing/2014/main" id="{300CECB7-C9EF-429C-9C2C-20649130C52D}"/>
                  </a:ext>
                </a:extLst>
              </p:cNvPr>
              <p:cNvSpPr/>
              <p:nvPr/>
            </p:nvSpPr>
            <p:spPr>
              <a:xfrm>
                <a:off x="9934797"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8" name="矩形 57">
                <a:extLst>
                  <a:ext uri="{FF2B5EF4-FFF2-40B4-BE49-F238E27FC236}">
                    <a16:creationId xmlns:a16="http://schemas.microsoft.com/office/drawing/2014/main" id="{1ACFA3FC-6596-49F2-8EE6-2FFE4F535972}"/>
                  </a:ext>
                </a:extLst>
              </p:cNvPr>
              <p:cNvSpPr/>
              <p:nvPr/>
            </p:nvSpPr>
            <p:spPr>
              <a:xfrm>
                <a:off x="10162594"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9" name="矩形 58">
                <a:extLst>
                  <a:ext uri="{FF2B5EF4-FFF2-40B4-BE49-F238E27FC236}">
                    <a16:creationId xmlns:a16="http://schemas.microsoft.com/office/drawing/2014/main" id="{6CB59DBF-E896-4D65-A074-05E20BF1AC0C}"/>
                  </a:ext>
                </a:extLst>
              </p:cNvPr>
              <p:cNvSpPr/>
              <p:nvPr/>
            </p:nvSpPr>
            <p:spPr>
              <a:xfrm>
                <a:off x="10390391"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0" name="矩形 59">
                <a:extLst>
                  <a:ext uri="{FF2B5EF4-FFF2-40B4-BE49-F238E27FC236}">
                    <a16:creationId xmlns:a16="http://schemas.microsoft.com/office/drawing/2014/main" id="{7B167A19-0944-4CAD-92A6-75BF088558EB}"/>
                  </a:ext>
                </a:extLst>
              </p:cNvPr>
              <p:cNvSpPr/>
              <p:nvPr/>
            </p:nvSpPr>
            <p:spPr>
              <a:xfrm>
                <a:off x="10618187"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1" name="矩形 60">
                <a:extLst>
                  <a:ext uri="{FF2B5EF4-FFF2-40B4-BE49-F238E27FC236}">
                    <a16:creationId xmlns:a16="http://schemas.microsoft.com/office/drawing/2014/main" id="{8AC4893A-3A02-47D9-87CF-8039ACB34AED}"/>
                  </a:ext>
                </a:extLst>
              </p:cNvPr>
              <p:cNvSpPr/>
              <p:nvPr/>
            </p:nvSpPr>
            <p:spPr>
              <a:xfrm>
                <a:off x="10845984"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2" name="矩形 61">
                <a:extLst>
                  <a:ext uri="{FF2B5EF4-FFF2-40B4-BE49-F238E27FC236}">
                    <a16:creationId xmlns:a16="http://schemas.microsoft.com/office/drawing/2014/main" id="{7A06E42A-91B6-4078-9FB4-6A6FF2398435}"/>
                  </a:ext>
                </a:extLst>
              </p:cNvPr>
              <p:cNvSpPr/>
              <p:nvPr/>
            </p:nvSpPr>
            <p:spPr>
              <a:xfrm>
                <a:off x="11073781"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grpSp>
      <p:pic>
        <p:nvPicPr>
          <p:cNvPr id="68" name="图片占位符 67">
            <a:extLst>
              <a:ext uri="{FF2B5EF4-FFF2-40B4-BE49-F238E27FC236}">
                <a16:creationId xmlns:a16="http://schemas.microsoft.com/office/drawing/2014/main" id="{81CD6EA0-B962-4254-9BF1-9C44024E5990}"/>
              </a:ext>
            </a:extLst>
          </p:cNvPr>
          <p:cNvPicPr>
            <a:picLocks noGrp="1" noChangeAspect="1"/>
          </p:cNvPicPr>
          <p:nvPr>
            <p:ph type="pic" sz="quarter" idx="10"/>
          </p:nvPr>
        </p:nvPicPr>
        <p:blipFill rotWithShape="1">
          <a:blip r:embed="rId5">
            <a:extLst>
              <a:ext uri="{28A0092B-C50C-407E-A947-70E740481C1C}">
                <a14:useLocalDpi xmlns:a14="http://schemas.microsoft.com/office/drawing/2010/main" val="0"/>
              </a:ext>
            </a:extLst>
          </a:blip>
          <a:srcRect l="13042" r="30718"/>
          <a:stretch/>
        </p:blipFill>
        <p:spPr>
          <a:xfrm>
            <a:off x="1502355" y="2127476"/>
            <a:ext cx="3240000" cy="3240000"/>
          </a:xfrm>
        </p:spPr>
      </p:pic>
      <p:grpSp>
        <p:nvGrpSpPr>
          <p:cNvPr id="63" name="组合 62">
            <a:extLst>
              <a:ext uri="{FF2B5EF4-FFF2-40B4-BE49-F238E27FC236}">
                <a16:creationId xmlns:a16="http://schemas.microsoft.com/office/drawing/2014/main" id="{9223E172-1729-4833-83F2-46C057283FB6}"/>
              </a:ext>
            </a:extLst>
          </p:cNvPr>
          <p:cNvGrpSpPr/>
          <p:nvPr/>
        </p:nvGrpSpPr>
        <p:grpSpPr>
          <a:xfrm>
            <a:off x="0" y="-715587"/>
            <a:ext cx="676656" cy="602672"/>
            <a:chOff x="0" y="6950133"/>
            <a:chExt cx="676656" cy="602672"/>
          </a:xfrm>
        </p:grpSpPr>
        <p:sp>
          <p:nvSpPr>
            <p:cNvPr id="65" name="矩形 64">
              <a:extLst>
                <a:ext uri="{FF2B5EF4-FFF2-40B4-BE49-F238E27FC236}">
                  <a16:creationId xmlns:a16="http://schemas.microsoft.com/office/drawing/2014/main" id="{520F9E74-A667-4F97-9AB1-7926DFD945E3}"/>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67" name="组合 66">
              <a:extLst>
                <a:ext uri="{FF2B5EF4-FFF2-40B4-BE49-F238E27FC236}">
                  <a16:creationId xmlns:a16="http://schemas.microsoft.com/office/drawing/2014/main" id="{5875B3A0-6D57-4B77-A6C6-34E6799854B8}"/>
                </a:ext>
              </a:extLst>
            </p:cNvPr>
            <p:cNvGrpSpPr/>
            <p:nvPr/>
          </p:nvGrpSpPr>
          <p:grpSpPr>
            <a:xfrm>
              <a:off x="47544" y="7038552"/>
              <a:ext cx="581568" cy="425834"/>
              <a:chOff x="84575" y="6977592"/>
              <a:chExt cx="581568" cy="425834"/>
            </a:xfrm>
          </p:grpSpPr>
          <p:grpSp>
            <p:nvGrpSpPr>
              <p:cNvPr id="69" name="组合 68">
                <a:extLst>
                  <a:ext uri="{FF2B5EF4-FFF2-40B4-BE49-F238E27FC236}">
                    <a16:creationId xmlns:a16="http://schemas.microsoft.com/office/drawing/2014/main" id="{985D421E-85EF-4B79-9131-BCA5DD29B6BB}"/>
                  </a:ext>
                </a:extLst>
              </p:cNvPr>
              <p:cNvGrpSpPr/>
              <p:nvPr/>
            </p:nvGrpSpPr>
            <p:grpSpPr>
              <a:xfrm>
                <a:off x="84575" y="6979654"/>
                <a:ext cx="317380" cy="421711"/>
                <a:chOff x="14690033" y="2185397"/>
                <a:chExt cx="583830" cy="775754"/>
              </a:xfrm>
            </p:grpSpPr>
            <p:sp>
              <p:nvSpPr>
                <p:cNvPr id="71" name="iŝļíḑe">
                  <a:extLst>
                    <a:ext uri="{FF2B5EF4-FFF2-40B4-BE49-F238E27FC236}">
                      <a16:creationId xmlns:a16="http://schemas.microsoft.com/office/drawing/2014/main" id="{91A298DE-85CE-4065-ACC8-0F41415191D0}"/>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şḷíḍé">
                  <a:extLst>
                    <a:ext uri="{FF2B5EF4-FFF2-40B4-BE49-F238E27FC236}">
                      <a16:creationId xmlns:a16="http://schemas.microsoft.com/office/drawing/2014/main" id="{7B3DBDD6-A0E6-4D63-A6F8-35F14BB1E926}"/>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Sľïḓe">
                  <a:extLst>
                    <a:ext uri="{FF2B5EF4-FFF2-40B4-BE49-F238E27FC236}">
                      <a16:creationId xmlns:a16="http://schemas.microsoft.com/office/drawing/2014/main" id="{67A44099-E257-4D3C-A724-A758E610D426}"/>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sḻídê">
                  <a:extLst>
                    <a:ext uri="{FF2B5EF4-FFF2-40B4-BE49-F238E27FC236}">
                      <a16:creationId xmlns:a16="http://schemas.microsoft.com/office/drawing/2014/main" id="{479B6A4D-3D16-47D9-A3D0-E5461EDD1E32}"/>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S1íḋè">
                  <a:extLst>
                    <a:ext uri="{FF2B5EF4-FFF2-40B4-BE49-F238E27FC236}">
                      <a16:creationId xmlns:a16="http://schemas.microsoft.com/office/drawing/2014/main" id="{5EC1F151-B48D-43F6-8C88-CB5A50EC24F8}"/>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íde">
                  <a:extLst>
                    <a:ext uri="{FF2B5EF4-FFF2-40B4-BE49-F238E27FC236}">
                      <a16:creationId xmlns:a16="http://schemas.microsoft.com/office/drawing/2014/main" id="{A82CE5C0-0098-41E5-8EC5-85EE5A159D92}"/>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70" name="文本框 69">
                <a:extLst>
                  <a:ext uri="{FF2B5EF4-FFF2-40B4-BE49-F238E27FC236}">
                    <a16:creationId xmlns:a16="http://schemas.microsoft.com/office/drawing/2014/main" id="{1C55EF9C-7C5A-41DC-BE19-16974C5A96ED}"/>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77" name="矩形 76">
            <a:extLst>
              <a:ext uri="{FF2B5EF4-FFF2-40B4-BE49-F238E27FC236}">
                <a16:creationId xmlns:a16="http://schemas.microsoft.com/office/drawing/2014/main" id="{2DF760E0-0E1B-448B-A410-F8649D3DF277}"/>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全屏模式下单击鼠标即可播放音乐</a:t>
            </a:r>
          </a:p>
        </p:txBody>
      </p:sp>
    </p:spTree>
    <p:extLst>
      <p:ext uri="{BB962C8B-B14F-4D97-AF65-F5344CB8AC3E}">
        <p14:creationId xmlns:p14="http://schemas.microsoft.com/office/powerpoint/2010/main" val="267093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30586" fill="hold"/>
                                        <p:tgtEl>
                                          <p:spTgt spid="6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remove" display="0">
                  <p:stCondLst>
                    <p:cond delay="indefinite"/>
                  </p:stCondLst>
                  <p:endCondLst>
                    <p:cond evt="onStopAudio" delay="0">
                      <p:tgtEl>
                        <p:sldTgt/>
                      </p:tgtEl>
                    </p:cond>
                  </p:endCondLst>
                </p:cTn>
                <p:tgtEl>
                  <p:spTgt spid="64"/>
                </p:tgtEl>
              </p:cMediaNode>
            </p:audio>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a:extLst>
              <a:ext uri="{FF2B5EF4-FFF2-40B4-BE49-F238E27FC236}">
                <a16:creationId xmlns:a16="http://schemas.microsoft.com/office/drawing/2014/main" id="{6867EF37-E9AA-456A-9004-8CDDD5950D15}"/>
              </a:ext>
            </a:extLst>
          </p:cNvPr>
          <p:cNvGrpSpPr/>
          <p:nvPr/>
        </p:nvGrpSpPr>
        <p:grpSpPr>
          <a:xfrm>
            <a:off x="518809" y="1215736"/>
            <a:ext cx="11193766" cy="4913602"/>
            <a:chOff x="518809" y="1215736"/>
            <a:chExt cx="11193766" cy="4913602"/>
          </a:xfrm>
        </p:grpSpPr>
        <p:grpSp>
          <p:nvGrpSpPr>
            <p:cNvPr id="7" name="组合 6">
              <a:extLst>
                <a:ext uri="{FF2B5EF4-FFF2-40B4-BE49-F238E27FC236}">
                  <a16:creationId xmlns:a16="http://schemas.microsoft.com/office/drawing/2014/main" id="{3A792197-93C1-428C-951A-A2BA35B7FE7E}"/>
                </a:ext>
              </a:extLst>
            </p:cNvPr>
            <p:cNvGrpSpPr/>
            <p:nvPr/>
          </p:nvGrpSpPr>
          <p:grpSpPr>
            <a:xfrm>
              <a:off x="1371600" y="1239969"/>
              <a:ext cx="9575870" cy="4889369"/>
              <a:chOff x="1371600" y="1239969"/>
              <a:chExt cx="9575870" cy="4889369"/>
            </a:xfrm>
          </p:grpSpPr>
          <p:sp>
            <p:nvSpPr>
              <p:cNvPr id="41" name="椭圆 40">
                <a:extLst>
                  <a:ext uri="{FF2B5EF4-FFF2-40B4-BE49-F238E27FC236}">
                    <a16:creationId xmlns:a16="http://schemas.microsoft.com/office/drawing/2014/main" id="{75DB2840-C7EB-47C4-9CAB-44351F28896B}"/>
                  </a:ext>
                </a:extLst>
              </p:cNvPr>
              <p:cNvSpPr/>
              <p:nvPr/>
            </p:nvSpPr>
            <p:spPr>
              <a:xfrm>
                <a:off x="1371600" y="1239969"/>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2" name="椭圆 41">
                <a:extLst>
                  <a:ext uri="{FF2B5EF4-FFF2-40B4-BE49-F238E27FC236}">
                    <a16:creationId xmlns:a16="http://schemas.microsoft.com/office/drawing/2014/main" id="{93837B66-C3EB-48D5-BAC6-7886DD84D589}"/>
                  </a:ext>
                </a:extLst>
              </p:cNvPr>
              <p:cNvSpPr/>
              <p:nvPr/>
            </p:nvSpPr>
            <p:spPr>
              <a:xfrm>
                <a:off x="6880796" y="1239969"/>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 name="椭圆 12">
                <a:extLst>
                  <a:ext uri="{FF2B5EF4-FFF2-40B4-BE49-F238E27FC236}">
                    <a16:creationId xmlns:a16="http://schemas.microsoft.com/office/drawing/2014/main" id="{816CC9AC-FF2F-4931-A921-DEB7665F2062}"/>
                  </a:ext>
                </a:extLst>
              </p:cNvPr>
              <p:cNvSpPr/>
              <p:nvPr/>
            </p:nvSpPr>
            <p:spPr>
              <a:xfrm>
                <a:off x="1371600" y="5522602"/>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4" name="椭圆 13">
                <a:extLst>
                  <a:ext uri="{FF2B5EF4-FFF2-40B4-BE49-F238E27FC236}">
                    <a16:creationId xmlns:a16="http://schemas.microsoft.com/office/drawing/2014/main" id="{6D29FD1B-5F17-4A7E-8D2F-C246BBC5E6D2}"/>
                  </a:ext>
                </a:extLst>
              </p:cNvPr>
              <p:cNvSpPr/>
              <p:nvPr/>
            </p:nvSpPr>
            <p:spPr>
              <a:xfrm>
                <a:off x="6880796" y="5522602"/>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5" name="矩形 4">
              <a:extLst>
                <a:ext uri="{FF2B5EF4-FFF2-40B4-BE49-F238E27FC236}">
                  <a16:creationId xmlns:a16="http://schemas.microsoft.com/office/drawing/2014/main" id="{A6DE6612-E321-40D6-8E20-4CF3BBB681A2}"/>
                </a:ext>
              </a:extLst>
            </p:cNvPr>
            <p:cNvSpPr/>
            <p:nvPr/>
          </p:nvSpPr>
          <p:spPr>
            <a:xfrm>
              <a:off x="518809" y="1215736"/>
              <a:ext cx="5596883" cy="4904629"/>
            </a:xfrm>
            <a:prstGeom prst="rect">
              <a:avLst/>
            </a:prstGeom>
            <a:pattFill prst="ltUpDiag">
              <a:fgClr>
                <a:schemeClr val="bg1">
                  <a:lumMod val="95000"/>
                </a:schemeClr>
              </a:fgClr>
              <a:bgClr>
                <a:schemeClr val="bg1"/>
              </a:bgClr>
            </a:patt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 name="矩形: 折角 5">
              <a:extLst>
                <a:ext uri="{FF2B5EF4-FFF2-40B4-BE49-F238E27FC236}">
                  <a16:creationId xmlns:a16="http://schemas.microsoft.com/office/drawing/2014/main" id="{1191A00E-FDE2-4269-963B-643D2E5DEA7C}"/>
                </a:ext>
              </a:extLst>
            </p:cNvPr>
            <p:cNvSpPr/>
            <p:nvPr/>
          </p:nvSpPr>
          <p:spPr>
            <a:xfrm>
              <a:off x="6115692" y="1215736"/>
              <a:ext cx="5596883" cy="4904629"/>
            </a:xfrm>
            <a:prstGeom prst="foldedCorner">
              <a:avLst>
                <a:gd name="adj" fmla="val 7693"/>
              </a:avLst>
            </a:prstGeom>
            <a:pattFill prst="ltUpDiag">
              <a:fgClr>
                <a:schemeClr val="bg1">
                  <a:lumMod val="95000"/>
                </a:schemeClr>
              </a:fgClr>
              <a:bgClr>
                <a:schemeClr val="bg1"/>
              </a:bgClr>
            </a:patt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8" name="矩形 7">
              <a:extLst>
                <a:ext uri="{FF2B5EF4-FFF2-40B4-BE49-F238E27FC236}">
                  <a16:creationId xmlns:a16="http://schemas.microsoft.com/office/drawing/2014/main" id="{0C76D148-B859-4C8C-A709-197799804078}"/>
                </a:ext>
              </a:extLst>
            </p:cNvPr>
            <p:cNvSpPr/>
            <p:nvPr/>
          </p:nvSpPr>
          <p:spPr>
            <a:xfrm>
              <a:off x="6127033" y="1229250"/>
              <a:ext cx="737755" cy="4877602"/>
            </a:xfrm>
            <a:prstGeom prst="rect">
              <a:avLst/>
            </a:prstGeom>
            <a:gradFill flip="none" rotWithShape="1">
              <a:gsLst>
                <a:gs pos="100000">
                  <a:schemeClr val="bg1">
                    <a:alpha val="0"/>
                  </a:schemeClr>
                </a:gs>
                <a:gs pos="48000">
                  <a:schemeClr val="bg1">
                    <a:lumMod val="95000"/>
                  </a:schemeClr>
                </a:gs>
                <a:gs pos="0">
                  <a:schemeClr val="bg1">
                    <a:lumMod val="85000"/>
                    <a:alpha val="70000"/>
                  </a:scheme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2" name="标题 1">
            <a:extLst>
              <a:ext uri="{FF2B5EF4-FFF2-40B4-BE49-F238E27FC236}">
                <a16:creationId xmlns:a16="http://schemas.microsoft.com/office/drawing/2014/main" id="{74D4F3CB-E394-4887-A832-B11874144098}"/>
              </a:ext>
            </a:extLst>
          </p:cNvPr>
          <p:cNvSpPr>
            <a:spLocks noGrp="1"/>
          </p:cNvSpPr>
          <p:nvPr>
            <p:ph type="title"/>
          </p:nvPr>
        </p:nvSpPr>
        <p:spPr/>
        <p:txBody>
          <a:bodyPr/>
          <a:lstStyle/>
          <a:p>
            <a:r>
              <a:rPr lang="zh-CN" altLang="en-US" dirty="0">
                <a:latin typeface="+mn-lt"/>
                <a:ea typeface="+mn-ea"/>
                <a:cs typeface="+mn-ea"/>
                <a:sym typeface="+mn-lt"/>
              </a:rPr>
              <a:t>参考文献页</a:t>
            </a:r>
            <a:endParaRPr lang="en-US" dirty="0">
              <a:latin typeface="+mn-lt"/>
              <a:ea typeface="+mn-ea"/>
              <a:cs typeface="+mn-ea"/>
              <a:sym typeface="+mn-lt"/>
            </a:endParaRPr>
          </a:p>
        </p:txBody>
      </p:sp>
      <p:sp>
        <p:nvSpPr>
          <p:cNvPr id="4" name="矩形 3">
            <a:extLst>
              <a:ext uri="{FF2B5EF4-FFF2-40B4-BE49-F238E27FC236}">
                <a16:creationId xmlns:a16="http://schemas.microsoft.com/office/drawing/2014/main" id="{FD2F0787-BBBE-4741-AD93-411CDF91C808}"/>
              </a:ext>
            </a:extLst>
          </p:cNvPr>
          <p:cNvSpPr/>
          <p:nvPr/>
        </p:nvSpPr>
        <p:spPr>
          <a:xfrm>
            <a:off x="893618" y="1529670"/>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1. </a:t>
            </a:r>
            <a:r>
              <a:rPr lang="zh-CN" altLang="en-US" kern="100" dirty="0">
                <a:solidFill>
                  <a:prstClr val="black">
                    <a:lumMod val="85000"/>
                    <a:lumOff val="15000"/>
                  </a:prstClr>
                </a:solidFill>
                <a:cs typeface="+mn-ea"/>
                <a:sym typeface="+mn-lt"/>
              </a:rPr>
              <a:t>期刊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J〕.</a:t>
            </a:r>
            <a:r>
              <a:rPr lang="zh-CN" altLang="en-US" kern="100" dirty="0">
                <a:solidFill>
                  <a:prstClr val="black">
                    <a:lumMod val="85000"/>
                    <a:lumOff val="15000"/>
                  </a:prstClr>
                </a:solidFill>
                <a:cs typeface="+mn-ea"/>
                <a:sym typeface="+mn-lt"/>
              </a:rPr>
              <a:t>刊名，出版年，卷</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期</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起止页码</a:t>
            </a:r>
            <a:endParaRPr lang="en-US" altLang="zh-CN" kern="100" dirty="0">
              <a:solidFill>
                <a:prstClr val="black">
                  <a:lumMod val="85000"/>
                  <a:lumOff val="15000"/>
                </a:prstClr>
              </a:solidFill>
              <a:cs typeface="+mn-ea"/>
              <a:sym typeface="+mn-lt"/>
            </a:endParaRPr>
          </a:p>
        </p:txBody>
      </p:sp>
      <p:sp>
        <p:nvSpPr>
          <p:cNvPr id="21" name="矩形 20">
            <a:extLst>
              <a:ext uri="{FF2B5EF4-FFF2-40B4-BE49-F238E27FC236}">
                <a16:creationId xmlns:a16="http://schemas.microsoft.com/office/drawing/2014/main" id="{6F9FEC6B-27C8-456A-BD7E-19518CED2F2C}"/>
              </a:ext>
            </a:extLst>
          </p:cNvPr>
          <p:cNvSpPr/>
          <p:nvPr/>
        </p:nvSpPr>
        <p:spPr>
          <a:xfrm>
            <a:off x="893618" y="2653009"/>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2. </a:t>
            </a:r>
            <a:r>
              <a:rPr lang="zh-CN" altLang="en-US" kern="100" dirty="0">
                <a:solidFill>
                  <a:prstClr val="black">
                    <a:lumMod val="85000"/>
                    <a:lumOff val="15000"/>
                  </a:prstClr>
                </a:solidFill>
                <a:cs typeface="+mn-ea"/>
                <a:sym typeface="+mn-lt"/>
              </a:rPr>
              <a:t>专著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书名</a:t>
            </a:r>
            <a:r>
              <a:rPr lang="en-US" altLang="zh-CN" kern="100" dirty="0">
                <a:solidFill>
                  <a:prstClr val="black">
                    <a:lumMod val="85000"/>
                    <a:lumOff val="15000"/>
                  </a:prstClr>
                </a:solidFill>
                <a:cs typeface="+mn-ea"/>
                <a:sym typeface="+mn-lt"/>
              </a:rPr>
              <a:t>〔M〕.</a:t>
            </a:r>
            <a:r>
              <a:rPr lang="zh-CN" altLang="en-US" kern="100" dirty="0">
                <a:solidFill>
                  <a:prstClr val="black">
                    <a:lumMod val="85000"/>
                    <a:lumOff val="15000"/>
                  </a:prstClr>
                </a:solidFill>
                <a:cs typeface="+mn-ea"/>
                <a:sym typeface="+mn-lt"/>
              </a:rPr>
              <a:t>版本</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第一版不著录</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出版地∶出版者，出版年∶起止页码</a:t>
            </a:r>
            <a:endParaRPr lang="en-US" altLang="zh-CN" kern="100" dirty="0">
              <a:solidFill>
                <a:prstClr val="black">
                  <a:lumMod val="85000"/>
                  <a:lumOff val="15000"/>
                </a:prstClr>
              </a:solidFill>
              <a:cs typeface="+mn-ea"/>
              <a:sym typeface="+mn-lt"/>
            </a:endParaRPr>
          </a:p>
        </p:txBody>
      </p:sp>
      <p:sp>
        <p:nvSpPr>
          <p:cNvPr id="22" name="矩形 21">
            <a:extLst>
              <a:ext uri="{FF2B5EF4-FFF2-40B4-BE49-F238E27FC236}">
                <a16:creationId xmlns:a16="http://schemas.microsoft.com/office/drawing/2014/main" id="{903F5C79-C2A2-47D4-9CBE-B49355666EC8}"/>
              </a:ext>
            </a:extLst>
          </p:cNvPr>
          <p:cNvSpPr/>
          <p:nvPr/>
        </p:nvSpPr>
        <p:spPr>
          <a:xfrm>
            <a:off x="893618" y="3776348"/>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3. </a:t>
            </a:r>
            <a:r>
              <a:rPr lang="zh-CN" altLang="en-US" kern="100" dirty="0">
                <a:solidFill>
                  <a:prstClr val="black">
                    <a:lumMod val="85000"/>
                    <a:lumOff val="15000"/>
                  </a:prstClr>
                </a:solidFill>
                <a:cs typeface="+mn-ea"/>
                <a:sym typeface="+mn-lt"/>
              </a:rPr>
              <a:t>论文集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C〕.</a:t>
            </a:r>
            <a:r>
              <a:rPr lang="zh-CN" altLang="en-US" kern="100" dirty="0">
                <a:solidFill>
                  <a:prstClr val="black">
                    <a:lumMod val="85000"/>
                    <a:lumOff val="15000"/>
                  </a:prstClr>
                </a:solidFill>
                <a:cs typeface="+mn-ea"/>
                <a:sym typeface="+mn-lt"/>
              </a:rPr>
              <a:t>编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论文集名，出版地∶出版者，出版年∶起止页码</a:t>
            </a:r>
            <a:endParaRPr lang="en-US" altLang="zh-CN" kern="100" dirty="0">
              <a:solidFill>
                <a:prstClr val="black">
                  <a:lumMod val="85000"/>
                  <a:lumOff val="15000"/>
                </a:prstClr>
              </a:solidFill>
              <a:cs typeface="+mn-ea"/>
              <a:sym typeface="+mn-lt"/>
            </a:endParaRPr>
          </a:p>
        </p:txBody>
      </p:sp>
      <p:sp>
        <p:nvSpPr>
          <p:cNvPr id="23" name="矩形 22">
            <a:extLst>
              <a:ext uri="{FF2B5EF4-FFF2-40B4-BE49-F238E27FC236}">
                <a16:creationId xmlns:a16="http://schemas.microsoft.com/office/drawing/2014/main" id="{CC800C1A-A87A-4B0D-8A67-36651FD94EB5}"/>
              </a:ext>
            </a:extLst>
          </p:cNvPr>
          <p:cNvSpPr/>
          <p:nvPr/>
        </p:nvSpPr>
        <p:spPr>
          <a:xfrm>
            <a:off x="893618" y="4899687"/>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4. </a:t>
            </a:r>
            <a:r>
              <a:rPr lang="zh-CN" altLang="en-US" kern="100" dirty="0">
                <a:solidFill>
                  <a:prstClr val="black">
                    <a:lumMod val="85000"/>
                    <a:lumOff val="15000"/>
                  </a:prstClr>
                </a:solidFill>
                <a:cs typeface="+mn-ea"/>
                <a:sym typeface="+mn-lt"/>
              </a:rPr>
              <a:t>学位论文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D〕.</a:t>
            </a:r>
            <a:r>
              <a:rPr lang="zh-CN" altLang="en-US" kern="100" dirty="0">
                <a:solidFill>
                  <a:prstClr val="black">
                    <a:lumMod val="85000"/>
                    <a:lumOff val="15000"/>
                  </a:prstClr>
                </a:solidFill>
                <a:cs typeface="+mn-ea"/>
                <a:sym typeface="+mn-lt"/>
              </a:rPr>
              <a:t>保存地点</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保存单位</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年份</a:t>
            </a:r>
            <a:endParaRPr lang="en-US" altLang="zh-CN" kern="100" dirty="0">
              <a:solidFill>
                <a:prstClr val="black">
                  <a:lumMod val="85000"/>
                  <a:lumOff val="15000"/>
                </a:prstClr>
              </a:solidFill>
              <a:cs typeface="+mn-ea"/>
              <a:sym typeface="+mn-lt"/>
            </a:endParaRPr>
          </a:p>
        </p:txBody>
      </p:sp>
      <p:sp>
        <p:nvSpPr>
          <p:cNvPr id="18" name="矩形 17">
            <a:extLst>
              <a:ext uri="{FF2B5EF4-FFF2-40B4-BE49-F238E27FC236}">
                <a16:creationId xmlns:a16="http://schemas.microsoft.com/office/drawing/2014/main" id="{FF266BD4-FFFF-482B-91FC-FC84A8941DAC}"/>
              </a:ext>
            </a:extLst>
          </p:cNvPr>
          <p:cNvSpPr/>
          <p:nvPr/>
        </p:nvSpPr>
        <p:spPr>
          <a:xfrm>
            <a:off x="6518913" y="1529670"/>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5. </a:t>
            </a:r>
            <a:r>
              <a:rPr lang="zh-CN" altLang="en-US" kern="100" dirty="0">
                <a:solidFill>
                  <a:prstClr val="black">
                    <a:lumMod val="85000"/>
                    <a:lumOff val="15000"/>
                  </a:prstClr>
                </a:solidFill>
                <a:cs typeface="+mn-ea"/>
                <a:sym typeface="+mn-lt"/>
              </a:rPr>
              <a:t>专利文献题名</a:t>
            </a:r>
            <a:r>
              <a:rPr lang="en-US" altLang="zh-CN" kern="100" dirty="0">
                <a:solidFill>
                  <a:prstClr val="black">
                    <a:lumMod val="85000"/>
                    <a:lumOff val="15000"/>
                  </a:prstClr>
                </a:solidFill>
                <a:cs typeface="+mn-ea"/>
                <a:sym typeface="+mn-lt"/>
              </a:rPr>
              <a:t>〔P〕.</a:t>
            </a:r>
            <a:r>
              <a:rPr lang="zh-CN" altLang="en-US" kern="100" dirty="0">
                <a:solidFill>
                  <a:prstClr val="black">
                    <a:lumMod val="85000"/>
                    <a:lumOff val="15000"/>
                  </a:prstClr>
                </a:solidFill>
                <a:cs typeface="+mn-ea"/>
                <a:sym typeface="+mn-lt"/>
              </a:rPr>
              <a:t>国别</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专利文献种类</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专利号</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出版日期</a:t>
            </a:r>
            <a:endParaRPr lang="en-US" altLang="zh-CN" kern="100" dirty="0">
              <a:solidFill>
                <a:prstClr val="black">
                  <a:lumMod val="85000"/>
                  <a:lumOff val="15000"/>
                </a:prstClr>
              </a:solidFill>
              <a:cs typeface="+mn-ea"/>
              <a:sym typeface="+mn-lt"/>
            </a:endParaRPr>
          </a:p>
        </p:txBody>
      </p:sp>
      <p:sp>
        <p:nvSpPr>
          <p:cNvPr id="24" name="矩形 23">
            <a:extLst>
              <a:ext uri="{FF2B5EF4-FFF2-40B4-BE49-F238E27FC236}">
                <a16:creationId xmlns:a16="http://schemas.microsoft.com/office/drawing/2014/main" id="{5CE12719-29AB-440A-8054-32A7B1A1C104}"/>
              </a:ext>
            </a:extLst>
          </p:cNvPr>
          <p:cNvSpPr/>
          <p:nvPr/>
        </p:nvSpPr>
        <p:spPr>
          <a:xfrm>
            <a:off x="6518913" y="2683797"/>
            <a:ext cx="4883727" cy="458459"/>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6. </a:t>
            </a:r>
            <a:r>
              <a:rPr lang="zh-CN" altLang="en-US" kern="100" dirty="0">
                <a:solidFill>
                  <a:prstClr val="black">
                    <a:lumMod val="85000"/>
                    <a:lumOff val="15000"/>
                  </a:prstClr>
                </a:solidFill>
                <a:cs typeface="+mn-ea"/>
                <a:sym typeface="+mn-lt"/>
              </a:rPr>
              <a:t>标准编号</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标准名称</a:t>
            </a:r>
            <a:r>
              <a:rPr lang="en-US" altLang="zh-CN" kern="100" dirty="0">
                <a:solidFill>
                  <a:prstClr val="black">
                    <a:lumMod val="85000"/>
                    <a:lumOff val="15000"/>
                  </a:prstClr>
                </a:solidFill>
                <a:cs typeface="+mn-ea"/>
                <a:sym typeface="+mn-lt"/>
              </a:rPr>
              <a:t>〔S〕</a:t>
            </a:r>
          </a:p>
        </p:txBody>
      </p:sp>
      <p:sp>
        <p:nvSpPr>
          <p:cNvPr id="25" name="矩形 24">
            <a:extLst>
              <a:ext uri="{FF2B5EF4-FFF2-40B4-BE49-F238E27FC236}">
                <a16:creationId xmlns:a16="http://schemas.microsoft.com/office/drawing/2014/main" id="{EA09B538-528D-4831-99AF-4595EE6E9AAC}"/>
              </a:ext>
            </a:extLst>
          </p:cNvPr>
          <p:cNvSpPr/>
          <p:nvPr/>
        </p:nvSpPr>
        <p:spPr>
          <a:xfrm>
            <a:off x="6518913" y="3422426"/>
            <a:ext cx="4883727" cy="458459"/>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8. </a:t>
            </a:r>
            <a:r>
              <a:rPr lang="zh-CN" altLang="en-US" kern="100" dirty="0">
                <a:solidFill>
                  <a:prstClr val="black">
                    <a:lumMod val="85000"/>
                    <a:lumOff val="15000"/>
                  </a:prstClr>
                </a:solidFill>
                <a:cs typeface="+mn-ea"/>
                <a:sym typeface="+mn-lt"/>
              </a:rPr>
              <a:t>报纸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N〕.</a:t>
            </a:r>
            <a:r>
              <a:rPr lang="zh-CN" altLang="en-US" kern="100" dirty="0">
                <a:solidFill>
                  <a:prstClr val="black">
                    <a:lumMod val="85000"/>
                    <a:lumOff val="15000"/>
                  </a:prstClr>
                </a:solidFill>
                <a:cs typeface="+mn-ea"/>
                <a:sym typeface="+mn-lt"/>
              </a:rPr>
              <a:t>报纸名</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出版日期</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版次</a:t>
            </a:r>
            <a:r>
              <a:rPr lang="en-US" altLang="zh-CN" kern="100" dirty="0">
                <a:solidFill>
                  <a:prstClr val="black">
                    <a:lumMod val="85000"/>
                    <a:lumOff val="15000"/>
                  </a:prstClr>
                </a:solidFill>
                <a:cs typeface="+mn-ea"/>
                <a:sym typeface="+mn-lt"/>
              </a:rPr>
              <a:t>)</a:t>
            </a:r>
          </a:p>
        </p:txBody>
      </p:sp>
      <p:sp>
        <p:nvSpPr>
          <p:cNvPr id="26" name="矩形 25">
            <a:extLst>
              <a:ext uri="{FF2B5EF4-FFF2-40B4-BE49-F238E27FC236}">
                <a16:creationId xmlns:a16="http://schemas.microsoft.com/office/drawing/2014/main" id="{8C00BB83-EBA6-4995-A460-C4F00AF4F7DE}"/>
              </a:ext>
            </a:extLst>
          </p:cNvPr>
          <p:cNvSpPr/>
          <p:nvPr/>
        </p:nvSpPr>
        <p:spPr>
          <a:xfrm>
            <a:off x="6518913" y="4161055"/>
            <a:ext cx="4883727" cy="458459"/>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8. </a:t>
            </a:r>
            <a:r>
              <a:rPr lang="zh-CN" altLang="en-US" kern="100" dirty="0">
                <a:solidFill>
                  <a:prstClr val="black">
                    <a:lumMod val="85000"/>
                    <a:lumOff val="15000"/>
                  </a:prstClr>
                </a:solidFill>
                <a:cs typeface="+mn-ea"/>
                <a:sym typeface="+mn-lt"/>
              </a:rPr>
              <a:t>报告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R〕.</a:t>
            </a:r>
            <a:r>
              <a:rPr lang="zh-CN" altLang="en-US" kern="100" dirty="0">
                <a:solidFill>
                  <a:prstClr val="black">
                    <a:lumMod val="85000"/>
                    <a:lumOff val="15000"/>
                  </a:prstClr>
                </a:solidFill>
                <a:cs typeface="+mn-ea"/>
                <a:sym typeface="+mn-lt"/>
              </a:rPr>
              <a:t>保存地点</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年份</a:t>
            </a:r>
            <a:endParaRPr lang="en-US" altLang="zh-CN" kern="100" dirty="0">
              <a:solidFill>
                <a:prstClr val="black">
                  <a:lumMod val="85000"/>
                  <a:lumOff val="15000"/>
                </a:prstClr>
              </a:solidFill>
              <a:cs typeface="+mn-ea"/>
              <a:sym typeface="+mn-lt"/>
            </a:endParaRPr>
          </a:p>
        </p:txBody>
      </p:sp>
      <p:sp>
        <p:nvSpPr>
          <p:cNvPr id="27" name="矩形 26">
            <a:extLst>
              <a:ext uri="{FF2B5EF4-FFF2-40B4-BE49-F238E27FC236}">
                <a16:creationId xmlns:a16="http://schemas.microsoft.com/office/drawing/2014/main" id="{50E3C892-5C91-46B5-B29B-3A4A398E6D40}"/>
              </a:ext>
            </a:extLst>
          </p:cNvPr>
          <p:cNvSpPr/>
          <p:nvPr/>
        </p:nvSpPr>
        <p:spPr>
          <a:xfrm>
            <a:off x="6518913" y="4899687"/>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9. </a:t>
            </a:r>
            <a:r>
              <a:rPr lang="zh-CN" altLang="en-US" kern="100" dirty="0">
                <a:solidFill>
                  <a:prstClr val="black">
                    <a:lumMod val="85000"/>
                    <a:lumOff val="15000"/>
                  </a:prstClr>
                </a:solidFill>
                <a:cs typeface="+mn-ea"/>
                <a:sym typeface="+mn-lt"/>
              </a:rPr>
              <a:t>电子文献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电子文献及载体类型标识</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文献出处，日期</a:t>
            </a:r>
            <a:endParaRPr lang="en-US" altLang="zh-CN" kern="100" dirty="0">
              <a:solidFill>
                <a:prstClr val="black">
                  <a:lumMod val="85000"/>
                  <a:lumOff val="15000"/>
                </a:prstClr>
              </a:solidFill>
              <a:cs typeface="+mn-ea"/>
              <a:sym typeface="+mn-lt"/>
            </a:endParaRPr>
          </a:p>
        </p:txBody>
      </p:sp>
      <p:cxnSp>
        <p:nvCxnSpPr>
          <p:cNvPr id="20" name="直接连接符 19">
            <a:extLst>
              <a:ext uri="{FF2B5EF4-FFF2-40B4-BE49-F238E27FC236}">
                <a16:creationId xmlns:a16="http://schemas.microsoft.com/office/drawing/2014/main" id="{F818B8F1-95E2-48FF-BBE2-7E9DBF619998}"/>
              </a:ext>
            </a:extLst>
          </p:cNvPr>
          <p:cNvCxnSpPr/>
          <p:nvPr/>
        </p:nvCxnSpPr>
        <p:spPr>
          <a:xfrm>
            <a:off x="893618" y="2528318"/>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5F7A02F0-D3F8-4092-B9C6-281C43F17970}"/>
              </a:ext>
            </a:extLst>
          </p:cNvPr>
          <p:cNvCxnSpPr/>
          <p:nvPr/>
        </p:nvCxnSpPr>
        <p:spPr>
          <a:xfrm>
            <a:off x="893618" y="3651657"/>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3F39912F-17DC-41BC-AA0F-7556EC22B1D3}"/>
              </a:ext>
            </a:extLst>
          </p:cNvPr>
          <p:cNvCxnSpPr/>
          <p:nvPr/>
        </p:nvCxnSpPr>
        <p:spPr>
          <a:xfrm>
            <a:off x="893618" y="4774996"/>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D710D7CC-9F7D-4EA9-ACE8-75072BD93C1F}"/>
              </a:ext>
            </a:extLst>
          </p:cNvPr>
          <p:cNvCxnSpPr/>
          <p:nvPr/>
        </p:nvCxnSpPr>
        <p:spPr>
          <a:xfrm>
            <a:off x="6518913" y="4759599"/>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E6B6C1AC-D868-49D5-B119-37535EADA180}"/>
              </a:ext>
            </a:extLst>
          </p:cNvPr>
          <p:cNvCxnSpPr/>
          <p:nvPr/>
        </p:nvCxnSpPr>
        <p:spPr>
          <a:xfrm>
            <a:off x="6518913" y="4020970"/>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DC8701E5-4C16-45B3-85C0-409B513DE90D}"/>
              </a:ext>
            </a:extLst>
          </p:cNvPr>
          <p:cNvCxnSpPr/>
          <p:nvPr/>
        </p:nvCxnSpPr>
        <p:spPr>
          <a:xfrm>
            <a:off x="6518913" y="3282341"/>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B240F425-F6C2-4587-A817-8A5603ACD34C}"/>
              </a:ext>
            </a:extLst>
          </p:cNvPr>
          <p:cNvCxnSpPr/>
          <p:nvPr/>
        </p:nvCxnSpPr>
        <p:spPr>
          <a:xfrm>
            <a:off x="6518913" y="2543712"/>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灯片编号占位符 2">
            <a:extLst>
              <a:ext uri="{FF2B5EF4-FFF2-40B4-BE49-F238E27FC236}">
                <a16:creationId xmlns:a16="http://schemas.microsoft.com/office/drawing/2014/main" id="{AFBCFAE6-5BBA-4283-B98C-8102014E246C}"/>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58</a:t>
            </a:fld>
            <a:endParaRPr lang="en-US" dirty="0">
              <a:solidFill>
                <a:srgbClr val="000000">
                  <a:tint val="75000"/>
                </a:srgbClr>
              </a:solidFill>
              <a:cs typeface="+mn-ea"/>
              <a:sym typeface="+mn-lt"/>
            </a:endParaRPr>
          </a:p>
        </p:txBody>
      </p:sp>
    </p:spTree>
    <p:extLst>
      <p:ext uri="{BB962C8B-B14F-4D97-AF65-F5344CB8AC3E}">
        <p14:creationId xmlns:p14="http://schemas.microsoft.com/office/powerpoint/2010/main" val="19586302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a:extLst>
              <a:ext uri="{FF2B5EF4-FFF2-40B4-BE49-F238E27FC236}">
                <a16:creationId xmlns:a16="http://schemas.microsoft.com/office/drawing/2014/main" id="{C2820E6C-F3F4-4C87-B821-013AD5156B83}"/>
              </a:ext>
            </a:extLst>
          </p:cNvPr>
          <p:cNvGrpSpPr/>
          <p:nvPr/>
        </p:nvGrpSpPr>
        <p:grpSpPr>
          <a:xfrm>
            <a:off x="8431598" y="0"/>
            <a:ext cx="3760402" cy="4528788"/>
            <a:chOff x="8431598" y="0"/>
            <a:chExt cx="3760402" cy="4528788"/>
          </a:xfrm>
        </p:grpSpPr>
        <p:sp>
          <p:nvSpPr>
            <p:cNvPr id="24" name="任意多边形: 形状 23">
              <a:extLst>
                <a:ext uri="{FF2B5EF4-FFF2-40B4-BE49-F238E27FC236}">
                  <a16:creationId xmlns:a16="http://schemas.microsoft.com/office/drawing/2014/main" id="{20C45FDF-0028-4307-AC9D-CE6760C63B18}"/>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5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任意多边形: 形状 24">
              <a:extLst>
                <a:ext uri="{FF2B5EF4-FFF2-40B4-BE49-F238E27FC236}">
                  <a16:creationId xmlns:a16="http://schemas.microsoft.com/office/drawing/2014/main" id="{D650CEB4-98BA-49C5-9B44-E0D60C8B60F1}"/>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任意多边形: 形状 25">
              <a:extLst>
                <a:ext uri="{FF2B5EF4-FFF2-40B4-BE49-F238E27FC236}">
                  <a16:creationId xmlns:a16="http://schemas.microsoft.com/office/drawing/2014/main" id="{2FFD6C72-1226-43DA-95FE-788ADCE96352}"/>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9" name="矩形 8">
            <a:extLst>
              <a:ext uri="{FF2B5EF4-FFF2-40B4-BE49-F238E27FC236}">
                <a16:creationId xmlns:a16="http://schemas.microsoft.com/office/drawing/2014/main" id="{B581D8E7-6C22-4E30-B47F-62F156227F13}"/>
              </a:ext>
            </a:extLst>
          </p:cNvPr>
          <p:cNvSpPr/>
          <p:nvPr/>
        </p:nvSpPr>
        <p:spPr bwMode="auto">
          <a:xfrm>
            <a:off x="5161280" y="1844251"/>
            <a:ext cx="6091093" cy="3402957"/>
          </a:xfrm>
          <a:prstGeom prst="rect">
            <a:avLst/>
          </a:prstGeom>
          <a:solidFill>
            <a:schemeClr val="bg1"/>
          </a:solidFill>
          <a:ln>
            <a:solidFill>
              <a:schemeClr val="bg1">
                <a:lumMod val="85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en-US" b="1" dirty="0">
              <a:solidFill>
                <a:schemeClr val="bg1"/>
              </a:solidFill>
              <a:cs typeface="+mn-ea"/>
              <a:sym typeface="+mn-lt"/>
            </a:endParaRPr>
          </a:p>
        </p:txBody>
      </p:sp>
      <p:sp>
        <p:nvSpPr>
          <p:cNvPr id="2" name="标题 1">
            <a:extLst>
              <a:ext uri="{FF2B5EF4-FFF2-40B4-BE49-F238E27FC236}">
                <a16:creationId xmlns:a16="http://schemas.microsoft.com/office/drawing/2014/main" id="{74D4F3CB-E394-4887-A832-B11874144098}"/>
              </a:ext>
            </a:extLst>
          </p:cNvPr>
          <p:cNvSpPr>
            <a:spLocks noGrp="1"/>
          </p:cNvSpPr>
          <p:nvPr>
            <p:ph type="title"/>
          </p:nvPr>
        </p:nvSpPr>
        <p:spPr/>
        <p:txBody>
          <a:bodyPr/>
          <a:lstStyle/>
          <a:p>
            <a:r>
              <a:rPr lang="zh-CN" altLang="en-US" dirty="0">
                <a:latin typeface="+mn-lt"/>
                <a:ea typeface="+mn-ea"/>
                <a:cs typeface="+mn-ea"/>
                <a:sym typeface="+mn-lt"/>
              </a:rPr>
              <a:t>人物介绍页</a:t>
            </a:r>
          </a:p>
        </p:txBody>
      </p:sp>
      <p:sp>
        <p:nvSpPr>
          <p:cNvPr id="3" name="灯片编号占位符 2">
            <a:extLst>
              <a:ext uri="{FF2B5EF4-FFF2-40B4-BE49-F238E27FC236}">
                <a16:creationId xmlns:a16="http://schemas.microsoft.com/office/drawing/2014/main" id="{60083EF3-314E-4A3C-BA00-58C051FC4AB1}"/>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59</a:t>
            </a:fld>
            <a:endParaRPr lang="en-US" dirty="0">
              <a:solidFill>
                <a:srgbClr val="000000">
                  <a:tint val="75000"/>
                </a:srgbClr>
              </a:solidFill>
              <a:cs typeface="+mn-ea"/>
              <a:sym typeface="+mn-lt"/>
            </a:endParaRPr>
          </a:p>
        </p:txBody>
      </p:sp>
      <p:pic>
        <p:nvPicPr>
          <p:cNvPr id="6" name="图片占位符 5">
            <a:extLst>
              <a:ext uri="{FF2B5EF4-FFF2-40B4-BE49-F238E27FC236}">
                <a16:creationId xmlns:a16="http://schemas.microsoft.com/office/drawing/2014/main" id="{E93D20A4-51F4-4D09-99C9-1C3A3AFBBE1C}"/>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7946" t="21474" r="46306" b="30873"/>
          <a:stretch/>
        </p:blipFill>
        <p:spPr>
          <a:xfrm>
            <a:off x="1027988" y="2053946"/>
            <a:ext cx="3068100" cy="3068100"/>
          </a:xfrm>
          <a:custGeom>
            <a:avLst/>
            <a:gdLst>
              <a:gd name="connsiteX0" fmla="*/ 1534050 w 3068100"/>
              <a:gd name="connsiteY0" fmla="*/ 0 h 3068100"/>
              <a:gd name="connsiteX1" fmla="*/ 3068100 w 3068100"/>
              <a:gd name="connsiteY1" fmla="*/ 1534050 h 3068100"/>
              <a:gd name="connsiteX2" fmla="*/ 1534050 w 3068100"/>
              <a:gd name="connsiteY2" fmla="*/ 3068100 h 3068100"/>
              <a:gd name="connsiteX3" fmla="*/ 0 w 3068100"/>
              <a:gd name="connsiteY3" fmla="*/ 1534050 h 3068100"/>
              <a:gd name="connsiteX4" fmla="*/ 1534050 w 3068100"/>
              <a:gd name="connsiteY4" fmla="*/ 0 h 306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8100" h="3068100">
                <a:moveTo>
                  <a:pt x="1534050" y="0"/>
                </a:moveTo>
                <a:cubicBezTo>
                  <a:pt x="2381282" y="0"/>
                  <a:pt x="3068100" y="686818"/>
                  <a:pt x="3068100" y="1534050"/>
                </a:cubicBezTo>
                <a:cubicBezTo>
                  <a:pt x="3068100" y="2381282"/>
                  <a:pt x="2381282" y="3068100"/>
                  <a:pt x="1534050" y="3068100"/>
                </a:cubicBezTo>
                <a:cubicBezTo>
                  <a:pt x="686818" y="3068100"/>
                  <a:pt x="0" y="2381282"/>
                  <a:pt x="0" y="1534050"/>
                </a:cubicBezTo>
                <a:cubicBezTo>
                  <a:pt x="0" y="686818"/>
                  <a:pt x="686818" y="0"/>
                  <a:pt x="1534050" y="0"/>
                </a:cubicBezTo>
                <a:close/>
              </a:path>
            </a:pathLst>
          </a:custGeom>
          <a:ln w="38100">
            <a:solidFill>
              <a:schemeClr val="bg1"/>
            </a:solidFill>
          </a:ln>
        </p:spPr>
      </p:pic>
      <p:sp>
        <p:nvSpPr>
          <p:cNvPr id="21" name="文本占位符 31">
            <a:extLst>
              <a:ext uri="{FF2B5EF4-FFF2-40B4-BE49-F238E27FC236}">
                <a16:creationId xmlns:a16="http://schemas.microsoft.com/office/drawing/2014/main" id="{CF99C8C6-87BA-4C81-BD23-74AAA6E78A0C}"/>
              </a:ext>
            </a:extLst>
          </p:cNvPr>
          <p:cNvSpPr txBox="1">
            <a:spLocks/>
          </p:cNvSpPr>
          <p:nvPr/>
        </p:nvSpPr>
        <p:spPr>
          <a:xfrm>
            <a:off x="5420532" y="2063151"/>
            <a:ext cx="1528143" cy="369332"/>
          </a:xfrm>
          <a:prstGeom prst="rect">
            <a:avLst/>
          </a:prstGeom>
        </p:spPr>
        <p:txBody>
          <a:bodyPr lIns="0" r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b="1" dirty="0">
                <a:solidFill>
                  <a:schemeClr val="accent1"/>
                </a:solidFill>
                <a:cs typeface="+mn-ea"/>
                <a:sym typeface="+mn-lt"/>
              </a:rPr>
              <a:t>人物姓名</a:t>
            </a:r>
            <a:r>
              <a:rPr lang="zh-CN" altLang="en-US" sz="2000" b="1" dirty="0">
                <a:solidFill>
                  <a:schemeClr val="accent2"/>
                </a:solidFill>
                <a:cs typeface="+mn-ea"/>
                <a:sym typeface="Webdings" panose="05030102010509060703" pitchFamily="18" charset="2"/>
              </a:rPr>
              <a:t></a:t>
            </a:r>
            <a:endParaRPr lang="en-US" sz="2000" b="1" dirty="0">
              <a:solidFill>
                <a:schemeClr val="accent2"/>
              </a:solidFill>
              <a:cs typeface="+mn-ea"/>
              <a:sym typeface="+mn-lt"/>
            </a:endParaRPr>
          </a:p>
        </p:txBody>
      </p:sp>
      <p:cxnSp>
        <p:nvCxnSpPr>
          <p:cNvPr id="48" name="直接连接符 47">
            <a:extLst>
              <a:ext uri="{FF2B5EF4-FFF2-40B4-BE49-F238E27FC236}">
                <a16:creationId xmlns:a16="http://schemas.microsoft.com/office/drawing/2014/main" id="{1C78A86C-89D2-4FEE-B0E7-3EA1E86F8942}"/>
              </a:ext>
            </a:extLst>
          </p:cNvPr>
          <p:cNvCxnSpPr/>
          <p:nvPr/>
        </p:nvCxnSpPr>
        <p:spPr>
          <a:xfrm>
            <a:off x="5185064" y="5247208"/>
            <a:ext cx="6091093" cy="0"/>
          </a:xfrm>
          <a:prstGeom prst="line">
            <a:avLst/>
          </a:prstGeom>
          <a:ln w="571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49" name="矩形 48">
            <a:extLst>
              <a:ext uri="{FF2B5EF4-FFF2-40B4-BE49-F238E27FC236}">
                <a16:creationId xmlns:a16="http://schemas.microsoft.com/office/drawing/2014/main" id="{6BE95D0F-9782-4C58-8875-6A405401482B}"/>
              </a:ext>
            </a:extLst>
          </p:cNvPr>
          <p:cNvSpPr/>
          <p:nvPr/>
        </p:nvSpPr>
        <p:spPr>
          <a:xfrm>
            <a:off x="5420532" y="2597427"/>
            <a:ext cx="5572588" cy="2273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spcAft>
                <a:spcPts val="1800"/>
              </a:spcAft>
            </a:pPr>
            <a:r>
              <a:rPr lang="zh-CN" altLang="en-US" sz="1600" dirty="0">
                <a:solidFill>
                  <a:schemeClr val="tx1">
                    <a:lumMod val="75000"/>
                    <a:lumOff val="25000"/>
                  </a:schemeClr>
                </a:solidFill>
                <a:cs typeface="+mn-ea"/>
                <a:sym typeface="+mn-lt"/>
              </a:rPr>
              <a:t>越长大感觉时间过得越快。思绪一下子回到了</a:t>
            </a:r>
            <a:r>
              <a:rPr lang="en-US" altLang="zh-CN" sz="1600" dirty="0">
                <a:solidFill>
                  <a:schemeClr val="tx1">
                    <a:lumMod val="75000"/>
                    <a:lumOff val="25000"/>
                  </a:schemeClr>
                </a:solidFill>
                <a:cs typeface="+mn-ea"/>
                <a:sym typeface="+mn-lt"/>
              </a:rPr>
              <a:t>2012</a:t>
            </a:r>
            <a:r>
              <a:rPr lang="zh-CN" altLang="en-US" sz="1600" dirty="0">
                <a:solidFill>
                  <a:schemeClr val="tx1">
                    <a:lumMod val="75000"/>
                    <a:lumOff val="25000"/>
                  </a:schemeClr>
                </a:solidFill>
                <a:cs typeface="+mn-ea"/>
                <a:sym typeface="+mn-lt"/>
              </a:rPr>
              <a:t>年那个夏天，我</a:t>
            </a:r>
            <a:r>
              <a:rPr lang="en-US" altLang="zh-CN" sz="1600" dirty="0">
                <a:solidFill>
                  <a:schemeClr val="tx1">
                    <a:lumMod val="75000"/>
                    <a:lumOff val="25000"/>
                  </a:schemeClr>
                </a:solidFill>
                <a:cs typeface="+mn-ea"/>
                <a:sym typeface="+mn-lt"/>
              </a:rPr>
              <a:t>19</a:t>
            </a:r>
            <a:r>
              <a:rPr lang="zh-CN" altLang="en-US" sz="1600" dirty="0">
                <a:solidFill>
                  <a:schemeClr val="tx1">
                    <a:lumMod val="75000"/>
                    <a:lumOff val="25000"/>
                  </a:schemeClr>
                </a:solidFill>
                <a:cs typeface="+mn-ea"/>
                <a:sym typeface="+mn-lt"/>
              </a:rPr>
              <a:t>岁，高中毕业考到了上海大学。这也是与上大结缘的起点。不知不觉间已在上海大学度过了七个春夏秋冬</a:t>
            </a:r>
            <a:endParaRPr lang="en-US" altLang="zh-CN" sz="1600" dirty="0">
              <a:solidFill>
                <a:schemeClr val="tx1">
                  <a:lumMod val="75000"/>
                  <a:lumOff val="25000"/>
                </a:schemeClr>
              </a:solidFill>
              <a:cs typeface="+mn-ea"/>
              <a:sym typeface="+mn-lt"/>
            </a:endParaRPr>
          </a:p>
          <a:p>
            <a:pPr defTabSz="914400">
              <a:lnSpc>
                <a:spcPct val="120000"/>
              </a:lnSpc>
              <a:spcBef>
                <a:spcPct val="0"/>
              </a:spcBef>
              <a:spcAft>
                <a:spcPts val="1800"/>
              </a:spcAft>
            </a:pPr>
            <a:r>
              <a:rPr lang="zh-CN" altLang="en-US" sz="1600" dirty="0">
                <a:solidFill>
                  <a:schemeClr val="tx1">
                    <a:lumMod val="75000"/>
                    <a:lumOff val="25000"/>
                  </a:schemeClr>
                </a:solidFill>
                <a:cs typeface="+mn-ea"/>
                <a:sym typeface="+mn-lt"/>
              </a:rPr>
              <a:t>一直希望可以在毕业之后留下些什么，刚好借此次高校模板设计大赛，给母校的师生送上一份小小的礼物。这份模板可用于各种汇报答辩场合，而且在设计之中融合了很多上大特色，希望你会喜欢</a:t>
            </a:r>
          </a:p>
        </p:txBody>
      </p:sp>
      <p:grpSp>
        <p:nvGrpSpPr>
          <p:cNvPr id="10" name="组合 9">
            <a:extLst>
              <a:ext uri="{FF2B5EF4-FFF2-40B4-BE49-F238E27FC236}">
                <a16:creationId xmlns:a16="http://schemas.microsoft.com/office/drawing/2014/main" id="{AACF7933-26F9-45FE-87AD-346C0370B314}"/>
              </a:ext>
            </a:extLst>
          </p:cNvPr>
          <p:cNvGrpSpPr/>
          <p:nvPr/>
        </p:nvGrpSpPr>
        <p:grpSpPr>
          <a:xfrm>
            <a:off x="0" y="-715587"/>
            <a:ext cx="676656" cy="602672"/>
            <a:chOff x="0" y="6950133"/>
            <a:chExt cx="676656" cy="602672"/>
          </a:xfrm>
        </p:grpSpPr>
        <p:sp>
          <p:nvSpPr>
            <p:cNvPr id="11" name="矩形 10">
              <a:extLst>
                <a:ext uri="{FF2B5EF4-FFF2-40B4-BE49-F238E27FC236}">
                  <a16:creationId xmlns:a16="http://schemas.microsoft.com/office/drawing/2014/main" id="{4C6DA620-18CE-461B-9444-184590BF00B1}"/>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2" name="组合 11">
              <a:extLst>
                <a:ext uri="{FF2B5EF4-FFF2-40B4-BE49-F238E27FC236}">
                  <a16:creationId xmlns:a16="http://schemas.microsoft.com/office/drawing/2014/main" id="{8D36E1C7-1852-4072-A4ED-F0053C987730}"/>
                </a:ext>
              </a:extLst>
            </p:cNvPr>
            <p:cNvGrpSpPr/>
            <p:nvPr/>
          </p:nvGrpSpPr>
          <p:grpSpPr>
            <a:xfrm>
              <a:off x="47544" y="7038552"/>
              <a:ext cx="581568" cy="425834"/>
              <a:chOff x="84575" y="6977592"/>
              <a:chExt cx="581568" cy="425834"/>
            </a:xfrm>
          </p:grpSpPr>
          <p:grpSp>
            <p:nvGrpSpPr>
              <p:cNvPr id="13" name="组合 12">
                <a:extLst>
                  <a:ext uri="{FF2B5EF4-FFF2-40B4-BE49-F238E27FC236}">
                    <a16:creationId xmlns:a16="http://schemas.microsoft.com/office/drawing/2014/main" id="{248A6B63-C628-4E7D-AE28-9A67CF6F0A85}"/>
                  </a:ext>
                </a:extLst>
              </p:cNvPr>
              <p:cNvGrpSpPr/>
              <p:nvPr/>
            </p:nvGrpSpPr>
            <p:grpSpPr>
              <a:xfrm>
                <a:off x="84575" y="6979654"/>
                <a:ext cx="317380" cy="421711"/>
                <a:chOff x="14690033" y="2185397"/>
                <a:chExt cx="583830" cy="775754"/>
              </a:xfrm>
            </p:grpSpPr>
            <p:sp>
              <p:nvSpPr>
                <p:cNvPr id="15" name="iŝļíḑe">
                  <a:extLst>
                    <a:ext uri="{FF2B5EF4-FFF2-40B4-BE49-F238E27FC236}">
                      <a16:creationId xmlns:a16="http://schemas.microsoft.com/office/drawing/2014/main" id="{BA92A4DC-DFD9-4884-992E-0BA1D632FC13}"/>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şḷíḍé">
                  <a:extLst>
                    <a:ext uri="{FF2B5EF4-FFF2-40B4-BE49-F238E27FC236}">
                      <a16:creationId xmlns:a16="http://schemas.microsoft.com/office/drawing/2014/main" id="{770412A4-F856-43CC-BE9B-838A3C65E703}"/>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Sľïḓe">
                  <a:extLst>
                    <a:ext uri="{FF2B5EF4-FFF2-40B4-BE49-F238E27FC236}">
                      <a16:creationId xmlns:a16="http://schemas.microsoft.com/office/drawing/2014/main" id="{1C3DD6FD-D95A-42AC-B133-77D079484990}"/>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ḻídê">
                  <a:extLst>
                    <a:ext uri="{FF2B5EF4-FFF2-40B4-BE49-F238E27FC236}">
                      <a16:creationId xmlns:a16="http://schemas.microsoft.com/office/drawing/2014/main" id="{EEF36799-EED4-451E-B23C-AF6E631368BF}"/>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S1íḋè">
                  <a:extLst>
                    <a:ext uri="{FF2B5EF4-FFF2-40B4-BE49-F238E27FC236}">
                      <a16:creationId xmlns:a16="http://schemas.microsoft.com/office/drawing/2014/main" id="{017FFA59-AEC9-47BD-9FD8-899992487CB3}"/>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şļíde">
                  <a:extLst>
                    <a:ext uri="{FF2B5EF4-FFF2-40B4-BE49-F238E27FC236}">
                      <a16:creationId xmlns:a16="http://schemas.microsoft.com/office/drawing/2014/main" id="{1A0351C2-884E-4597-A417-18C337B7FAE0}"/>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 name="文本框 13">
                <a:extLst>
                  <a:ext uri="{FF2B5EF4-FFF2-40B4-BE49-F238E27FC236}">
                    <a16:creationId xmlns:a16="http://schemas.microsoft.com/office/drawing/2014/main" id="{CF15A5FC-D039-4E03-802C-B0778731EEA4}"/>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a:extLst>
              <a:ext uri="{FF2B5EF4-FFF2-40B4-BE49-F238E27FC236}">
                <a16:creationId xmlns:a16="http://schemas.microsoft.com/office/drawing/2014/main" id="{4FD122AF-56B6-4326-A464-1F8700B2EAAE}"/>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extLst>
      <p:ext uri="{BB962C8B-B14F-4D97-AF65-F5344CB8AC3E}">
        <p14:creationId xmlns:p14="http://schemas.microsoft.com/office/powerpoint/2010/main" val="38895731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标题 75">
            <a:extLst>
              <a:ext uri="{FF2B5EF4-FFF2-40B4-BE49-F238E27FC236}">
                <a16:creationId xmlns:a16="http://schemas.microsoft.com/office/drawing/2014/main" id="{7310B5CE-E985-4E20-BC3E-91E506CD2E5B}"/>
              </a:ext>
            </a:extLst>
          </p:cNvPr>
          <p:cNvSpPr>
            <a:spLocks noGrp="1"/>
          </p:cNvSpPr>
          <p:nvPr>
            <p:ph type="ctrTitle"/>
          </p:nvPr>
        </p:nvSpPr>
        <p:spPr/>
        <p:txBody>
          <a:bodyPr/>
          <a:lstStyle/>
          <a:p>
            <a:pPr algn="dist"/>
            <a:r>
              <a:rPr lang="zh-CN" altLang="en-US" dirty="0">
                <a:cs typeface="+mn-ea"/>
                <a:sym typeface="+mn-lt"/>
              </a:rPr>
              <a:t>上海大学汇报答辩通用模板</a:t>
            </a:r>
            <a:endParaRPr lang="en-US" dirty="0">
              <a:cs typeface="+mn-ea"/>
              <a:sym typeface="+mn-lt"/>
            </a:endParaRPr>
          </a:p>
        </p:txBody>
      </p:sp>
      <p:sp>
        <p:nvSpPr>
          <p:cNvPr id="77" name="副标题 76">
            <a:extLst>
              <a:ext uri="{FF2B5EF4-FFF2-40B4-BE49-F238E27FC236}">
                <a16:creationId xmlns:a16="http://schemas.microsoft.com/office/drawing/2014/main" id="{CF91E93B-766D-4C12-B956-C80286C67CF8}"/>
              </a:ext>
            </a:extLst>
          </p:cNvPr>
          <p:cNvSpPr>
            <a:spLocks noGrp="1"/>
          </p:cNvSpPr>
          <p:nvPr>
            <p:ph type="subTitle" idx="1"/>
          </p:nvPr>
        </p:nvSpPr>
        <p:spPr/>
        <p:txBody>
          <a:bodyPr/>
          <a:lstStyle/>
          <a:p>
            <a:pPr algn="dist"/>
            <a:r>
              <a:rPr lang="en-US" dirty="0">
                <a:cs typeface="+mn-ea"/>
                <a:sym typeface="+mn-lt"/>
              </a:rPr>
              <a:t>GENERAL REPORTING TEMPLATE FOR SHANGHAI UNIVERSITY</a:t>
            </a:r>
          </a:p>
        </p:txBody>
      </p:sp>
      <p:sp>
        <p:nvSpPr>
          <p:cNvPr id="75" name="内容占位符 74">
            <a:extLst>
              <a:ext uri="{FF2B5EF4-FFF2-40B4-BE49-F238E27FC236}">
                <a16:creationId xmlns:a16="http://schemas.microsoft.com/office/drawing/2014/main" id="{6DC5605F-C62D-4E57-B7E2-04AF36CC39AC}"/>
              </a:ext>
            </a:extLst>
          </p:cNvPr>
          <p:cNvSpPr>
            <a:spLocks noGrp="1"/>
          </p:cNvSpPr>
          <p:nvPr>
            <p:ph sz="quarter" idx="13"/>
          </p:nvPr>
        </p:nvSpPr>
        <p:spPr/>
        <p:txBody>
          <a:bodyPr>
            <a:normAutofit/>
          </a:bodyPr>
          <a:lstStyle/>
          <a:p>
            <a:r>
              <a:rPr lang="zh-CN" altLang="en-US" dirty="0">
                <a:cs typeface="+mn-ea"/>
                <a:sym typeface="+mn-lt"/>
              </a:rPr>
              <a:t>指导教师：林利蒙</a:t>
            </a:r>
            <a:endParaRPr lang="en-US" altLang="zh-CN" dirty="0">
              <a:cs typeface="+mn-ea"/>
              <a:sym typeface="+mn-lt"/>
            </a:endParaRPr>
          </a:p>
        </p:txBody>
      </p:sp>
      <p:sp>
        <p:nvSpPr>
          <p:cNvPr id="78" name="内容占位符 77">
            <a:extLst>
              <a:ext uri="{FF2B5EF4-FFF2-40B4-BE49-F238E27FC236}">
                <a16:creationId xmlns:a16="http://schemas.microsoft.com/office/drawing/2014/main" id="{7C1E4133-D418-48FE-9CC1-25B2D2E86FF4}"/>
              </a:ext>
            </a:extLst>
          </p:cNvPr>
          <p:cNvSpPr>
            <a:spLocks noGrp="1"/>
          </p:cNvSpPr>
          <p:nvPr>
            <p:ph sz="quarter" idx="14"/>
          </p:nvPr>
        </p:nvSpPr>
        <p:spPr/>
        <p:txBody>
          <a:bodyPr>
            <a:normAutofit/>
          </a:bodyPr>
          <a:lstStyle/>
          <a:p>
            <a:r>
              <a:rPr lang="zh-CN" altLang="en-US" dirty="0">
                <a:cs typeface="+mn-ea"/>
                <a:sym typeface="+mn-lt"/>
              </a:rPr>
              <a:t>答辩人：林利蒙</a:t>
            </a:r>
            <a:endParaRPr lang="en-US" altLang="zh-CN" dirty="0">
              <a:cs typeface="+mn-ea"/>
              <a:sym typeface="+mn-lt"/>
            </a:endParaRPr>
          </a:p>
        </p:txBody>
      </p:sp>
      <p:grpSp>
        <p:nvGrpSpPr>
          <p:cNvPr id="6" name="组合 5">
            <a:extLst>
              <a:ext uri="{FF2B5EF4-FFF2-40B4-BE49-F238E27FC236}">
                <a16:creationId xmlns:a16="http://schemas.microsoft.com/office/drawing/2014/main" id="{859AD16B-B080-4CB0-9E0E-93E7D87C3DD4}"/>
              </a:ext>
            </a:extLst>
          </p:cNvPr>
          <p:cNvGrpSpPr/>
          <p:nvPr/>
        </p:nvGrpSpPr>
        <p:grpSpPr>
          <a:xfrm>
            <a:off x="0" y="6950133"/>
            <a:ext cx="676656" cy="602672"/>
            <a:chOff x="0" y="6950133"/>
            <a:chExt cx="676656" cy="602672"/>
          </a:xfrm>
        </p:grpSpPr>
        <p:sp>
          <p:nvSpPr>
            <p:cNvPr id="7" name="矩形 6">
              <a:extLst>
                <a:ext uri="{FF2B5EF4-FFF2-40B4-BE49-F238E27FC236}">
                  <a16:creationId xmlns:a16="http://schemas.microsoft.com/office/drawing/2014/main" id="{68518E0F-A7E2-419C-82BB-49D37D62A20E}"/>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8" name="组合 7">
              <a:extLst>
                <a:ext uri="{FF2B5EF4-FFF2-40B4-BE49-F238E27FC236}">
                  <a16:creationId xmlns:a16="http://schemas.microsoft.com/office/drawing/2014/main" id="{46973682-131A-4AC2-A000-DD45433C0153}"/>
                </a:ext>
              </a:extLst>
            </p:cNvPr>
            <p:cNvGrpSpPr/>
            <p:nvPr/>
          </p:nvGrpSpPr>
          <p:grpSpPr>
            <a:xfrm>
              <a:off x="47544" y="7038552"/>
              <a:ext cx="581568" cy="425834"/>
              <a:chOff x="84575" y="6977592"/>
              <a:chExt cx="581568" cy="425834"/>
            </a:xfrm>
          </p:grpSpPr>
          <p:grpSp>
            <p:nvGrpSpPr>
              <p:cNvPr id="9" name="组合 8">
                <a:extLst>
                  <a:ext uri="{FF2B5EF4-FFF2-40B4-BE49-F238E27FC236}">
                    <a16:creationId xmlns:a16="http://schemas.microsoft.com/office/drawing/2014/main" id="{270EC574-FD94-42DF-9144-B18F881EFD42}"/>
                  </a:ext>
                </a:extLst>
              </p:cNvPr>
              <p:cNvGrpSpPr/>
              <p:nvPr/>
            </p:nvGrpSpPr>
            <p:grpSpPr>
              <a:xfrm>
                <a:off x="84575" y="6979654"/>
                <a:ext cx="317380" cy="421711"/>
                <a:chOff x="14690033" y="2185397"/>
                <a:chExt cx="583830" cy="775754"/>
              </a:xfrm>
            </p:grpSpPr>
            <p:sp>
              <p:nvSpPr>
                <p:cNvPr id="11" name="iŝļíḑe">
                  <a:extLst>
                    <a:ext uri="{FF2B5EF4-FFF2-40B4-BE49-F238E27FC236}">
                      <a16:creationId xmlns:a16="http://schemas.microsoft.com/office/drawing/2014/main" id="{87AC9A87-C468-4DDB-8074-966F89AC5F0B}"/>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şḷíḍé">
                  <a:extLst>
                    <a:ext uri="{FF2B5EF4-FFF2-40B4-BE49-F238E27FC236}">
                      <a16:creationId xmlns:a16="http://schemas.microsoft.com/office/drawing/2014/main" id="{A8A7B6D5-1BA5-40EA-84FF-41ACF665FF64}"/>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ľïḓe">
                  <a:extLst>
                    <a:ext uri="{FF2B5EF4-FFF2-40B4-BE49-F238E27FC236}">
                      <a16:creationId xmlns:a16="http://schemas.microsoft.com/office/drawing/2014/main" id="{A6CE511C-29CB-4D13-9E3F-0AA5C0D92378}"/>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ḻídê">
                  <a:extLst>
                    <a:ext uri="{FF2B5EF4-FFF2-40B4-BE49-F238E27FC236}">
                      <a16:creationId xmlns:a16="http://schemas.microsoft.com/office/drawing/2014/main" id="{7C511D5D-220D-4E52-97B2-E0229403F064}"/>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S1íḋè">
                  <a:extLst>
                    <a:ext uri="{FF2B5EF4-FFF2-40B4-BE49-F238E27FC236}">
                      <a16:creationId xmlns:a16="http://schemas.microsoft.com/office/drawing/2014/main" id="{318172C5-04D3-4325-BCDF-ABD55B08F3DD}"/>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şļíde">
                  <a:extLst>
                    <a:ext uri="{FF2B5EF4-FFF2-40B4-BE49-F238E27FC236}">
                      <a16:creationId xmlns:a16="http://schemas.microsoft.com/office/drawing/2014/main" id="{B762E2F6-9436-4334-A306-A66C94C3C1F7}"/>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 name="文本框 9">
                <a:extLst>
                  <a:ext uri="{FF2B5EF4-FFF2-40B4-BE49-F238E27FC236}">
                    <a16:creationId xmlns:a16="http://schemas.microsoft.com/office/drawing/2014/main" id="{16FB7CE6-40EF-4E7A-AE0B-F2CE26BD6D77}"/>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a:extLst>
              <a:ext uri="{FF2B5EF4-FFF2-40B4-BE49-F238E27FC236}">
                <a16:creationId xmlns:a16="http://schemas.microsoft.com/office/drawing/2014/main" id="{4B11E430-8A2B-4BAB-9671-C22B887E6CB3}"/>
              </a:ext>
            </a:extLst>
          </p:cNvPr>
          <p:cNvSpPr/>
          <p:nvPr/>
        </p:nvSpPr>
        <p:spPr bwMode="auto">
          <a:xfrm>
            <a:off x="812015" y="6950133"/>
            <a:ext cx="3447981"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zh-CN" spc="100" dirty="0">
                <a:solidFill>
                  <a:schemeClr val="tx1">
                    <a:lumMod val="65000"/>
                    <a:lumOff val="35000"/>
                  </a:schemeClr>
                </a:solidFill>
              </a:rPr>
              <a:t>Ctrl + </a:t>
            </a:r>
            <a:r>
              <a:rPr lang="zh-CN" altLang="en-US" spc="100" dirty="0">
                <a:solidFill>
                  <a:schemeClr val="tx1">
                    <a:lumMod val="65000"/>
                    <a:lumOff val="35000"/>
                  </a:schemeClr>
                </a:solidFill>
              </a:rPr>
              <a:t>鼠标滚轮 </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放大缩小</a:t>
            </a:r>
          </a:p>
        </p:txBody>
      </p:sp>
      <p:sp>
        <p:nvSpPr>
          <p:cNvPr id="18" name="矩形 17">
            <a:extLst>
              <a:ext uri="{FF2B5EF4-FFF2-40B4-BE49-F238E27FC236}">
                <a16:creationId xmlns:a16="http://schemas.microsoft.com/office/drawing/2014/main" id="{56B51943-7471-4637-9DC4-B7CCD98AA8F1}"/>
              </a:ext>
            </a:extLst>
          </p:cNvPr>
          <p:cNvSpPr/>
          <p:nvPr/>
        </p:nvSpPr>
        <p:spPr bwMode="auto">
          <a:xfrm>
            <a:off x="4395355" y="6950133"/>
            <a:ext cx="7796644"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面类型</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125071488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B7A582F-4A7E-4F37-AFD0-69FBD96E2449}"/>
              </a:ext>
            </a:extLst>
          </p:cNvPr>
          <p:cNvSpPr>
            <a:spLocks noGrp="1"/>
          </p:cNvSpPr>
          <p:nvPr>
            <p:ph type="ctrTitle"/>
          </p:nvPr>
        </p:nvSpPr>
        <p:spPr/>
        <p:txBody>
          <a:bodyPr/>
          <a:lstStyle/>
          <a:p>
            <a:pPr algn="dist"/>
            <a:r>
              <a:rPr lang="zh-CN" altLang="en-US" dirty="0">
                <a:cs typeface="+mn-ea"/>
                <a:sym typeface="+mn-lt"/>
              </a:rPr>
              <a:t>恳请各位老师批评指正</a:t>
            </a:r>
            <a:endParaRPr lang="en-US" dirty="0">
              <a:cs typeface="+mn-ea"/>
              <a:sym typeface="+mn-lt"/>
            </a:endParaRPr>
          </a:p>
        </p:txBody>
      </p:sp>
      <p:sp>
        <p:nvSpPr>
          <p:cNvPr id="6" name="内容占位符 5">
            <a:extLst>
              <a:ext uri="{FF2B5EF4-FFF2-40B4-BE49-F238E27FC236}">
                <a16:creationId xmlns:a16="http://schemas.microsoft.com/office/drawing/2014/main" id="{9352DE05-A822-459E-9BA9-E8FD2CDEC9DD}"/>
              </a:ext>
            </a:extLst>
          </p:cNvPr>
          <p:cNvSpPr>
            <a:spLocks noGrp="1"/>
          </p:cNvSpPr>
          <p:nvPr>
            <p:ph sz="quarter" idx="12"/>
          </p:nvPr>
        </p:nvSpPr>
        <p:spPr/>
        <p:txBody>
          <a:bodyPr>
            <a:normAutofit/>
          </a:bodyPr>
          <a:lstStyle/>
          <a:p>
            <a:r>
              <a:rPr lang="zh-CN" altLang="en-US" dirty="0">
                <a:cs typeface="+mn-ea"/>
                <a:sym typeface="+mn-lt"/>
              </a:rPr>
              <a:t>答辩人：林利蒙</a:t>
            </a:r>
            <a:endParaRPr lang="en-US" altLang="zh-CN" dirty="0">
              <a:cs typeface="+mn-ea"/>
              <a:sym typeface="+mn-lt"/>
            </a:endParaRPr>
          </a:p>
        </p:txBody>
      </p:sp>
      <p:sp>
        <p:nvSpPr>
          <p:cNvPr id="5" name="内容占位符 4">
            <a:extLst>
              <a:ext uri="{FF2B5EF4-FFF2-40B4-BE49-F238E27FC236}">
                <a16:creationId xmlns:a16="http://schemas.microsoft.com/office/drawing/2014/main" id="{8AD0D7B2-CE1D-44A4-A777-25DAF5424604}"/>
              </a:ext>
            </a:extLst>
          </p:cNvPr>
          <p:cNvSpPr>
            <a:spLocks noGrp="1"/>
          </p:cNvSpPr>
          <p:nvPr>
            <p:ph sz="quarter" idx="11"/>
          </p:nvPr>
        </p:nvSpPr>
        <p:spPr/>
        <p:txBody>
          <a:bodyPr>
            <a:normAutofit/>
          </a:bodyPr>
          <a:lstStyle/>
          <a:p>
            <a:r>
              <a:rPr lang="zh-CN" altLang="en-US" dirty="0">
                <a:cs typeface="+mn-ea"/>
                <a:sym typeface="+mn-lt"/>
              </a:rPr>
              <a:t>指导教师：林利蒙</a:t>
            </a:r>
            <a:endParaRPr lang="en-US" altLang="zh-CN" dirty="0">
              <a:cs typeface="+mn-ea"/>
              <a:sym typeface="+mn-lt"/>
            </a:endParaRPr>
          </a:p>
        </p:txBody>
      </p:sp>
      <p:sp>
        <p:nvSpPr>
          <p:cNvPr id="4" name="副标题 3">
            <a:extLst>
              <a:ext uri="{FF2B5EF4-FFF2-40B4-BE49-F238E27FC236}">
                <a16:creationId xmlns:a16="http://schemas.microsoft.com/office/drawing/2014/main" id="{FA487D27-D7ED-46AF-BDB7-50F67643D09F}"/>
              </a:ext>
            </a:extLst>
          </p:cNvPr>
          <p:cNvSpPr>
            <a:spLocks noGrp="1"/>
          </p:cNvSpPr>
          <p:nvPr>
            <p:ph type="body" sz="quarter" idx="13"/>
          </p:nvPr>
        </p:nvSpPr>
        <p:spPr/>
        <p:txBody>
          <a:bodyPr/>
          <a:lstStyle/>
          <a:p>
            <a:pPr algn="dist"/>
            <a:r>
              <a:rPr lang="en-US" altLang="zh-CN" dirty="0">
                <a:cs typeface="+mn-ea"/>
                <a:sym typeface="+mn-lt"/>
              </a:rPr>
              <a:t>PLEASE GIVE ME AS MUCH CRITICISM AS POSSIBLE</a:t>
            </a:r>
          </a:p>
        </p:txBody>
      </p:sp>
      <p:grpSp>
        <p:nvGrpSpPr>
          <p:cNvPr id="7" name="组合 6">
            <a:extLst>
              <a:ext uri="{FF2B5EF4-FFF2-40B4-BE49-F238E27FC236}">
                <a16:creationId xmlns:a16="http://schemas.microsoft.com/office/drawing/2014/main" id="{69D7246C-AB53-4A3E-A00C-AA6829B81AA9}"/>
              </a:ext>
            </a:extLst>
          </p:cNvPr>
          <p:cNvGrpSpPr/>
          <p:nvPr/>
        </p:nvGrpSpPr>
        <p:grpSpPr>
          <a:xfrm>
            <a:off x="0" y="-715587"/>
            <a:ext cx="676656" cy="602672"/>
            <a:chOff x="0" y="6950133"/>
            <a:chExt cx="676656" cy="602672"/>
          </a:xfrm>
        </p:grpSpPr>
        <p:sp>
          <p:nvSpPr>
            <p:cNvPr id="8" name="矩形 7">
              <a:extLst>
                <a:ext uri="{FF2B5EF4-FFF2-40B4-BE49-F238E27FC236}">
                  <a16:creationId xmlns:a16="http://schemas.microsoft.com/office/drawing/2014/main" id="{C8CBB815-9F97-440B-9F09-36D1EE666455}"/>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9" name="组合 8">
              <a:extLst>
                <a:ext uri="{FF2B5EF4-FFF2-40B4-BE49-F238E27FC236}">
                  <a16:creationId xmlns:a16="http://schemas.microsoft.com/office/drawing/2014/main" id="{94CC90FD-C8EE-48AB-8446-023908A27A31}"/>
                </a:ext>
              </a:extLst>
            </p:cNvPr>
            <p:cNvGrpSpPr/>
            <p:nvPr/>
          </p:nvGrpSpPr>
          <p:grpSpPr>
            <a:xfrm>
              <a:off x="47544" y="7038552"/>
              <a:ext cx="581568" cy="425834"/>
              <a:chOff x="84575" y="6977592"/>
              <a:chExt cx="581568" cy="425834"/>
            </a:xfrm>
          </p:grpSpPr>
          <p:grpSp>
            <p:nvGrpSpPr>
              <p:cNvPr id="10" name="组合 9">
                <a:extLst>
                  <a:ext uri="{FF2B5EF4-FFF2-40B4-BE49-F238E27FC236}">
                    <a16:creationId xmlns:a16="http://schemas.microsoft.com/office/drawing/2014/main" id="{11D92483-D1A9-4DE5-8E9A-6126D31C73CB}"/>
                  </a:ext>
                </a:extLst>
              </p:cNvPr>
              <p:cNvGrpSpPr/>
              <p:nvPr/>
            </p:nvGrpSpPr>
            <p:grpSpPr>
              <a:xfrm>
                <a:off x="84575" y="6979654"/>
                <a:ext cx="317380" cy="421711"/>
                <a:chOff x="14690033" y="2185397"/>
                <a:chExt cx="583830" cy="775754"/>
              </a:xfrm>
            </p:grpSpPr>
            <p:sp>
              <p:nvSpPr>
                <p:cNvPr id="12" name="iŝļíḑe">
                  <a:extLst>
                    <a:ext uri="{FF2B5EF4-FFF2-40B4-BE49-F238E27FC236}">
                      <a16:creationId xmlns:a16="http://schemas.microsoft.com/office/drawing/2014/main" id="{76590783-27B0-49B8-8FDF-1CCB379AFC89}"/>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şḷíḍé">
                  <a:extLst>
                    <a:ext uri="{FF2B5EF4-FFF2-40B4-BE49-F238E27FC236}">
                      <a16:creationId xmlns:a16="http://schemas.microsoft.com/office/drawing/2014/main" id="{E0E68936-88AD-40A1-94E8-7E0BC80937C5}"/>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ľïḓe">
                  <a:extLst>
                    <a:ext uri="{FF2B5EF4-FFF2-40B4-BE49-F238E27FC236}">
                      <a16:creationId xmlns:a16="http://schemas.microsoft.com/office/drawing/2014/main" id="{BA4E5849-85CA-45CD-9108-1784A0926ED2}"/>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ḻídê">
                  <a:extLst>
                    <a:ext uri="{FF2B5EF4-FFF2-40B4-BE49-F238E27FC236}">
                      <a16:creationId xmlns:a16="http://schemas.microsoft.com/office/drawing/2014/main" id="{77C53B0D-ECE0-48ED-8F5D-70018ADA62F7}"/>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S1íḋè">
                  <a:extLst>
                    <a:ext uri="{FF2B5EF4-FFF2-40B4-BE49-F238E27FC236}">
                      <a16:creationId xmlns:a16="http://schemas.microsoft.com/office/drawing/2014/main" id="{BBCFC79F-5023-4067-ACE5-66D5DE306E53}"/>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şļíde">
                  <a:extLst>
                    <a:ext uri="{FF2B5EF4-FFF2-40B4-BE49-F238E27FC236}">
                      <a16:creationId xmlns:a16="http://schemas.microsoft.com/office/drawing/2014/main" id="{FDA907EA-E8ED-4908-B76A-4F296B250B5C}"/>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1" name="文本框 10">
                <a:extLst>
                  <a:ext uri="{FF2B5EF4-FFF2-40B4-BE49-F238E27FC236}">
                    <a16:creationId xmlns:a16="http://schemas.microsoft.com/office/drawing/2014/main" id="{807FE805-49D8-4876-A8F3-F7004A105D4C}"/>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8" name="矩形 17">
            <a:extLst>
              <a:ext uri="{FF2B5EF4-FFF2-40B4-BE49-F238E27FC236}">
                <a16:creationId xmlns:a16="http://schemas.microsoft.com/office/drawing/2014/main" id="{621BFA11-DE3D-4BEB-A3AA-7E40C8A13EE3}"/>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底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16864637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6C2294D5-31D5-4024-A54F-9D5FF0434F52}"/>
              </a:ext>
            </a:extLst>
          </p:cNvPr>
          <p:cNvSpPr>
            <a:spLocks noGrp="1"/>
          </p:cNvSpPr>
          <p:nvPr>
            <p:ph type="ctrTitle"/>
          </p:nvPr>
        </p:nvSpPr>
        <p:spPr/>
        <p:txBody>
          <a:bodyPr/>
          <a:lstStyle/>
          <a:p>
            <a:pPr algn="dist"/>
            <a:r>
              <a:rPr lang="zh-CN" altLang="en-US" dirty="0">
                <a:cs typeface="+mn-ea"/>
                <a:sym typeface="+mn-lt"/>
              </a:rPr>
              <a:t>恳请各位老师批评指正</a:t>
            </a:r>
            <a:endParaRPr lang="en-US" dirty="0">
              <a:cs typeface="+mn-ea"/>
              <a:sym typeface="+mn-lt"/>
            </a:endParaRPr>
          </a:p>
        </p:txBody>
      </p:sp>
      <p:sp>
        <p:nvSpPr>
          <p:cNvPr id="6" name="副标题 5">
            <a:extLst>
              <a:ext uri="{FF2B5EF4-FFF2-40B4-BE49-F238E27FC236}">
                <a16:creationId xmlns:a16="http://schemas.microsoft.com/office/drawing/2014/main" id="{70FB1EF1-A02E-43F6-8837-9C2153E1E772}"/>
              </a:ext>
            </a:extLst>
          </p:cNvPr>
          <p:cNvSpPr>
            <a:spLocks noGrp="1"/>
          </p:cNvSpPr>
          <p:nvPr>
            <p:ph type="body" sz="quarter" idx="13"/>
          </p:nvPr>
        </p:nvSpPr>
        <p:spPr/>
        <p:txBody>
          <a:bodyPr/>
          <a:lstStyle/>
          <a:p>
            <a:pPr algn="dist"/>
            <a:r>
              <a:rPr lang="en-US" altLang="zh-CN" dirty="0">
                <a:cs typeface="+mn-ea"/>
                <a:sym typeface="+mn-lt"/>
              </a:rPr>
              <a:t>PLEASE GIVE ME AS MUCH CRITICISM AS POSSIBLE</a:t>
            </a:r>
          </a:p>
        </p:txBody>
      </p:sp>
      <p:sp>
        <p:nvSpPr>
          <p:cNvPr id="14" name="内容占位符 13">
            <a:extLst>
              <a:ext uri="{FF2B5EF4-FFF2-40B4-BE49-F238E27FC236}">
                <a16:creationId xmlns:a16="http://schemas.microsoft.com/office/drawing/2014/main" id="{040B6C5B-FD49-409C-87E5-24C0B40E183E}"/>
              </a:ext>
            </a:extLst>
          </p:cNvPr>
          <p:cNvSpPr>
            <a:spLocks noGrp="1"/>
          </p:cNvSpPr>
          <p:nvPr>
            <p:ph sz="quarter" idx="11"/>
          </p:nvPr>
        </p:nvSpPr>
        <p:spPr/>
        <p:txBody>
          <a:bodyPr>
            <a:normAutofit/>
          </a:bodyPr>
          <a:lstStyle/>
          <a:p>
            <a:r>
              <a:rPr lang="zh-CN" altLang="en-US" dirty="0">
                <a:cs typeface="+mn-ea"/>
                <a:sym typeface="+mn-lt"/>
              </a:rPr>
              <a:t>答辩人：林利蒙</a:t>
            </a:r>
            <a:endParaRPr lang="en-US" altLang="zh-CN" dirty="0">
              <a:cs typeface="+mn-ea"/>
              <a:sym typeface="+mn-lt"/>
            </a:endParaRPr>
          </a:p>
        </p:txBody>
      </p:sp>
      <p:sp>
        <p:nvSpPr>
          <p:cNvPr id="12" name="内容占位符 11">
            <a:extLst>
              <a:ext uri="{FF2B5EF4-FFF2-40B4-BE49-F238E27FC236}">
                <a16:creationId xmlns:a16="http://schemas.microsoft.com/office/drawing/2014/main" id="{C889B920-365C-4E39-8A59-90C6F5A54599}"/>
              </a:ext>
            </a:extLst>
          </p:cNvPr>
          <p:cNvSpPr>
            <a:spLocks noGrp="1"/>
          </p:cNvSpPr>
          <p:nvPr>
            <p:ph sz="quarter" idx="12"/>
          </p:nvPr>
        </p:nvSpPr>
        <p:spPr/>
        <p:txBody>
          <a:bodyPr>
            <a:normAutofit/>
          </a:bodyPr>
          <a:lstStyle/>
          <a:p>
            <a:r>
              <a:rPr lang="zh-CN" altLang="en-US" dirty="0">
                <a:cs typeface="+mn-ea"/>
                <a:sym typeface="+mn-lt"/>
              </a:rPr>
              <a:t>指导教师：林利蒙</a:t>
            </a:r>
            <a:endParaRPr lang="en-US" altLang="zh-CN" dirty="0">
              <a:cs typeface="+mn-ea"/>
              <a:sym typeface="+mn-lt"/>
            </a:endParaRPr>
          </a:p>
        </p:txBody>
      </p:sp>
      <p:grpSp>
        <p:nvGrpSpPr>
          <p:cNvPr id="7" name="组合 6">
            <a:extLst>
              <a:ext uri="{FF2B5EF4-FFF2-40B4-BE49-F238E27FC236}">
                <a16:creationId xmlns:a16="http://schemas.microsoft.com/office/drawing/2014/main" id="{0541B315-E0C5-400C-8AE0-3741308B2821}"/>
              </a:ext>
            </a:extLst>
          </p:cNvPr>
          <p:cNvGrpSpPr/>
          <p:nvPr/>
        </p:nvGrpSpPr>
        <p:grpSpPr>
          <a:xfrm>
            <a:off x="0" y="-715587"/>
            <a:ext cx="676656" cy="602672"/>
            <a:chOff x="0" y="6950133"/>
            <a:chExt cx="676656" cy="602672"/>
          </a:xfrm>
        </p:grpSpPr>
        <p:sp>
          <p:nvSpPr>
            <p:cNvPr id="8" name="矩形 7">
              <a:extLst>
                <a:ext uri="{FF2B5EF4-FFF2-40B4-BE49-F238E27FC236}">
                  <a16:creationId xmlns:a16="http://schemas.microsoft.com/office/drawing/2014/main" id="{064965EC-3D7C-4E6E-B2D0-1420CB2D62B1}"/>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9" name="组合 8">
              <a:extLst>
                <a:ext uri="{FF2B5EF4-FFF2-40B4-BE49-F238E27FC236}">
                  <a16:creationId xmlns:a16="http://schemas.microsoft.com/office/drawing/2014/main" id="{230CDCD0-89DA-44FA-85D9-390160F34891}"/>
                </a:ext>
              </a:extLst>
            </p:cNvPr>
            <p:cNvGrpSpPr/>
            <p:nvPr/>
          </p:nvGrpSpPr>
          <p:grpSpPr>
            <a:xfrm>
              <a:off x="47544" y="7038552"/>
              <a:ext cx="581568" cy="425834"/>
              <a:chOff x="84575" y="6977592"/>
              <a:chExt cx="581568" cy="425834"/>
            </a:xfrm>
          </p:grpSpPr>
          <p:grpSp>
            <p:nvGrpSpPr>
              <p:cNvPr id="10" name="组合 9">
                <a:extLst>
                  <a:ext uri="{FF2B5EF4-FFF2-40B4-BE49-F238E27FC236}">
                    <a16:creationId xmlns:a16="http://schemas.microsoft.com/office/drawing/2014/main" id="{FA9FC0C0-FECF-4AA4-8653-5710F8ED00F3}"/>
                  </a:ext>
                </a:extLst>
              </p:cNvPr>
              <p:cNvGrpSpPr/>
              <p:nvPr/>
            </p:nvGrpSpPr>
            <p:grpSpPr>
              <a:xfrm>
                <a:off x="84575" y="6979654"/>
                <a:ext cx="317380" cy="421711"/>
                <a:chOff x="14690033" y="2185397"/>
                <a:chExt cx="583830" cy="775754"/>
              </a:xfrm>
            </p:grpSpPr>
            <p:sp>
              <p:nvSpPr>
                <p:cNvPr id="13" name="iŝļíḑe">
                  <a:extLst>
                    <a:ext uri="{FF2B5EF4-FFF2-40B4-BE49-F238E27FC236}">
                      <a16:creationId xmlns:a16="http://schemas.microsoft.com/office/drawing/2014/main" id="{B55F1813-361C-4A85-A280-F3FCC48E79C6}"/>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şḷíḍé">
                  <a:extLst>
                    <a:ext uri="{FF2B5EF4-FFF2-40B4-BE49-F238E27FC236}">
                      <a16:creationId xmlns:a16="http://schemas.microsoft.com/office/drawing/2014/main" id="{DE693B2F-2B68-4D81-96D2-7C75BD51D2CD}"/>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ľïḓe">
                  <a:extLst>
                    <a:ext uri="{FF2B5EF4-FFF2-40B4-BE49-F238E27FC236}">
                      <a16:creationId xmlns:a16="http://schemas.microsoft.com/office/drawing/2014/main" id="{4D0FCC9F-C466-4268-91AA-AA4BDAA48BB0}"/>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sḻídê">
                  <a:extLst>
                    <a:ext uri="{FF2B5EF4-FFF2-40B4-BE49-F238E27FC236}">
                      <a16:creationId xmlns:a16="http://schemas.microsoft.com/office/drawing/2014/main" id="{EDDB412A-7D09-447C-A03F-2DF7607BB219}"/>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îS1íḋè">
                  <a:extLst>
                    <a:ext uri="{FF2B5EF4-FFF2-40B4-BE49-F238E27FC236}">
                      <a16:creationId xmlns:a16="http://schemas.microsoft.com/office/drawing/2014/main" id="{BE0D5F34-311E-4D2D-9EA0-135F1BF583B9}"/>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íşļíde">
                  <a:extLst>
                    <a:ext uri="{FF2B5EF4-FFF2-40B4-BE49-F238E27FC236}">
                      <a16:creationId xmlns:a16="http://schemas.microsoft.com/office/drawing/2014/main" id="{80239D0C-C4A0-417B-8371-C48F7B6EAE0E}"/>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1" name="文本框 10">
                <a:extLst>
                  <a:ext uri="{FF2B5EF4-FFF2-40B4-BE49-F238E27FC236}">
                    <a16:creationId xmlns:a16="http://schemas.microsoft.com/office/drawing/2014/main" id="{167C0D42-BA6F-45EE-8AE3-A2E3DA4D4C03}"/>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0" name="矩形 19">
            <a:extLst>
              <a:ext uri="{FF2B5EF4-FFF2-40B4-BE49-F238E27FC236}">
                <a16:creationId xmlns:a16="http://schemas.microsoft.com/office/drawing/2014/main" id="{B2971DCF-7735-4027-B0EA-1B0D145A4B18}"/>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底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19912927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E68BB30-7DBD-42C6-8370-ACEAC642F81E}"/>
              </a:ext>
            </a:extLst>
          </p:cNvPr>
          <p:cNvSpPr>
            <a:spLocks noGrp="1"/>
          </p:cNvSpPr>
          <p:nvPr>
            <p:ph type="ctrTitle"/>
          </p:nvPr>
        </p:nvSpPr>
        <p:spPr/>
        <p:txBody>
          <a:bodyPr/>
          <a:lstStyle/>
          <a:p>
            <a:r>
              <a:rPr lang="zh-CN" altLang="en-US" dirty="0">
                <a:sym typeface="+mn-lt"/>
              </a:rPr>
              <a:t>恳请各位老师批评指正</a:t>
            </a:r>
            <a:endParaRPr lang="en-US" dirty="0">
              <a:sym typeface="+mn-lt"/>
            </a:endParaRPr>
          </a:p>
        </p:txBody>
      </p:sp>
      <p:sp>
        <p:nvSpPr>
          <p:cNvPr id="11" name="内容占位符 10">
            <a:extLst>
              <a:ext uri="{FF2B5EF4-FFF2-40B4-BE49-F238E27FC236}">
                <a16:creationId xmlns:a16="http://schemas.microsoft.com/office/drawing/2014/main" id="{BF0E8E3C-64BD-4470-8BF8-FE0D8C57DBF2}"/>
              </a:ext>
            </a:extLst>
          </p:cNvPr>
          <p:cNvSpPr>
            <a:spLocks noGrp="1"/>
          </p:cNvSpPr>
          <p:nvPr>
            <p:ph sz="quarter" idx="12"/>
          </p:nvPr>
        </p:nvSpPr>
        <p:spPr/>
        <p:txBody>
          <a:bodyPr/>
          <a:lstStyle/>
          <a:p>
            <a:r>
              <a:rPr lang="zh-CN" altLang="en-US" dirty="0">
                <a:sym typeface="+mn-lt"/>
              </a:rPr>
              <a:t>答辩人：林利蒙</a:t>
            </a:r>
            <a:endParaRPr lang="en-US" altLang="zh-CN" dirty="0">
              <a:sym typeface="+mn-lt"/>
            </a:endParaRPr>
          </a:p>
        </p:txBody>
      </p:sp>
      <p:sp>
        <p:nvSpPr>
          <p:cNvPr id="5" name="内容占位符 4">
            <a:extLst>
              <a:ext uri="{FF2B5EF4-FFF2-40B4-BE49-F238E27FC236}">
                <a16:creationId xmlns:a16="http://schemas.microsoft.com/office/drawing/2014/main" id="{F789B53D-DFBC-4BC7-AAD4-DB7267448E56}"/>
              </a:ext>
            </a:extLst>
          </p:cNvPr>
          <p:cNvSpPr>
            <a:spLocks noGrp="1"/>
          </p:cNvSpPr>
          <p:nvPr>
            <p:ph sz="quarter" idx="11"/>
          </p:nvPr>
        </p:nvSpPr>
        <p:spPr/>
        <p:txBody>
          <a:bodyPr/>
          <a:lstStyle/>
          <a:p>
            <a:r>
              <a:rPr lang="zh-CN" altLang="en-US" dirty="0">
                <a:sym typeface="+mn-lt"/>
              </a:rPr>
              <a:t>指导教师：林利蒙</a:t>
            </a:r>
            <a:endParaRPr lang="en-US" altLang="zh-CN" dirty="0">
              <a:sym typeface="+mn-lt"/>
            </a:endParaRPr>
          </a:p>
        </p:txBody>
      </p:sp>
      <p:sp>
        <p:nvSpPr>
          <p:cNvPr id="4" name="副标题 3">
            <a:extLst>
              <a:ext uri="{FF2B5EF4-FFF2-40B4-BE49-F238E27FC236}">
                <a16:creationId xmlns:a16="http://schemas.microsoft.com/office/drawing/2014/main" id="{5ED6E748-5A7F-4667-918E-A083AA7A1C95}"/>
              </a:ext>
            </a:extLst>
          </p:cNvPr>
          <p:cNvSpPr>
            <a:spLocks noGrp="1"/>
          </p:cNvSpPr>
          <p:nvPr>
            <p:ph type="body" sz="quarter" idx="13"/>
          </p:nvPr>
        </p:nvSpPr>
        <p:spPr/>
        <p:txBody>
          <a:bodyPr/>
          <a:lstStyle/>
          <a:p>
            <a:pPr algn="dist"/>
            <a:r>
              <a:rPr lang="en-US" altLang="zh-CN" dirty="0">
                <a:sym typeface="+mn-lt"/>
              </a:rPr>
              <a:t>PLEASE GIVE ME AS MUCH CRITICISM AS POSSIBLE</a:t>
            </a:r>
          </a:p>
        </p:txBody>
      </p:sp>
      <p:grpSp>
        <p:nvGrpSpPr>
          <p:cNvPr id="6" name="组合 5">
            <a:extLst>
              <a:ext uri="{FF2B5EF4-FFF2-40B4-BE49-F238E27FC236}">
                <a16:creationId xmlns:a16="http://schemas.microsoft.com/office/drawing/2014/main" id="{5BF523F1-0DAD-47CA-9C10-01CDBDBB7BAB}"/>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4F483CC6-0084-47E7-A7B3-3A38BF470E35}"/>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8" name="组合 7">
              <a:extLst>
                <a:ext uri="{FF2B5EF4-FFF2-40B4-BE49-F238E27FC236}">
                  <a16:creationId xmlns:a16="http://schemas.microsoft.com/office/drawing/2014/main" id="{E9EAF95E-AA40-4FF4-8615-1FFB028FD0E6}"/>
                </a:ext>
              </a:extLst>
            </p:cNvPr>
            <p:cNvGrpSpPr/>
            <p:nvPr/>
          </p:nvGrpSpPr>
          <p:grpSpPr>
            <a:xfrm>
              <a:off x="47544" y="7038552"/>
              <a:ext cx="581568" cy="425834"/>
              <a:chOff x="84575" y="6977592"/>
              <a:chExt cx="581568" cy="425834"/>
            </a:xfrm>
          </p:grpSpPr>
          <p:grpSp>
            <p:nvGrpSpPr>
              <p:cNvPr id="9" name="组合 8">
                <a:extLst>
                  <a:ext uri="{FF2B5EF4-FFF2-40B4-BE49-F238E27FC236}">
                    <a16:creationId xmlns:a16="http://schemas.microsoft.com/office/drawing/2014/main" id="{4F5F0A71-547F-4FF8-8108-5A5EAD8E305F}"/>
                  </a:ext>
                </a:extLst>
              </p:cNvPr>
              <p:cNvGrpSpPr/>
              <p:nvPr/>
            </p:nvGrpSpPr>
            <p:grpSpPr>
              <a:xfrm>
                <a:off x="84575" y="6979654"/>
                <a:ext cx="317380" cy="421711"/>
                <a:chOff x="14690033" y="2185397"/>
                <a:chExt cx="583830" cy="775754"/>
              </a:xfrm>
            </p:grpSpPr>
            <p:sp>
              <p:nvSpPr>
                <p:cNvPr id="12" name="iŝļíḑe">
                  <a:extLst>
                    <a:ext uri="{FF2B5EF4-FFF2-40B4-BE49-F238E27FC236}">
                      <a16:creationId xmlns:a16="http://schemas.microsoft.com/office/drawing/2014/main" id="{043CDE62-2BA4-44D5-9E42-A55CB9E5BFF5}"/>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şḷíḍé">
                  <a:extLst>
                    <a:ext uri="{FF2B5EF4-FFF2-40B4-BE49-F238E27FC236}">
                      <a16:creationId xmlns:a16="http://schemas.microsoft.com/office/drawing/2014/main" id="{1D9FD6C6-2956-4E38-BE45-31E87DCE8D9C}"/>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ľïḓe">
                  <a:extLst>
                    <a:ext uri="{FF2B5EF4-FFF2-40B4-BE49-F238E27FC236}">
                      <a16:creationId xmlns:a16="http://schemas.microsoft.com/office/drawing/2014/main" id="{0076612F-8722-41A2-9F8F-C571D75BFB94}"/>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ḻídê">
                  <a:extLst>
                    <a:ext uri="{FF2B5EF4-FFF2-40B4-BE49-F238E27FC236}">
                      <a16:creationId xmlns:a16="http://schemas.microsoft.com/office/drawing/2014/main" id="{3FD4A9E8-A2CC-4A10-A596-D0BACAD10D72}"/>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S1íḋè">
                  <a:extLst>
                    <a:ext uri="{FF2B5EF4-FFF2-40B4-BE49-F238E27FC236}">
                      <a16:creationId xmlns:a16="http://schemas.microsoft.com/office/drawing/2014/main" id="{747B8ED1-CCD0-48C4-A284-9834155BD28E}"/>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şļíde">
                  <a:extLst>
                    <a:ext uri="{FF2B5EF4-FFF2-40B4-BE49-F238E27FC236}">
                      <a16:creationId xmlns:a16="http://schemas.microsoft.com/office/drawing/2014/main" id="{D05B0C42-832D-4834-A382-1E9E64650A44}"/>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 name="文本框 9">
                <a:extLst>
                  <a:ext uri="{FF2B5EF4-FFF2-40B4-BE49-F238E27FC236}">
                    <a16:creationId xmlns:a16="http://schemas.microsoft.com/office/drawing/2014/main" id="{C57AEB3F-55BD-4D27-966E-EB74B589A011}"/>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8" name="矩形 17">
            <a:extLst>
              <a:ext uri="{FF2B5EF4-FFF2-40B4-BE49-F238E27FC236}">
                <a16:creationId xmlns:a16="http://schemas.microsoft.com/office/drawing/2014/main" id="{02C9CB7D-E216-4AC1-A5D5-8841D3014C76}"/>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底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14833112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526DBC8-FA3A-40DF-B198-98A6522921E0}"/>
              </a:ext>
            </a:extLst>
          </p:cNvPr>
          <p:cNvSpPr>
            <a:spLocks noGrp="1"/>
          </p:cNvSpPr>
          <p:nvPr>
            <p:ph type="ctrTitle"/>
          </p:nvPr>
        </p:nvSpPr>
        <p:spPr/>
        <p:txBody>
          <a:bodyPr/>
          <a:lstStyle/>
          <a:p>
            <a:r>
              <a:rPr lang="zh-CN" altLang="en-US" dirty="0">
                <a:sym typeface="+mn-lt"/>
              </a:rPr>
              <a:t>思源  责任  青春  奉献</a:t>
            </a:r>
            <a:endParaRPr lang="en-US" dirty="0">
              <a:sym typeface="+mn-lt"/>
            </a:endParaRPr>
          </a:p>
        </p:txBody>
      </p:sp>
      <p:sp>
        <p:nvSpPr>
          <p:cNvPr id="3" name="文本占位符 2">
            <a:extLst>
              <a:ext uri="{FF2B5EF4-FFF2-40B4-BE49-F238E27FC236}">
                <a16:creationId xmlns:a16="http://schemas.microsoft.com/office/drawing/2014/main" id="{20FC0CE0-2493-4102-A7DD-006A288EBB2F}"/>
              </a:ext>
            </a:extLst>
          </p:cNvPr>
          <p:cNvSpPr>
            <a:spLocks noGrp="1"/>
          </p:cNvSpPr>
          <p:nvPr>
            <p:ph type="body" sz="quarter" idx="15"/>
          </p:nvPr>
        </p:nvSpPr>
        <p:spPr/>
        <p:txBody>
          <a:bodyPr/>
          <a:lstStyle/>
          <a:p>
            <a:r>
              <a:rPr lang="zh-CN" altLang="en-US" dirty="0">
                <a:cs typeface="+mn-ea"/>
                <a:sym typeface="+mn-lt"/>
              </a:rPr>
              <a:t>答辩人：林利蒙</a:t>
            </a:r>
            <a:endParaRPr lang="en-US" altLang="zh-CN" dirty="0">
              <a:cs typeface="+mn-ea"/>
              <a:sym typeface="+mn-lt"/>
            </a:endParaRPr>
          </a:p>
        </p:txBody>
      </p:sp>
      <p:sp>
        <p:nvSpPr>
          <p:cNvPr id="4" name="文本占位符 3">
            <a:extLst>
              <a:ext uri="{FF2B5EF4-FFF2-40B4-BE49-F238E27FC236}">
                <a16:creationId xmlns:a16="http://schemas.microsoft.com/office/drawing/2014/main" id="{194D2DD2-3409-4641-BC2C-18E1192A7D18}"/>
              </a:ext>
            </a:extLst>
          </p:cNvPr>
          <p:cNvSpPr>
            <a:spLocks noGrp="1"/>
          </p:cNvSpPr>
          <p:nvPr>
            <p:ph type="body" sz="quarter" idx="16"/>
          </p:nvPr>
        </p:nvSpPr>
        <p:spPr/>
        <p:txBody>
          <a:bodyPr/>
          <a:lstStyle/>
          <a:p>
            <a:r>
              <a:rPr lang="zh-CN" altLang="en-US" dirty="0">
                <a:cs typeface="+mn-ea"/>
                <a:sym typeface="+mn-lt"/>
              </a:rPr>
              <a:t>指导教师：林利蒙</a:t>
            </a:r>
            <a:endParaRPr lang="en-US" altLang="zh-CN" dirty="0">
              <a:cs typeface="+mn-ea"/>
              <a:sym typeface="+mn-lt"/>
            </a:endParaRPr>
          </a:p>
        </p:txBody>
      </p:sp>
      <p:grpSp>
        <p:nvGrpSpPr>
          <p:cNvPr id="5" name="组合 4">
            <a:extLst>
              <a:ext uri="{FF2B5EF4-FFF2-40B4-BE49-F238E27FC236}">
                <a16:creationId xmlns:a16="http://schemas.microsoft.com/office/drawing/2014/main" id="{1A48315E-8183-4425-8D0C-B3F9ABB737A3}"/>
              </a:ext>
            </a:extLst>
          </p:cNvPr>
          <p:cNvGrpSpPr/>
          <p:nvPr/>
        </p:nvGrpSpPr>
        <p:grpSpPr>
          <a:xfrm>
            <a:off x="0" y="-715587"/>
            <a:ext cx="676656" cy="602672"/>
            <a:chOff x="0" y="6950133"/>
            <a:chExt cx="676656" cy="602672"/>
          </a:xfrm>
        </p:grpSpPr>
        <p:sp>
          <p:nvSpPr>
            <p:cNvPr id="6" name="矩形 5">
              <a:extLst>
                <a:ext uri="{FF2B5EF4-FFF2-40B4-BE49-F238E27FC236}">
                  <a16:creationId xmlns:a16="http://schemas.microsoft.com/office/drawing/2014/main" id="{70CEB9D8-422B-444E-9A56-1AB168233554}"/>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7" name="组合 6">
              <a:extLst>
                <a:ext uri="{FF2B5EF4-FFF2-40B4-BE49-F238E27FC236}">
                  <a16:creationId xmlns:a16="http://schemas.microsoft.com/office/drawing/2014/main" id="{444CD809-01D0-4330-B1CD-D5BC80138C97}"/>
                </a:ext>
              </a:extLst>
            </p:cNvPr>
            <p:cNvGrpSpPr/>
            <p:nvPr/>
          </p:nvGrpSpPr>
          <p:grpSpPr>
            <a:xfrm>
              <a:off x="47544" y="7038552"/>
              <a:ext cx="581568" cy="425834"/>
              <a:chOff x="84575" y="6977592"/>
              <a:chExt cx="581568" cy="425834"/>
            </a:xfrm>
          </p:grpSpPr>
          <p:grpSp>
            <p:nvGrpSpPr>
              <p:cNvPr id="8" name="组合 7">
                <a:extLst>
                  <a:ext uri="{FF2B5EF4-FFF2-40B4-BE49-F238E27FC236}">
                    <a16:creationId xmlns:a16="http://schemas.microsoft.com/office/drawing/2014/main" id="{C18E132D-C2F1-4738-AFFF-3F3654A94661}"/>
                  </a:ext>
                </a:extLst>
              </p:cNvPr>
              <p:cNvGrpSpPr/>
              <p:nvPr/>
            </p:nvGrpSpPr>
            <p:grpSpPr>
              <a:xfrm>
                <a:off x="84575" y="6979654"/>
                <a:ext cx="317380" cy="421711"/>
                <a:chOff x="14690033" y="2185397"/>
                <a:chExt cx="583830" cy="775754"/>
              </a:xfrm>
            </p:grpSpPr>
            <p:sp>
              <p:nvSpPr>
                <p:cNvPr id="10" name="iŝļíḑe">
                  <a:extLst>
                    <a:ext uri="{FF2B5EF4-FFF2-40B4-BE49-F238E27FC236}">
                      <a16:creationId xmlns:a16="http://schemas.microsoft.com/office/drawing/2014/main" id="{A70A68DA-7BD9-4C40-8EF8-E31F928549BD}"/>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şḷíḍé">
                  <a:extLst>
                    <a:ext uri="{FF2B5EF4-FFF2-40B4-BE49-F238E27FC236}">
                      <a16:creationId xmlns:a16="http://schemas.microsoft.com/office/drawing/2014/main" id="{669A0E6A-7013-4A9C-BB01-846648D89496}"/>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Sľïḓe">
                  <a:extLst>
                    <a:ext uri="{FF2B5EF4-FFF2-40B4-BE49-F238E27FC236}">
                      <a16:creationId xmlns:a16="http://schemas.microsoft.com/office/drawing/2014/main" id="{F8D5F0FE-8C1C-40FB-9F4F-3E49533CF13B}"/>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ḻídê">
                  <a:extLst>
                    <a:ext uri="{FF2B5EF4-FFF2-40B4-BE49-F238E27FC236}">
                      <a16:creationId xmlns:a16="http://schemas.microsoft.com/office/drawing/2014/main" id="{55C49B71-F89B-4D1D-95FA-D49C1A11E1F2}"/>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S1íḋè">
                  <a:extLst>
                    <a:ext uri="{FF2B5EF4-FFF2-40B4-BE49-F238E27FC236}">
                      <a16:creationId xmlns:a16="http://schemas.microsoft.com/office/drawing/2014/main" id="{5B0FB73A-BE51-4057-B2EA-70DEFC4DD013}"/>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íşļíde">
                  <a:extLst>
                    <a:ext uri="{FF2B5EF4-FFF2-40B4-BE49-F238E27FC236}">
                      <a16:creationId xmlns:a16="http://schemas.microsoft.com/office/drawing/2014/main" id="{B8DC496E-7AF5-40EC-B0A9-4B00034593C2}"/>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 name="文本框 8">
                <a:extLst>
                  <a:ext uri="{FF2B5EF4-FFF2-40B4-BE49-F238E27FC236}">
                    <a16:creationId xmlns:a16="http://schemas.microsoft.com/office/drawing/2014/main" id="{7C4EBB8A-3FD6-447D-8E38-9E615BEF76E4}"/>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6" name="矩形 15">
            <a:extLst>
              <a:ext uri="{FF2B5EF4-FFF2-40B4-BE49-F238E27FC236}">
                <a16:creationId xmlns:a16="http://schemas.microsoft.com/office/drawing/2014/main" id="{D70F4F39-D9A2-4815-93DE-6E186C52B745}"/>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底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31524454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CE7FDF97-FB17-4AF1-AFE1-9089E49B9EBE}"/>
              </a:ext>
            </a:extLst>
          </p:cNvPr>
          <p:cNvSpPr/>
          <p:nvPr/>
        </p:nvSpPr>
        <p:spPr>
          <a:xfrm>
            <a:off x="3052855" y="0"/>
            <a:ext cx="3033814" cy="68580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4" name="矩形 73">
            <a:extLst>
              <a:ext uri="{FF2B5EF4-FFF2-40B4-BE49-F238E27FC236}">
                <a16:creationId xmlns:a16="http://schemas.microsoft.com/office/drawing/2014/main" id="{1F4D7B85-FE5F-4D7C-9A38-8214293AAE0C}"/>
              </a:ext>
            </a:extLst>
          </p:cNvPr>
          <p:cNvSpPr/>
          <p:nvPr/>
        </p:nvSpPr>
        <p:spPr>
          <a:xfrm>
            <a:off x="381" y="0"/>
            <a:ext cx="3033814" cy="6858000"/>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5" name="矩形 74">
            <a:extLst>
              <a:ext uri="{FF2B5EF4-FFF2-40B4-BE49-F238E27FC236}">
                <a16:creationId xmlns:a16="http://schemas.microsoft.com/office/drawing/2014/main" id="{E3155DD2-F9B5-4F66-AD85-DDE6F6455FE4}"/>
              </a:ext>
            </a:extLst>
          </p:cNvPr>
          <p:cNvSpPr/>
          <p:nvPr/>
        </p:nvSpPr>
        <p:spPr>
          <a:xfrm>
            <a:off x="6105329" y="0"/>
            <a:ext cx="3033814" cy="6858000"/>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5" name="矩形 84">
            <a:extLst>
              <a:ext uri="{FF2B5EF4-FFF2-40B4-BE49-F238E27FC236}">
                <a16:creationId xmlns:a16="http://schemas.microsoft.com/office/drawing/2014/main" id="{0D4873EE-6E90-426A-9E4B-1121FF135A4A}"/>
              </a:ext>
            </a:extLst>
          </p:cNvPr>
          <p:cNvSpPr/>
          <p:nvPr/>
        </p:nvSpPr>
        <p:spPr>
          <a:xfrm>
            <a:off x="9157805" y="0"/>
            <a:ext cx="3033814" cy="68580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pic>
        <p:nvPicPr>
          <p:cNvPr id="76" name="图片 75">
            <a:extLst>
              <a:ext uri="{FF2B5EF4-FFF2-40B4-BE49-F238E27FC236}">
                <a16:creationId xmlns:a16="http://schemas.microsoft.com/office/drawing/2014/main" id="{CA212F6A-D2F3-415D-8DD9-CFE071CAE3AE}"/>
              </a:ext>
            </a:extLst>
          </p:cNvPr>
          <p:cNvPicPr>
            <a:picLocks noChangeAspect="1"/>
          </p:cNvPicPr>
          <p:nvPr/>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72" name="文本框 71">
            <a:extLst>
              <a:ext uri="{FF2B5EF4-FFF2-40B4-BE49-F238E27FC236}">
                <a16:creationId xmlns:a16="http://schemas.microsoft.com/office/drawing/2014/main" id="{6BB6FCA1-BD1A-43D0-8170-E1B2311806B4}"/>
              </a:ext>
            </a:extLst>
          </p:cNvPr>
          <p:cNvSpPr txBox="1"/>
          <p:nvPr/>
        </p:nvSpPr>
        <p:spPr>
          <a:xfrm>
            <a:off x="1080403" y="1543185"/>
            <a:ext cx="802389" cy="3933397"/>
          </a:xfrm>
          <a:custGeom>
            <a:avLst/>
            <a:gdLst/>
            <a:ahLst/>
            <a:cxnLst/>
            <a:rect l="l" t="t" r="r" b="b"/>
            <a:pathLst>
              <a:path w="802389" h="3933397">
                <a:moveTo>
                  <a:pt x="141063" y="3568380"/>
                </a:moveTo>
                <a:lnTo>
                  <a:pt x="140531" y="3569178"/>
                </a:lnTo>
                <a:lnTo>
                  <a:pt x="139471" y="3569178"/>
                </a:lnTo>
                <a:close/>
                <a:moveTo>
                  <a:pt x="227652" y="3446227"/>
                </a:moveTo>
                <a:lnTo>
                  <a:pt x="246795" y="3446227"/>
                </a:lnTo>
                <a:lnTo>
                  <a:pt x="278272" y="3474244"/>
                </a:lnTo>
                <a:cubicBezTo>
                  <a:pt x="292299" y="3474244"/>
                  <a:pt x="301247" y="3480067"/>
                  <a:pt x="305117" y="3491713"/>
                </a:cubicBezTo>
                <a:cubicBezTo>
                  <a:pt x="305117" y="3504772"/>
                  <a:pt x="295350" y="3518651"/>
                  <a:pt x="275816" y="3533347"/>
                </a:cubicBezTo>
                <a:cubicBezTo>
                  <a:pt x="271500" y="3550537"/>
                  <a:pt x="260078" y="3574145"/>
                  <a:pt x="241548" y="3604171"/>
                </a:cubicBezTo>
                <a:cubicBezTo>
                  <a:pt x="239204" y="3618644"/>
                  <a:pt x="229624" y="3636671"/>
                  <a:pt x="212806" y="3658251"/>
                </a:cubicBezTo>
                <a:cubicBezTo>
                  <a:pt x="207969" y="3672762"/>
                  <a:pt x="197216" y="3688370"/>
                  <a:pt x="180547" y="3705076"/>
                </a:cubicBezTo>
                <a:lnTo>
                  <a:pt x="172008" y="3722099"/>
                </a:lnTo>
                <a:cubicBezTo>
                  <a:pt x="172008" y="3728089"/>
                  <a:pt x="167339" y="3735754"/>
                  <a:pt x="158000" y="3745092"/>
                </a:cubicBezTo>
                <a:cubicBezTo>
                  <a:pt x="158000" y="3747213"/>
                  <a:pt x="144159" y="3763380"/>
                  <a:pt x="116477" y="3793592"/>
                </a:cubicBezTo>
                <a:cubicBezTo>
                  <a:pt x="113798" y="3796271"/>
                  <a:pt x="97408" y="3811507"/>
                  <a:pt x="67308" y="3839301"/>
                </a:cubicBezTo>
                <a:cubicBezTo>
                  <a:pt x="39589" y="3866983"/>
                  <a:pt x="17153" y="3880824"/>
                  <a:pt x="0" y="3880824"/>
                </a:cubicBezTo>
                <a:lnTo>
                  <a:pt x="0" y="3866648"/>
                </a:lnTo>
                <a:cubicBezTo>
                  <a:pt x="0" y="3860434"/>
                  <a:pt x="13320" y="3846407"/>
                  <a:pt x="39961" y="3824567"/>
                </a:cubicBezTo>
                <a:cubicBezTo>
                  <a:pt x="62806" y="3794131"/>
                  <a:pt x="76331" y="3778914"/>
                  <a:pt x="80535" y="3778914"/>
                </a:cubicBezTo>
                <a:cubicBezTo>
                  <a:pt x="80535" y="3775342"/>
                  <a:pt x="84051" y="3770058"/>
                  <a:pt x="91083" y="3763063"/>
                </a:cubicBezTo>
                <a:cubicBezTo>
                  <a:pt x="91083" y="3758934"/>
                  <a:pt x="99306" y="3743920"/>
                  <a:pt x="115751" y="3718024"/>
                </a:cubicBezTo>
                <a:lnTo>
                  <a:pt x="126076" y="3697430"/>
                </a:lnTo>
                <a:cubicBezTo>
                  <a:pt x="126076" y="3690101"/>
                  <a:pt x="131918" y="3678269"/>
                  <a:pt x="143601" y="3661935"/>
                </a:cubicBezTo>
                <a:lnTo>
                  <a:pt x="143601" y="3659981"/>
                </a:lnTo>
                <a:lnTo>
                  <a:pt x="143601" y="3654512"/>
                </a:lnTo>
                <a:cubicBezTo>
                  <a:pt x="145945" y="3652168"/>
                  <a:pt x="147117" y="3647238"/>
                  <a:pt x="147117" y="3639722"/>
                </a:cubicBezTo>
                <a:cubicBezTo>
                  <a:pt x="154484" y="3634811"/>
                  <a:pt x="160363" y="3623500"/>
                  <a:pt x="164753" y="3605789"/>
                </a:cubicBezTo>
                <a:cubicBezTo>
                  <a:pt x="171897" y="3595148"/>
                  <a:pt x="175357" y="3589828"/>
                  <a:pt x="175134" y="3589828"/>
                </a:cubicBezTo>
                <a:lnTo>
                  <a:pt x="175134" y="3582237"/>
                </a:lnTo>
                <a:lnTo>
                  <a:pt x="182110" y="3561253"/>
                </a:lnTo>
                <a:lnTo>
                  <a:pt x="182110" y="3547802"/>
                </a:lnTo>
                <a:cubicBezTo>
                  <a:pt x="183803" y="3547802"/>
                  <a:pt x="185366" y="3546635"/>
                  <a:pt x="186798" y="3544300"/>
                </a:cubicBezTo>
                <a:lnTo>
                  <a:pt x="188024" y="3541004"/>
                </a:lnTo>
                <a:lnTo>
                  <a:pt x="182557" y="3544119"/>
                </a:lnTo>
                <a:cubicBezTo>
                  <a:pt x="182557" y="3549142"/>
                  <a:pt x="177813" y="3551653"/>
                  <a:pt x="168325" y="3551653"/>
                </a:cubicBezTo>
                <a:lnTo>
                  <a:pt x="164809" y="3551653"/>
                </a:lnTo>
                <a:cubicBezTo>
                  <a:pt x="167302" y="3551653"/>
                  <a:pt x="168548" y="3552639"/>
                  <a:pt x="168548" y="3554611"/>
                </a:cubicBezTo>
                <a:lnTo>
                  <a:pt x="141063" y="3568380"/>
                </a:lnTo>
                <a:lnTo>
                  <a:pt x="143992" y="3563987"/>
                </a:lnTo>
                <a:cubicBezTo>
                  <a:pt x="131769" y="3575317"/>
                  <a:pt x="119442" y="3582398"/>
                  <a:pt x="107010" y="3585230"/>
                </a:cubicBezTo>
                <a:lnTo>
                  <a:pt x="97496" y="3586311"/>
                </a:lnTo>
                <a:lnTo>
                  <a:pt x="100334" y="3589315"/>
                </a:lnTo>
                <a:cubicBezTo>
                  <a:pt x="104101" y="3594568"/>
                  <a:pt x="101799" y="3597195"/>
                  <a:pt x="93427" y="3597195"/>
                </a:cubicBezTo>
                <a:cubicBezTo>
                  <a:pt x="78433" y="3594218"/>
                  <a:pt x="66824" y="3587223"/>
                  <a:pt x="58601" y="3576210"/>
                </a:cubicBezTo>
                <a:cubicBezTo>
                  <a:pt x="55364" y="3572936"/>
                  <a:pt x="46156" y="3568787"/>
                  <a:pt x="30975" y="3563764"/>
                </a:cubicBezTo>
                <a:lnTo>
                  <a:pt x="21041" y="3540658"/>
                </a:lnTo>
                <a:lnTo>
                  <a:pt x="29692" y="3530278"/>
                </a:lnTo>
                <a:lnTo>
                  <a:pt x="51123" y="3530278"/>
                </a:lnTo>
                <a:lnTo>
                  <a:pt x="54583" y="3533794"/>
                </a:lnTo>
                <a:cubicBezTo>
                  <a:pt x="58713" y="3533794"/>
                  <a:pt x="78024" y="3527934"/>
                  <a:pt x="112514" y="3516213"/>
                </a:cubicBezTo>
                <a:lnTo>
                  <a:pt x="112514" y="3519730"/>
                </a:lnTo>
                <a:lnTo>
                  <a:pt x="119435" y="3512753"/>
                </a:lnTo>
                <a:cubicBezTo>
                  <a:pt x="123565" y="3512753"/>
                  <a:pt x="128346" y="3510949"/>
                  <a:pt x="133778" y="3507340"/>
                </a:cubicBezTo>
                <a:lnTo>
                  <a:pt x="165925" y="3495284"/>
                </a:lnTo>
                <a:cubicBezTo>
                  <a:pt x="181738" y="3495284"/>
                  <a:pt x="195133" y="3487583"/>
                  <a:pt x="206109" y="3472179"/>
                </a:cubicBezTo>
                <a:cubicBezTo>
                  <a:pt x="215299" y="3469946"/>
                  <a:pt x="222480" y="3464514"/>
                  <a:pt x="227652" y="3455882"/>
                </a:cubicBezTo>
                <a:close/>
                <a:moveTo>
                  <a:pt x="323757" y="3292134"/>
                </a:moveTo>
                <a:cubicBezTo>
                  <a:pt x="332613" y="3292134"/>
                  <a:pt x="348705" y="3300301"/>
                  <a:pt x="372033" y="3316635"/>
                </a:cubicBezTo>
                <a:cubicBezTo>
                  <a:pt x="394767" y="3316635"/>
                  <a:pt x="408478" y="3320151"/>
                  <a:pt x="413166" y="3327183"/>
                </a:cubicBezTo>
                <a:lnTo>
                  <a:pt x="418859" y="3327183"/>
                </a:lnTo>
                <a:lnTo>
                  <a:pt x="438169" y="3346494"/>
                </a:lnTo>
                <a:lnTo>
                  <a:pt x="438169" y="3362344"/>
                </a:lnTo>
                <a:lnTo>
                  <a:pt x="438169" y="3372055"/>
                </a:lnTo>
                <a:cubicBezTo>
                  <a:pt x="427416" y="3390882"/>
                  <a:pt x="421593" y="3400741"/>
                  <a:pt x="420700" y="3401634"/>
                </a:cubicBezTo>
                <a:lnTo>
                  <a:pt x="420700" y="3440367"/>
                </a:lnTo>
                <a:lnTo>
                  <a:pt x="417184" y="3442097"/>
                </a:lnTo>
                <a:lnTo>
                  <a:pt x="420700" y="3446506"/>
                </a:lnTo>
                <a:lnTo>
                  <a:pt x="417184" y="3458003"/>
                </a:lnTo>
                <a:lnTo>
                  <a:pt x="420700" y="3482448"/>
                </a:lnTo>
                <a:lnTo>
                  <a:pt x="417184" y="3493387"/>
                </a:lnTo>
                <a:lnTo>
                  <a:pt x="417184" y="3495396"/>
                </a:lnTo>
                <a:lnTo>
                  <a:pt x="417184" y="3520120"/>
                </a:lnTo>
                <a:cubicBezTo>
                  <a:pt x="414840" y="3520120"/>
                  <a:pt x="413668" y="3519432"/>
                  <a:pt x="413668" y="3518055"/>
                </a:cubicBezTo>
                <a:lnTo>
                  <a:pt x="417184" y="3521571"/>
                </a:lnTo>
                <a:lnTo>
                  <a:pt x="417184" y="3530780"/>
                </a:lnTo>
                <a:lnTo>
                  <a:pt x="420700" y="3551709"/>
                </a:lnTo>
                <a:lnTo>
                  <a:pt x="417184" y="3555951"/>
                </a:lnTo>
                <a:lnTo>
                  <a:pt x="417184" y="3558295"/>
                </a:lnTo>
                <a:cubicBezTo>
                  <a:pt x="416031" y="3558295"/>
                  <a:pt x="420570" y="3559448"/>
                  <a:pt x="430802" y="3561755"/>
                </a:cubicBezTo>
                <a:lnTo>
                  <a:pt x="441294" y="3552937"/>
                </a:lnTo>
                <a:cubicBezTo>
                  <a:pt x="441294" y="3550593"/>
                  <a:pt x="444792" y="3545923"/>
                  <a:pt x="451787" y="3538928"/>
                </a:cubicBezTo>
                <a:cubicBezTo>
                  <a:pt x="451787" y="3536584"/>
                  <a:pt x="455284" y="3531915"/>
                  <a:pt x="462279" y="3524920"/>
                </a:cubicBezTo>
                <a:cubicBezTo>
                  <a:pt x="462279" y="3522055"/>
                  <a:pt x="466167" y="3518037"/>
                  <a:pt x="473944" y="3512865"/>
                </a:cubicBezTo>
                <a:cubicBezTo>
                  <a:pt x="488975" y="3477779"/>
                  <a:pt x="497998" y="3460235"/>
                  <a:pt x="501012" y="3460235"/>
                </a:cubicBezTo>
                <a:lnTo>
                  <a:pt x="515188" y="3437521"/>
                </a:lnTo>
                <a:lnTo>
                  <a:pt x="518313" y="3428200"/>
                </a:lnTo>
                <a:lnTo>
                  <a:pt x="518313" y="3425354"/>
                </a:lnTo>
                <a:cubicBezTo>
                  <a:pt x="518313" y="3425577"/>
                  <a:pt x="514815" y="3421038"/>
                  <a:pt x="507821" y="3411736"/>
                </a:cubicBezTo>
                <a:lnTo>
                  <a:pt x="507821" y="3401579"/>
                </a:lnTo>
                <a:cubicBezTo>
                  <a:pt x="519169" y="3393988"/>
                  <a:pt x="529735" y="3390193"/>
                  <a:pt x="539521" y="3390193"/>
                </a:cubicBezTo>
                <a:lnTo>
                  <a:pt x="553808" y="3390193"/>
                </a:lnTo>
                <a:lnTo>
                  <a:pt x="583779" y="3408890"/>
                </a:lnTo>
                <a:lnTo>
                  <a:pt x="603089" y="3421726"/>
                </a:lnTo>
                <a:cubicBezTo>
                  <a:pt x="616893" y="3421726"/>
                  <a:pt x="623795" y="3427605"/>
                  <a:pt x="623795" y="3439362"/>
                </a:cubicBezTo>
                <a:lnTo>
                  <a:pt x="623795" y="3449855"/>
                </a:lnTo>
                <a:cubicBezTo>
                  <a:pt x="623795" y="3461724"/>
                  <a:pt x="607963" y="3474244"/>
                  <a:pt x="576300" y="3487415"/>
                </a:cubicBezTo>
                <a:lnTo>
                  <a:pt x="525624" y="3523636"/>
                </a:lnTo>
                <a:cubicBezTo>
                  <a:pt x="522945" y="3523636"/>
                  <a:pt x="518685" y="3529478"/>
                  <a:pt x="512843" y="3541161"/>
                </a:cubicBezTo>
                <a:lnTo>
                  <a:pt x="482315" y="3564043"/>
                </a:lnTo>
                <a:cubicBezTo>
                  <a:pt x="467842" y="3576433"/>
                  <a:pt x="460140" y="3582516"/>
                  <a:pt x="459210" y="3582293"/>
                </a:cubicBezTo>
                <a:lnTo>
                  <a:pt x="480138" y="3598869"/>
                </a:lnTo>
                <a:lnTo>
                  <a:pt x="525792" y="3634030"/>
                </a:lnTo>
                <a:lnTo>
                  <a:pt x="553529" y="3649377"/>
                </a:lnTo>
                <a:cubicBezTo>
                  <a:pt x="560896" y="3649377"/>
                  <a:pt x="565752" y="3651703"/>
                  <a:pt x="568096" y="3656354"/>
                </a:cubicBezTo>
                <a:lnTo>
                  <a:pt x="572951" y="3656354"/>
                </a:lnTo>
                <a:cubicBezTo>
                  <a:pt x="583295" y="3666697"/>
                  <a:pt x="596429" y="3674157"/>
                  <a:pt x="612354" y="3678734"/>
                </a:cubicBezTo>
                <a:cubicBezTo>
                  <a:pt x="622883" y="3687180"/>
                  <a:pt x="637208" y="3691403"/>
                  <a:pt x="655328" y="3691403"/>
                </a:cubicBezTo>
                <a:cubicBezTo>
                  <a:pt x="655328" y="3698249"/>
                  <a:pt x="670676" y="3707811"/>
                  <a:pt x="701371" y="3720089"/>
                </a:cubicBezTo>
                <a:cubicBezTo>
                  <a:pt x="706060" y="3722322"/>
                  <a:pt x="717557" y="3724963"/>
                  <a:pt x="735862" y="3728014"/>
                </a:cubicBezTo>
                <a:cubicBezTo>
                  <a:pt x="735862" y="3730582"/>
                  <a:pt x="738411" y="3732386"/>
                  <a:pt x="743508" y="3733428"/>
                </a:cubicBezTo>
                <a:lnTo>
                  <a:pt x="756289" y="3733428"/>
                </a:lnTo>
                <a:lnTo>
                  <a:pt x="763265" y="3736888"/>
                </a:lnTo>
                <a:lnTo>
                  <a:pt x="787822" y="3736888"/>
                </a:lnTo>
                <a:lnTo>
                  <a:pt x="802389" y="3746823"/>
                </a:lnTo>
                <a:lnTo>
                  <a:pt x="789217" y="3765296"/>
                </a:lnTo>
                <a:lnTo>
                  <a:pt x="754838" y="3765296"/>
                </a:lnTo>
                <a:lnTo>
                  <a:pt x="679829" y="3787174"/>
                </a:lnTo>
                <a:cubicBezTo>
                  <a:pt x="679829" y="3793573"/>
                  <a:pt x="670769" y="3796773"/>
                  <a:pt x="652649" y="3796773"/>
                </a:cubicBezTo>
                <a:cubicBezTo>
                  <a:pt x="643310" y="3806112"/>
                  <a:pt x="634790" y="3810782"/>
                  <a:pt x="627088" y="3810782"/>
                </a:cubicBezTo>
                <a:cubicBezTo>
                  <a:pt x="620093" y="3810782"/>
                  <a:pt x="613098" y="3808456"/>
                  <a:pt x="606103" y="3803805"/>
                </a:cubicBezTo>
                <a:cubicBezTo>
                  <a:pt x="591927" y="3803805"/>
                  <a:pt x="584839" y="3797908"/>
                  <a:pt x="584839" y="3786113"/>
                </a:cubicBezTo>
                <a:cubicBezTo>
                  <a:pt x="583388" y="3783881"/>
                  <a:pt x="576393" y="3782765"/>
                  <a:pt x="563854" y="3782765"/>
                </a:cubicBezTo>
                <a:cubicBezTo>
                  <a:pt x="563854" y="3776179"/>
                  <a:pt x="558162" y="3770989"/>
                  <a:pt x="546776" y="3767193"/>
                </a:cubicBezTo>
                <a:cubicBezTo>
                  <a:pt x="539484" y="3757445"/>
                  <a:pt x="529047" y="3749167"/>
                  <a:pt x="515467" y="3742358"/>
                </a:cubicBezTo>
                <a:cubicBezTo>
                  <a:pt x="498054" y="3724945"/>
                  <a:pt x="485124" y="3716238"/>
                  <a:pt x="476678" y="3716238"/>
                </a:cubicBezTo>
                <a:cubicBezTo>
                  <a:pt x="472958" y="3708760"/>
                  <a:pt x="466986" y="3700909"/>
                  <a:pt x="458763" y="3692686"/>
                </a:cubicBezTo>
                <a:cubicBezTo>
                  <a:pt x="458763" y="3689710"/>
                  <a:pt x="455266" y="3688222"/>
                  <a:pt x="448271" y="3688222"/>
                </a:cubicBezTo>
                <a:cubicBezTo>
                  <a:pt x="448271" y="3683450"/>
                  <a:pt x="441961" y="3674157"/>
                  <a:pt x="429340" y="3660344"/>
                </a:cubicBezTo>
                <a:lnTo>
                  <a:pt x="420549" y="3651197"/>
                </a:lnTo>
                <a:lnTo>
                  <a:pt x="420700" y="3660205"/>
                </a:lnTo>
                <a:lnTo>
                  <a:pt x="419601" y="3659515"/>
                </a:lnTo>
                <a:lnTo>
                  <a:pt x="417073" y="3698993"/>
                </a:lnTo>
                <a:lnTo>
                  <a:pt x="417184" y="3705523"/>
                </a:lnTo>
                <a:lnTo>
                  <a:pt x="417184" y="3709039"/>
                </a:lnTo>
                <a:lnTo>
                  <a:pt x="417184" y="3712555"/>
                </a:lnTo>
                <a:lnTo>
                  <a:pt x="417184" y="3733540"/>
                </a:lnTo>
                <a:lnTo>
                  <a:pt x="417184" y="3766077"/>
                </a:lnTo>
                <a:lnTo>
                  <a:pt x="413668" y="3768421"/>
                </a:lnTo>
                <a:lnTo>
                  <a:pt x="417184" y="3775398"/>
                </a:lnTo>
                <a:lnTo>
                  <a:pt x="417184" y="3789574"/>
                </a:lnTo>
                <a:lnTo>
                  <a:pt x="417184" y="3811116"/>
                </a:lnTo>
                <a:lnTo>
                  <a:pt x="408087" y="3856323"/>
                </a:lnTo>
                <a:cubicBezTo>
                  <a:pt x="407157" y="3856323"/>
                  <a:pt x="406692" y="3862164"/>
                  <a:pt x="406692" y="3873847"/>
                </a:cubicBezTo>
                <a:cubicBezTo>
                  <a:pt x="400441" y="3873847"/>
                  <a:pt x="396665" y="3876415"/>
                  <a:pt x="395362" y="3881549"/>
                </a:cubicBezTo>
                <a:cubicBezTo>
                  <a:pt x="374378" y="3913064"/>
                  <a:pt x="354658" y="3930346"/>
                  <a:pt x="336203" y="3933397"/>
                </a:cubicBezTo>
                <a:lnTo>
                  <a:pt x="325711" y="3923854"/>
                </a:lnTo>
                <a:lnTo>
                  <a:pt x="325711" y="3908673"/>
                </a:lnTo>
                <a:cubicBezTo>
                  <a:pt x="325711" y="3883782"/>
                  <a:pt x="307256" y="3852881"/>
                  <a:pt x="270347" y="3815972"/>
                </a:cubicBezTo>
                <a:cubicBezTo>
                  <a:pt x="262347" y="3811954"/>
                  <a:pt x="253771" y="3808437"/>
                  <a:pt x="244618" y="3805424"/>
                </a:cubicBezTo>
                <a:lnTo>
                  <a:pt x="238144" y="3792420"/>
                </a:lnTo>
                <a:lnTo>
                  <a:pt x="238144" y="3786057"/>
                </a:lnTo>
                <a:lnTo>
                  <a:pt x="238144" y="3775453"/>
                </a:lnTo>
                <a:lnTo>
                  <a:pt x="263426" y="3775453"/>
                </a:lnTo>
                <a:cubicBezTo>
                  <a:pt x="265733" y="3780104"/>
                  <a:pt x="271463" y="3782430"/>
                  <a:pt x="280616" y="3782430"/>
                </a:cubicBezTo>
                <a:cubicBezTo>
                  <a:pt x="280616" y="3786299"/>
                  <a:pt x="285285" y="3789406"/>
                  <a:pt x="294624" y="3791750"/>
                </a:cubicBezTo>
                <a:cubicBezTo>
                  <a:pt x="294624" y="3794680"/>
                  <a:pt x="299658" y="3797077"/>
                  <a:pt x="309724" y="3798939"/>
                </a:cubicBezTo>
                <a:lnTo>
                  <a:pt x="318679" y="3800224"/>
                </a:lnTo>
                <a:lnTo>
                  <a:pt x="318679" y="3777072"/>
                </a:lnTo>
                <a:lnTo>
                  <a:pt x="322195" y="3773556"/>
                </a:lnTo>
                <a:lnTo>
                  <a:pt x="322195" y="3753855"/>
                </a:lnTo>
                <a:lnTo>
                  <a:pt x="325234" y="3744784"/>
                </a:lnTo>
                <a:lnTo>
                  <a:pt x="322195" y="3741744"/>
                </a:lnTo>
                <a:lnTo>
                  <a:pt x="322195" y="3731531"/>
                </a:lnTo>
                <a:lnTo>
                  <a:pt x="325711" y="3728014"/>
                </a:lnTo>
                <a:lnTo>
                  <a:pt x="325711" y="3723271"/>
                </a:lnTo>
                <a:cubicBezTo>
                  <a:pt x="318716" y="3723271"/>
                  <a:pt x="315218" y="3717392"/>
                  <a:pt x="315218" y="3705634"/>
                </a:cubicBezTo>
                <a:cubicBezTo>
                  <a:pt x="319869" y="3703290"/>
                  <a:pt x="322195" y="3696947"/>
                  <a:pt x="322195" y="3686603"/>
                </a:cubicBezTo>
                <a:lnTo>
                  <a:pt x="328216" y="3677571"/>
                </a:lnTo>
                <a:lnTo>
                  <a:pt x="325711" y="3675106"/>
                </a:lnTo>
                <a:lnTo>
                  <a:pt x="325711" y="3660201"/>
                </a:lnTo>
                <a:lnTo>
                  <a:pt x="323520" y="3658673"/>
                </a:lnTo>
                <a:cubicBezTo>
                  <a:pt x="322636" y="3657266"/>
                  <a:pt x="322195" y="3655377"/>
                  <a:pt x="322195" y="3653005"/>
                </a:cubicBezTo>
                <a:cubicBezTo>
                  <a:pt x="322195" y="3644671"/>
                  <a:pt x="324539" y="3642401"/>
                  <a:pt x="329227" y="3646196"/>
                </a:cubicBezTo>
                <a:cubicBezTo>
                  <a:pt x="327590" y="3646196"/>
                  <a:pt x="325246" y="3632151"/>
                  <a:pt x="322195" y="3604059"/>
                </a:cubicBezTo>
                <a:lnTo>
                  <a:pt x="325711" y="3587428"/>
                </a:lnTo>
                <a:lnTo>
                  <a:pt x="322195" y="3572359"/>
                </a:lnTo>
                <a:lnTo>
                  <a:pt x="325711" y="3565383"/>
                </a:lnTo>
                <a:lnTo>
                  <a:pt x="322195" y="3551876"/>
                </a:lnTo>
                <a:lnTo>
                  <a:pt x="325711" y="3551653"/>
                </a:lnTo>
                <a:cubicBezTo>
                  <a:pt x="321023" y="3551653"/>
                  <a:pt x="318679" y="3544342"/>
                  <a:pt x="318679" y="3529720"/>
                </a:cubicBezTo>
                <a:lnTo>
                  <a:pt x="322195" y="3519227"/>
                </a:lnTo>
                <a:lnTo>
                  <a:pt x="322195" y="3509405"/>
                </a:lnTo>
                <a:lnTo>
                  <a:pt x="322195" y="3505888"/>
                </a:lnTo>
                <a:lnTo>
                  <a:pt x="322195" y="3497796"/>
                </a:lnTo>
                <a:lnTo>
                  <a:pt x="325711" y="3492773"/>
                </a:lnTo>
                <a:lnTo>
                  <a:pt x="322195" y="3487750"/>
                </a:lnTo>
                <a:lnTo>
                  <a:pt x="322195" y="3474411"/>
                </a:lnTo>
                <a:lnTo>
                  <a:pt x="322195" y="3453371"/>
                </a:lnTo>
                <a:lnTo>
                  <a:pt x="322195" y="3451864"/>
                </a:lnTo>
                <a:lnTo>
                  <a:pt x="318679" y="3439474"/>
                </a:lnTo>
                <a:lnTo>
                  <a:pt x="322195" y="3433279"/>
                </a:lnTo>
                <a:lnTo>
                  <a:pt x="318679" y="3428200"/>
                </a:lnTo>
                <a:lnTo>
                  <a:pt x="318679" y="3424684"/>
                </a:lnTo>
                <a:lnTo>
                  <a:pt x="315218" y="3416424"/>
                </a:lnTo>
                <a:lnTo>
                  <a:pt x="318679" y="3399960"/>
                </a:lnTo>
                <a:cubicBezTo>
                  <a:pt x="318679" y="3379682"/>
                  <a:pt x="316018" y="3369543"/>
                  <a:pt x="310698" y="3369543"/>
                </a:cubicBezTo>
                <a:lnTo>
                  <a:pt x="302661" y="3359051"/>
                </a:lnTo>
                <a:lnTo>
                  <a:pt x="292224" y="3362511"/>
                </a:lnTo>
                <a:lnTo>
                  <a:pt x="280169" y="3335666"/>
                </a:lnTo>
                <a:cubicBezTo>
                  <a:pt x="282811" y="3318291"/>
                  <a:pt x="292727" y="3305324"/>
                  <a:pt x="309916" y="3296766"/>
                </a:cubicBezTo>
                <a:close/>
                <a:moveTo>
                  <a:pt x="494091" y="2676897"/>
                </a:moveTo>
                <a:cubicBezTo>
                  <a:pt x="476864" y="2683818"/>
                  <a:pt x="460568" y="2688134"/>
                  <a:pt x="445201" y="2689845"/>
                </a:cubicBezTo>
                <a:cubicBezTo>
                  <a:pt x="445201" y="2692896"/>
                  <a:pt x="437034" y="2694422"/>
                  <a:pt x="420700" y="2694422"/>
                </a:cubicBezTo>
                <a:cubicBezTo>
                  <a:pt x="420700" y="2699073"/>
                  <a:pt x="415119" y="2701398"/>
                  <a:pt x="403957" y="2701398"/>
                </a:cubicBezTo>
                <a:lnTo>
                  <a:pt x="396981" y="2708430"/>
                </a:lnTo>
                <a:lnTo>
                  <a:pt x="395408" y="2708430"/>
                </a:lnTo>
                <a:lnTo>
                  <a:pt x="395962" y="2711067"/>
                </a:lnTo>
                <a:cubicBezTo>
                  <a:pt x="397106" y="2717811"/>
                  <a:pt x="398302" y="2727406"/>
                  <a:pt x="399548" y="2739852"/>
                </a:cubicBezTo>
                <a:lnTo>
                  <a:pt x="406692" y="2779254"/>
                </a:lnTo>
                <a:lnTo>
                  <a:pt x="403351" y="2784821"/>
                </a:lnTo>
                <a:lnTo>
                  <a:pt x="470707" y="2771329"/>
                </a:lnTo>
                <a:cubicBezTo>
                  <a:pt x="488454" y="2769543"/>
                  <a:pt x="497328" y="2769524"/>
                  <a:pt x="497328" y="2771273"/>
                </a:cubicBezTo>
                <a:cubicBezTo>
                  <a:pt x="497328" y="2765655"/>
                  <a:pt x="499654" y="2759329"/>
                  <a:pt x="504304" y="2752297"/>
                </a:cubicBezTo>
                <a:lnTo>
                  <a:pt x="504304" y="2734215"/>
                </a:lnTo>
                <a:lnTo>
                  <a:pt x="507821" y="2730699"/>
                </a:lnTo>
                <a:lnTo>
                  <a:pt x="507821" y="2722215"/>
                </a:lnTo>
                <a:lnTo>
                  <a:pt x="507821" y="2718699"/>
                </a:lnTo>
                <a:lnTo>
                  <a:pt x="507821" y="2687222"/>
                </a:lnTo>
                <a:lnTo>
                  <a:pt x="507821" y="2679953"/>
                </a:lnTo>
                <a:close/>
                <a:moveTo>
                  <a:pt x="714431" y="2522581"/>
                </a:moveTo>
                <a:lnTo>
                  <a:pt x="714431" y="2522804"/>
                </a:lnTo>
                <a:lnTo>
                  <a:pt x="714471" y="2522804"/>
                </a:lnTo>
                <a:close/>
                <a:moveTo>
                  <a:pt x="432829" y="2501820"/>
                </a:moveTo>
                <a:lnTo>
                  <a:pt x="432947" y="2502343"/>
                </a:lnTo>
                <a:lnTo>
                  <a:pt x="434467" y="2501820"/>
                </a:lnTo>
                <a:close/>
                <a:moveTo>
                  <a:pt x="309439" y="2428092"/>
                </a:moveTo>
                <a:lnTo>
                  <a:pt x="308409" y="2428261"/>
                </a:lnTo>
                <a:lnTo>
                  <a:pt x="309515" y="2428261"/>
                </a:lnTo>
                <a:close/>
                <a:moveTo>
                  <a:pt x="304670" y="2417546"/>
                </a:moveTo>
                <a:lnTo>
                  <a:pt x="304670" y="2421229"/>
                </a:lnTo>
                <a:lnTo>
                  <a:pt x="306336" y="2421229"/>
                </a:lnTo>
                <a:close/>
                <a:moveTo>
                  <a:pt x="434605" y="2368451"/>
                </a:moveTo>
                <a:lnTo>
                  <a:pt x="428458" y="2376159"/>
                </a:lnTo>
                <a:cubicBezTo>
                  <a:pt x="421956" y="2382877"/>
                  <a:pt x="414701" y="2386236"/>
                  <a:pt x="406692" y="2386236"/>
                </a:cubicBezTo>
                <a:cubicBezTo>
                  <a:pt x="406692" y="2385306"/>
                  <a:pt x="399678" y="2389510"/>
                  <a:pt x="385651" y="2398849"/>
                </a:cubicBezTo>
                <a:lnTo>
                  <a:pt x="385651" y="2394831"/>
                </a:lnTo>
                <a:lnTo>
                  <a:pt x="381615" y="2454709"/>
                </a:lnTo>
                <a:lnTo>
                  <a:pt x="386949" y="2455929"/>
                </a:lnTo>
                <a:cubicBezTo>
                  <a:pt x="391907" y="2458264"/>
                  <a:pt x="396720" y="2461766"/>
                  <a:pt x="401390" y="2466436"/>
                </a:cubicBezTo>
                <a:cubicBezTo>
                  <a:pt x="408403" y="2466436"/>
                  <a:pt x="414059" y="2468003"/>
                  <a:pt x="418356" y="2471138"/>
                </a:cubicBezTo>
                <a:lnTo>
                  <a:pt x="420016" y="2472935"/>
                </a:lnTo>
                <a:lnTo>
                  <a:pt x="420254" y="2472463"/>
                </a:lnTo>
                <a:lnTo>
                  <a:pt x="420254" y="2468054"/>
                </a:lnTo>
                <a:lnTo>
                  <a:pt x="427286" y="2462696"/>
                </a:lnTo>
                <a:lnTo>
                  <a:pt x="423770" y="2458901"/>
                </a:lnTo>
                <a:lnTo>
                  <a:pt x="423770" y="2450530"/>
                </a:lnTo>
                <a:cubicBezTo>
                  <a:pt x="428532" y="2445767"/>
                  <a:pt x="432030" y="2437265"/>
                  <a:pt x="434262" y="2425024"/>
                </a:cubicBezTo>
                <a:lnTo>
                  <a:pt x="430746" y="2418885"/>
                </a:lnTo>
                <a:lnTo>
                  <a:pt x="437778" y="2409509"/>
                </a:lnTo>
                <a:lnTo>
                  <a:pt x="434262" y="2397342"/>
                </a:lnTo>
                <a:lnTo>
                  <a:pt x="441685" y="2392877"/>
                </a:lnTo>
                <a:lnTo>
                  <a:pt x="444755" y="2371223"/>
                </a:lnTo>
                <a:cubicBezTo>
                  <a:pt x="444755" y="2371651"/>
                  <a:pt x="442420" y="2371093"/>
                  <a:pt x="437750" y="2369549"/>
                </a:cubicBezTo>
                <a:close/>
                <a:moveTo>
                  <a:pt x="518759" y="2144185"/>
                </a:moveTo>
                <a:cubicBezTo>
                  <a:pt x="518759" y="2157840"/>
                  <a:pt x="522108" y="2166007"/>
                  <a:pt x="528805" y="2168686"/>
                </a:cubicBezTo>
                <a:lnTo>
                  <a:pt x="528805" y="2168742"/>
                </a:lnTo>
                <a:lnTo>
                  <a:pt x="545660" y="2168742"/>
                </a:lnTo>
                <a:cubicBezTo>
                  <a:pt x="566161" y="2177523"/>
                  <a:pt x="579370" y="2187811"/>
                  <a:pt x="585286" y="2199605"/>
                </a:cubicBezTo>
                <a:lnTo>
                  <a:pt x="585286" y="2209316"/>
                </a:lnTo>
                <a:lnTo>
                  <a:pt x="556193" y="2283566"/>
                </a:lnTo>
                <a:lnTo>
                  <a:pt x="565752" y="2280810"/>
                </a:lnTo>
                <a:cubicBezTo>
                  <a:pt x="565566" y="2280810"/>
                  <a:pt x="567835" y="2278484"/>
                  <a:pt x="572561" y="2273833"/>
                </a:cubicBezTo>
                <a:lnTo>
                  <a:pt x="587909" y="2273833"/>
                </a:lnTo>
                <a:cubicBezTo>
                  <a:pt x="595908" y="2284437"/>
                  <a:pt x="603684" y="2291005"/>
                  <a:pt x="611237" y="2293535"/>
                </a:cubicBezTo>
                <a:lnTo>
                  <a:pt x="623795" y="2318705"/>
                </a:lnTo>
                <a:cubicBezTo>
                  <a:pt x="623795" y="2338388"/>
                  <a:pt x="613842" y="2351559"/>
                  <a:pt x="593936" y="2358219"/>
                </a:cubicBezTo>
                <a:cubicBezTo>
                  <a:pt x="584597" y="2358219"/>
                  <a:pt x="568877" y="2360972"/>
                  <a:pt x="546776" y="2366479"/>
                </a:cubicBezTo>
                <a:cubicBezTo>
                  <a:pt x="546776" y="2369530"/>
                  <a:pt x="537437" y="2372227"/>
                  <a:pt x="518759" y="2374571"/>
                </a:cubicBezTo>
                <a:lnTo>
                  <a:pt x="518759" y="2373846"/>
                </a:lnTo>
                <a:cubicBezTo>
                  <a:pt x="500081" y="2421806"/>
                  <a:pt x="487915" y="2445786"/>
                  <a:pt x="482259" y="2445786"/>
                </a:cubicBezTo>
                <a:cubicBezTo>
                  <a:pt x="480883" y="2447795"/>
                  <a:pt x="480194" y="2455962"/>
                  <a:pt x="480194" y="2470287"/>
                </a:cubicBezTo>
                <a:cubicBezTo>
                  <a:pt x="475813" y="2470287"/>
                  <a:pt x="469339" y="2475247"/>
                  <a:pt x="460772" y="2485167"/>
                </a:cubicBezTo>
                <a:lnTo>
                  <a:pt x="452378" y="2495653"/>
                </a:lnTo>
                <a:lnTo>
                  <a:pt x="466242" y="2490881"/>
                </a:lnTo>
                <a:lnTo>
                  <a:pt x="465907" y="2494397"/>
                </a:lnTo>
                <a:lnTo>
                  <a:pt x="472883" y="2487365"/>
                </a:lnTo>
                <a:lnTo>
                  <a:pt x="480864" y="2490881"/>
                </a:lnTo>
                <a:lnTo>
                  <a:pt x="513402" y="2483849"/>
                </a:lnTo>
                <a:lnTo>
                  <a:pt x="520899" y="2490282"/>
                </a:lnTo>
                <a:lnTo>
                  <a:pt x="526758" y="2486318"/>
                </a:lnTo>
                <a:cubicBezTo>
                  <a:pt x="535666" y="2481798"/>
                  <a:pt x="550823" y="2477570"/>
                  <a:pt x="572226" y="2473635"/>
                </a:cubicBezTo>
                <a:lnTo>
                  <a:pt x="586792" y="2469952"/>
                </a:lnTo>
                <a:lnTo>
                  <a:pt x="595555" y="2469952"/>
                </a:lnTo>
                <a:lnTo>
                  <a:pt x="600745" y="2469952"/>
                </a:lnTo>
                <a:lnTo>
                  <a:pt x="637803" y="2459348"/>
                </a:lnTo>
                <a:lnTo>
                  <a:pt x="637803" y="2462864"/>
                </a:lnTo>
                <a:lnTo>
                  <a:pt x="663141" y="2452427"/>
                </a:lnTo>
                <a:cubicBezTo>
                  <a:pt x="671327" y="2452427"/>
                  <a:pt x="679829" y="2448893"/>
                  <a:pt x="688647" y="2441823"/>
                </a:cubicBezTo>
                <a:lnTo>
                  <a:pt x="746690" y="2468556"/>
                </a:lnTo>
                <a:lnTo>
                  <a:pt x="763321" y="2485188"/>
                </a:lnTo>
                <a:lnTo>
                  <a:pt x="767395" y="2505391"/>
                </a:lnTo>
                <a:cubicBezTo>
                  <a:pt x="767395" y="2526339"/>
                  <a:pt x="755657" y="2536813"/>
                  <a:pt x="732179" y="2536813"/>
                </a:cubicBezTo>
                <a:cubicBezTo>
                  <a:pt x="726263" y="2536813"/>
                  <a:pt x="721826" y="2535627"/>
                  <a:pt x="718868" y="2533255"/>
                </a:cubicBezTo>
                <a:lnTo>
                  <a:pt x="716202" y="2529692"/>
                </a:lnTo>
                <a:lnTo>
                  <a:pt x="715994" y="2529836"/>
                </a:lnTo>
                <a:lnTo>
                  <a:pt x="702376" y="2522804"/>
                </a:lnTo>
                <a:lnTo>
                  <a:pt x="693781" y="2526320"/>
                </a:lnTo>
                <a:lnTo>
                  <a:pt x="665541" y="2519288"/>
                </a:lnTo>
                <a:lnTo>
                  <a:pt x="651254" y="2522804"/>
                </a:lnTo>
                <a:lnTo>
                  <a:pt x="630492" y="2515828"/>
                </a:lnTo>
                <a:lnTo>
                  <a:pt x="622958" y="2518953"/>
                </a:lnTo>
                <a:lnTo>
                  <a:pt x="584839" y="2526320"/>
                </a:lnTo>
                <a:lnTo>
                  <a:pt x="584839" y="2525845"/>
                </a:lnTo>
                <a:lnTo>
                  <a:pt x="572896" y="2529836"/>
                </a:lnTo>
                <a:lnTo>
                  <a:pt x="547725" y="2529836"/>
                </a:lnTo>
                <a:lnTo>
                  <a:pt x="527298" y="2533297"/>
                </a:lnTo>
                <a:lnTo>
                  <a:pt x="520378" y="2529836"/>
                </a:lnTo>
                <a:lnTo>
                  <a:pt x="505644" y="2533297"/>
                </a:lnTo>
                <a:lnTo>
                  <a:pt x="497496" y="2533297"/>
                </a:lnTo>
                <a:lnTo>
                  <a:pt x="494203" y="2533297"/>
                </a:lnTo>
                <a:cubicBezTo>
                  <a:pt x="494203" y="2534748"/>
                  <a:pt x="482706" y="2537092"/>
                  <a:pt x="459712" y="2540329"/>
                </a:cubicBezTo>
                <a:lnTo>
                  <a:pt x="459879" y="2540329"/>
                </a:lnTo>
                <a:cubicBezTo>
                  <a:pt x="458149" y="2542087"/>
                  <a:pt x="449722" y="2543186"/>
                  <a:pt x="434597" y="2543625"/>
                </a:cubicBezTo>
                <a:lnTo>
                  <a:pt x="421631" y="2543789"/>
                </a:lnTo>
                <a:lnTo>
                  <a:pt x="420261" y="2551128"/>
                </a:lnTo>
                <a:cubicBezTo>
                  <a:pt x="416675" y="2564690"/>
                  <a:pt x="410347" y="2575992"/>
                  <a:pt x="401278" y="2585033"/>
                </a:cubicBezTo>
                <a:cubicBezTo>
                  <a:pt x="394432" y="2601069"/>
                  <a:pt x="381056" y="2620119"/>
                  <a:pt x="361150" y="2642183"/>
                </a:cubicBezTo>
                <a:cubicBezTo>
                  <a:pt x="361150" y="2644862"/>
                  <a:pt x="358806" y="2648527"/>
                  <a:pt x="354118" y="2653178"/>
                </a:cubicBezTo>
                <a:lnTo>
                  <a:pt x="352759" y="2655517"/>
                </a:lnTo>
                <a:lnTo>
                  <a:pt x="357886" y="2655508"/>
                </a:lnTo>
                <a:cubicBezTo>
                  <a:pt x="361067" y="2655499"/>
                  <a:pt x="362602" y="2655485"/>
                  <a:pt x="362490" y="2655466"/>
                </a:cubicBezTo>
                <a:cubicBezTo>
                  <a:pt x="365652" y="2653196"/>
                  <a:pt x="370973" y="2652062"/>
                  <a:pt x="378452" y="2652062"/>
                </a:cubicBezTo>
                <a:lnTo>
                  <a:pt x="385093" y="2652062"/>
                </a:lnTo>
                <a:lnTo>
                  <a:pt x="389223" y="2651950"/>
                </a:lnTo>
                <a:cubicBezTo>
                  <a:pt x="408124" y="2644992"/>
                  <a:pt x="424737" y="2641513"/>
                  <a:pt x="439062" y="2641513"/>
                </a:cubicBezTo>
                <a:cubicBezTo>
                  <a:pt x="468828" y="2630091"/>
                  <a:pt x="490575" y="2623524"/>
                  <a:pt x="504304" y="2621812"/>
                </a:cubicBezTo>
                <a:cubicBezTo>
                  <a:pt x="504304" y="2617645"/>
                  <a:pt x="515764" y="2613031"/>
                  <a:pt x="538684" y="2607971"/>
                </a:cubicBezTo>
                <a:cubicBezTo>
                  <a:pt x="544004" y="2600009"/>
                  <a:pt x="552469" y="2596028"/>
                  <a:pt x="564078" y="2596028"/>
                </a:cubicBezTo>
                <a:lnTo>
                  <a:pt x="572951" y="2596028"/>
                </a:lnTo>
                <a:cubicBezTo>
                  <a:pt x="578793" y="2601869"/>
                  <a:pt x="594811" y="2609553"/>
                  <a:pt x="621004" y="2619078"/>
                </a:cubicBezTo>
                <a:cubicBezTo>
                  <a:pt x="636892" y="2640248"/>
                  <a:pt x="644835" y="2656396"/>
                  <a:pt x="644835" y="2667521"/>
                </a:cubicBezTo>
                <a:cubicBezTo>
                  <a:pt x="641747" y="2679725"/>
                  <a:pt x="632892" y="2693138"/>
                  <a:pt x="618270" y="2707760"/>
                </a:cubicBezTo>
                <a:cubicBezTo>
                  <a:pt x="616000" y="2712374"/>
                  <a:pt x="608782" y="2720764"/>
                  <a:pt x="596615" y="2732931"/>
                </a:cubicBezTo>
                <a:lnTo>
                  <a:pt x="576523" y="2759720"/>
                </a:lnTo>
                <a:cubicBezTo>
                  <a:pt x="573026" y="2766715"/>
                  <a:pt x="571277" y="2770305"/>
                  <a:pt x="571277" y="2770492"/>
                </a:cubicBezTo>
                <a:cubicBezTo>
                  <a:pt x="585267" y="2775180"/>
                  <a:pt x="592262" y="2781821"/>
                  <a:pt x="592262" y="2790416"/>
                </a:cubicBezTo>
                <a:lnTo>
                  <a:pt x="595778" y="2793932"/>
                </a:lnTo>
                <a:lnTo>
                  <a:pt x="595778" y="2803252"/>
                </a:lnTo>
                <a:cubicBezTo>
                  <a:pt x="592467" y="2826432"/>
                  <a:pt x="585007" y="2838022"/>
                  <a:pt x="573398" y="2838022"/>
                </a:cubicBezTo>
                <a:lnTo>
                  <a:pt x="572338" y="2834506"/>
                </a:lnTo>
                <a:lnTo>
                  <a:pt x="569770" y="2838022"/>
                </a:lnTo>
                <a:lnTo>
                  <a:pt x="521606" y="2834506"/>
                </a:lnTo>
                <a:cubicBezTo>
                  <a:pt x="517885" y="2834506"/>
                  <a:pt x="497086" y="2836497"/>
                  <a:pt x="459210" y="2840478"/>
                </a:cubicBezTo>
                <a:lnTo>
                  <a:pt x="459210" y="2844999"/>
                </a:lnTo>
                <a:lnTo>
                  <a:pt x="452177" y="2841483"/>
                </a:lnTo>
                <a:cubicBezTo>
                  <a:pt x="452177" y="2842794"/>
                  <a:pt x="444957" y="2844179"/>
                  <a:pt x="430516" y="2845637"/>
                </a:cubicBezTo>
                <a:lnTo>
                  <a:pt x="416421" y="2846877"/>
                </a:lnTo>
                <a:lnTo>
                  <a:pt x="413707" y="2855934"/>
                </a:lnTo>
                <a:cubicBezTo>
                  <a:pt x="409039" y="2867229"/>
                  <a:pt x="400804" y="2877592"/>
                  <a:pt x="389000" y="2887024"/>
                </a:cubicBezTo>
                <a:lnTo>
                  <a:pt x="379568" y="2887024"/>
                </a:lnTo>
                <a:cubicBezTo>
                  <a:pt x="357653" y="2877648"/>
                  <a:pt x="346695" y="2865128"/>
                  <a:pt x="346695" y="2849463"/>
                </a:cubicBezTo>
                <a:lnTo>
                  <a:pt x="339719" y="2842487"/>
                </a:lnTo>
                <a:lnTo>
                  <a:pt x="339719" y="2830767"/>
                </a:lnTo>
                <a:cubicBezTo>
                  <a:pt x="339719" y="2827493"/>
                  <a:pt x="335050" y="2810712"/>
                  <a:pt x="325711" y="2780426"/>
                </a:cubicBezTo>
                <a:lnTo>
                  <a:pt x="325711" y="2764241"/>
                </a:lnTo>
                <a:lnTo>
                  <a:pt x="318679" y="2753748"/>
                </a:lnTo>
                <a:lnTo>
                  <a:pt x="318679" y="2746939"/>
                </a:lnTo>
                <a:cubicBezTo>
                  <a:pt x="314028" y="2746939"/>
                  <a:pt x="311702" y="2743442"/>
                  <a:pt x="311702" y="2736447"/>
                </a:cubicBezTo>
                <a:cubicBezTo>
                  <a:pt x="308716" y="2736447"/>
                  <a:pt x="306201" y="2730535"/>
                  <a:pt x="304157" y="2718710"/>
                </a:cubicBezTo>
                <a:lnTo>
                  <a:pt x="303431" y="2713402"/>
                </a:lnTo>
                <a:lnTo>
                  <a:pt x="270626" y="2743423"/>
                </a:lnTo>
                <a:cubicBezTo>
                  <a:pt x="268728" y="2743423"/>
                  <a:pt x="260784" y="2751609"/>
                  <a:pt x="246795" y="2767980"/>
                </a:cubicBezTo>
                <a:cubicBezTo>
                  <a:pt x="242441" y="2767980"/>
                  <a:pt x="237511" y="2771664"/>
                  <a:pt x="232005" y="2779031"/>
                </a:cubicBezTo>
                <a:lnTo>
                  <a:pt x="186966" y="2812740"/>
                </a:lnTo>
                <a:cubicBezTo>
                  <a:pt x="177776" y="2815047"/>
                  <a:pt x="165534" y="2822749"/>
                  <a:pt x="150242" y="2835846"/>
                </a:cubicBezTo>
                <a:cubicBezTo>
                  <a:pt x="125611" y="2850617"/>
                  <a:pt x="92739" y="2867676"/>
                  <a:pt x="51625" y="2887024"/>
                </a:cubicBezTo>
                <a:lnTo>
                  <a:pt x="35049" y="2887024"/>
                </a:lnTo>
                <a:lnTo>
                  <a:pt x="35049" y="2872792"/>
                </a:lnTo>
                <a:cubicBezTo>
                  <a:pt x="35049" y="2865537"/>
                  <a:pt x="46714" y="2857240"/>
                  <a:pt x="70043" y="2847901"/>
                </a:cubicBezTo>
                <a:cubicBezTo>
                  <a:pt x="70043" y="2845966"/>
                  <a:pt x="86302" y="2836255"/>
                  <a:pt x="118821" y="2818768"/>
                </a:cubicBezTo>
                <a:cubicBezTo>
                  <a:pt x="158670" y="2781114"/>
                  <a:pt x="178594" y="2759385"/>
                  <a:pt x="178594" y="2753581"/>
                </a:cubicBezTo>
                <a:cubicBezTo>
                  <a:pt x="183505" y="2753581"/>
                  <a:pt x="187412" y="2751404"/>
                  <a:pt x="190314" y="2747051"/>
                </a:cubicBezTo>
                <a:cubicBezTo>
                  <a:pt x="204453" y="2732912"/>
                  <a:pt x="218554" y="2714141"/>
                  <a:pt x="232619" y="2690738"/>
                </a:cubicBezTo>
                <a:cubicBezTo>
                  <a:pt x="239242" y="2684115"/>
                  <a:pt x="248302" y="2669288"/>
                  <a:pt x="259798" y="2646257"/>
                </a:cubicBezTo>
                <a:lnTo>
                  <a:pt x="287201" y="2615506"/>
                </a:lnTo>
                <a:cubicBezTo>
                  <a:pt x="287201" y="2611152"/>
                  <a:pt x="295368" y="2596158"/>
                  <a:pt x="311702" y="2570522"/>
                </a:cubicBezTo>
                <a:cubicBezTo>
                  <a:pt x="311702" y="2569750"/>
                  <a:pt x="312067" y="2568783"/>
                  <a:pt x="312798" y="2567620"/>
                </a:cubicBezTo>
                <a:lnTo>
                  <a:pt x="315927" y="2563740"/>
                </a:lnTo>
                <a:lnTo>
                  <a:pt x="312435" y="2565451"/>
                </a:lnTo>
                <a:cubicBezTo>
                  <a:pt x="309212" y="2567139"/>
                  <a:pt x="305638" y="2569108"/>
                  <a:pt x="301712" y="2571359"/>
                </a:cubicBezTo>
                <a:lnTo>
                  <a:pt x="264877" y="2578838"/>
                </a:lnTo>
                <a:lnTo>
                  <a:pt x="260078" y="2575322"/>
                </a:lnTo>
                <a:lnTo>
                  <a:pt x="252208" y="2582354"/>
                </a:lnTo>
                <a:lnTo>
                  <a:pt x="247241" y="2582354"/>
                </a:lnTo>
                <a:lnTo>
                  <a:pt x="186408" y="2603339"/>
                </a:lnTo>
                <a:lnTo>
                  <a:pt x="184343" y="2599879"/>
                </a:lnTo>
                <a:cubicBezTo>
                  <a:pt x="180510" y="2604530"/>
                  <a:pt x="175785" y="2606855"/>
                  <a:pt x="170167" y="2606855"/>
                </a:cubicBezTo>
                <a:lnTo>
                  <a:pt x="165032" y="2608139"/>
                </a:lnTo>
                <a:cubicBezTo>
                  <a:pt x="165032" y="2610222"/>
                  <a:pt x="153349" y="2614761"/>
                  <a:pt x="129983" y="2621756"/>
                </a:cubicBezTo>
                <a:cubicBezTo>
                  <a:pt x="129983" y="2625849"/>
                  <a:pt x="124086" y="2627896"/>
                  <a:pt x="112291" y="2627896"/>
                </a:cubicBezTo>
                <a:lnTo>
                  <a:pt x="104087" y="2627896"/>
                </a:lnTo>
                <a:cubicBezTo>
                  <a:pt x="85409" y="2609218"/>
                  <a:pt x="69819" y="2599879"/>
                  <a:pt x="57318" y="2599879"/>
                </a:cubicBezTo>
                <a:lnTo>
                  <a:pt x="45542" y="2576885"/>
                </a:lnTo>
                <a:lnTo>
                  <a:pt x="61615" y="2564439"/>
                </a:lnTo>
                <a:lnTo>
                  <a:pt x="76014" y="2567899"/>
                </a:lnTo>
                <a:cubicBezTo>
                  <a:pt x="91381" y="2563286"/>
                  <a:pt x="110915" y="2560979"/>
                  <a:pt x="134615" y="2560979"/>
                </a:cubicBezTo>
                <a:cubicBezTo>
                  <a:pt x="155079" y="2554170"/>
                  <a:pt x="180138" y="2549631"/>
                  <a:pt x="209792" y="2547361"/>
                </a:cubicBezTo>
                <a:cubicBezTo>
                  <a:pt x="223745" y="2540366"/>
                  <a:pt x="256766" y="2534487"/>
                  <a:pt x="308856" y="2529725"/>
                </a:cubicBezTo>
                <a:lnTo>
                  <a:pt x="330734" y="2522469"/>
                </a:lnTo>
                <a:lnTo>
                  <a:pt x="332241" y="2522469"/>
                </a:lnTo>
                <a:lnTo>
                  <a:pt x="336203" y="2516498"/>
                </a:lnTo>
                <a:cubicBezTo>
                  <a:pt x="333859" y="2513149"/>
                  <a:pt x="332687" y="2509354"/>
                  <a:pt x="332687" y="2505112"/>
                </a:cubicBezTo>
                <a:lnTo>
                  <a:pt x="332687" y="2483960"/>
                </a:lnTo>
                <a:lnTo>
                  <a:pt x="336203" y="2483960"/>
                </a:lnTo>
                <a:cubicBezTo>
                  <a:pt x="329208" y="2484779"/>
                  <a:pt x="325711" y="2480146"/>
                  <a:pt x="325711" y="2470063"/>
                </a:cubicBezTo>
                <a:lnTo>
                  <a:pt x="325711" y="2466547"/>
                </a:lnTo>
                <a:lnTo>
                  <a:pt x="325711" y="2459571"/>
                </a:lnTo>
                <a:cubicBezTo>
                  <a:pt x="325711" y="2458008"/>
                  <a:pt x="321041" y="2452557"/>
                  <a:pt x="311702" y="2443218"/>
                </a:cubicBezTo>
                <a:lnTo>
                  <a:pt x="310187" y="2431144"/>
                </a:lnTo>
                <a:lnTo>
                  <a:pt x="305968" y="2433368"/>
                </a:lnTo>
                <a:cubicBezTo>
                  <a:pt x="301884" y="2434893"/>
                  <a:pt x="295759" y="2436242"/>
                  <a:pt x="287592" y="2437414"/>
                </a:cubicBezTo>
                <a:cubicBezTo>
                  <a:pt x="287592" y="2441284"/>
                  <a:pt x="277732" y="2446028"/>
                  <a:pt x="258013" y="2451646"/>
                </a:cubicBezTo>
                <a:lnTo>
                  <a:pt x="253380" y="2456278"/>
                </a:lnTo>
                <a:cubicBezTo>
                  <a:pt x="238460" y="2456278"/>
                  <a:pt x="228656" y="2450437"/>
                  <a:pt x="223968" y="2438754"/>
                </a:cubicBezTo>
                <a:cubicBezTo>
                  <a:pt x="217085" y="2438754"/>
                  <a:pt x="213643" y="2434531"/>
                  <a:pt x="213643" y="2426085"/>
                </a:cubicBezTo>
                <a:lnTo>
                  <a:pt x="192491" y="2408002"/>
                </a:lnTo>
                <a:lnTo>
                  <a:pt x="185626" y="2401193"/>
                </a:lnTo>
                <a:cubicBezTo>
                  <a:pt x="185626" y="2389622"/>
                  <a:pt x="218573" y="2378962"/>
                  <a:pt x="284467" y="2369214"/>
                </a:cubicBezTo>
                <a:lnTo>
                  <a:pt x="288820" y="2364860"/>
                </a:lnTo>
                <a:lnTo>
                  <a:pt x="295652" y="2364860"/>
                </a:lnTo>
                <a:lnTo>
                  <a:pt x="293941" y="2358958"/>
                </a:lnTo>
                <a:cubicBezTo>
                  <a:pt x="292331" y="2352680"/>
                  <a:pt x="290364" y="2343708"/>
                  <a:pt x="288039" y="2332044"/>
                </a:cubicBezTo>
                <a:lnTo>
                  <a:pt x="280169" y="2322221"/>
                </a:lnTo>
                <a:lnTo>
                  <a:pt x="283685" y="2317701"/>
                </a:lnTo>
                <a:cubicBezTo>
                  <a:pt x="280969" y="2317403"/>
                  <a:pt x="273509" y="2306278"/>
                  <a:pt x="261305" y="2284326"/>
                </a:cubicBezTo>
                <a:lnTo>
                  <a:pt x="254664" y="2277684"/>
                </a:lnTo>
                <a:cubicBezTo>
                  <a:pt x="246850" y="2277684"/>
                  <a:pt x="241344" y="2266448"/>
                  <a:pt x="238144" y="2243975"/>
                </a:cubicBezTo>
                <a:cubicBezTo>
                  <a:pt x="238144" y="2231175"/>
                  <a:pt x="251278" y="2218934"/>
                  <a:pt x="277546" y="2207251"/>
                </a:cubicBezTo>
                <a:lnTo>
                  <a:pt x="293731" y="2207251"/>
                </a:lnTo>
                <a:cubicBezTo>
                  <a:pt x="301247" y="2217260"/>
                  <a:pt x="313209" y="2223641"/>
                  <a:pt x="329617" y="2226394"/>
                </a:cubicBezTo>
                <a:cubicBezTo>
                  <a:pt x="329617" y="2228887"/>
                  <a:pt x="339180" y="2231882"/>
                  <a:pt x="358304" y="2235380"/>
                </a:cubicBezTo>
                <a:lnTo>
                  <a:pt x="366341" y="2235268"/>
                </a:lnTo>
                <a:cubicBezTo>
                  <a:pt x="376870" y="2245835"/>
                  <a:pt x="382135" y="2255230"/>
                  <a:pt x="382135" y="2263453"/>
                </a:cubicBezTo>
                <a:lnTo>
                  <a:pt x="382135" y="2270429"/>
                </a:lnTo>
                <a:lnTo>
                  <a:pt x="382135" y="2273945"/>
                </a:lnTo>
                <a:cubicBezTo>
                  <a:pt x="382135" y="2281014"/>
                  <a:pt x="381847" y="2286316"/>
                  <a:pt x="381270" y="2289851"/>
                </a:cubicBezTo>
                <a:lnTo>
                  <a:pt x="380394" y="2293074"/>
                </a:lnTo>
                <a:lnTo>
                  <a:pt x="382135" y="2290967"/>
                </a:lnTo>
                <a:lnTo>
                  <a:pt x="378675" y="2316305"/>
                </a:lnTo>
                <a:lnTo>
                  <a:pt x="382135" y="2333774"/>
                </a:lnTo>
                <a:lnTo>
                  <a:pt x="382135" y="2343764"/>
                </a:lnTo>
                <a:lnTo>
                  <a:pt x="398097" y="2340471"/>
                </a:lnTo>
                <a:lnTo>
                  <a:pt x="402953" y="2340360"/>
                </a:lnTo>
                <a:cubicBezTo>
                  <a:pt x="406766" y="2340360"/>
                  <a:pt x="411319" y="2341625"/>
                  <a:pt x="416612" y="2344155"/>
                </a:cubicBezTo>
                <a:lnTo>
                  <a:pt x="416738" y="2344225"/>
                </a:lnTo>
                <a:lnTo>
                  <a:pt x="416738" y="2340527"/>
                </a:lnTo>
                <a:cubicBezTo>
                  <a:pt x="435751" y="2331076"/>
                  <a:pt x="448847" y="2326351"/>
                  <a:pt x="456028" y="2326351"/>
                </a:cubicBezTo>
                <a:cubicBezTo>
                  <a:pt x="457963" y="2308641"/>
                  <a:pt x="460047" y="2298669"/>
                  <a:pt x="462279" y="2296437"/>
                </a:cubicBezTo>
                <a:lnTo>
                  <a:pt x="462279" y="2283712"/>
                </a:lnTo>
                <a:lnTo>
                  <a:pt x="469311" y="2261499"/>
                </a:lnTo>
                <a:lnTo>
                  <a:pt x="465795" y="2254523"/>
                </a:lnTo>
                <a:lnTo>
                  <a:pt x="469311" y="2240570"/>
                </a:lnTo>
                <a:lnTo>
                  <a:pt x="465795" y="2232757"/>
                </a:lnTo>
                <a:lnTo>
                  <a:pt x="469311" y="2225055"/>
                </a:lnTo>
                <a:cubicBezTo>
                  <a:pt x="466558" y="2218097"/>
                  <a:pt x="462316" y="2214618"/>
                  <a:pt x="456586" y="2214618"/>
                </a:cubicBezTo>
                <a:lnTo>
                  <a:pt x="444755" y="2196926"/>
                </a:lnTo>
                <a:cubicBezTo>
                  <a:pt x="444755" y="2185653"/>
                  <a:pt x="454094" y="2174174"/>
                  <a:pt x="472771" y="2162491"/>
                </a:cubicBezTo>
                <a:cubicBezTo>
                  <a:pt x="472771" y="2155906"/>
                  <a:pt x="488101" y="2149804"/>
                  <a:pt x="518759" y="2144185"/>
                </a:cubicBezTo>
                <a:close/>
                <a:moveTo>
                  <a:pt x="497328" y="1615942"/>
                </a:moveTo>
                <a:lnTo>
                  <a:pt x="408906" y="1636925"/>
                </a:lnTo>
                <a:lnTo>
                  <a:pt x="408977" y="1637001"/>
                </a:lnTo>
                <a:cubicBezTo>
                  <a:pt x="409890" y="1639827"/>
                  <a:pt x="405352" y="1642244"/>
                  <a:pt x="395362" y="1644253"/>
                </a:cubicBezTo>
                <a:lnTo>
                  <a:pt x="379083" y="1649663"/>
                </a:lnTo>
                <a:lnTo>
                  <a:pt x="382135" y="1662168"/>
                </a:lnTo>
                <a:lnTo>
                  <a:pt x="382135" y="1693366"/>
                </a:lnTo>
                <a:lnTo>
                  <a:pt x="382135" y="1707375"/>
                </a:lnTo>
                <a:lnTo>
                  <a:pt x="382135" y="1717923"/>
                </a:lnTo>
                <a:lnTo>
                  <a:pt x="380185" y="1722012"/>
                </a:lnTo>
                <a:lnTo>
                  <a:pt x="381521" y="1721540"/>
                </a:lnTo>
                <a:cubicBezTo>
                  <a:pt x="391930" y="1718255"/>
                  <a:pt x="405938" y="1714854"/>
                  <a:pt x="423547" y="1711337"/>
                </a:cubicBezTo>
                <a:cubicBezTo>
                  <a:pt x="438132" y="1706501"/>
                  <a:pt x="456735" y="1702817"/>
                  <a:pt x="479357" y="1700287"/>
                </a:cubicBezTo>
                <a:lnTo>
                  <a:pt x="483487" y="1700231"/>
                </a:lnTo>
                <a:cubicBezTo>
                  <a:pt x="484045" y="1700231"/>
                  <a:pt x="487822" y="1679228"/>
                  <a:pt x="494817" y="1637221"/>
                </a:cubicBezTo>
                <a:cubicBezTo>
                  <a:pt x="496491" y="1637221"/>
                  <a:pt x="497328" y="1632589"/>
                  <a:pt x="497328" y="1623324"/>
                </a:cubicBezTo>
                <a:close/>
                <a:moveTo>
                  <a:pt x="557715" y="1532074"/>
                </a:moveTo>
                <a:cubicBezTo>
                  <a:pt x="573417" y="1555477"/>
                  <a:pt x="588448" y="1567179"/>
                  <a:pt x="602810" y="1567179"/>
                </a:cubicBezTo>
                <a:cubicBezTo>
                  <a:pt x="602810" y="1574062"/>
                  <a:pt x="607740" y="1579494"/>
                  <a:pt x="617600" y="1583476"/>
                </a:cubicBezTo>
                <a:cubicBezTo>
                  <a:pt x="626418" y="1595159"/>
                  <a:pt x="630827" y="1603121"/>
                  <a:pt x="630827" y="1607362"/>
                </a:cubicBezTo>
                <a:cubicBezTo>
                  <a:pt x="627292" y="1617966"/>
                  <a:pt x="616837" y="1629463"/>
                  <a:pt x="599461" y="1641853"/>
                </a:cubicBezTo>
                <a:cubicBezTo>
                  <a:pt x="590011" y="1653164"/>
                  <a:pt x="585286" y="1659582"/>
                  <a:pt x="585286" y="1661108"/>
                </a:cubicBezTo>
                <a:lnTo>
                  <a:pt x="572393" y="1682651"/>
                </a:lnTo>
                <a:cubicBezTo>
                  <a:pt x="570384" y="1684660"/>
                  <a:pt x="565343" y="1692492"/>
                  <a:pt x="557269" y="1706147"/>
                </a:cubicBezTo>
                <a:cubicBezTo>
                  <a:pt x="573603" y="1716937"/>
                  <a:pt x="581769" y="1726685"/>
                  <a:pt x="581769" y="1735392"/>
                </a:cubicBezTo>
                <a:lnTo>
                  <a:pt x="581769" y="1742145"/>
                </a:lnTo>
                <a:cubicBezTo>
                  <a:pt x="574849" y="1752600"/>
                  <a:pt x="565175" y="1760934"/>
                  <a:pt x="552748" y="1767148"/>
                </a:cubicBezTo>
                <a:lnTo>
                  <a:pt x="516527" y="1767148"/>
                </a:lnTo>
                <a:lnTo>
                  <a:pt x="504472" y="1763632"/>
                </a:lnTo>
                <a:cubicBezTo>
                  <a:pt x="496361" y="1765976"/>
                  <a:pt x="478873" y="1767148"/>
                  <a:pt x="452010" y="1767148"/>
                </a:cubicBezTo>
                <a:lnTo>
                  <a:pt x="443304" y="1767148"/>
                </a:lnTo>
                <a:cubicBezTo>
                  <a:pt x="437053" y="1769232"/>
                  <a:pt x="416366" y="1773566"/>
                  <a:pt x="381242" y="1780152"/>
                </a:cubicBezTo>
                <a:cubicBezTo>
                  <a:pt x="370713" y="1794886"/>
                  <a:pt x="358192" y="1808057"/>
                  <a:pt x="343682" y="1819666"/>
                </a:cubicBezTo>
                <a:cubicBezTo>
                  <a:pt x="329022" y="1819666"/>
                  <a:pt x="314865" y="1800541"/>
                  <a:pt x="301210" y="1762293"/>
                </a:cubicBezTo>
                <a:cubicBezTo>
                  <a:pt x="301210" y="1729439"/>
                  <a:pt x="295368" y="1697850"/>
                  <a:pt x="283685" y="1667526"/>
                </a:cubicBezTo>
                <a:cubicBezTo>
                  <a:pt x="283685" y="1665777"/>
                  <a:pt x="276821" y="1653462"/>
                  <a:pt x="263091" y="1630580"/>
                </a:cubicBezTo>
                <a:lnTo>
                  <a:pt x="252152" y="1607307"/>
                </a:lnTo>
                <a:cubicBezTo>
                  <a:pt x="255910" y="1594545"/>
                  <a:pt x="261826" y="1588164"/>
                  <a:pt x="269900" y="1588164"/>
                </a:cubicBezTo>
                <a:cubicBezTo>
                  <a:pt x="283816" y="1588164"/>
                  <a:pt x="298977" y="1592833"/>
                  <a:pt x="315386" y="1602172"/>
                </a:cubicBezTo>
                <a:cubicBezTo>
                  <a:pt x="316725" y="1602172"/>
                  <a:pt x="318613" y="1602758"/>
                  <a:pt x="321051" y="1603930"/>
                </a:cubicBezTo>
                <a:lnTo>
                  <a:pt x="328883" y="1608542"/>
                </a:lnTo>
                <a:lnTo>
                  <a:pt x="344927" y="1603075"/>
                </a:lnTo>
                <a:cubicBezTo>
                  <a:pt x="361621" y="1597822"/>
                  <a:pt x="374433" y="1595196"/>
                  <a:pt x="383363" y="1595196"/>
                </a:cubicBezTo>
                <a:cubicBezTo>
                  <a:pt x="385112" y="1593447"/>
                  <a:pt x="391567" y="1591642"/>
                  <a:pt x="402729" y="1589782"/>
                </a:cubicBezTo>
                <a:cubicBezTo>
                  <a:pt x="402729" y="1587326"/>
                  <a:pt x="413612" y="1584536"/>
                  <a:pt x="435378" y="1581411"/>
                </a:cubicBezTo>
                <a:lnTo>
                  <a:pt x="499226" y="1563663"/>
                </a:lnTo>
                <a:lnTo>
                  <a:pt x="510053" y="1563663"/>
                </a:lnTo>
                <a:cubicBezTo>
                  <a:pt x="524899" y="1550975"/>
                  <a:pt x="540786" y="1540446"/>
                  <a:pt x="557715" y="1532074"/>
                </a:cubicBezTo>
                <a:close/>
                <a:moveTo>
                  <a:pt x="382065" y="1496679"/>
                </a:moveTo>
                <a:lnTo>
                  <a:pt x="381866" y="1497137"/>
                </a:lnTo>
                <a:lnTo>
                  <a:pt x="382135" y="1497137"/>
                </a:lnTo>
                <a:lnTo>
                  <a:pt x="382135" y="1497081"/>
                </a:lnTo>
                <a:close/>
                <a:moveTo>
                  <a:pt x="378228" y="1435718"/>
                </a:moveTo>
                <a:lnTo>
                  <a:pt x="377433" y="1436178"/>
                </a:lnTo>
                <a:cubicBezTo>
                  <a:pt x="373759" y="1437340"/>
                  <a:pt x="369429" y="1437922"/>
                  <a:pt x="364443" y="1437922"/>
                </a:cubicBezTo>
                <a:lnTo>
                  <a:pt x="368127" y="1437922"/>
                </a:lnTo>
                <a:cubicBezTo>
                  <a:pt x="368127" y="1442610"/>
                  <a:pt x="364629" y="1444954"/>
                  <a:pt x="357634" y="1444954"/>
                </a:cubicBezTo>
                <a:cubicBezTo>
                  <a:pt x="357634" y="1447461"/>
                  <a:pt x="342337" y="1453129"/>
                  <a:pt x="311742" y="1461960"/>
                </a:cubicBezTo>
                <a:lnTo>
                  <a:pt x="299014" y="1465565"/>
                </a:lnTo>
                <a:lnTo>
                  <a:pt x="301266" y="1465548"/>
                </a:lnTo>
                <a:cubicBezTo>
                  <a:pt x="303796" y="1465585"/>
                  <a:pt x="312651" y="1465604"/>
                  <a:pt x="327832" y="1465604"/>
                </a:cubicBezTo>
                <a:cubicBezTo>
                  <a:pt x="332482" y="1470292"/>
                  <a:pt x="339477" y="1472636"/>
                  <a:pt x="348816" y="1472636"/>
                </a:cubicBezTo>
                <a:cubicBezTo>
                  <a:pt x="352630" y="1476431"/>
                  <a:pt x="356067" y="1480733"/>
                  <a:pt x="359127" y="1485542"/>
                </a:cubicBezTo>
                <a:lnTo>
                  <a:pt x="364980" y="1497137"/>
                </a:lnTo>
                <a:lnTo>
                  <a:pt x="381671" y="1497137"/>
                </a:lnTo>
                <a:lnTo>
                  <a:pt x="378228" y="1484077"/>
                </a:lnTo>
                <a:lnTo>
                  <a:pt x="385261" y="1480617"/>
                </a:lnTo>
                <a:lnTo>
                  <a:pt x="381745" y="1474757"/>
                </a:lnTo>
                <a:lnTo>
                  <a:pt x="381745" y="1457734"/>
                </a:lnTo>
                <a:lnTo>
                  <a:pt x="385261" y="1448302"/>
                </a:lnTo>
                <a:lnTo>
                  <a:pt x="378228" y="1442442"/>
                </a:lnTo>
                <a:close/>
                <a:moveTo>
                  <a:pt x="510818" y="1394582"/>
                </a:moveTo>
                <a:lnTo>
                  <a:pt x="502309" y="1395732"/>
                </a:lnTo>
                <a:cubicBezTo>
                  <a:pt x="481018" y="1399088"/>
                  <a:pt x="468976" y="1402621"/>
                  <a:pt x="466186" y="1406333"/>
                </a:cubicBezTo>
                <a:lnTo>
                  <a:pt x="466186" y="1414537"/>
                </a:lnTo>
                <a:cubicBezTo>
                  <a:pt x="463693" y="1424695"/>
                  <a:pt x="460958" y="1443000"/>
                  <a:pt x="457982" y="1469455"/>
                </a:cubicBezTo>
                <a:lnTo>
                  <a:pt x="455694" y="1469455"/>
                </a:lnTo>
                <a:lnTo>
                  <a:pt x="459210" y="1470627"/>
                </a:lnTo>
                <a:lnTo>
                  <a:pt x="455632" y="1475936"/>
                </a:lnTo>
                <a:lnTo>
                  <a:pt x="465269" y="1475709"/>
                </a:lnTo>
                <a:cubicBezTo>
                  <a:pt x="477303" y="1474572"/>
                  <a:pt x="483320" y="1471017"/>
                  <a:pt x="483320" y="1465046"/>
                </a:cubicBezTo>
                <a:lnTo>
                  <a:pt x="490296" y="1440433"/>
                </a:lnTo>
                <a:lnTo>
                  <a:pt x="490296" y="1438926"/>
                </a:lnTo>
                <a:cubicBezTo>
                  <a:pt x="485645" y="1434201"/>
                  <a:pt x="483320" y="1429141"/>
                  <a:pt x="483320" y="1423746"/>
                </a:cubicBezTo>
                <a:cubicBezTo>
                  <a:pt x="483320" y="1416937"/>
                  <a:pt x="488960" y="1409458"/>
                  <a:pt x="500241" y="1401310"/>
                </a:cubicBezTo>
                <a:close/>
                <a:moveTo>
                  <a:pt x="499631" y="1156586"/>
                </a:moveTo>
                <a:lnTo>
                  <a:pt x="494035" y="1157753"/>
                </a:lnTo>
                <a:cubicBezTo>
                  <a:pt x="496435" y="1157753"/>
                  <a:pt x="498235" y="1157460"/>
                  <a:pt x="499435" y="1156874"/>
                </a:cubicBezTo>
                <a:close/>
                <a:moveTo>
                  <a:pt x="491915" y="1024366"/>
                </a:moveTo>
                <a:lnTo>
                  <a:pt x="504528" y="1024366"/>
                </a:lnTo>
                <a:cubicBezTo>
                  <a:pt x="514015" y="1024366"/>
                  <a:pt x="518759" y="1027882"/>
                  <a:pt x="518759" y="1034914"/>
                </a:cubicBezTo>
                <a:lnTo>
                  <a:pt x="519876" y="1038374"/>
                </a:lnTo>
                <a:cubicBezTo>
                  <a:pt x="519317" y="1038374"/>
                  <a:pt x="522536" y="1040699"/>
                  <a:pt x="529531" y="1045350"/>
                </a:cubicBezTo>
                <a:lnTo>
                  <a:pt x="541418" y="1045350"/>
                </a:lnTo>
                <a:lnTo>
                  <a:pt x="543037" y="1045294"/>
                </a:lnTo>
                <a:lnTo>
                  <a:pt x="549065" y="1041778"/>
                </a:lnTo>
                <a:cubicBezTo>
                  <a:pt x="568077" y="1047731"/>
                  <a:pt x="578979" y="1063154"/>
                  <a:pt x="581769" y="1088045"/>
                </a:cubicBezTo>
                <a:cubicBezTo>
                  <a:pt x="581769" y="1109514"/>
                  <a:pt x="568933" y="1123745"/>
                  <a:pt x="543260" y="1130740"/>
                </a:cubicBezTo>
                <a:cubicBezTo>
                  <a:pt x="543260" y="1134759"/>
                  <a:pt x="538647" y="1136768"/>
                  <a:pt x="529419" y="1136768"/>
                </a:cubicBezTo>
                <a:cubicBezTo>
                  <a:pt x="521252" y="1143763"/>
                  <a:pt x="514220" y="1149009"/>
                  <a:pt x="508323" y="1152506"/>
                </a:cubicBezTo>
                <a:lnTo>
                  <a:pt x="503916" y="1154676"/>
                </a:lnTo>
                <a:lnTo>
                  <a:pt x="508114" y="1155297"/>
                </a:lnTo>
                <a:cubicBezTo>
                  <a:pt x="512606" y="1155948"/>
                  <a:pt x="519299" y="1156897"/>
                  <a:pt x="528191" y="1158143"/>
                </a:cubicBezTo>
                <a:lnTo>
                  <a:pt x="543260" y="1173212"/>
                </a:lnTo>
                <a:cubicBezTo>
                  <a:pt x="543260" y="1191778"/>
                  <a:pt x="535614" y="1202978"/>
                  <a:pt x="520322" y="1206810"/>
                </a:cubicBezTo>
                <a:lnTo>
                  <a:pt x="513346" y="1206810"/>
                </a:lnTo>
                <a:cubicBezTo>
                  <a:pt x="506928" y="1208429"/>
                  <a:pt x="493205" y="1214013"/>
                  <a:pt x="472179" y="1223564"/>
                </a:cubicBezTo>
                <a:lnTo>
                  <a:pt x="463218" y="1227716"/>
                </a:lnTo>
                <a:lnTo>
                  <a:pt x="469618" y="1235413"/>
                </a:lnTo>
                <a:cubicBezTo>
                  <a:pt x="472483" y="1237645"/>
                  <a:pt x="476009" y="1239459"/>
                  <a:pt x="480194" y="1240855"/>
                </a:cubicBezTo>
                <a:lnTo>
                  <a:pt x="478768" y="1242809"/>
                </a:lnTo>
                <a:lnTo>
                  <a:pt x="495765" y="1237952"/>
                </a:lnTo>
                <a:cubicBezTo>
                  <a:pt x="518313" y="1237952"/>
                  <a:pt x="534144" y="1247087"/>
                  <a:pt x="543260" y="1265355"/>
                </a:cubicBezTo>
                <a:lnTo>
                  <a:pt x="543260" y="1269653"/>
                </a:lnTo>
                <a:cubicBezTo>
                  <a:pt x="543260" y="1284870"/>
                  <a:pt x="534833" y="1294135"/>
                  <a:pt x="517978" y="1297446"/>
                </a:cubicBezTo>
                <a:cubicBezTo>
                  <a:pt x="497217" y="1304404"/>
                  <a:pt x="483673" y="1308925"/>
                  <a:pt x="477348" y="1311008"/>
                </a:cubicBezTo>
                <a:lnTo>
                  <a:pt x="468642" y="1315362"/>
                </a:lnTo>
                <a:lnTo>
                  <a:pt x="473218" y="1315362"/>
                </a:lnTo>
                <a:lnTo>
                  <a:pt x="476734" y="1316143"/>
                </a:lnTo>
                <a:lnTo>
                  <a:pt x="466186" y="1340755"/>
                </a:lnTo>
                <a:cubicBezTo>
                  <a:pt x="467674" y="1344402"/>
                  <a:pt x="468660" y="1346337"/>
                  <a:pt x="469144" y="1346560"/>
                </a:cubicBezTo>
                <a:cubicBezTo>
                  <a:pt x="474985" y="1346560"/>
                  <a:pt x="493049" y="1341890"/>
                  <a:pt x="523336" y="1332551"/>
                </a:cubicBezTo>
                <a:lnTo>
                  <a:pt x="541530" y="1332551"/>
                </a:lnTo>
                <a:cubicBezTo>
                  <a:pt x="568356" y="1341481"/>
                  <a:pt x="581769" y="1353201"/>
                  <a:pt x="581769" y="1367712"/>
                </a:cubicBezTo>
                <a:cubicBezTo>
                  <a:pt x="581769" y="1380074"/>
                  <a:pt x="572540" y="1387800"/>
                  <a:pt x="554080" y="1390891"/>
                </a:cubicBezTo>
                <a:lnTo>
                  <a:pt x="536651" y="1392141"/>
                </a:lnTo>
                <a:lnTo>
                  <a:pt x="542270" y="1395380"/>
                </a:lnTo>
                <a:cubicBezTo>
                  <a:pt x="547934" y="1399352"/>
                  <a:pt x="553269" y="1403840"/>
                  <a:pt x="558273" y="1408844"/>
                </a:cubicBezTo>
                <a:cubicBezTo>
                  <a:pt x="578626" y="1421569"/>
                  <a:pt x="588802" y="1429662"/>
                  <a:pt x="588802" y="1433122"/>
                </a:cubicBezTo>
                <a:lnTo>
                  <a:pt x="595778" y="1445177"/>
                </a:lnTo>
                <a:lnTo>
                  <a:pt x="591730" y="1454504"/>
                </a:lnTo>
                <a:lnTo>
                  <a:pt x="600410" y="1451595"/>
                </a:lnTo>
                <a:lnTo>
                  <a:pt x="608893" y="1451595"/>
                </a:lnTo>
                <a:cubicBezTo>
                  <a:pt x="611237" y="1446944"/>
                  <a:pt x="626567" y="1444619"/>
                  <a:pt x="654881" y="1444619"/>
                </a:cubicBezTo>
                <a:cubicBezTo>
                  <a:pt x="654881" y="1443577"/>
                  <a:pt x="663923" y="1441233"/>
                  <a:pt x="682005" y="1437587"/>
                </a:cubicBezTo>
                <a:cubicBezTo>
                  <a:pt x="699455" y="1437587"/>
                  <a:pt x="709352" y="1439931"/>
                  <a:pt x="711696" y="1444619"/>
                </a:cubicBezTo>
                <a:cubicBezTo>
                  <a:pt x="719622" y="1444619"/>
                  <a:pt x="728905" y="1449939"/>
                  <a:pt x="739546" y="1460581"/>
                </a:cubicBezTo>
                <a:cubicBezTo>
                  <a:pt x="753424" y="1466125"/>
                  <a:pt x="760363" y="1474850"/>
                  <a:pt x="760363" y="1486756"/>
                </a:cubicBezTo>
                <a:cubicBezTo>
                  <a:pt x="760363" y="1501862"/>
                  <a:pt x="746801" y="1512447"/>
                  <a:pt x="719677" y="1518512"/>
                </a:cubicBezTo>
                <a:lnTo>
                  <a:pt x="709129" y="1518512"/>
                </a:lnTo>
                <a:cubicBezTo>
                  <a:pt x="695139" y="1513824"/>
                  <a:pt x="681410" y="1511480"/>
                  <a:pt x="667941" y="1511480"/>
                </a:cubicBezTo>
                <a:lnTo>
                  <a:pt x="664425" y="1507964"/>
                </a:lnTo>
                <a:lnTo>
                  <a:pt x="657002" y="1507964"/>
                </a:lnTo>
                <a:cubicBezTo>
                  <a:pt x="631329" y="1500969"/>
                  <a:pt x="612577" y="1497471"/>
                  <a:pt x="600745" y="1497471"/>
                </a:cubicBezTo>
                <a:cubicBezTo>
                  <a:pt x="588634" y="1500932"/>
                  <a:pt x="571469" y="1503764"/>
                  <a:pt x="549249" y="1505969"/>
                </a:cubicBezTo>
                <a:lnTo>
                  <a:pt x="532542" y="1507363"/>
                </a:lnTo>
                <a:lnTo>
                  <a:pt x="532238" y="1507556"/>
                </a:lnTo>
                <a:cubicBezTo>
                  <a:pt x="526098" y="1510172"/>
                  <a:pt x="516025" y="1511480"/>
                  <a:pt x="502016" y="1511480"/>
                </a:cubicBezTo>
                <a:lnTo>
                  <a:pt x="495040" y="1518512"/>
                </a:lnTo>
                <a:lnTo>
                  <a:pt x="481422" y="1518512"/>
                </a:lnTo>
                <a:cubicBezTo>
                  <a:pt x="393390" y="1537041"/>
                  <a:pt x="331664" y="1552203"/>
                  <a:pt x="296243" y="1563998"/>
                </a:cubicBezTo>
                <a:lnTo>
                  <a:pt x="290885" y="1563998"/>
                </a:lnTo>
                <a:lnTo>
                  <a:pt x="287592" y="1563998"/>
                </a:lnTo>
                <a:cubicBezTo>
                  <a:pt x="287592" y="1567346"/>
                  <a:pt x="269212" y="1572965"/>
                  <a:pt x="232451" y="1580852"/>
                </a:cubicBezTo>
                <a:cubicBezTo>
                  <a:pt x="222480" y="1588294"/>
                  <a:pt x="215187" y="1592015"/>
                  <a:pt x="210574" y="1592015"/>
                </a:cubicBezTo>
                <a:cubicBezTo>
                  <a:pt x="210574" y="1592870"/>
                  <a:pt x="196565" y="1596796"/>
                  <a:pt x="168548" y="1603791"/>
                </a:cubicBezTo>
                <a:cubicBezTo>
                  <a:pt x="168548" y="1606135"/>
                  <a:pt x="163879" y="1608479"/>
                  <a:pt x="154540" y="1610823"/>
                </a:cubicBezTo>
                <a:cubicBezTo>
                  <a:pt x="154540" y="1613762"/>
                  <a:pt x="146354" y="1616385"/>
                  <a:pt x="129983" y="1618692"/>
                </a:cubicBezTo>
                <a:cubicBezTo>
                  <a:pt x="129983" y="1621929"/>
                  <a:pt x="121742" y="1623547"/>
                  <a:pt x="105259" y="1623547"/>
                </a:cubicBezTo>
                <a:cubicBezTo>
                  <a:pt x="99008" y="1623547"/>
                  <a:pt x="92813" y="1618952"/>
                  <a:pt x="86674" y="1609762"/>
                </a:cubicBezTo>
                <a:lnTo>
                  <a:pt x="45542" y="1579848"/>
                </a:lnTo>
                <a:lnTo>
                  <a:pt x="45542" y="1567402"/>
                </a:lnTo>
                <a:lnTo>
                  <a:pt x="59941" y="1560147"/>
                </a:lnTo>
                <a:cubicBezTo>
                  <a:pt x="77614" y="1560147"/>
                  <a:pt x="107119" y="1555552"/>
                  <a:pt x="148456" y="1546362"/>
                </a:cubicBezTo>
                <a:lnTo>
                  <a:pt x="189142" y="1537655"/>
                </a:lnTo>
                <a:cubicBezTo>
                  <a:pt x="189142" y="1533972"/>
                  <a:pt x="200007" y="1532130"/>
                  <a:pt x="221736" y="1532130"/>
                </a:cubicBezTo>
                <a:lnTo>
                  <a:pt x="239204" y="1525153"/>
                </a:lnTo>
                <a:lnTo>
                  <a:pt x="245567" y="1525153"/>
                </a:lnTo>
                <a:lnTo>
                  <a:pt x="259519" y="1518121"/>
                </a:lnTo>
                <a:lnTo>
                  <a:pt x="276877" y="1518121"/>
                </a:lnTo>
                <a:cubicBezTo>
                  <a:pt x="277844" y="1518121"/>
                  <a:pt x="280114" y="1516875"/>
                  <a:pt x="283685" y="1514382"/>
                </a:cubicBezTo>
                <a:cubicBezTo>
                  <a:pt x="279593" y="1508355"/>
                  <a:pt x="272579" y="1495593"/>
                  <a:pt x="262645" y="1476096"/>
                </a:cubicBezTo>
                <a:lnTo>
                  <a:pt x="271295" y="1465604"/>
                </a:lnTo>
                <a:cubicBezTo>
                  <a:pt x="280039" y="1465604"/>
                  <a:pt x="286908" y="1465599"/>
                  <a:pt x="291903" y="1465590"/>
                </a:cubicBezTo>
                <a:lnTo>
                  <a:pt x="297342" y="1465574"/>
                </a:lnTo>
                <a:lnTo>
                  <a:pt x="288837" y="1456758"/>
                </a:lnTo>
                <a:cubicBezTo>
                  <a:pt x="280612" y="1448888"/>
                  <a:pt x="274281" y="1444954"/>
                  <a:pt x="269844" y="1444954"/>
                </a:cubicBezTo>
                <a:lnTo>
                  <a:pt x="252152" y="1433122"/>
                </a:lnTo>
                <a:lnTo>
                  <a:pt x="252152" y="1423746"/>
                </a:lnTo>
                <a:cubicBezTo>
                  <a:pt x="252152" y="1416639"/>
                  <a:pt x="260691" y="1413086"/>
                  <a:pt x="277769" y="1413086"/>
                </a:cubicBezTo>
                <a:lnTo>
                  <a:pt x="312707" y="1399077"/>
                </a:lnTo>
                <a:cubicBezTo>
                  <a:pt x="321785" y="1399077"/>
                  <a:pt x="341524" y="1392064"/>
                  <a:pt x="371922" y="1378037"/>
                </a:cubicBezTo>
                <a:cubicBezTo>
                  <a:pt x="380814" y="1378037"/>
                  <a:pt x="385261" y="1378093"/>
                  <a:pt x="385261" y="1378204"/>
                </a:cubicBezTo>
                <a:lnTo>
                  <a:pt x="385261" y="1350187"/>
                </a:lnTo>
                <a:lnTo>
                  <a:pt x="385398" y="1349375"/>
                </a:lnTo>
                <a:lnTo>
                  <a:pt x="376816" y="1353023"/>
                </a:lnTo>
                <a:cubicBezTo>
                  <a:pt x="363777" y="1358276"/>
                  <a:pt x="354872" y="1360903"/>
                  <a:pt x="350100" y="1360903"/>
                </a:cubicBezTo>
                <a:cubicBezTo>
                  <a:pt x="339496" y="1352941"/>
                  <a:pt x="329245" y="1346467"/>
                  <a:pt x="319348" y="1341481"/>
                </a:cubicBezTo>
                <a:lnTo>
                  <a:pt x="311702" y="1333835"/>
                </a:lnTo>
                <a:lnTo>
                  <a:pt x="311702" y="1325687"/>
                </a:lnTo>
                <a:cubicBezTo>
                  <a:pt x="311702" y="1320664"/>
                  <a:pt x="322548" y="1314097"/>
                  <a:pt x="344240" y="1305985"/>
                </a:cubicBezTo>
                <a:lnTo>
                  <a:pt x="387605" y="1284275"/>
                </a:lnTo>
                <a:lnTo>
                  <a:pt x="391902" y="1282099"/>
                </a:lnTo>
                <a:lnTo>
                  <a:pt x="392237" y="1282712"/>
                </a:lnTo>
                <a:lnTo>
                  <a:pt x="388721" y="1273839"/>
                </a:lnTo>
                <a:lnTo>
                  <a:pt x="392237" y="1269820"/>
                </a:lnTo>
                <a:cubicBezTo>
                  <a:pt x="392367" y="1269820"/>
                  <a:pt x="392000" y="1268885"/>
                  <a:pt x="391135" y="1267016"/>
                </a:cubicBezTo>
                <a:lnTo>
                  <a:pt x="387822" y="1260198"/>
                </a:lnTo>
                <a:lnTo>
                  <a:pt x="371615" y="1267197"/>
                </a:lnTo>
                <a:cubicBezTo>
                  <a:pt x="366015" y="1268946"/>
                  <a:pt x="360890" y="1269820"/>
                  <a:pt x="356239" y="1269820"/>
                </a:cubicBezTo>
                <a:cubicBezTo>
                  <a:pt x="349914" y="1263495"/>
                  <a:pt x="331571" y="1248947"/>
                  <a:pt x="301210" y="1226176"/>
                </a:cubicBezTo>
                <a:lnTo>
                  <a:pt x="301210" y="1212503"/>
                </a:lnTo>
                <a:cubicBezTo>
                  <a:pt x="328259" y="1204429"/>
                  <a:pt x="348667" y="1196950"/>
                  <a:pt x="362434" y="1190067"/>
                </a:cubicBezTo>
                <a:lnTo>
                  <a:pt x="364963" y="1189220"/>
                </a:lnTo>
                <a:lnTo>
                  <a:pt x="354411" y="1184639"/>
                </a:lnTo>
                <a:cubicBezTo>
                  <a:pt x="350179" y="1182993"/>
                  <a:pt x="345282" y="1181249"/>
                  <a:pt x="339719" y="1179407"/>
                </a:cubicBezTo>
                <a:cubicBezTo>
                  <a:pt x="339719" y="1173454"/>
                  <a:pt x="336873" y="1168580"/>
                  <a:pt x="331180" y="1164785"/>
                </a:cubicBezTo>
                <a:cubicBezTo>
                  <a:pt x="323813" y="1145214"/>
                  <a:pt x="304484" y="1118555"/>
                  <a:pt x="273193" y="1084808"/>
                </a:cubicBezTo>
                <a:lnTo>
                  <a:pt x="273193" y="1076995"/>
                </a:lnTo>
                <a:cubicBezTo>
                  <a:pt x="273193" y="1069925"/>
                  <a:pt x="279090" y="1066391"/>
                  <a:pt x="290885" y="1066391"/>
                </a:cubicBezTo>
                <a:cubicBezTo>
                  <a:pt x="318009" y="1066391"/>
                  <a:pt x="340928" y="1069888"/>
                  <a:pt x="359644" y="1076883"/>
                </a:cubicBezTo>
                <a:cubicBezTo>
                  <a:pt x="377949" y="1076883"/>
                  <a:pt x="392423" y="1094203"/>
                  <a:pt x="403064" y="1128843"/>
                </a:cubicBezTo>
                <a:lnTo>
                  <a:pt x="406692" y="1151334"/>
                </a:lnTo>
                <a:cubicBezTo>
                  <a:pt x="405064" y="1157074"/>
                  <a:pt x="403332" y="1162095"/>
                  <a:pt x="401494" y="1166400"/>
                </a:cubicBezTo>
                <a:lnTo>
                  <a:pt x="396441" y="1175736"/>
                </a:lnTo>
                <a:lnTo>
                  <a:pt x="397371" y="1174942"/>
                </a:lnTo>
                <a:cubicBezTo>
                  <a:pt x="405297" y="1174942"/>
                  <a:pt x="410431" y="1172598"/>
                  <a:pt x="412775" y="1167910"/>
                </a:cubicBezTo>
                <a:cubicBezTo>
                  <a:pt x="427100" y="1167910"/>
                  <a:pt x="434262" y="1164096"/>
                  <a:pt x="434262" y="1156469"/>
                </a:cubicBezTo>
                <a:lnTo>
                  <a:pt x="441685" y="1141679"/>
                </a:lnTo>
                <a:lnTo>
                  <a:pt x="453908" y="1104900"/>
                </a:lnTo>
                <a:cubicBezTo>
                  <a:pt x="456103" y="1104900"/>
                  <a:pt x="461386" y="1091338"/>
                  <a:pt x="469758" y="1064214"/>
                </a:cubicBezTo>
                <a:lnTo>
                  <a:pt x="471358" y="1062555"/>
                </a:lnTo>
                <a:lnTo>
                  <a:pt x="468404" y="1063014"/>
                </a:lnTo>
                <a:cubicBezTo>
                  <a:pt x="465493" y="1063051"/>
                  <a:pt x="461126" y="1062484"/>
                  <a:pt x="455303" y="1061312"/>
                </a:cubicBezTo>
                <a:lnTo>
                  <a:pt x="455303" y="1048978"/>
                </a:lnTo>
                <a:cubicBezTo>
                  <a:pt x="455303" y="1041909"/>
                  <a:pt x="459972" y="1038374"/>
                  <a:pt x="469311" y="1038374"/>
                </a:cubicBezTo>
                <a:cubicBezTo>
                  <a:pt x="469311" y="1033686"/>
                  <a:pt x="473981" y="1031342"/>
                  <a:pt x="483320" y="1031342"/>
                </a:cubicBezTo>
                <a:cubicBezTo>
                  <a:pt x="483320" y="1032421"/>
                  <a:pt x="486185" y="1030095"/>
                  <a:pt x="491915" y="1024366"/>
                </a:cubicBezTo>
                <a:close/>
                <a:moveTo>
                  <a:pt x="357579" y="0"/>
                </a:moveTo>
                <a:lnTo>
                  <a:pt x="379177" y="0"/>
                </a:lnTo>
                <a:cubicBezTo>
                  <a:pt x="402171" y="3312"/>
                  <a:pt x="413668" y="11795"/>
                  <a:pt x="413668" y="25450"/>
                </a:cubicBezTo>
                <a:cubicBezTo>
                  <a:pt x="424198" y="32445"/>
                  <a:pt x="438262" y="38156"/>
                  <a:pt x="455861" y="42584"/>
                </a:cubicBezTo>
                <a:lnTo>
                  <a:pt x="480194" y="52295"/>
                </a:lnTo>
                <a:cubicBezTo>
                  <a:pt x="480194" y="52443"/>
                  <a:pt x="484975" y="52518"/>
                  <a:pt x="494538" y="52518"/>
                </a:cubicBezTo>
                <a:cubicBezTo>
                  <a:pt x="499002" y="61447"/>
                  <a:pt x="501235" y="74842"/>
                  <a:pt x="501235" y="92701"/>
                </a:cubicBezTo>
                <a:lnTo>
                  <a:pt x="483431" y="146001"/>
                </a:lnTo>
                <a:lnTo>
                  <a:pt x="480083" y="196677"/>
                </a:lnTo>
                <a:lnTo>
                  <a:pt x="480194" y="200081"/>
                </a:lnTo>
                <a:lnTo>
                  <a:pt x="476734" y="222796"/>
                </a:lnTo>
                <a:lnTo>
                  <a:pt x="480194" y="226702"/>
                </a:lnTo>
                <a:lnTo>
                  <a:pt x="476734" y="242274"/>
                </a:lnTo>
                <a:lnTo>
                  <a:pt x="480194" y="252097"/>
                </a:lnTo>
                <a:lnTo>
                  <a:pt x="478974" y="261311"/>
                </a:lnTo>
                <a:lnTo>
                  <a:pt x="480780" y="260300"/>
                </a:lnTo>
                <a:cubicBezTo>
                  <a:pt x="490622" y="255854"/>
                  <a:pt x="504584" y="251222"/>
                  <a:pt x="522666" y="246404"/>
                </a:cubicBezTo>
                <a:cubicBezTo>
                  <a:pt x="537698" y="233902"/>
                  <a:pt x="554999" y="227651"/>
                  <a:pt x="574570" y="227651"/>
                </a:cubicBezTo>
                <a:lnTo>
                  <a:pt x="578086" y="227651"/>
                </a:lnTo>
                <a:cubicBezTo>
                  <a:pt x="605508" y="227651"/>
                  <a:pt x="620744" y="238200"/>
                  <a:pt x="623795" y="259296"/>
                </a:cubicBezTo>
                <a:lnTo>
                  <a:pt x="623795" y="276318"/>
                </a:lnTo>
                <a:cubicBezTo>
                  <a:pt x="608912" y="300131"/>
                  <a:pt x="592578" y="312037"/>
                  <a:pt x="574793" y="312037"/>
                </a:cubicBezTo>
                <a:cubicBezTo>
                  <a:pt x="574793" y="313116"/>
                  <a:pt x="566570" y="315293"/>
                  <a:pt x="550125" y="318567"/>
                </a:cubicBezTo>
                <a:cubicBezTo>
                  <a:pt x="541753" y="322771"/>
                  <a:pt x="528582" y="328241"/>
                  <a:pt x="510611" y="334975"/>
                </a:cubicBezTo>
                <a:lnTo>
                  <a:pt x="505532" y="340054"/>
                </a:lnTo>
                <a:lnTo>
                  <a:pt x="492026" y="340054"/>
                </a:lnTo>
                <a:lnTo>
                  <a:pt x="479049" y="334396"/>
                </a:lnTo>
                <a:lnTo>
                  <a:pt x="478262" y="339991"/>
                </a:lnTo>
                <a:cubicBezTo>
                  <a:pt x="477188" y="347902"/>
                  <a:pt x="476678" y="352611"/>
                  <a:pt x="476734" y="354118"/>
                </a:cubicBezTo>
                <a:lnTo>
                  <a:pt x="480194" y="380293"/>
                </a:lnTo>
                <a:lnTo>
                  <a:pt x="476734" y="387828"/>
                </a:lnTo>
                <a:lnTo>
                  <a:pt x="476734" y="396701"/>
                </a:lnTo>
                <a:lnTo>
                  <a:pt x="473218" y="417073"/>
                </a:lnTo>
                <a:lnTo>
                  <a:pt x="476734" y="430467"/>
                </a:lnTo>
                <a:cubicBezTo>
                  <a:pt x="476734" y="451638"/>
                  <a:pt x="472065" y="468753"/>
                  <a:pt x="462726" y="481813"/>
                </a:cubicBezTo>
                <a:lnTo>
                  <a:pt x="469702" y="497942"/>
                </a:lnTo>
                <a:lnTo>
                  <a:pt x="468831" y="500788"/>
                </a:lnTo>
                <a:lnTo>
                  <a:pt x="479692" y="500788"/>
                </a:lnTo>
                <a:lnTo>
                  <a:pt x="511002" y="497272"/>
                </a:lnTo>
                <a:lnTo>
                  <a:pt x="535335" y="497272"/>
                </a:lnTo>
                <a:cubicBezTo>
                  <a:pt x="537679" y="492621"/>
                  <a:pt x="545214" y="490296"/>
                  <a:pt x="557938" y="490296"/>
                </a:cubicBezTo>
                <a:lnTo>
                  <a:pt x="572505" y="490240"/>
                </a:lnTo>
                <a:cubicBezTo>
                  <a:pt x="580430" y="488231"/>
                  <a:pt x="592727" y="486296"/>
                  <a:pt x="609396" y="484436"/>
                </a:cubicBezTo>
                <a:cubicBezTo>
                  <a:pt x="609396" y="481348"/>
                  <a:pt x="615293" y="479803"/>
                  <a:pt x="627088" y="479803"/>
                </a:cubicBezTo>
                <a:lnTo>
                  <a:pt x="630827" y="479803"/>
                </a:lnTo>
                <a:lnTo>
                  <a:pt x="644780" y="472771"/>
                </a:lnTo>
                <a:lnTo>
                  <a:pt x="664257" y="472771"/>
                </a:lnTo>
                <a:cubicBezTo>
                  <a:pt x="714338" y="488621"/>
                  <a:pt x="739378" y="502109"/>
                  <a:pt x="739378" y="513234"/>
                </a:cubicBezTo>
                <a:cubicBezTo>
                  <a:pt x="741723" y="515541"/>
                  <a:pt x="742895" y="519615"/>
                  <a:pt x="742895" y="525457"/>
                </a:cubicBezTo>
                <a:lnTo>
                  <a:pt x="742895" y="539465"/>
                </a:lnTo>
                <a:cubicBezTo>
                  <a:pt x="742895" y="559222"/>
                  <a:pt x="729314" y="572133"/>
                  <a:pt x="702153" y="578197"/>
                </a:cubicBezTo>
                <a:lnTo>
                  <a:pt x="690098" y="578197"/>
                </a:lnTo>
                <a:cubicBezTo>
                  <a:pt x="683103" y="573509"/>
                  <a:pt x="669187" y="571165"/>
                  <a:pt x="648351" y="571165"/>
                </a:cubicBezTo>
                <a:lnTo>
                  <a:pt x="645505" y="564189"/>
                </a:lnTo>
                <a:lnTo>
                  <a:pt x="632278" y="567705"/>
                </a:lnTo>
                <a:cubicBezTo>
                  <a:pt x="623348" y="567705"/>
                  <a:pt x="616558" y="565361"/>
                  <a:pt x="611907" y="560673"/>
                </a:cubicBezTo>
                <a:lnTo>
                  <a:pt x="602587" y="560673"/>
                </a:lnTo>
                <a:lnTo>
                  <a:pt x="587406" y="560673"/>
                </a:lnTo>
                <a:cubicBezTo>
                  <a:pt x="585062" y="558329"/>
                  <a:pt x="576114" y="557157"/>
                  <a:pt x="560561" y="557157"/>
                </a:cubicBezTo>
                <a:lnTo>
                  <a:pt x="546553" y="557157"/>
                </a:lnTo>
                <a:lnTo>
                  <a:pt x="543037" y="557157"/>
                </a:lnTo>
                <a:lnTo>
                  <a:pt x="534051" y="557157"/>
                </a:lnTo>
                <a:lnTo>
                  <a:pt x="506146" y="560673"/>
                </a:lnTo>
                <a:lnTo>
                  <a:pt x="500956" y="557157"/>
                </a:lnTo>
                <a:lnTo>
                  <a:pt x="493924" y="560673"/>
                </a:lnTo>
                <a:lnTo>
                  <a:pt x="485999" y="557157"/>
                </a:lnTo>
                <a:lnTo>
                  <a:pt x="467860" y="564189"/>
                </a:lnTo>
                <a:lnTo>
                  <a:pt x="450782" y="564189"/>
                </a:lnTo>
                <a:lnTo>
                  <a:pt x="452208" y="562999"/>
                </a:lnTo>
                <a:lnTo>
                  <a:pt x="450364" y="563757"/>
                </a:lnTo>
                <a:cubicBezTo>
                  <a:pt x="440537" y="566975"/>
                  <a:pt x="422519" y="569444"/>
                  <a:pt x="396311" y="571165"/>
                </a:cubicBezTo>
                <a:lnTo>
                  <a:pt x="388777" y="571165"/>
                </a:lnTo>
                <a:cubicBezTo>
                  <a:pt x="382117" y="575630"/>
                  <a:pt x="362397" y="579909"/>
                  <a:pt x="329617" y="584002"/>
                </a:cubicBezTo>
                <a:cubicBezTo>
                  <a:pt x="329617" y="585062"/>
                  <a:pt x="322795" y="587525"/>
                  <a:pt x="309149" y="591390"/>
                </a:cubicBezTo>
                <a:lnTo>
                  <a:pt x="293275" y="595709"/>
                </a:lnTo>
                <a:lnTo>
                  <a:pt x="286322" y="597843"/>
                </a:lnTo>
                <a:cubicBezTo>
                  <a:pt x="278481" y="599573"/>
                  <a:pt x="266719" y="601154"/>
                  <a:pt x="251036" y="602587"/>
                </a:cubicBezTo>
                <a:lnTo>
                  <a:pt x="219113" y="613191"/>
                </a:lnTo>
                <a:lnTo>
                  <a:pt x="216155" y="613191"/>
                </a:lnTo>
                <a:cubicBezTo>
                  <a:pt x="195133" y="622530"/>
                  <a:pt x="180417" y="627199"/>
                  <a:pt x="172008" y="627199"/>
                </a:cubicBezTo>
                <a:cubicBezTo>
                  <a:pt x="172008" y="629543"/>
                  <a:pt x="164939" y="630715"/>
                  <a:pt x="150800" y="630715"/>
                </a:cubicBezTo>
                <a:lnTo>
                  <a:pt x="148345" y="630715"/>
                </a:lnTo>
                <a:lnTo>
                  <a:pt x="141313" y="637747"/>
                </a:lnTo>
                <a:lnTo>
                  <a:pt x="124290" y="637747"/>
                </a:lnTo>
                <a:cubicBezTo>
                  <a:pt x="114431" y="634436"/>
                  <a:pt x="100552" y="621581"/>
                  <a:pt x="82656" y="599182"/>
                </a:cubicBezTo>
                <a:cubicBezTo>
                  <a:pt x="76889" y="599182"/>
                  <a:pt x="69187" y="589583"/>
                  <a:pt x="59550" y="570384"/>
                </a:cubicBezTo>
                <a:cubicBezTo>
                  <a:pt x="59550" y="556692"/>
                  <a:pt x="73559" y="549846"/>
                  <a:pt x="101576" y="549846"/>
                </a:cubicBezTo>
                <a:cubicBezTo>
                  <a:pt x="101576" y="548581"/>
                  <a:pt x="118840" y="545083"/>
                  <a:pt x="153368" y="539353"/>
                </a:cubicBezTo>
                <a:lnTo>
                  <a:pt x="157833" y="539297"/>
                </a:lnTo>
                <a:lnTo>
                  <a:pt x="163749" y="539297"/>
                </a:lnTo>
                <a:lnTo>
                  <a:pt x="182222" y="532265"/>
                </a:lnTo>
                <a:lnTo>
                  <a:pt x="199970" y="535725"/>
                </a:lnTo>
                <a:lnTo>
                  <a:pt x="364555" y="511225"/>
                </a:lnTo>
                <a:lnTo>
                  <a:pt x="371266" y="513486"/>
                </a:lnTo>
                <a:lnTo>
                  <a:pt x="374712" y="479413"/>
                </a:lnTo>
                <a:lnTo>
                  <a:pt x="374712" y="465907"/>
                </a:lnTo>
                <a:lnTo>
                  <a:pt x="374712" y="444922"/>
                </a:lnTo>
                <a:lnTo>
                  <a:pt x="374712" y="430914"/>
                </a:lnTo>
                <a:lnTo>
                  <a:pt x="374712" y="425221"/>
                </a:lnTo>
                <a:lnTo>
                  <a:pt x="371252" y="406692"/>
                </a:lnTo>
                <a:lnTo>
                  <a:pt x="374712" y="388330"/>
                </a:lnTo>
                <a:lnTo>
                  <a:pt x="374712" y="371364"/>
                </a:lnTo>
                <a:lnTo>
                  <a:pt x="374712" y="320688"/>
                </a:lnTo>
                <a:lnTo>
                  <a:pt x="367736" y="296075"/>
                </a:lnTo>
                <a:lnTo>
                  <a:pt x="367736" y="280281"/>
                </a:lnTo>
                <a:lnTo>
                  <a:pt x="367736" y="273304"/>
                </a:lnTo>
                <a:lnTo>
                  <a:pt x="367736" y="270626"/>
                </a:lnTo>
                <a:lnTo>
                  <a:pt x="364220" y="222517"/>
                </a:lnTo>
                <a:lnTo>
                  <a:pt x="367736" y="219447"/>
                </a:lnTo>
                <a:lnTo>
                  <a:pt x="364220" y="204657"/>
                </a:lnTo>
                <a:lnTo>
                  <a:pt x="364220" y="190426"/>
                </a:lnTo>
                <a:lnTo>
                  <a:pt x="360704" y="186910"/>
                </a:lnTo>
                <a:cubicBezTo>
                  <a:pt x="360704" y="163469"/>
                  <a:pt x="359551" y="138429"/>
                  <a:pt x="357244" y="111789"/>
                </a:cubicBezTo>
                <a:lnTo>
                  <a:pt x="360704" y="109501"/>
                </a:lnTo>
                <a:cubicBezTo>
                  <a:pt x="351365" y="107640"/>
                  <a:pt x="346695" y="99473"/>
                  <a:pt x="346695" y="85000"/>
                </a:cubicBezTo>
                <a:cubicBezTo>
                  <a:pt x="332706" y="80311"/>
                  <a:pt x="325711" y="70693"/>
                  <a:pt x="325711" y="56146"/>
                </a:cubicBezTo>
                <a:lnTo>
                  <a:pt x="325711" y="43644"/>
                </a:lnTo>
                <a:cubicBezTo>
                  <a:pt x="331180" y="38175"/>
                  <a:pt x="341803" y="23627"/>
                  <a:pt x="357579" y="0"/>
                </a:cubicBezTo>
                <a:close/>
              </a:path>
            </a:pathLst>
          </a:custGeom>
          <a:solidFill>
            <a:schemeClr val="bg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dist">
              <a:defRPr sz="5400" b="1" spc="600">
                <a:solidFill>
                  <a:schemeClr val="bg1"/>
                </a:solidFill>
                <a:effectLst>
                  <a:outerShdw blurRad="38100" dist="38100" dir="2700000" algn="tl">
                    <a:srgbClr val="000000">
                      <a:alpha val="43137"/>
                    </a:srgbClr>
                  </a:outerShdw>
                </a:effectLst>
              </a:defRPr>
            </a:lvl1pPr>
          </a:lstStyle>
          <a:p>
            <a:pPr algn="ctr"/>
            <a:endParaRPr lang="zh-CN" altLang="en-US" sz="7200" dirty="0">
              <a:effectLst>
                <a:outerShdw blurRad="50800" dist="38100" dir="2700000" algn="tl" rotWithShape="0">
                  <a:prstClr val="black">
                    <a:alpha val="40000"/>
                  </a:prstClr>
                </a:outerShdw>
              </a:effectLst>
              <a:cs typeface="+mn-ea"/>
              <a:sym typeface="+mn-lt"/>
            </a:endParaRPr>
          </a:p>
        </p:txBody>
      </p:sp>
      <p:sp>
        <p:nvSpPr>
          <p:cNvPr id="73" name="文本框 72">
            <a:extLst>
              <a:ext uri="{FF2B5EF4-FFF2-40B4-BE49-F238E27FC236}">
                <a16:creationId xmlns:a16="http://schemas.microsoft.com/office/drawing/2014/main" id="{A065B6B1-F870-4F57-AC7D-1440D5FB010C}"/>
              </a:ext>
            </a:extLst>
          </p:cNvPr>
          <p:cNvSpPr txBox="1"/>
          <p:nvPr/>
        </p:nvSpPr>
        <p:spPr>
          <a:xfrm>
            <a:off x="4160893" y="1483578"/>
            <a:ext cx="749871" cy="4013988"/>
          </a:xfrm>
          <a:custGeom>
            <a:avLst/>
            <a:gdLst/>
            <a:ahLst/>
            <a:cxnLst/>
            <a:rect l="l" t="t" r="r" b="b"/>
            <a:pathLst>
              <a:path w="749871" h="4013988">
                <a:moveTo>
                  <a:pt x="178817" y="3439307"/>
                </a:moveTo>
                <a:cubicBezTo>
                  <a:pt x="188491" y="3439307"/>
                  <a:pt x="200807" y="3444293"/>
                  <a:pt x="215764" y="3454264"/>
                </a:cubicBezTo>
                <a:cubicBezTo>
                  <a:pt x="249660" y="3462078"/>
                  <a:pt x="266607" y="3466784"/>
                  <a:pt x="266607" y="3468384"/>
                </a:cubicBezTo>
                <a:cubicBezTo>
                  <a:pt x="289936" y="3470728"/>
                  <a:pt x="301601" y="3478021"/>
                  <a:pt x="301601" y="3490262"/>
                </a:cubicBezTo>
                <a:lnTo>
                  <a:pt x="305117" y="3494392"/>
                </a:lnTo>
                <a:lnTo>
                  <a:pt x="298085" y="3521181"/>
                </a:lnTo>
                <a:lnTo>
                  <a:pt x="298085" y="3523469"/>
                </a:lnTo>
                <a:cubicBezTo>
                  <a:pt x="298085" y="3549291"/>
                  <a:pt x="296931" y="3562202"/>
                  <a:pt x="294624" y="3562202"/>
                </a:cubicBezTo>
                <a:lnTo>
                  <a:pt x="297973" y="3561699"/>
                </a:lnTo>
                <a:cubicBezTo>
                  <a:pt x="293210" y="3645415"/>
                  <a:pt x="287276" y="3695570"/>
                  <a:pt x="280169" y="3712165"/>
                </a:cubicBezTo>
                <a:cubicBezTo>
                  <a:pt x="272877" y="3743679"/>
                  <a:pt x="255780" y="3776533"/>
                  <a:pt x="228879" y="3810726"/>
                </a:cubicBezTo>
                <a:cubicBezTo>
                  <a:pt x="194984" y="3842240"/>
                  <a:pt x="164362" y="3868509"/>
                  <a:pt x="137015" y="3889531"/>
                </a:cubicBezTo>
                <a:cubicBezTo>
                  <a:pt x="137015" y="3892284"/>
                  <a:pt x="125332" y="3900674"/>
                  <a:pt x="101966" y="3914701"/>
                </a:cubicBezTo>
                <a:lnTo>
                  <a:pt x="101966" y="3922961"/>
                </a:lnTo>
                <a:lnTo>
                  <a:pt x="79586" y="3922961"/>
                </a:lnTo>
                <a:lnTo>
                  <a:pt x="70043" y="3913417"/>
                </a:lnTo>
                <a:lnTo>
                  <a:pt x="70043" y="3902311"/>
                </a:lnTo>
                <a:lnTo>
                  <a:pt x="106822" y="3880322"/>
                </a:lnTo>
                <a:cubicBezTo>
                  <a:pt x="113780" y="3868713"/>
                  <a:pt x="126039" y="3856305"/>
                  <a:pt x="143601" y="3843096"/>
                </a:cubicBezTo>
                <a:cubicBezTo>
                  <a:pt x="143601" y="3840640"/>
                  <a:pt x="147638" y="3836715"/>
                  <a:pt x="155712" y="3831320"/>
                </a:cubicBezTo>
                <a:cubicBezTo>
                  <a:pt x="173311" y="3802671"/>
                  <a:pt x="182110" y="3782951"/>
                  <a:pt x="182110" y="3772161"/>
                </a:cubicBezTo>
                <a:cubicBezTo>
                  <a:pt x="182110" y="3767957"/>
                  <a:pt x="185794" y="3763399"/>
                  <a:pt x="193161" y="3758487"/>
                </a:cubicBezTo>
                <a:lnTo>
                  <a:pt x="203151" y="3715402"/>
                </a:lnTo>
                <a:lnTo>
                  <a:pt x="203151" y="3701951"/>
                </a:lnTo>
                <a:lnTo>
                  <a:pt x="203736" y="3701951"/>
                </a:lnTo>
                <a:lnTo>
                  <a:pt x="203151" y="3694361"/>
                </a:lnTo>
                <a:lnTo>
                  <a:pt x="206611" y="3683924"/>
                </a:lnTo>
                <a:lnTo>
                  <a:pt x="206611" y="3667070"/>
                </a:lnTo>
                <a:lnTo>
                  <a:pt x="206611" y="3658586"/>
                </a:lnTo>
                <a:lnTo>
                  <a:pt x="203151" y="3648150"/>
                </a:lnTo>
                <a:lnTo>
                  <a:pt x="203151" y="3634421"/>
                </a:lnTo>
                <a:lnTo>
                  <a:pt x="206611" y="3614217"/>
                </a:lnTo>
                <a:cubicBezTo>
                  <a:pt x="204825" y="3593567"/>
                  <a:pt x="201328" y="3583242"/>
                  <a:pt x="196119" y="3583242"/>
                </a:cubicBezTo>
                <a:lnTo>
                  <a:pt x="199635" y="3566387"/>
                </a:lnTo>
                <a:lnTo>
                  <a:pt x="196119" y="3559355"/>
                </a:lnTo>
                <a:lnTo>
                  <a:pt x="199635" y="3550370"/>
                </a:lnTo>
                <a:lnTo>
                  <a:pt x="199635" y="3543394"/>
                </a:lnTo>
                <a:lnTo>
                  <a:pt x="203151" y="3539040"/>
                </a:lnTo>
                <a:cubicBezTo>
                  <a:pt x="198463" y="3533348"/>
                  <a:pt x="196119" y="3527004"/>
                  <a:pt x="196119" y="3520009"/>
                </a:cubicBezTo>
                <a:lnTo>
                  <a:pt x="196119" y="3513256"/>
                </a:lnTo>
                <a:lnTo>
                  <a:pt x="180101" y="3490876"/>
                </a:lnTo>
                <a:cubicBezTo>
                  <a:pt x="178799" y="3488160"/>
                  <a:pt x="173627" y="3485295"/>
                  <a:pt x="164586" y="3482281"/>
                </a:cubicBezTo>
                <a:lnTo>
                  <a:pt x="164586" y="3456943"/>
                </a:lnTo>
                <a:cubicBezTo>
                  <a:pt x="164586" y="3445186"/>
                  <a:pt x="169330" y="3439307"/>
                  <a:pt x="178817" y="3439307"/>
                </a:cubicBezTo>
                <a:close/>
                <a:moveTo>
                  <a:pt x="400162" y="3432275"/>
                </a:moveTo>
                <a:cubicBezTo>
                  <a:pt x="426319" y="3451288"/>
                  <a:pt x="450298" y="3462022"/>
                  <a:pt x="472102" y="3464477"/>
                </a:cubicBezTo>
                <a:cubicBezTo>
                  <a:pt x="482185" y="3474561"/>
                  <a:pt x="487226" y="3484458"/>
                  <a:pt x="487226" y="3494169"/>
                </a:cubicBezTo>
                <a:lnTo>
                  <a:pt x="469702" y="3533403"/>
                </a:lnTo>
                <a:lnTo>
                  <a:pt x="473218" y="3538873"/>
                </a:lnTo>
                <a:cubicBezTo>
                  <a:pt x="470874" y="3543300"/>
                  <a:pt x="469702" y="3554407"/>
                  <a:pt x="469702" y="3572192"/>
                </a:cubicBezTo>
                <a:lnTo>
                  <a:pt x="462726" y="3573699"/>
                </a:lnTo>
                <a:lnTo>
                  <a:pt x="469702" y="3579056"/>
                </a:lnTo>
                <a:lnTo>
                  <a:pt x="466186" y="3594851"/>
                </a:lnTo>
                <a:lnTo>
                  <a:pt x="466186" y="3618235"/>
                </a:lnTo>
                <a:lnTo>
                  <a:pt x="465715" y="3618235"/>
                </a:lnTo>
                <a:lnTo>
                  <a:pt x="462614" y="3684929"/>
                </a:lnTo>
                <a:lnTo>
                  <a:pt x="462726" y="3691571"/>
                </a:lnTo>
                <a:lnTo>
                  <a:pt x="462726" y="3730136"/>
                </a:lnTo>
                <a:lnTo>
                  <a:pt x="462726" y="3737112"/>
                </a:lnTo>
                <a:lnTo>
                  <a:pt x="462726" y="3746656"/>
                </a:lnTo>
                <a:lnTo>
                  <a:pt x="455693" y="3751009"/>
                </a:lnTo>
                <a:lnTo>
                  <a:pt x="459210" y="3751009"/>
                </a:lnTo>
                <a:lnTo>
                  <a:pt x="459210" y="3761613"/>
                </a:lnTo>
                <a:cubicBezTo>
                  <a:pt x="459210" y="3776458"/>
                  <a:pt x="447527" y="3794392"/>
                  <a:pt x="424161" y="3815414"/>
                </a:cubicBezTo>
                <a:cubicBezTo>
                  <a:pt x="424161" y="3824046"/>
                  <a:pt x="419435" y="3828362"/>
                  <a:pt x="409985" y="3828362"/>
                </a:cubicBezTo>
                <a:lnTo>
                  <a:pt x="406469" y="3828362"/>
                </a:lnTo>
                <a:cubicBezTo>
                  <a:pt x="392330" y="3828362"/>
                  <a:pt x="385261" y="3816698"/>
                  <a:pt x="385261" y="3793369"/>
                </a:cubicBezTo>
                <a:cubicBezTo>
                  <a:pt x="382917" y="3793369"/>
                  <a:pt x="381745" y="3786355"/>
                  <a:pt x="381745" y="3772328"/>
                </a:cubicBezTo>
                <a:lnTo>
                  <a:pt x="378228" y="3772328"/>
                </a:lnTo>
                <a:lnTo>
                  <a:pt x="381745" y="3750451"/>
                </a:lnTo>
                <a:lnTo>
                  <a:pt x="381745" y="3730136"/>
                </a:lnTo>
                <a:lnTo>
                  <a:pt x="381745" y="3709095"/>
                </a:lnTo>
                <a:lnTo>
                  <a:pt x="381745" y="3695087"/>
                </a:lnTo>
                <a:lnTo>
                  <a:pt x="381745" y="3691571"/>
                </a:lnTo>
                <a:lnTo>
                  <a:pt x="381745" y="3677562"/>
                </a:lnTo>
                <a:lnTo>
                  <a:pt x="381745" y="3667070"/>
                </a:lnTo>
                <a:lnTo>
                  <a:pt x="381745" y="3646085"/>
                </a:lnTo>
                <a:lnTo>
                  <a:pt x="381745" y="3632076"/>
                </a:lnTo>
                <a:lnTo>
                  <a:pt x="381745" y="3618905"/>
                </a:lnTo>
                <a:lnTo>
                  <a:pt x="378228" y="3565048"/>
                </a:lnTo>
                <a:lnTo>
                  <a:pt x="381745" y="3555616"/>
                </a:lnTo>
                <a:lnTo>
                  <a:pt x="378228" y="3543505"/>
                </a:lnTo>
                <a:lnTo>
                  <a:pt x="381745" y="3538984"/>
                </a:lnTo>
                <a:cubicBezTo>
                  <a:pt x="381745" y="3499694"/>
                  <a:pt x="377801" y="3477072"/>
                  <a:pt x="369913" y="3471119"/>
                </a:cubicBezTo>
                <a:lnTo>
                  <a:pt x="364220" y="3459789"/>
                </a:lnTo>
                <a:lnTo>
                  <a:pt x="364220" y="3451864"/>
                </a:lnTo>
                <a:cubicBezTo>
                  <a:pt x="374005" y="3438805"/>
                  <a:pt x="385986" y="3432275"/>
                  <a:pt x="400162" y="3432275"/>
                </a:cubicBezTo>
                <a:close/>
                <a:moveTo>
                  <a:pt x="565473" y="3330755"/>
                </a:moveTo>
                <a:lnTo>
                  <a:pt x="579984" y="3330755"/>
                </a:lnTo>
                <a:cubicBezTo>
                  <a:pt x="588504" y="3339276"/>
                  <a:pt x="595908" y="3345099"/>
                  <a:pt x="602196" y="3348224"/>
                </a:cubicBezTo>
                <a:cubicBezTo>
                  <a:pt x="649300" y="3348224"/>
                  <a:pt x="672852" y="3352894"/>
                  <a:pt x="672852" y="3362232"/>
                </a:cubicBezTo>
                <a:cubicBezTo>
                  <a:pt x="677503" y="3362232"/>
                  <a:pt x="679829" y="3365786"/>
                  <a:pt x="679829" y="3372892"/>
                </a:cubicBezTo>
                <a:lnTo>
                  <a:pt x="679829" y="3384445"/>
                </a:lnTo>
                <a:cubicBezTo>
                  <a:pt x="670043" y="3394231"/>
                  <a:pt x="662881" y="3415066"/>
                  <a:pt x="658342" y="3446953"/>
                </a:cubicBezTo>
                <a:lnTo>
                  <a:pt x="651812" y="3455715"/>
                </a:lnTo>
                <a:lnTo>
                  <a:pt x="655328" y="3468161"/>
                </a:lnTo>
                <a:lnTo>
                  <a:pt x="651812" y="3478597"/>
                </a:lnTo>
                <a:lnTo>
                  <a:pt x="655328" y="3490541"/>
                </a:lnTo>
                <a:lnTo>
                  <a:pt x="651316" y="3497227"/>
                </a:lnTo>
                <a:lnTo>
                  <a:pt x="653570" y="3498633"/>
                </a:lnTo>
                <a:cubicBezTo>
                  <a:pt x="654742" y="3500829"/>
                  <a:pt x="655328" y="3504121"/>
                  <a:pt x="655328" y="3508512"/>
                </a:cubicBezTo>
                <a:lnTo>
                  <a:pt x="651812" y="3515544"/>
                </a:lnTo>
                <a:lnTo>
                  <a:pt x="651812" y="3523469"/>
                </a:lnTo>
                <a:cubicBezTo>
                  <a:pt x="651812" y="3531171"/>
                  <a:pt x="650640" y="3535878"/>
                  <a:pt x="648296" y="3537589"/>
                </a:cubicBezTo>
                <a:lnTo>
                  <a:pt x="651812" y="3548751"/>
                </a:lnTo>
                <a:lnTo>
                  <a:pt x="648296" y="3558295"/>
                </a:lnTo>
                <a:lnTo>
                  <a:pt x="655328" y="3569401"/>
                </a:lnTo>
                <a:lnTo>
                  <a:pt x="651812" y="3578498"/>
                </a:lnTo>
                <a:lnTo>
                  <a:pt x="651812" y="3590051"/>
                </a:lnTo>
                <a:lnTo>
                  <a:pt x="651812" y="3593511"/>
                </a:lnTo>
                <a:lnTo>
                  <a:pt x="651812" y="3600711"/>
                </a:lnTo>
                <a:lnTo>
                  <a:pt x="655328" y="3629007"/>
                </a:lnTo>
                <a:lnTo>
                  <a:pt x="651812" y="3631909"/>
                </a:lnTo>
                <a:lnTo>
                  <a:pt x="655328" y="3638885"/>
                </a:lnTo>
                <a:lnTo>
                  <a:pt x="655328" y="3643071"/>
                </a:lnTo>
                <a:lnTo>
                  <a:pt x="651812" y="3658754"/>
                </a:lnTo>
                <a:lnTo>
                  <a:pt x="655328" y="3663219"/>
                </a:lnTo>
                <a:lnTo>
                  <a:pt x="651812" y="3672093"/>
                </a:lnTo>
                <a:lnTo>
                  <a:pt x="654462" y="3689590"/>
                </a:lnTo>
                <a:lnTo>
                  <a:pt x="655328" y="3687720"/>
                </a:lnTo>
                <a:lnTo>
                  <a:pt x="654493" y="3689799"/>
                </a:lnTo>
                <a:lnTo>
                  <a:pt x="655328" y="3695310"/>
                </a:lnTo>
                <a:lnTo>
                  <a:pt x="652282" y="3695310"/>
                </a:lnTo>
                <a:lnTo>
                  <a:pt x="651812" y="3696482"/>
                </a:lnTo>
                <a:lnTo>
                  <a:pt x="655328" y="3705412"/>
                </a:lnTo>
                <a:lnTo>
                  <a:pt x="655328" y="3710434"/>
                </a:lnTo>
                <a:lnTo>
                  <a:pt x="651812" y="3722992"/>
                </a:lnTo>
                <a:lnTo>
                  <a:pt x="655328" y="3729689"/>
                </a:lnTo>
                <a:lnTo>
                  <a:pt x="651812" y="3747660"/>
                </a:lnTo>
                <a:lnTo>
                  <a:pt x="655328" y="3761445"/>
                </a:lnTo>
                <a:lnTo>
                  <a:pt x="651812" y="3766022"/>
                </a:lnTo>
                <a:lnTo>
                  <a:pt x="651812" y="3773668"/>
                </a:lnTo>
                <a:lnTo>
                  <a:pt x="648296" y="3782765"/>
                </a:lnTo>
                <a:lnTo>
                  <a:pt x="651812" y="3788848"/>
                </a:lnTo>
                <a:lnTo>
                  <a:pt x="651812" y="3793146"/>
                </a:lnTo>
                <a:lnTo>
                  <a:pt x="651812" y="3796662"/>
                </a:lnTo>
                <a:lnTo>
                  <a:pt x="651812" y="3809666"/>
                </a:lnTo>
                <a:lnTo>
                  <a:pt x="648555" y="3816126"/>
                </a:lnTo>
                <a:lnTo>
                  <a:pt x="651812" y="3820158"/>
                </a:lnTo>
                <a:lnTo>
                  <a:pt x="648296" y="3831432"/>
                </a:lnTo>
                <a:lnTo>
                  <a:pt x="655328" y="3852919"/>
                </a:lnTo>
                <a:lnTo>
                  <a:pt x="651812" y="3852919"/>
                </a:lnTo>
                <a:lnTo>
                  <a:pt x="655328" y="3855821"/>
                </a:lnTo>
                <a:cubicBezTo>
                  <a:pt x="647552" y="3928598"/>
                  <a:pt x="639161" y="3964986"/>
                  <a:pt x="630157" y="3964986"/>
                </a:cubicBezTo>
                <a:cubicBezTo>
                  <a:pt x="613823" y="3997654"/>
                  <a:pt x="597229" y="4013988"/>
                  <a:pt x="580374" y="4013988"/>
                </a:cubicBezTo>
                <a:cubicBezTo>
                  <a:pt x="576021" y="4009635"/>
                  <a:pt x="572495" y="4001263"/>
                  <a:pt x="569795" y="3988873"/>
                </a:cubicBezTo>
                <a:lnTo>
                  <a:pt x="567923" y="3978274"/>
                </a:lnTo>
                <a:lnTo>
                  <a:pt x="567705" y="3977886"/>
                </a:lnTo>
                <a:cubicBezTo>
                  <a:pt x="564747" y="3970086"/>
                  <a:pt x="562292" y="3955610"/>
                  <a:pt x="560338" y="3934458"/>
                </a:cubicBezTo>
                <a:lnTo>
                  <a:pt x="560338" y="3898237"/>
                </a:lnTo>
                <a:lnTo>
                  <a:pt x="560338" y="3845663"/>
                </a:lnTo>
                <a:lnTo>
                  <a:pt x="560338" y="3838687"/>
                </a:lnTo>
                <a:lnTo>
                  <a:pt x="560338" y="3835171"/>
                </a:lnTo>
                <a:lnTo>
                  <a:pt x="560338" y="3820381"/>
                </a:lnTo>
                <a:lnTo>
                  <a:pt x="563854" y="3797220"/>
                </a:lnTo>
                <a:lnTo>
                  <a:pt x="560338" y="3794318"/>
                </a:lnTo>
                <a:cubicBezTo>
                  <a:pt x="560338" y="3777091"/>
                  <a:pt x="561510" y="3768477"/>
                  <a:pt x="563854" y="3768477"/>
                </a:cubicBezTo>
                <a:lnTo>
                  <a:pt x="560559" y="3735681"/>
                </a:lnTo>
                <a:lnTo>
                  <a:pt x="560338" y="3735828"/>
                </a:lnTo>
                <a:lnTo>
                  <a:pt x="560458" y="3734671"/>
                </a:lnTo>
                <a:lnTo>
                  <a:pt x="560338" y="3733484"/>
                </a:lnTo>
                <a:lnTo>
                  <a:pt x="560580" y="3733484"/>
                </a:lnTo>
                <a:lnTo>
                  <a:pt x="563854" y="3701728"/>
                </a:lnTo>
                <a:lnTo>
                  <a:pt x="563854" y="3694305"/>
                </a:lnTo>
                <a:lnTo>
                  <a:pt x="567370" y="3665786"/>
                </a:lnTo>
                <a:lnTo>
                  <a:pt x="563854" y="3649434"/>
                </a:lnTo>
                <a:lnTo>
                  <a:pt x="566217" y="3649434"/>
                </a:lnTo>
                <a:lnTo>
                  <a:pt x="563854" y="3637881"/>
                </a:lnTo>
                <a:lnTo>
                  <a:pt x="567370" y="3635146"/>
                </a:lnTo>
                <a:lnTo>
                  <a:pt x="563854" y="3631407"/>
                </a:lnTo>
                <a:lnTo>
                  <a:pt x="563854" y="3613547"/>
                </a:lnTo>
                <a:lnTo>
                  <a:pt x="567370" y="3599427"/>
                </a:lnTo>
                <a:lnTo>
                  <a:pt x="567370" y="3584693"/>
                </a:lnTo>
                <a:lnTo>
                  <a:pt x="570831" y="3581959"/>
                </a:lnTo>
                <a:lnTo>
                  <a:pt x="567370" y="3570294"/>
                </a:lnTo>
                <a:lnTo>
                  <a:pt x="570831" y="3535245"/>
                </a:lnTo>
                <a:lnTo>
                  <a:pt x="567370" y="3522074"/>
                </a:lnTo>
                <a:lnTo>
                  <a:pt x="567370" y="3511861"/>
                </a:lnTo>
                <a:lnTo>
                  <a:pt x="570831" y="3504884"/>
                </a:lnTo>
                <a:lnTo>
                  <a:pt x="570831" y="3502708"/>
                </a:lnTo>
                <a:cubicBezTo>
                  <a:pt x="568821" y="3502708"/>
                  <a:pt x="566645" y="3474691"/>
                  <a:pt x="564301" y="3418657"/>
                </a:cubicBezTo>
                <a:cubicBezTo>
                  <a:pt x="561659" y="3418657"/>
                  <a:pt x="560338" y="3412127"/>
                  <a:pt x="560338" y="3399067"/>
                </a:cubicBezTo>
                <a:cubicBezTo>
                  <a:pt x="548655" y="3389728"/>
                  <a:pt x="542814" y="3378678"/>
                  <a:pt x="542814" y="3365916"/>
                </a:cubicBezTo>
                <a:cubicBezTo>
                  <a:pt x="542814" y="3357544"/>
                  <a:pt x="550367" y="3345824"/>
                  <a:pt x="565473" y="3330755"/>
                </a:cubicBezTo>
                <a:close/>
                <a:moveTo>
                  <a:pt x="311291" y="2544458"/>
                </a:moveTo>
                <a:lnTo>
                  <a:pt x="310195" y="2547361"/>
                </a:lnTo>
                <a:lnTo>
                  <a:pt x="294624" y="2556179"/>
                </a:lnTo>
                <a:lnTo>
                  <a:pt x="298085" y="2569127"/>
                </a:lnTo>
                <a:lnTo>
                  <a:pt x="294624" y="2583527"/>
                </a:lnTo>
                <a:lnTo>
                  <a:pt x="294624" y="2599991"/>
                </a:lnTo>
                <a:lnTo>
                  <a:pt x="298085" y="2624603"/>
                </a:lnTo>
                <a:lnTo>
                  <a:pt x="298085" y="2634426"/>
                </a:lnTo>
                <a:cubicBezTo>
                  <a:pt x="299275" y="2639225"/>
                  <a:pt x="297433" y="2641625"/>
                  <a:pt x="292559" y="2641625"/>
                </a:cubicBezTo>
                <a:lnTo>
                  <a:pt x="317116" y="2634593"/>
                </a:lnTo>
                <a:lnTo>
                  <a:pt x="315218" y="2634593"/>
                </a:lnTo>
                <a:cubicBezTo>
                  <a:pt x="315218" y="2631951"/>
                  <a:pt x="330808" y="2624957"/>
                  <a:pt x="361988" y="2613608"/>
                </a:cubicBezTo>
                <a:lnTo>
                  <a:pt x="370527" y="2613608"/>
                </a:lnTo>
                <a:lnTo>
                  <a:pt x="396758" y="2606520"/>
                </a:lnTo>
                <a:cubicBezTo>
                  <a:pt x="419714" y="2615264"/>
                  <a:pt x="431193" y="2625831"/>
                  <a:pt x="431193" y="2638221"/>
                </a:cubicBezTo>
                <a:cubicBezTo>
                  <a:pt x="431193" y="2647374"/>
                  <a:pt x="425556" y="2654462"/>
                  <a:pt x="414282" y="2659485"/>
                </a:cubicBezTo>
                <a:lnTo>
                  <a:pt x="413668" y="2655969"/>
                </a:lnTo>
                <a:cubicBezTo>
                  <a:pt x="413668" y="2659354"/>
                  <a:pt x="399864" y="2663819"/>
                  <a:pt x="372257" y="2669363"/>
                </a:cubicBezTo>
                <a:cubicBezTo>
                  <a:pt x="364890" y="2674237"/>
                  <a:pt x="350677" y="2677642"/>
                  <a:pt x="329618" y="2679576"/>
                </a:cubicBezTo>
                <a:cubicBezTo>
                  <a:pt x="329618" y="2681251"/>
                  <a:pt x="321451" y="2683706"/>
                  <a:pt x="305117" y="2686943"/>
                </a:cubicBezTo>
                <a:lnTo>
                  <a:pt x="298085" y="2689678"/>
                </a:lnTo>
                <a:lnTo>
                  <a:pt x="301601" y="2701287"/>
                </a:lnTo>
                <a:lnTo>
                  <a:pt x="294624" y="2707035"/>
                </a:lnTo>
                <a:lnTo>
                  <a:pt x="301601" y="2714123"/>
                </a:lnTo>
                <a:cubicBezTo>
                  <a:pt x="301601" y="2722569"/>
                  <a:pt x="299275" y="2725248"/>
                  <a:pt x="294624" y="2722160"/>
                </a:cubicBezTo>
                <a:cubicBezTo>
                  <a:pt x="294810" y="2722160"/>
                  <a:pt x="297136" y="2726606"/>
                  <a:pt x="301601" y="2735499"/>
                </a:cubicBezTo>
                <a:lnTo>
                  <a:pt x="301601" y="2739796"/>
                </a:lnTo>
                <a:lnTo>
                  <a:pt x="300765" y="2753851"/>
                </a:lnTo>
                <a:lnTo>
                  <a:pt x="317214" y="2747916"/>
                </a:lnTo>
                <a:cubicBezTo>
                  <a:pt x="326599" y="2745052"/>
                  <a:pt x="336836" y="2742401"/>
                  <a:pt x="347923" y="2739963"/>
                </a:cubicBezTo>
                <a:cubicBezTo>
                  <a:pt x="361132" y="2738289"/>
                  <a:pt x="367736" y="2735852"/>
                  <a:pt x="367736" y="2732652"/>
                </a:cubicBezTo>
                <a:lnTo>
                  <a:pt x="383642" y="2732652"/>
                </a:lnTo>
                <a:lnTo>
                  <a:pt x="413445" y="2722104"/>
                </a:lnTo>
                <a:cubicBezTo>
                  <a:pt x="419063" y="2724216"/>
                  <a:pt x="424084" y="2726383"/>
                  <a:pt x="428507" y="2728606"/>
                </a:cubicBezTo>
                <a:lnTo>
                  <a:pt x="439790" y="2735328"/>
                </a:lnTo>
                <a:lnTo>
                  <a:pt x="441294" y="2728187"/>
                </a:lnTo>
                <a:lnTo>
                  <a:pt x="441294" y="2715295"/>
                </a:lnTo>
                <a:lnTo>
                  <a:pt x="441294" y="2701510"/>
                </a:lnTo>
                <a:cubicBezTo>
                  <a:pt x="438950" y="2701510"/>
                  <a:pt x="437778" y="2693790"/>
                  <a:pt x="437778" y="2678349"/>
                </a:cubicBezTo>
                <a:lnTo>
                  <a:pt x="441294" y="2678181"/>
                </a:lnTo>
                <a:lnTo>
                  <a:pt x="437778" y="2677958"/>
                </a:lnTo>
                <a:lnTo>
                  <a:pt x="437778" y="2664340"/>
                </a:lnTo>
                <a:lnTo>
                  <a:pt x="441294" y="2660880"/>
                </a:lnTo>
                <a:lnTo>
                  <a:pt x="441294" y="2655745"/>
                </a:lnTo>
                <a:lnTo>
                  <a:pt x="441294" y="2641067"/>
                </a:lnTo>
                <a:lnTo>
                  <a:pt x="437778" y="2632082"/>
                </a:lnTo>
                <a:lnTo>
                  <a:pt x="441294" y="2625105"/>
                </a:lnTo>
                <a:lnTo>
                  <a:pt x="437778" y="2618073"/>
                </a:lnTo>
                <a:lnTo>
                  <a:pt x="441294" y="2609088"/>
                </a:lnTo>
                <a:lnTo>
                  <a:pt x="441294" y="2601386"/>
                </a:lnTo>
                <a:lnTo>
                  <a:pt x="444755" y="2598819"/>
                </a:lnTo>
                <a:lnTo>
                  <a:pt x="441294" y="2591228"/>
                </a:lnTo>
                <a:lnTo>
                  <a:pt x="441294" y="2568179"/>
                </a:lnTo>
                <a:lnTo>
                  <a:pt x="441294" y="2553485"/>
                </a:lnTo>
                <a:lnTo>
                  <a:pt x="440067" y="2554393"/>
                </a:lnTo>
                <a:lnTo>
                  <a:pt x="430132" y="2550877"/>
                </a:lnTo>
                <a:lnTo>
                  <a:pt x="354565" y="2578894"/>
                </a:lnTo>
                <a:lnTo>
                  <a:pt x="324706" y="2550877"/>
                </a:lnTo>
                <a:cubicBezTo>
                  <a:pt x="320520" y="2550877"/>
                  <a:pt x="316758" y="2549640"/>
                  <a:pt x="313419" y="2547166"/>
                </a:cubicBezTo>
                <a:close/>
                <a:moveTo>
                  <a:pt x="568989" y="2259881"/>
                </a:moveTo>
                <a:lnTo>
                  <a:pt x="580932" y="2259881"/>
                </a:lnTo>
                <a:cubicBezTo>
                  <a:pt x="601954" y="2269220"/>
                  <a:pt x="614400" y="2273889"/>
                  <a:pt x="618270" y="2273889"/>
                </a:cubicBezTo>
                <a:cubicBezTo>
                  <a:pt x="656965" y="2284940"/>
                  <a:pt x="676313" y="2297832"/>
                  <a:pt x="676313" y="2312566"/>
                </a:cubicBezTo>
                <a:lnTo>
                  <a:pt x="676313" y="2322780"/>
                </a:lnTo>
                <a:cubicBezTo>
                  <a:pt x="663662" y="2341792"/>
                  <a:pt x="653095" y="2351299"/>
                  <a:pt x="644612" y="2351299"/>
                </a:cubicBezTo>
                <a:lnTo>
                  <a:pt x="634120" y="2351299"/>
                </a:lnTo>
                <a:cubicBezTo>
                  <a:pt x="627534" y="2351299"/>
                  <a:pt x="620502" y="2348955"/>
                  <a:pt x="613023" y="2344267"/>
                </a:cubicBezTo>
                <a:lnTo>
                  <a:pt x="603870" y="2347783"/>
                </a:lnTo>
                <a:lnTo>
                  <a:pt x="597899" y="2344267"/>
                </a:lnTo>
                <a:lnTo>
                  <a:pt x="579705" y="2344267"/>
                </a:lnTo>
                <a:lnTo>
                  <a:pt x="560282" y="2340751"/>
                </a:lnTo>
                <a:lnTo>
                  <a:pt x="544153" y="2344267"/>
                </a:lnTo>
                <a:lnTo>
                  <a:pt x="533214" y="2344267"/>
                </a:lnTo>
                <a:lnTo>
                  <a:pt x="528973" y="2340751"/>
                </a:lnTo>
                <a:lnTo>
                  <a:pt x="523727" y="2344267"/>
                </a:lnTo>
                <a:lnTo>
                  <a:pt x="497551" y="2340751"/>
                </a:lnTo>
                <a:lnTo>
                  <a:pt x="481031" y="2344211"/>
                </a:lnTo>
                <a:lnTo>
                  <a:pt x="465795" y="2344267"/>
                </a:lnTo>
                <a:lnTo>
                  <a:pt x="465795" y="2340751"/>
                </a:lnTo>
                <a:cubicBezTo>
                  <a:pt x="455824" y="2345364"/>
                  <a:pt x="438839" y="2348880"/>
                  <a:pt x="414840" y="2351299"/>
                </a:cubicBezTo>
                <a:lnTo>
                  <a:pt x="420700" y="2347783"/>
                </a:lnTo>
                <a:cubicBezTo>
                  <a:pt x="420700" y="2349345"/>
                  <a:pt x="408868" y="2351578"/>
                  <a:pt x="385205" y="2354480"/>
                </a:cubicBezTo>
                <a:cubicBezTo>
                  <a:pt x="378991" y="2357605"/>
                  <a:pt x="375643" y="2359633"/>
                  <a:pt x="375159" y="2360563"/>
                </a:cubicBezTo>
                <a:cubicBezTo>
                  <a:pt x="375159" y="2362759"/>
                  <a:pt x="378247" y="2367726"/>
                  <a:pt x="384423" y="2375465"/>
                </a:cubicBezTo>
                <a:lnTo>
                  <a:pt x="388944" y="2375465"/>
                </a:lnTo>
                <a:cubicBezTo>
                  <a:pt x="405204" y="2375465"/>
                  <a:pt x="420365" y="2386683"/>
                  <a:pt x="434430" y="2409119"/>
                </a:cubicBezTo>
                <a:lnTo>
                  <a:pt x="438169" y="2425359"/>
                </a:lnTo>
                <a:cubicBezTo>
                  <a:pt x="434299" y="2437563"/>
                  <a:pt x="425091" y="2446084"/>
                  <a:pt x="410543" y="2450921"/>
                </a:cubicBezTo>
                <a:cubicBezTo>
                  <a:pt x="408645" y="2454641"/>
                  <a:pt x="400348" y="2461767"/>
                  <a:pt x="385651" y="2472296"/>
                </a:cubicBezTo>
                <a:cubicBezTo>
                  <a:pt x="385651" y="2479068"/>
                  <a:pt x="379810" y="2483626"/>
                  <a:pt x="368127" y="2485970"/>
                </a:cubicBezTo>
                <a:cubicBezTo>
                  <a:pt x="368127" y="2485858"/>
                  <a:pt x="361671" y="2490974"/>
                  <a:pt x="348761" y="2501318"/>
                </a:cubicBezTo>
                <a:cubicBezTo>
                  <a:pt x="346751" y="2506666"/>
                  <a:pt x="344571" y="2511346"/>
                  <a:pt x="342220" y="2515357"/>
                </a:cubicBezTo>
                <a:lnTo>
                  <a:pt x="341515" y="2516292"/>
                </a:lnTo>
                <a:lnTo>
                  <a:pt x="343989" y="2514642"/>
                </a:lnTo>
                <a:cubicBezTo>
                  <a:pt x="348044" y="2512903"/>
                  <a:pt x="353690" y="2512033"/>
                  <a:pt x="360927" y="2512033"/>
                </a:cubicBezTo>
                <a:lnTo>
                  <a:pt x="365839" y="2512033"/>
                </a:lnTo>
                <a:cubicBezTo>
                  <a:pt x="368183" y="2509689"/>
                  <a:pt x="371141" y="2508517"/>
                  <a:pt x="374712" y="2508517"/>
                </a:cubicBezTo>
                <a:cubicBezTo>
                  <a:pt x="374712" y="2508071"/>
                  <a:pt x="383475" y="2504945"/>
                  <a:pt x="400999" y="2499141"/>
                </a:cubicBezTo>
                <a:lnTo>
                  <a:pt x="415956" y="2490937"/>
                </a:lnTo>
                <a:lnTo>
                  <a:pt x="419919" y="2494453"/>
                </a:lnTo>
                <a:cubicBezTo>
                  <a:pt x="426188" y="2492146"/>
                  <a:pt x="431393" y="2490416"/>
                  <a:pt x="435532" y="2489263"/>
                </a:cubicBezTo>
                <a:lnTo>
                  <a:pt x="442107" y="2488029"/>
                </a:lnTo>
                <a:lnTo>
                  <a:pt x="452223" y="2477542"/>
                </a:lnTo>
                <a:cubicBezTo>
                  <a:pt x="462778" y="2467831"/>
                  <a:pt x="472213" y="2462976"/>
                  <a:pt x="480529" y="2462976"/>
                </a:cubicBezTo>
                <a:cubicBezTo>
                  <a:pt x="495858" y="2473208"/>
                  <a:pt x="507355" y="2479589"/>
                  <a:pt x="515020" y="2482119"/>
                </a:cubicBezTo>
                <a:cubicBezTo>
                  <a:pt x="517066" y="2484202"/>
                  <a:pt x="528805" y="2487923"/>
                  <a:pt x="550237" y="2493281"/>
                </a:cubicBezTo>
                <a:cubicBezTo>
                  <a:pt x="550237" y="2495625"/>
                  <a:pt x="554906" y="2497969"/>
                  <a:pt x="564245" y="2500313"/>
                </a:cubicBezTo>
                <a:lnTo>
                  <a:pt x="564245" y="2508964"/>
                </a:lnTo>
                <a:lnTo>
                  <a:pt x="550237" y="2610595"/>
                </a:lnTo>
                <a:lnTo>
                  <a:pt x="550237" y="2671093"/>
                </a:lnTo>
                <a:lnTo>
                  <a:pt x="546776" y="2682702"/>
                </a:lnTo>
                <a:lnTo>
                  <a:pt x="550237" y="2685883"/>
                </a:lnTo>
                <a:cubicBezTo>
                  <a:pt x="545586" y="2712709"/>
                  <a:pt x="543260" y="2743833"/>
                  <a:pt x="543260" y="2779254"/>
                </a:cubicBezTo>
                <a:lnTo>
                  <a:pt x="539744" y="2781598"/>
                </a:lnTo>
                <a:lnTo>
                  <a:pt x="543260" y="2789356"/>
                </a:lnTo>
                <a:lnTo>
                  <a:pt x="532266" y="2834227"/>
                </a:lnTo>
                <a:cubicBezTo>
                  <a:pt x="521773" y="2857854"/>
                  <a:pt x="504621" y="2877611"/>
                  <a:pt x="480808" y="2893498"/>
                </a:cubicBezTo>
                <a:lnTo>
                  <a:pt x="460103" y="2897628"/>
                </a:lnTo>
                <a:cubicBezTo>
                  <a:pt x="447564" y="2897628"/>
                  <a:pt x="441294" y="2889164"/>
                  <a:pt x="441294" y="2872234"/>
                </a:cubicBezTo>
                <a:lnTo>
                  <a:pt x="437778" y="2865258"/>
                </a:lnTo>
                <a:lnTo>
                  <a:pt x="437778" y="2844887"/>
                </a:lnTo>
                <a:cubicBezTo>
                  <a:pt x="437778" y="2844999"/>
                  <a:pt x="436606" y="2845055"/>
                  <a:pt x="434262" y="2845055"/>
                </a:cubicBezTo>
                <a:lnTo>
                  <a:pt x="437778" y="2823177"/>
                </a:lnTo>
                <a:lnTo>
                  <a:pt x="437778" y="2821559"/>
                </a:lnTo>
                <a:cubicBezTo>
                  <a:pt x="433462" y="2817242"/>
                  <a:pt x="430449" y="2809913"/>
                  <a:pt x="428737" y="2799569"/>
                </a:cubicBezTo>
                <a:cubicBezTo>
                  <a:pt x="425426" y="2799569"/>
                  <a:pt x="423770" y="2793653"/>
                  <a:pt x="423770" y="2781821"/>
                </a:cubicBezTo>
                <a:lnTo>
                  <a:pt x="423770" y="2778756"/>
                </a:lnTo>
                <a:lnTo>
                  <a:pt x="417673" y="2780873"/>
                </a:lnTo>
                <a:cubicBezTo>
                  <a:pt x="411133" y="2782566"/>
                  <a:pt x="402022" y="2783998"/>
                  <a:pt x="390339" y="2785170"/>
                </a:cubicBezTo>
                <a:cubicBezTo>
                  <a:pt x="388107" y="2787402"/>
                  <a:pt x="380703" y="2789412"/>
                  <a:pt x="368127" y="2791198"/>
                </a:cubicBezTo>
                <a:cubicBezTo>
                  <a:pt x="368127" y="2793728"/>
                  <a:pt x="355625" y="2796388"/>
                  <a:pt x="330622" y="2799178"/>
                </a:cubicBezTo>
                <a:cubicBezTo>
                  <a:pt x="328018" y="2801746"/>
                  <a:pt x="322511" y="2803029"/>
                  <a:pt x="314102" y="2803029"/>
                </a:cubicBezTo>
                <a:cubicBezTo>
                  <a:pt x="308112" y="2805448"/>
                  <a:pt x="305117" y="2808796"/>
                  <a:pt x="305117" y="2813075"/>
                </a:cubicBezTo>
                <a:cubicBezTo>
                  <a:pt x="294103" y="2829632"/>
                  <a:pt x="281230" y="2843808"/>
                  <a:pt x="266496" y="2855603"/>
                </a:cubicBezTo>
                <a:lnTo>
                  <a:pt x="252376" y="2855603"/>
                </a:lnTo>
                <a:cubicBezTo>
                  <a:pt x="246711" y="2855603"/>
                  <a:pt x="241967" y="2851637"/>
                  <a:pt x="238144" y="2843705"/>
                </a:cubicBezTo>
                <a:lnTo>
                  <a:pt x="235436" y="2836577"/>
                </a:lnTo>
                <a:lnTo>
                  <a:pt x="235092" y="2836387"/>
                </a:lnTo>
                <a:cubicBezTo>
                  <a:pt x="232476" y="2833003"/>
                  <a:pt x="231168" y="2824544"/>
                  <a:pt x="231168" y="2811010"/>
                </a:cubicBezTo>
                <a:cubicBezTo>
                  <a:pt x="224136" y="2804015"/>
                  <a:pt x="220620" y="2796388"/>
                  <a:pt x="220620" y="2788128"/>
                </a:cubicBezTo>
                <a:lnTo>
                  <a:pt x="227707" y="2756595"/>
                </a:lnTo>
                <a:cubicBezTo>
                  <a:pt x="227670" y="2757860"/>
                  <a:pt x="226480" y="2757321"/>
                  <a:pt x="224136" y="2754977"/>
                </a:cubicBezTo>
                <a:lnTo>
                  <a:pt x="224136" y="2745824"/>
                </a:lnTo>
                <a:lnTo>
                  <a:pt x="227652" y="2732987"/>
                </a:lnTo>
                <a:cubicBezTo>
                  <a:pt x="225308" y="2732987"/>
                  <a:pt x="224136" y="2725546"/>
                  <a:pt x="224136" y="2710663"/>
                </a:cubicBezTo>
                <a:lnTo>
                  <a:pt x="227652" y="2704747"/>
                </a:lnTo>
                <a:lnTo>
                  <a:pt x="220620" y="2678795"/>
                </a:lnTo>
                <a:lnTo>
                  <a:pt x="220620" y="2662777"/>
                </a:lnTo>
                <a:lnTo>
                  <a:pt x="220620" y="2655076"/>
                </a:lnTo>
                <a:cubicBezTo>
                  <a:pt x="218313" y="2650425"/>
                  <a:pt x="217159" y="2643653"/>
                  <a:pt x="217159" y="2634761"/>
                </a:cubicBezTo>
                <a:lnTo>
                  <a:pt x="217159" y="2634928"/>
                </a:lnTo>
                <a:cubicBezTo>
                  <a:pt x="214815" y="2634928"/>
                  <a:pt x="213643" y="2621254"/>
                  <a:pt x="213643" y="2593907"/>
                </a:cubicBezTo>
                <a:lnTo>
                  <a:pt x="206611" y="2586875"/>
                </a:lnTo>
                <a:lnTo>
                  <a:pt x="206611" y="2575211"/>
                </a:lnTo>
                <a:cubicBezTo>
                  <a:pt x="206611" y="2571750"/>
                  <a:pt x="204286" y="2561816"/>
                  <a:pt x="199635" y="2545408"/>
                </a:cubicBezTo>
                <a:cubicBezTo>
                  <a:pt x="199635" y="2542729"/>
                  <a:pt x="196137" y="2537855"/>
                  <a:pt x="189142" y="2530786"/>
                </a:cubicBezTo>
                <a:lnTo>
                  <a:pt x="189142" y="2520684"/>
                </a:lnTo>
                <a:cubicBezTo>
                  <a:pt x="197216" y="2512573"/>
                  <a:pt x="204286" y="2508517"/>
                  <a:pt x="210350" y="2508517"/>
                </a:cubicBezTo>
                <a:cubicBezTo>
                  <a:pt x="217680" y="2508517"/>
                  <a:pt x="225549" y="2511326"/>
                  <a:pt x="233958" y="2516945"/>
                </a:cubicBezTo>
                <a:lnTo>
                  <a:pt x="255669" y="2525986"/>
                </a:lnTo>
                <a:cubicBezTo>
                  <a:pt x="255669" y="2525056"/>
                  <a:pt x="261510" y="2516424"/>
                  <a:pt x="273193" y="2500090"/>
                </a:cubicBezTo>
                <a:cubicBezTo>
                  <a:pt x="273193" y="2495550"/>
                  <a:pt x="275518" y="2489783"/>
                  <a:pt x="280169" y="2482788"/>
                </a:cubicBezTo>
                <a:cubicBezTo>
                  <a:pt x="280169" y="2475645"/>
                  <a:pt x="283667" y="2467403"/>
                  <a:pt x="290662" y="2458064"/>
                </a:cubicBezTo>
                <a:cubicBezTo>
                  <a:pt x="290662" y="2451367"/>
                  <a:pt x="293006" y="2443349"/>
                  <a:pt x="297694" y="2434010"/>
                </a:cubicBezTo>
                <a:lnTo>
                  <a:pt x="301210" y="2413528"/>
                </a:lnTo>
                <a:lnTo>
                  <a:pt x="301210" y="2410625"/>
                </a:lnTo>
                <a:lnTo>
                  <a:pt x="301210" y="2392041"/>
                </a:lnTo>
                <a:lnTo>
                  <a:pt x="304670" y="2396784"/>
                </a:lnTo>
                <a:cubicBezTo>
                  <a:pt x="304596" y="2396784"/>
                  <a:pt x="301098" y="2387334"/>
                  <a:pt x="294178" y="2368433"/>
                </a:cubicBezTo>
                <a:lnTo>
                  <a:pt x="294818" y="2367493"/>
                </a:lnTo>
                <a:lnTo>
                  <a:pt x="287592" y="2369661"/>
                </a:lnTo>
                <a:cubicBezTo>
                  <a:pt x="287592" y="2373753"/>
                  <a:pt x="280393" y="2375800"/>
                  <a:pt x="265993" y="2375800"/>
                </a:cubicBezTo>
                <a:cubicBezTo>
                  <a:pt x="264245" y="2379334"/>
                  <a:pt x="249976" y="2385120"/>
                  <a:pt x="223187" y="2393157"/>
                </a:cubicBezTo>
                <a:lnTo>
                  <a:pt x="179487" y="2409956"/>
                </a:lnTo>
                <a:lnTo>
                  <a:pt x="154149" y="2420839"/>
                </a:lnTo>
                <a:lnTo>
                  <a:pt x="140252" y="2424801"/>
                </a:lnTo>
                <a:cubicBezTo>
                  <a:pt x="128420" y="2421304"/>
                  <a:pt x="118170" y="2411965"/>
                  <a:pt x="109501" y="2396784"/>
                </a:cubicBezTo>
                <a:cubicBezTo>
                  <a:pt x="102729" y="2396784"/>
                  <a:pt x="96497" y="2392524"/>
                  <a:pt x="90804" y="2384004"/>
                </a:cubicBezTo>
                <a:cubicBezTo>
                  <a:pt x="86711" y="2381920"/>
                  <a:pt x="79791" y="2376004"/>
                  <a:pt x="70043" y="2366256"/>
                </a:cubicBezTo>
                <a:lnTo>
                  <a:pt x="70043" y="2358052"/>
                </a:lnTo>
                <a:cubicBezTo>
                  <a:pt x="70043" y="2352285"/>
                  <a:pt x="79084" y="2347578"/>
                  <a:pt x="97167" y="2343932"/>
                </a:cubicBezTo>
                <a:lnTo>
                  <a:pt x="111231" y="2343932"/>
                </a:lnTo>
                <a:lnTo>
                  <a:pt x="146168" y="2336900"/>
                </a:lnTo>
                <a:lnTo>
                  <a:pt x="151024" y="2336900"/>
                </a:lnTo>
                <a:cubicBezTo>
                  <a:pt x="155154" y="2334891"/>
                  <a:pt x="178576" y="2331505"/>
                  <a:pt x="221289" y="2326742"/>
                </a:cubicBezTo>
                <a:cubicBezTo>
                  <a:pt x="228917" y="2324807"/>
                  <a:pt x="237753" y="2320008"/>
                  <a:pt x="247799" y="2312343"/>
                </a:cubicBezTo>
                <a:lnTo>
                  <a:pt x="258068" y="2315859"/>
                </a:lnTo>
                <a:cubicBezTo>
                  <a:pt x="286309" y="2313552"/>
                  <a:pt x="311870" y="2310111"/>
                  <a:pt x="334752" y="2305534"/>
                </a:cubicBezTo>
                <a:lnTo>
                  <a:pt x="379289" y="2298669"/>
                </a:lnTo>
                <a:lnTo>
                  <a:pt x="412775" y="2294930"/>
                </a:lnTo>
                <a:lnTo>
                  <a:pt x="419640" y="2294874"/>
                </a:lnTo>
                <a:cubicBezTo>
                  <a:pt x="456959" y="2287879"/>
                  <a:pt x="487580" y="2284382"/>
                  <a:pt x="511504" y="2284382"/>
                </a:cubicBezTo>
                <a:lnTo>
                  <a:pt x="518536" y="2284382"/>
                </a:lnTo>
                <a:cubicBezTo>
                  <a:pt x="520992" y="2284382"/>
                  <a:pt x="526536" y="2282242"/>
                  <a:pt x="535168" y="2277964"/>
                </a:cubicBezTo>
                <a:cubicBezTo>
                  <a:pt x="547781" y="2275843"/>
                  <a:pt x="559055" y="2269815"/>
                  <a:pt x="568989" y="2259881"/>
                </a:cubicBezTo>
                <a:close/>
                <a:moveTo>
                  <a:pt x="85223" y="1605688"/>
                </a:moveTo>
                <a:cubicBezTo>
                  <a:pt x="107138" y="1614618"/>
                  <a:pt x="123230" y="1634487"/>
                  <a:pt x="133499" y="1665294"/>
                </a:cubicBezTo>
                <a:lnTo>
                  <a:pt x="133499" y="1679972"/>
                </a:lnTo>
                <a:cubicBezTo>
                  <a:pt x="127955" y="1707878"/>
                  <a:pt x="122039" y="1723411"/>
                  <a:pt x="115751" y="1726574"/>
                </a:cubicBezTo>
                <a:cubicBezTo>
                  <a:pt x="108794" y="1735876"/>
                  <a:pt x="94525" y="1745922"/>
                  <a:pt x="72945" y="1756712"/>
                </a:cubicBezTo>
                <a:cubicBezTo>
                  <a:pt x="58025" y="1756712"/>
                  <a:pt x="48890" y="1746443"/>
                  <a:pt x="45542" y="1725904"/>
                </a:cubicBezTo>
                <a:lnTo>
                  <a:pt x="45542" y="1719486"/>
                </a:lnTo>
                <a:lnTo>
                  <a:pt x="52518" y="1714073"/>
                </a:lnTo>
                <a:lnTo>
                  <a:pt x="49058" y="1710333"/>
                </a:lnTo>
                <a:cubicBezTo>
                  <a:pt x="49058" y="1698018"/>
                  <a:pt x="55123" y="1684549"/>
                  <a:pt x="67252" y="1669926"/>
                </a:cubicBezTo>
                <a:lnTo>
                  <a:pt x="77075" y="1649053"/>
                </a:lnTo>
                <a:lnTo>
                  <a:pt x="73559" y="1640570"/>
                </a:lnTo>
                <a:cubicBezTo>
                  <a:pt x="75903" y="1637221"/>
                  <a:pt x="77075" y="1631157"/>
                  <a:pt x="77075" y="1622376"/>
                </a:cubicBezTo>
                <a:close/>
                <a:moveTo>
                  <a:pt x="353728" y="1522857"/>
                </a:moveTo>
                <a:lnTo>
                  <a:pt x="353728" y="1525545"/>
                </a:lnTo>
                <a:lnTo>
                  <a:pt x="356462" y="1525545"/>
                </a:lnTo>
                <a:close/>
                <a:moveTo>
                  <a:pt x="234628" y="1450599"/>
                </a:moveTo>
                <a:lnTo>
                  <a:pt x="232696" y="1451979"/>
                </a:lnTo>
                <a:cubicBezTo>
                  <a:pt x="227603" y="1456598"/>
                  <a:pt x="221736" y="1464711"/>
                  <a:pt x="215094" y="1476320"/>
                </a:cubicBezTo>
                <a:lnTo>
                  <a:pt x="197666" y="1490280"/>
                </a:lnTo>
                <a:lnTo>
                  <a:pt x="209723" y="1487733"/>
                </a:lnTo>
                <a:cubicBezTo>
                  <a:pt x="215155" y="1486710"/>
                  <a:pt x="221131" y="1485696"/>
                  <a:pt x="227652" y="1484691"/>
                </a:cubicBezTo>
                <a:cubicBezTo>
                  <a:pt x="227652" y="1481343"/>
                  <a:pt x="233847" y="1479668"/>
                  <a:pt x="246237" y="1479668"/>
                </a:cubicBezTo>
                <a:lnTo>
                  <a:pt x="252152" y="1479612"/>
                </a:lnTo>
                <a:cubicBezTo>
                  <a:pt x="245158" y="1479984"/>
                  <a:pt x="241660" y="1475315"/>
                  <a:pt x="241660" y="1465604"/>
                </a:cubicBezTo>
                <a:lnTo>
                  <a:pt x="234628" y="1462144"/>
                </a:lnTo>
                <a:close/>
                <a:moveTo>
                  <a:pt x="465795" y="1423900"/>
                </a:moveTo>
                <a:lnTo>
                  <a:pt x="437834" y="1434071"/>
                </a:lnTo>
                <a:cubicBezTo>
                  <a:pt x="421724" y="1437643"/>
                  <a:pt x="413668" y="1443559"/>
                  <a:pt x="413668" y="1451819"/>
                </a:cubicBezTo>
                <a:lnTo>
                  <a:pt x="413668" y="1462088"/>
                </a:lnTo>
                <a:lnTo>
                  <a:pt x="417184" y="1476096"/>
                </a:lnTo>
                <a:lnTo>
                  <a:pt x="413668" y="1480673"/>
                </a:lnTo>
                <a:cubicBezTo>
                  <a:pt x="415901" y="1509694"/>
                  <a:pt x="418245" y="1527833"/>
                  <a:pt x="420700" y="1535088"/>
                </a:cubicBezTo>
                <a:lnTo>
                  <a:pt x="418132" y="1538961"/>
                </a:lnTo>
                <a:lnTo>
                  <a:pt x="422416" y="1545371"/>
                </a:lnTo>
                <a:lnTo>
                  <a:pt x="422482" y="1545732"/>
                </a:lnTo>
                <a:lnTo>
                  <a:pt x="426435" y="1540892"/>
                </a:lnTo>
                <a:cubicBezTo>
                  <a:pt x="430239" y="1535032"/>
                  <a:pt x="433462" y="1527479"/>
                  <a:pt x="436104" y="1518233"/>
                </a:cubicBezTo>
                <a:cubicBezTo>
                  <a:pt x="437890" y="1518233"/>
                  <a:pt x="439620" y="1513359"/>
                  <a:pt x="441294" y="1503611"/>
                </a:cubicBezTo>
                <a:cubicBezTo>
                  <a:pt x="448513" y="1479426"/>
                  <a:pt x="459005" y="1458144"/>
                  <a:pt x="472772" y="1439764"/>
                </a:cubicBezTo>
                <a:cubicBezTo>
                  <a:pt x="472772" y="1435969"/>
                  <a:pt x="470446" y="1432899"/>
                  <a:pt x="465795" y="1430555"/>
                </a:cubicBezTo>
                <a:close/>
                <a:moveTo>
                  <a:pt x="453070" y="1203015"/>
                </a:moveTo>
                <a:lnTo>
                  <a:pt x="467916" y="1203015"/>
                </a:lnTo>
                <a:cubicBezTo>
                  <a:pt x="479599" y="1214698"/>
                  <a:pt x="490631" y="1220540"/>
                  <a:pt x="501012" y="1220540"/>
                </a:cubicBezTo>
                <a:cubicBezTo>
                  <a:pt x="517494" y="1230400"/>
                  <a:pt x="525736" y="1240278"/>
                  <a:pt x="525736" y="1250175"/>
                </a:cubicBezTo>
                <a:lnTo>
                  <a:pt x="522108" y="1260947"/>
                </a:lnTo>
                <a:lnTo>
                  <a:pt x="525309" y="1352556"/>
                </a:lnTo>
                <a:lnTo>
                  <a:pt x="546330" y="1348234"/>
                </a:lnTo>
                <a:cubicBezTo>
                  <a:pt x="546330" y="1345890"/>
                  <a:pt x="553343" y="1343546"/>
                  <a:pt x="567370" y="1341202"/>
                </a:cubicBezTo>
                <a:cubicBezTo>
                  <a:pt x="567370" y="1337816"/>
                  <a:pt x="570868" y="1336124"/>
                  <a:pt x="577863" y="1336124"/>
                </a:cubicBezTo>
                <a:cubicBezTo>
                  <a:pt x="577863" y="1331435"/>
                  <a:pt x="582365" y="1329091"/>
                  <a:pt x="591369" y="1329091"/>
                </a:cubicBezTo>
                <a:lnTo>
                  <a:pt x="601973" y="1322115"/>
                </a:lnTo>
                <a:lnTo>
                  <a:pt x="609563" y="1322115"/>
                </a:lnTo>
                <a:cubicBezTo>
                  <a:pt x="624186" y="1322115"/>
                  <a:pt x="641468" y="1329594"/>
                  <a:pt x="661411" y="1344551"/>
                </a:cubicBezTo>
                <a:cubicBezTo>
                  <a:pt x="683996" y="1352067"/>
                  <a:pt x="698302" y="1361871"/>
                  <a:pt x="704329" y="1373963"/>
                </a:cubicBezTo>
                <a:lnTo>
                  <a:pt x="704329" y="1379265"/>
                </a:lnTo>
                <a:cubicBezTo>
                  <a:pt x="690340" y="1430648"/>
                  <a:pt x="683345" y="1486421"/>
                  <a:pt x="683345" y="1546585"/>
                </a:cubicBezTo>
                <a:cubicBezTo>
                  <a:pt x="681001" y="1546585"/>
                  <a:pt x="679829" y="1577318"/>
                  <a:pt x="679829" y="1638784"/>
                </a:cubicBezTo>
                <a:cubicBezTo>
                  <a:pt x="670006" y="1678038"/>
                  <a:pt x="658900" y="1707561"/>
                  <a:pt x="646510" y="1727355"/>
                </a:cubicBezTo>
                <a:cubicBezTo>
                  <a:pt x="641412" y="1735057"/>
                  <a:pt x="629599" y="1749512"/>
                  <a:pt x="611070" y="1770720"/>
                </a:cubicBezTo>
                <a:cubicBezTo>
                  <a:pt x="601024" y="1770720"/>
                  <a:pt x="588988" y="1776562"/>
                  <a:pt x="574961" y="1788245"/>
                </a:cubicBezTo>
                <a:lnTo>
                  <a:pt x="557324" y="1788245"/>
                </a:lnTo>
                <a:lnTo>
                  <a:pt x="549846" y="1772395"/>
                </a:lnTo>
                <a:lnTo>
                  <a:pt x="553362" y="1760228"/>
                </a:lnTo>
                <a:lnTo>
                  <a:pt x="549846" y="1760228"/>
                </a:lnTo>
                <a:lnTo>
                  <a:pt x="553316" y="1738578"/>
                </a:lnTo>
                <a:lnTo>
                  <a:pt x="545451" y="1720170"/>
                </a:lnTo>
                <a:cubicBezTo>
                  <a:pt x="543693" y="1713687"/>
                  <a:pt x="542814" y="1706892"/>
                  <a:pt x="542814" y="1699785"/>
                </a:cubicBezTo>
                <a:lnTo>
                  <a:pt x="539186" y="1692474"/>
                </a:lnTo>
                <a:cubicBezTo>
                  <a:pt x="528991" y="1690465"/>
                  <a:pt x="515039" y="1676717"/>
                  <a:pt x="497328" y="1651230"/>
                </a:cubicBezTo>
                <a:lnTo>
                  <a:pt x="564366" y="1660925"/>
                </a:lnTo>
                <a:lnTo>
                  <a:pt x="570831" y="1652960"/>
                </a:lnTo>
                <a:lnTo>
                  <a:pt x="570831" y="1636719"/>
                </a:lnTo>
                <a:lnTo>
                  <a:pt x="574347" y="1626227"/>
                </a:lnTo>
                <a:lnTo>
                  <a:pt x="574347" y="1614897"/>
                </a:lnTo>
                <a:lnTo>
                  <a:pt x="570831" y="1603010"/>
                </a:lnTo>
                <a:lnTo>
                  <a:pt x="574646" y="1580524"/>
                </a:lnTo>
                <a:lnTo>
                  <a:pt x="574793" y="1580406"/>
                </a:lnTo>
                <a:lnTo>
                  <a:pt x="574724" y="1580062"/>
                </a:lnTo>
                <a:lnTo>
                  <a:pt x="581379" y="1540837"/>
                </a:lnTo>
                <a:lnTo>
                  <a:pt x="588355" y="1536037"/>
                </a:lnTo>
                <a:lnTo>
                  <a:pt x="581379" y="1528391"/>
                </a:lnTo>
                <a:lnTo>
                  <a:pt x="584839" y="1488151"/>
                </a:lnTo>
                <a:lnTo>
                  <a:pt x="581379" y="1472748"/>
                </a:lnTo>
                <a:lnTo>
                  <a:pt x="584839" y="1465716"/>
                </a:lnTo>
                <a:lnTo>
                  <a:pt x="581379" y="1451819"/>
                </a:lnTo>
                <a:lnTo>
                  <a:pt x="584839" y="1443670"/>
                </a:lnTo>
                <a:lnTo>
                  <a:pt x="584839" y="1423802"/>
                </a:lnTo>
                <a:lnTo>
                  <a:pt x="584839" y="1408789"/>
                </a:lnTo>
                <a:lnTo>
                  <a:pt x="588355" y="1396008"/>
                </a:lnTo>
                <a:lnTo>
                  <a:pt x="581546" y="1396008"/>
                </a:lnTo>
                <a:cubicBezTo>
                  <a:pt x="568784" y="1396008"/>
                  <a:pt x="551892" y="1399506"/>
                  <a:pt x="530870" y="1406501"/>
                </a:cubicBezTo>
                <a:cubicBezTo>
                  <a:pt x="530089" y="1406501"/>
                  <a:pt x="529549" y="1406482"/>
                  <a:pt x="529252" y="1406445"/>
                </a:cubicBezTo>
                <a:cubicBezTo>
                  <a:pt x="533903" y="1415151"/>
                  <a:pt x="536228" y="1424434"/>
                  <a:pt x="536228" y="1434294"/>
                </a:cubicBezTo>
                <a:lnTo>
                  <a:pt x="536228" y="1437587"/>
                </a:lnTo>
                <a:cubicBezTo>
                  <a:pt x="538572" y="1444619"/>
                  <a:pt x="539744" y="1450479"/>
                  <a:pt x="539744" y="1455167"/>
                </a:cubicBezTo>
                <a:cubicBezTo>
                  <a:pt x="540563" y="1455167"/>
                  <a:pt x="542907" y="1461511"/>
                  <a:pt x="546776" y="1474199"/>
                </a:cubicBezTo>
                <a:lnTo>
                  <a:pt x="543260" y="1480673"/>
                </a:lnTo>
                <a:lnTo>
                  <a:pt x="546776" y="1486031"/>
                </a:lnTo>
                <a:lnTo>
                  <a:pt x="546776" y="1489603"/>
                </a:lnTo>
                <a:lnTo>
                  <a:pt x="550237" y="1498253"/>
                </a:lnTo>
                <a:lnTo>
                  <a:pt x="546776" y="1505174"/>
                </a:lnTo>
                <a:cubicBezTo>
                  <a:pt x="551650" y="1513880"/>
                  <a:pt x="552748" y="1521210"/>
                  <a:pt x="550069" y="1527163"/>
                </a:cubicBezTo>
                <a:lnTo>
                  <a:pt x="557269" y="1536093"/>
                </a:lnTo>
                <a:lnTo>
                  <a:pt x="557269" y="1528056"/>
                </a:lnTo>
                <a:cubicBezTo>
                  <a:pt x="563110" y="1539739"/>
                  <a:pt x="567491" y="1549943"/>
                  <a:pt x="570412" y="1558668"/>
                </a:cubicBezTo>
                <a:lnTo>
                  <a:pt x="574724" y="1580062"/>
                </a:lnTo>
                <a:lnTo>
                  <a:pt x="574646" y="1580524"/>
                </a:lnTo>
                <a:lnTo>
                  <a:pt x="538181" y="1609595"/>
                </a:lnTo>
                <a:cubicBezTo>
                  <a:pt x="520285" y="1606061"/>
                  <a:pt x="511337" y="1597615"/>
                  <a:pt x="511337" y="1584257"/>
                </a:cubicBezTo>
                <a:lnTo>
                  <a:pt x="504304" y="1568853"/>
                </a:lnTo>
                <a:lnTo>
                  <a:pt x="507821" y="1567570"/>
                </a:lnTo>
                <a:cubicBezTo>
                  <a:pt x="502574" y="1567570"/>
                  <a:pt x="499295" y="1564054"/>
                  <a:pt x="497984" y="1557022"/>
                </a:cubicBezTo>
                <a:lnTo>
                  <a:pt x="497601" y="1552237"/>
                </a:lnTo>
                <a:lnTo>
                  <a:pt x="496198" y="1551653"/>
                </a:lnTo>
                <a:cubicBezTo>
                  <a:pt x="492263" y="1547837"/>
                  <a:pt x="490296" y="1538297"/>
                  <a:pt x="490296" y="1523033"/>
                </a:cubicBezTo>
                <a:lnTo>
                  <a:pt x="489500" y="1522237"/>
                </a:lnTo>
                <a:lnTo>
                  <a:pt x="478911" y="1533149"/>
                </a:lnTo>
                <a:cubicBezTo>
                  <a:pt x="470520" y="1541511"/>
                  <a:pt x="460456" y="1551031"/>
                  <a:pt x="448717" y="1561710"/>
                </a:cubicBezTo>
                <a:cubicBezTo>
                  <a:pt x="448717" y="1566919"/>
                  <a:pt x="440532" y="1575272"/>
                  <a:pt x="424161" y="1586769"/>
                </a:cubicBezTo>
                <a:lnTo>
                  <a:pt x="431193" y="1663899"/>
                </a:lnTo>
                <a:lnTo>
                  <a:pt x="416794" y="1696436"/>
                </a:lnTo>
                <a:cubicBezTo>
                  <a:pt x="413668" y="1708789"/>
                  <a:pt x="402934" y="1719542"/>
                  <a:pt x="384591" y="1728695"/>
                </a:cubicBezTo>
                <a:lnTo>
                  <a:pt x="378452" y="1728695"/>
                </a:lnTo>
                <a:cubicBezTo>
                  <a:pt x="368964" y="1728695"/>
                  <a:pt x="364220" y="1722016"/>
                  <a:pt x="364220" y="1708659"/>
                </a:cubicBezTo>
                <a:lnTo>
                  <a:pt x="360704" y="1705143"/>
                </a:lnTo>
                <a:lnTo>
                  <a:pt x="360704" y="1694818"/>
                </a:lnTo>
                <a:lnTo>
                  <a:pt x="357690" y="1670596"/>
                </a:lnTo>
                <a:lnTo>
                  <a:pt x="353728" y="1665294"/>
                </a:lnTo>
                <a:lnTo>
                  <a:pt x="357244" y="1651955"/>
                </a:lnTo>
                <a:lnTo>
                  <a:pt x="353728" y="1639454"/>
                </a:lnTo>
                <a:cubicBezTo>
                  <a:pt x="353728" y="1624013"/>
                  <a:pt x="354900" y="1616292"/>
                  <a:pt x="357244" y="1616292"/>
                </a:cubicBezTo>
                <a:cubicBezTo>
                  <a:pt x="354900" y="1618302"/>
                  <a:pt x="353728" y="1613669"/>
                  <a:pt x="353728" y="1602396"/>
                </a:cubicBezTo>
                <a:lnTo>
                  <a:pt x="353728" y="1595419"/>
                </a:lnTo>
                <a:lnTo>
                  <a:pt x="353728" y="1581411"/>
                </a:lnTo>
                <a:lnTo>
                  <a:pt x="353728" y="1555403"/>
                </a:lnTo>
                <a:lnTo>
                  <a:pt x="350212" y="1544855"/>
                </a:lnTo>
                <a:lnTo>
                  <a:pt x="350212" y="1540558"/>
                </a:lnTo>
                <a:lnTo>
                  <a:pt x="346696" y="1535088"/>
                </a:lnTo>
                <a:lnTo>
                  <a:pt x="352130" y="1521286"/>
                </a:lnTo>
                <a:lnTo>
                  <a:pt x="346696" y="1515945"/>
                </a:lnTo>
                <a:lnTo>
                  <a:pt x="346696" y="1504336"/>
                </a:lnTo>
                <a:lnTo>
                  <a:pt x="346696" y="1502830"/>
                </a:lnTo>
                <a:cubicBezTo>
                  <a:pt x="342045" y="1484152"/>
                  <a:pt x="339719" y="1469474"/>
                  <a:pt x="339719" y="1458795"/>
                </a:cubicBezTo>
                <a:lnTo>
                  <a:pt x="339719" y="1451596"/>
                </a:lnTo>
                <a:cubicBezTo>
                  <a:pt x="328036" y="1432918"/>
                  <a:pt x="322195" y="1415970"/>
                  <a:pt x="322195" y="1400752"/>
                </a:cubicBezTo>
                <a:lnTo>
                  <a:pt x="334361" y="1388641"/>
                </a:lnTo>
                <a:lnTo>
                  <a:pt x="362825" y="1388641"/>
                </a:lnTo>
                <a:lnTo>
                  <a:pt x="375047" y="1399078"/>
                </a:lnTo>
                <a:lnTo>
                  <a:pt x="460326" y="1374633"/>
                </a:lnTo>
                <a:cubicBezTo>
                  <a:pt x="459284" y="1374633"/>
                  <a:pt x="458763" y="1374019"/>
                  <a:pt x="458763" y="1372791"/>
                </a:cubicBezTo>
                <a:lnTo>
                  <a:pt x="451787" y="1320329"/>
                </a:lnTo>
                <a:lnTo>
                  <a:pt x="451787" y="1313743"/>
                </a:lnTo>
                <a:cubicBezTo>
                  <a:pt x="445796" y="1279848"/>
                  <a:pt x="442745" y="1262900"/>
                  <a:pt x="442634" y="1262900"/>
                </a:cubicBezTo>
                <a:cubicBezTo>
                  <a:pt x="427230" y="1256761"/>
                  <a:pt x="417445" y="1249468"/>
                  <a:pt x="413278" y="1241022"/>
                </a:cubicBezTo>
                <a:lnTo>
                  <a:pt x="413278" y="1233655"/>
                </a:lnTo>
                <a:cubicBezTo>
                  <a:pt x="416142" y="1222084"/>
                  <a:pt x="429407" y="1211871"/>
                  <a:pt x="453070" y="1203015"/>
                </a:cubicBezTo>
                <a:close/>
                <a:moveTo>
                  <a:pt x="233847" y="1168022"/>
                </a:moveTo>
                <a:cubicBezTo>
                  <a:pt x="242814" y="1168022"/>
                  <a:pt x="260003" y="1180728"/>
                  <a:pt x="285416" y="1206141"/>
                </a:cubicBezTo>
                <a:cubicBezTo>
                  <a:pt x="307889" y="1223591"/>
                  <a:pt x="319125" y="1236111"/>
                  <a:pt x="319125" y="1243701"/>
                </a:cubicBezTo>
                <a:lnTo>
                  <a:pt x="304893" y="1276909"/>
                </a:lnTo>
                <a:cubicBezTo>
                  <a:pt x="297638" y="1276909"/>
                  <a:pt x="291685" y="1281578"/>
                  <a:pt x="287034" y="1290917"/>
                </a:cubicBezTo>
                <a:cubicBezTo>
                  <a:pt x="282904" y="1290917"/>
                  <a:pt x="272672" y="1297930"/>
                  <a:pt x="256338" y="1311958"/>
                </a:cubicBezTo>
                <a:lnTo>
                  <a:pt x="243599" y="1311958"/>
                </a:lnTo>
                <a:lnTo>
                  <a:pt x="240530" y="1317389"/>
                </a:lnTo>
                <a:cubicBezTo>
                  <a:pt x="235953" y="1323284"/>
                  <a:pt x="227233" y="1329901"/>
                  <a:pt x="214369" y="1337240"/>
                </a:cubicBezTo>
                <a:cubicBezTo>
                  <a:pt x="208527" y="1346058"/>
                  <a:pt x="202723" y="1350467"/>
                  <a:pt x="196956" y="1350467"/>
                </a:cubicBezTo>
                <a:cubicBezTo>
                  <a:pt x="194649" y="1357462"/>
                  <a:pt x="190798" y="1360959"/>
                  <a:pt x="185403" y="1360959"/>
                </a:cubicBezTo>
                <a:cubicBezTo>
                  <a:pt x="183803" y="1364159"/>
                  <a:pt x="176883" y="1368196"/>
                  <a:pt x="164642" y="1373070"/>
                </a:cubicBezTo>
                <a:lnTo>
                  <a:pt x="159257" y="1380264"/>
                </a:lnTo>
                <a:lnTo>
                  <a:pt x="182110" y="1397403"/>
                </a:lnTo>
                <a:lnTo>
                  <a:pt x="193663" y="1402594"/>
                </a:lnTo>
                <a:cubicBezTo>
                  <a:pt x="206499" y="1374614"/>
                  <a:pt x="217829" y="1360624"/>
                  <a:pt x="227652" y="1360624"/>
                </a:cubicBezTo>
                <a:lnTo>
                  <a:pt x="227652" y="1364252"/>
                </a:lnTo>
                <a:cubicBezTo>
                  <a:pt x="227652" y="1359006"/>
                  <a:pt x="229977" y="1351230"/>
                  <a:pt x="234628" y="1340923"/>
                </a:cubicBezTo>
                <a:lnTo>
                  <a:pt x="231168" y="1333110"/>
                </a:lnTo>
                <a:cubicBezTo>
                  <a:pt x="238386" y="1321092"/>
                  <a:pt x="247781" y="1315083"/>
                  <a:pt x="259352" y="1315083"/>
                </a:cubicBezTo>
                <a:lnTo>
                  <a:pt x="272244" y="1315083"/>
                </a:lnTo>
                <a:cubicBezTo>
                  <a:pt x="287202" y="1332607"/>
                  <a:pt x="302828" y="1344086"/>
                  <a:pt x="319125" y="1349518"/>
                </a:cubicBezTo>
                <a:lnTo>
                  <a:pt x="319125" y="1364252"/>
                </a:lnTo>
                <a:cubicBezTo>
                  <a:pt x="319125" y="1374261"/>
                  <a:pt x="311219" y="1387172"/>
                  <a:pt x="295406" y="1402985"/>
                </a:cubicBezTo>
                <a:cubicBezTo>
                  <a:pt x="290299" y="1402985"/>
                  <a:pt x="279228" y="1411524"/>
                  <a:pt x="262191" y="1428602"/>
                </a:cubicBezTo>
                <a:lnTo>
                  <a:pt x="251277" y="1440032"/>
                </a:lnTo>
                <a:lnTo>
                  <a:pt x="262893" y="1445106"/>
                </a:lnTo>
                <a:cubicBezTo>
                  <a:pt x="300381" y="1461897"/>
                  <a:pt x="319125" y="1473417"/>
                  <a:pt x="319125" y="1479668"/>
                </a:cubicBezTo>
                <a:cubicBezTo>
                  <a:pt x="322437" y="1479668"/>
                  <a:pt x="327106" y="1490477"/>
                  <a:pt x="333134" y="1512094"/>
                </a:cubicBezTo>
                <a:cubicBezTo>
                  <a:pt x="328743" y="1525749"/>
                  <a:pt x="325246" y="1532577"/>
                  <a:pt x="322641" y="1532577"/>
                </a:cubicBezTo>
                <a:lnTo>
                  <a:pt x="322641" y="1534865"/>
                </a:lnTo>
                <a:cubicBezTo>
                  <a:pt x="318028" y="1544129"/>
                  <a:pt x="311033" y="1549915"/>
                  <a:pt x="301656" y="1552222"/>
                </a:cubicBezTo>
                <a:lnTo>
                  <a:pt x="297471" y="1560594"/>
                </a:lnTo>
                <a:cubicBezTo>
                  <a:pt x="272877" y="1560594"/>
                  <a:pt x="258515" y="1545413"/>
                  <a:pt x="254385" y="1515052"/>
                </a:cubicBezTo>
                <a:cubicBezTo>
                  <a:pt x="245567" y="1523200"/>
                  <a:pt x="237065" y="1531367"/>
                  <a:pt x="228879" y="1539553"/>
                </a:cubicBezTo>
                <a:cubicBezTo>
                  <a:pt x="225605" y="1539553"/>
                  <a:pt x="222815" y="1541897"/>
                  <a:pt x="220508" y="1546585"/>
                </a:cubicBezTo>
                <a:cubicBezTo>
                  <a:pt x="215131" y="1546585"/>
                  <a:pt x="210509" y="1547166"/>
                  <a:pt x="206639" y="1548329"/>
                </a:cubicBezTo>
                <a:lnTo>
                  <a:pt x="205952" y="1548714"/>
                </a:lnTo>
                <a:lnTo>
                  <a:pt x="213249" y="1551995"/>
                </a:lnTo>
                <a:cubicBezTo>
                  <a:pt x="216693" y="1553384"/>
                  <a:pt x="220471" y="1554761"/>
                  <a:pt x="224582" y="1556129"/>
                </a:cubicBezTo>
                <a:cubicBezTo>
                  <a:pt x="224582" y="1558882"/>
                  <a:pt x="228489" y="1560259"/>
                  <a:pt x="236302" y="1560259"/>
                </a:cubicBezTo>
                <a:cubicBezTo>
                  <a:pt x="242479" y="1578899"/>
                  <a:pt x="245567" y="1593112"/>
                  <a:pt x="245567" y="1602898"/>
                </a:cubicBezTo>
                <a:lnTo>
                  <a:pt x="245466" y="1603372"/>
                </a:lnTo>
                <a:lnTo>
                  <a:pt x="248441" y="1602277"/>
                </a:lnTo>
                <a:cubicBezTo>
                  <a:pt x="251511" y="1601454"/>
                  <a:pt x="255092" y="1600749"/>
                  <a:pt x="259185" y="1600163"/>
                </a:cubicBezTo>
                <a:lnTo>
                  <a:pt x="259185" y="1595252"/>
                </a:lnTo>
                <a:cubicBezTo>
                  <a:pt x="287350" y="1595252"/>
                  <a:pt x="315144" y="1603512"/>
                  <a:pt x="342566" y="1620032"/>
                </a:cubicBezTo>
                <a:lnTo>
                  <a:pt x="350658" y="1644254"/>
                </a:lnTo>
                <a:cubicBezTo>
                  <a:pt x="350658" y="1657053"/>
                  <a:pt x="342454" y="1670019"/>
                  <a:pt x="326046" y="1683153"/>
                </a:cubicBezTo>
                <a:lnTo>
                  <a:pt x="315386" y="1683153"/>
                </a:lnTo>
                <a:cubicBezTo>
                  <a:pt x="299684" y="1683153"/>
                  <a:pt x="285992" y="1673815"/>
                  <a:pt x="274309" y="1655137"/>
                </a:cubicBezTo>
                <a:cubicBezTo>
                  <a:pt x="264226" y="1655137"/>
                  <a:pt x="259185" y="1648997"/>
                  <a:pt x="259185" y="1636719"/>
                </a:cubicBezTo>
                <a:lnTo>
                  <a:pt x="244833" y="1628532"/>
                </a:lnTo>
                <a:lnTo>
                  <a:pt x="244404" y="1631613"/>
                </a:lnTo>
                <a:lnTo>
                  <a:pt x="245567" y="1637612"/>
                </a:lnTo>
                <a:lnTo>
                  <a:pt x="243568" y="1637612"/>
                </a:lnTo>
                <a:lnTo>
                  <a:pt x="242051" y="1648495"/>
                </a:lnTo>
                <a:lnTo>
                  <a:pt x="242051" y="1658429"/>
                </a:lnTo>
                <a:lnTo>
                  <a:pt x="242051" y="1668922"/>
                </a:lnTo>
                <a:lnTo>
                  <a:pt x="242051" y="1675954"/>
                </a:lnTo>
                <a:lnTo>
                  <a:pt x="242051" y="1682930"/>
                </a:lnTo>
                <a:lnTo>
                  <a:pt x="242051" y="1693478"/>
                </a:lnTo>
                <a:lnTo>
                  <a:pt x="242051" y="1700455"/>
                </a:lnTo>
                <a:lnTo>
                  <a:pt x="242051" y="1707487"/>
                </a:lnTo>
                <a:lnTo>
                  <a:pt x="242051" y="1721998"/>
                </a:lnTo>
                <a:cubicBezTo>
                  <a:pt x="233679" y="1763818"/>
                  <a:pt x="221996" y="1784729"/>
                  <a:pt x="207002" y="1784729"/>
                </a:cubicBezTo>
                <a:cubicBezTo>
                  <a:pt x="197626" y="1791724"/>
                  <a:pt x="187152" y="1795221"/>
                  <a:pt x="175580" y="1795221"/>
                </a:cubicBezTo>
                <a:cubicBezTo>
                  <a:pt x="170595" y="1785324"/>
                  <a:pt x="168102" y="1776748"/>
                  <a:pt x="168102" y="1769492"/>
                </a:cubicBezTo>
                <a:lnTo>
                  <a:pt x="171618" y="1755372"/>
                </a:lnTo>
                <a:cubicBezTo>
                  <a:pt x="171618" y="1751466"/>
                  <a:pt x="166948" y="1742499"/>
                  <a:pt x="157609" y="1728472"/>
                </a:cubicBezTo>
                <a:lnTo>
                  <a:pt x="157609" y="1707487"/>
                </a:lnTo>
                <a:lnTo>
                  <a:pt x="157609" y="1685721"/>
                </a:lnTo>
                <a:lnTo>
                  <a:pt x="161125" y="1677349"/>
                </a:lnTo>
                <a:lnTo>
                  <a:pt x="157609" y="1671824"/>
                </a:lnTo>
                <a:lnTo>
                  <a:pt x="157609" y="1661945"/>
                </a:lnTo>
                <a:lnTo>
                  <a:pt x="157609" y="1657983"/>
                </a:lnTo>
                <a:lnTo>
                  <a:pt x="161125" y="1613111"/>
                </a:lnTo>
                <a:cubicBezTo>
                  <a:pt x="159786" y="1613111"/>
                  <a:pt x="157442" y="1602600"/>
                  <a:pt x="154093" y="1581578"/>
                </a:cubicBezTo>
                <a:lnTo>
                  <a:pt x="157609" y="1569021"/>
                </a:lnTo>
                <a:lnTo>
                  <a:pt x="156261" y="1566795"/>
                </a:lnTo>
                <a:lnTo>
                  <a:pt x="142108" y="1580895"/>
                </a:lnTo>
                <a:cubicBezTo>
                  <a:pt x="136834" y="1584978"/>
                  <a:pt x="131230" y="1588220"/>
                  <a:pt x="125295" y="1590620"/>
                </a:cubicBezTo>
                <a:cubicBezTo>
                  <a:pt x="114952" y="1600963"/>
                  <a:pt x="103603" y="1606135"/>
                  <a:pt x="91251" y="1606135"/>
                </a:cubicBezTo>
                <a:cubicBezTo>
                  <a:pt x="84814" y="1606135"/>
                  <a:pt x="76573" y="1597763"/>
                  <a:pt x="66527" y="1581020"/>
                </a:cubicBezTo>
                <a:lnTo>
                  <a:pt x="66527" y="1577225"/>
                </a:lnTo>
                <a:lnTo>
                  <a:pt x="63066" y="1570193"/>
                </a:lnTo>
                <a:lnTo>
                  <a:pt x="63066" y="1538269"/>
                </a:lnTo>
                <a:cubicBezTo>
                  <a:pt x="69726" y="1524912"/>
                  <a:pt x="77838" y="1518233"/>
                  <a:pt x="87400" y="1518233"/>
                </a:cubicBezTo>
                <a:lnTo>
                  <a:pt x="88572" y="1518122"/>
                </a:lnTo>
                <a:cubicBezTo>
                  <a:pt x="93669" y="1513508"/>
                  <a:pt x="106878" y="1511201"/>
                  <a:pt x="128197" y="1511201"/>
                </a:cubicBezTo>
                <a:lnTo>
                  <a:pt x="115584" y="1511145"/>
                </a:lnTo>
                <a:cubicBezTo>
                  <a:pt x="115584" y="1512373"/>
                  <a:pt x="123751" y="1503667"/>
                  <a:pt x="140085" y="1485026"/>
                </a:cubicBezTo>
                <a:cubicBezTo>
                  <a:pt x="140085" y="1478078"/>
                  <a:pt x="144030" y="1469151"/>
                  <a:pt x="151920" y="1458247"/>
                </a:cubicBezTo>
                <a:lnTo>
                  <a:pt x="158057" y="1450539"/>
                </a:lnTo>
                <a:lnTo>
                  <a:pt x="155335" y="1449405"/>
                </a:lnTo>
                <a:cubicBezTo>
                  <a:pt x="150935" y="1447647"/>
                  <a:pt x="144066" y="1445010"/>
                  <a:pt x="134727" y="1441494"/>
                </a:cubicBezTo>
                <a:cubicBezTo>
                  <a:pt x="129555" y="1441494"/>
                  <a:pt x="117649" y="1436824"/>
                  <a:pt x="99008" y="1427485"/>
                </a:cubicBezTo>
                <a:cubicBezTo>
                  <a:pt x="89781" y="1427485"/>
                  <a:pt x="80126" y="1417439"/>
                  <a:pt x="70043" y="1397348"/>
                </a:cubicBezTo>
                <a:cubicBezTo>
                  <a:pt x="75028" y="1393850"/>
                  <a:pt x="78544" y="1385832"/>
                  <a:pt x="80591" y="1373293"/>
                </a:cubicBezTo>
                <a:cubicBezTo>
                  <a:pt x="86581" y="1364326"/>
                  <a:pt x="95622" y="1356569"/>
                  <a:pt x="107715" y="1350020"/>
                </a:cubicBezTo>
                <a:lnTo>
                  <a:pt x="116646" y="1359358"/>
                </a:lnTo>
                <a:lnTo>
                  <a:pt x="142317" y="1324459"/>
                </a:lnTo>
                <a:cubicBezTo>
                  <a:pt x="151396" y="1310451"/>
                  <a:pt x="159823" y="1295661"/>
                  <a:pt x="167600" y="1280090"/>
                </a:cubicBezTo>
                <a:cubicBezTo>
                  <a:pt x="169534" y="1280090"/>
                  <a:pt x="173553" y="1271960"/>
                  <a:pt x="179655" y="1255701"/>
                </a:cubicBezTo>
                <a:cubicBezTo>
                  <a:pt x="185980" y="1251496"/>
                  <a:pt x="189142" y="1244520"/>
                  <a:pt x="189142" y="1234772"/>
                </a:cubicBezTo>
                <a:lnTo>
                  <a:pt x="196119" y="1232483"/>
                </a:lnTo>
                <a:lnTo>
                  <a:pt x="189142" y="1213508"/>
                </a:lnTo>
                <a:cubicBezTo>
                  <a:pt x="193793" y="1213508"/>
                  <a:pt x="196119" y="1213954"/>
                  <a:pt x="196119" y="1214847"/>
                </a:cubicBezTo>
                <a:lnTo>
                  <a:pt x="182110" y="1200839"/>
                </a:lnTo>
                <a:cubicBezTo>
                  <a:pt x="182110" y="1184654"/>
                  <a:pt x="199356" y="1173715"/>
                  <a:pt x="233847" y="1168022"/>
                </a:cubicBezTo>
                <a:close/>
                <a:moveTo>
                  <a:pt x="381745" y="422145"/>
                </a:moveTo>
                <a:lnTo>
                  <a:pt x="379289" y="422710"/>
                </a:lnTo>
                <a:cubicBezTo>
                  <a:pt x="373261" y="438746"/>
                  <a:pt x="362322" y="462651"/>
                  <a:pt x="346472" y="494426"/>
                </a:cubicBezTo>
                <a:cubicBezTo>
                  <a:pt x="344035" y="498472"/>
                  <a:pt x="341930" y="502013"/>
                  <a:pt x="340155" y="505048"/>
                </a:cubicBezTo>
                <a:lnTo>
                  <a:pt x="338541" y="507877"/>
                </a:lnTo>
                <a:lnTo>
                  <a:pt x="339942" y="507877"/>
                </a:lnTo>
                <a:lnTo>
                  <a:pt x="359420" y="507877"/>
                </a:lnTo>
                <a:lnTo>
                  <a:pt x="364276" y="507821"/>
                </a:lnTo>
                <a:lnTo>
                  <a:pt x="367736" y="504305"/>
                </a:lnTo>
                <a:lnTo>
                  <a:pt x="378228" y="507821"/>
                </a:lnTo>
                <a:lnTo>
                  <a:pt x="384144" y="500788"/>
                </a:lnTo>
                <a:lnTo>
                  <a:pt x="414226" y="507877"/>
                </a:lnTo>
                <a:lnTo>
                  <a:pt x="422430" y="507877"/>
                </a:lnTo>
                <a:lnTo>
                  <a:pt x="409761" y="495207"/>
                </a:lnTo>
                <a:lnTo>
                  <a:pt x="409761" y="489850"/>
                </a:lnTo>
                <a:cubicBezTo>
                  <a:pt x="400720" y="471804"/>
                  <a:pt x="395027" y="458093"/>
                  <a:pt x="392683" y="448717"/>
                </a:cubicBezTo>
                <a:lnTo>
                  <a:pt x="381745" y="430412"/>
                </a:lnTo>
                <a:close/>
                <a:moveTo>
                  <a:pt x="507526" y="396596"/>
                </a:moveTo>
                <a:lnTo>
                  <a:pt x="505532" y="399660"/>
                </a:lnTo>
                <a:cubicBezTo>
                  <a:pt x="490984" y="399660"/>
                  <a:pt x="478464" y="403157"/>
                  <a:pt x="467972" y="410152"/>
                </a:cubicBezTo>
                <a:lnTo>
                  <a:pt x="453461" y="406636"/>
                </a:lnTo>
                <a:cubicBezTo>
                  <a:pt x="443043" y="406636"/>
                  <a:pt x="434337" y="408980"/>
                  <a:pt x="427342" y="413668"/>
                </a:cubicBezTo>
                <a:lnTo>
                  <a:pt x="418580" y="413668"/>
                </a:lnTo>
                <a:lnTo>
                  <a:pt x="407203" y="416286"/>
                </a:lnTo>
                <a:lnTo>
                  <a:pt x="421621" y="422668"/>
                </a:lnTo>
                <a:cubicBezTo>
                  <a:pt x="430997" y="427346"/>
                  <a:pt x="440029" y="432402"/>
                  <a:pt x="448717" y="437834"/>
                </a:cubicBezTo>
                <a:cubicBezTo>
                  <a:pt x="457349" y="437834"/>
                  <a:pt x="463060" y="447657"/>
                  <a:pt x="465851" y="467302"/>
                </a:cubicBezTo>
                <a:lnTo>
                  <a:pt x="469702" y="471153"/>
                </a:lnTo>
                <a:lnTo>
                  <a:pt x="469702" y="482706"/>
                </a:lnTo>
                <a:cubicBezTo>
                  <a:pt x="466604" y="488129"/>
                  <a:pt x="463621" y="492874"/>
                  <a:pt x="460751" y="496941"/>
                </a:cubicBezTo>
                <a:lnTo>
                  <a:pt x="453179" y="506255"/>
                </a:lnTo>
                <a:lnTo>
                  <a:pt x="464456" y="500788"/>
                </a:lnTo>
                <a:lnTo>
                  <a:pt x="474948" y="507821"/>
                </a:lnTo>
                <a:lnTo>
                  <a:pt x="487003" y="504305"/>
                </a:lnTo>
                <a:lnTo>
                  <a:pt x="490519" y="507821"/>
                </a:lnTo>
                <a:lnTo>
                  <a:pt x="497398" y="505515"/>
                </a:lnTo>
                <a:lnTo>
                  <a:pt x="498894" y="496990"/>
                </a:lnTo>
                <a:cubicBezTo>
                  <a:pt x="500771" y="482723"/>
                  <a:pt x="502574" y="458149"/>
                  <a:pt x="504304" y="423268"/>
                </a:cubicBezTo>
                <a:cubicBezTo>
                  <a:pt x="505002" y="416356"/>
                  <a:pt x="505672" y="410309"/>
                  <a:pt x="506314" y="405126"/>
                </a:cubicBezTo>
                <a:close/>
                <a:moveTo>
                  <a:pt x="427286" y="360760"/>
                </a:moveTo>
                <a:lnTo>
                  <a:pt x="427286" y="361268"/>
                </a:lnTo>
                <a:lnTo>
                  <a:pt x="434486" y="360760"/>
                </a:lnTo>
                <a:close/>
                <a:moveTo>
                  <a:pt x="407958" y="343487"/>
                </a:moveTo>
                <a:lnTo>
                  <a:pt x="403706" y="350728"/>
                </a:lnTo>
                <a:lnTo>
                  <a:pt x="397406" y="367792"/>
                </a:lnTo>
                <a:lnTo>
                  <a:pt x="401167" y="367792"/>
                </a:lnTo>
                <a:lnTo>
                  <a:pt x="418468" y="360704"/>
                </a:lnTo>
                <a:lnTo>
                  <a:pt x="420642" y="363389"/>
                </a:lnTo>
                <a:lnTo>
                  <a:pt x="421175" y="362950"/>
                </a:lnTo>
                <a:lnTo>
                  <a:pt x="422730" y="362490"/>
                </a:lnTo>
                <a:close/>
                <a:moveTo>
                  <a:pt x="87344" y="287313"/>
                </a:moveTo>
                <a:cubicBezTo>
                  <a:pt x="95976" y="287276"/>
                  <a:pt x="110803" y="290755"/>
                  <a:pt x="131825" y="297750"/>
                </a:cubicBezTo>
                <a:cubicBezTo>
                  <a:pt x="140494" y="297750"/>
                  <a:pt x="157089" y="307275"/>
                  <a:pt x="181608" y="326325"/>
                </a:cubicBezTo>
                <a:lnTo>
                  <a:pt x="186017" y="341282"/>
                </a:lnTo>
                <a:lnTo>
                  <a:pt x="182557" y="347756"/>
                </a:lnTo>
                <a:lnTo>
                  <a:pt x="186017" y="353839"/>
                </a:lnTo>
                <a:cubicBezTo>
                  <a:pt x="179580" y="377391"/>
                  <a:pt x="172585" y="389167"/>
                  <a:pt x="165032" y="389167"/>
                </a:cubicBezTo>
                <a:cubicBezTo>
                  <a:pt x="165032" y="390209"/>
                  <a:pt x="155414" y="392535"/>
                  <a:pt x="136178" y="396144"/>
                </a:cubicBezTo>
                <a:cubicBezTo>
                  <a:pt x="117128" y="390972"/>
                  <a:pt x="93669" y="379103"/>
                  <a:pt x="65801" y="360537"/>
                </a:cubicBezTo>
                <a:cubicBezTo>
                  <a:pt x="54118" y="358192"/>
                  <a:pt x="41598" y="352556"/>
                  <a:pt x="28240" y="343626"/>
                </a:cubicBezTo>
                <a:cubicBezTo>
                  <a:pt x="9414" y="343626"/>
                  <a:pt x="0" y="336557"/>
                  <a:pt x="0" y="322418"/>
                </a:cubicBezTo>
                <a:cubicBezTo>
                  <a:pt x="0" y="317655"/>
                  <a:pt x="10511" y="310605"/>
                  <a:pt x="31533" y="301266"/>
                </a:cubicBezTo>
                <a:cubicBezTo>
                  <a:pt x="31533" y="294792"/>
                  <a:pt x="50137" y="290141"/>
                  <a:pt x="87344" y="287313"/>
                </a:cubicBezTo>
                <a:close/>
                <a:moveTo>
                  <a:pt x="518313" y="281917"/>
                </a:moveTo>
                <a:lnTo>
                  <a:pt x="517601" y="282332"/>
                </a:lnTo>
                <a:cubicBezTo>
                  <a:pt x="513964" y="283495"/>
                  <a:pt x="509681" y="284076"/>
                  <a:pt x="504751" y="284076"/>
                </a:cubicBezTo>
                <a:cubicBezTo>
                  <a:pt x="504751" y="286420"/>
                  <a:pt x="498835" y="287592"/>
                  <a:pt x="487003" y="287592"/>
                </a:cubicBezTo>
                <a:lnTo>
                  <a:pt x="485106" y="287592"/>
                </a:lnTo>
                <a:lnTo>
                  <a:pt x="448717" y="295964"/>
                </a:lnTo>
                <a:cubicBezTo>
                  <a:pt x="448717" y="297750"/>
                  <a:pt x="445201" y="299815"/>
                  <a:pt x="438169" y="302159"/>
                </a:cubicBezTo>
                <a:cubicBezTo>
                  <a:pt x="438169" y="304466"/>
                  <a:pt x="431714" y="307777"/>
                  <a:pt x="418803" y="312093"/>
                </a:cubicBezTo>
                <a:cubicBezTo>
                  <a:pt x="416208" y="312093"/>
                  <a:pt x="413747" y="311715"/>
                  <a:pt x="411422" y="310959"/>
                </a:cubicBezTo>
                <a:lnTo>
                  <a:pt x="410894" y="310686"/>
                </a:lnTo>
                <a:lnTo>
                  <a:pt x="411963" y="315274"/>
                </a:lnTo>
                <a:lnTo>
                  <a:pt x="428346" y="315274"/>
                </a:lnTo>
                <a:cubicBezTo>
                  <a:pt x="469944" y="323571"/>
                  <a:pt x="490743" y="332947"/>
                  <a:pt x="490743" y="343403"/>
                </a:cubicBezTo>
                <a:lnTo>
                  <a:pt x="490743" y="351942"/>
                </a:lnTo>
                <a:lnTo>
                  <a:pt x="488950" y="356011"/>
                </a:lnTo>
                <a:lnTo>
                  <a:pt x="495054" y="353770"/>
                </a:lnTo>
                <a:cubicBezTo>
                  <a:pt x="498970" y="351416"/>
                  <a:pt x="503598" y="347886"/>
                  <a:pt x="508937" y="343180"/>
                </a:cubicBezTo>
                <a:lnTo>
                  <a:pt x="514797" y="345364"/>
                </a:lnTo>
                <a:lnTo>
                  <a:pt x="514797" y="336426"/>
                </a:lnTo>
                <a:cubicBezTo>
                  <a:pt x="514797" y="333478"/>
                  <a:pt x="514870" y="330898"/>
                  <a:pt x="515017" y="328686"/>
                </a:cubicBezTo>
                <a:lnTo>
                  <a:pt x="515550" y="324218"/>
                </a:lnTo>
                <a:lnTo>
                  <a:pt x="514797" y="325711"/>
                </a:lnTo>
                <a:lnTo>
                  <a:pt x="518313" y="311200"/>
                </a:lnTo>
                <a:lnTo>
                  <a:pt x="518313" y="304894"/>
                </a:lnTo>
                <a:lnTo>
                  <a:pt x="518313" y="290885"/>
                </a:lnTo>
                <a:lnTo>
                  <a:pt x="518313" y="283853"/>
                </a:lnTo>
                <a:close/>
                <a:moveTo>
                  <a:pt x="538014" y="210183"/>
                </a:moveTo>
                <a:lnTo>
                  <a:pt x="558943" y="210183"/>
                </a:lnTo>
                <a:cubicBezTo>
                  <a:pt x="568282" y="219522"/>
                  <a:pt x="578328" y="224191"/>
                  <a:pt x="589081" y="224191"/>
                </a:cubicBezTo>
                <a:cubicBezTo>
                  <a:pt x="591946" y="229921"/>
                  <a:pt x="604689" y="235298"/>
                  <a:pt x="627311" y="240321"/>
                </a:cubicBezTo>
                <a:lnTo>
                  <a:pt x="627311" y="254887"/>
                </a:lnTo>
                <a:lnTo>
                  <a:pt x="620279" y="267221"/>
                </a:lnTo>
                <a:lnTo>
                  <a:pt x="623795" y="275202"/>
                </a:lnTo>
                <a:lnTo>
                  <a:pt x="613302" y="289825"/>
                </a:lnTo>
                <a:lnTo>
                  <a:pt x="616819" y="308577"/>
                </a:lnTo>
                <a:cubicBezTo>
                  <a:pt x="611014" y="308577"/>
                  <a:pt x="606937" y="313663"/>
                  <a:pt x="604586" y="323834"/>
                </a:cubicBezTo>
                <a:lnTo>
                  <a:pt x="603032" y="334218"/>
                </a:lnTo>
                <a:lnTo>
                  <a:pt x="606550" y="335194"/>
                </a:lnTo>
                <a:lnTo>
                  <a:pt x="608531" y="333395"/>
                </a:lnTo>
                <a:cubicBezTo>
                  <a:pt x="613302" y="330710"/>
                  <a:pt x="622930" y="328557"/>
                  <a:pt x="637413" y="326939"/>
                </a:cubicBezTo>
                <a:cubicBezTo>
                  <a:pt x="637413" y="323813"/>
                  <a:pt x="649617" y="322251"/>
                  <a:pt x="674024" y="322251"/>
                </a:cubicBezTo>
                <a:lnTo>
                  <a:pt x="681056" y="315274"/>
                </a:lnTo>
                <a:lnTo>
                  <a:pt x="698804" y="315274"/>
                </a:lnTo>
                <a:cubicBezTo>
                  <a:pt x="702004" y="318400"/>
                  <a:pt x="708069" y="321079"/>
                  <a:pt x="716998" y="323311"/>
                </a:cubicBezTo>
                <a:lnTo>
                  <a:pt x="745294" y="343570"/>
                </a:lnTo>
                <a:lnTo>
                  <a:pt x="749871" y="357244"/>
                </a:lnTo>
                <a:cubicBezTo>
                  <a:pt x="749871" y="371866"/>
                  <a:pt x="739918" y="382508"/>
                  <a:pt x="720012" y="389167"/>
                </a:cubicBezTo>
                <a:lnTo>
                  <a:pt x="706004" y="389167"/>
                </a:lnTo>
                <a:lnTo>
                  <a:pt x="703939" y="389167"/>
                </a:lnTo>
                <a:lnTo>
                  <a:pt x="703939" y="389085"/>
                </a:lnTo>
                <a:lnTo>
                  <a:pt x="695041" y="388728"/>
                </a:lnTo>
                <a:cubicBezTo>
                  <a:pt x="685141" y="387849"/>
                  <a:pt x="678433" y="385651"/>
                  <a:pt x="674917" y="382135"/>
                </a:cubicBezTo>
                <a:lnTo>
                  <a:pt x="670620" y="382135"/>
                </a:lnTo>
                <a:lnTo>
                  <a:pt x="658565" y="378619"/>
                </a:lnTo>
                <a:cubicBezTo>
                  <a:pt x="641636" y="383196"/>
                  <a:pt x="619609" y="386712"/>
                  <a:pt x="592485" y="389167"/>
                </a:cubicBezTo>
                <a:cubicBezTo>
                  <a:pt x="594680" y="389167"/>
                  <a:pt x="595778" y="400832"/>
                  <a:pt x="595778" y="424161"/>
                </a:cubicBezTo>
                <a:cubicBezTo>
                  <a:pt x="591127" y="424161"/>
                  <a:pt x="588802" y="445183"/>
                  <a:pt x="588802" y="487227"/>
                </a:cubicBezTo>
                <a:cubicBezTo>
                  <a:pt x="586513" y="487227"/>
                  <a:pt x="584623" y="492103"/>
                  <a:pt x="583130" y="501856"/>
                </a:cubicBezTo>
                <a:lnTo>
                  <a:pt x="582990" y="503026"/>
                </a:lnTo>
                <a:lnTo>
                  <a:pt x="594104" y="507877"/>
                </a:lnTo>
                <a:lnTo>
                  <a:pt x="602587" y="507877"/>
                </a:lnTo>
                <a:lnTo>
                  <a:pt x="609563" y="507877"/>
                </a:lnTo>
                <a:lnTo>
                  <a:pt x="616595" y="507877"/>
                </a:lnTo>
                <a:lnTo>
                  <a:pt x="623572" y="507877"/>
                </a:lnTo>
                <a:lnTo>
                  <a:pt x="637580" y="507877"/>
                </a:lnTo>
                <a:lnTo>
                  <a:pt x="667885" y="507877"/>
                </a:lnTo>
                <a:cubicBezTo>
                  <a:pt x="699214" y="519262"/>
                  <a:pt x="714878" y="532154"/>
                  <a:pt x="714878" y="546553"/>
                </a:cubicBezTo>
                <a:lnTo>
                  <a:pt x="714878" y="550014"/>
                </a:lnTo>
                <a:cubicBezTo>
                  <a:pt x="714878" y="571184"/>
                  <a:pt x="705185" y="581770"/>
                  <a:pt x="685800" y="581770"/>
                </a:cubicBezTo>
                <a:cubicBezTo>
                  <a:pt x="681112" y="584114"/>
                  <a:pt x="674768" y="585286"/>
                  <a:pt x="666769" y="585286"/>
                </a:cubicBezTo>
                <a:lnTo>
                  <a:pt x="631720" y="571277"/>
                </a:lnTo>
                <a:cubicBezTo>
                  <a:pt x="627069" y="571277"/>
                  <a:pt x="618772" y="568877"/>
                  <a:pt x="606828" y="564078"/>
                </a:cubicBezTo>
                <a:lnTo>
                  <a:pt x="574793" y="560729"/>
                </a:lnTo>
                <a:cubicBezTo>
                  <a:pt x="574793" y="563817"/>
                  <a:pt x="570124" y="584039"/>
                  <a:pt x="560785" y="621395"/>
                </a:cubicBezTo>
                <a:cubicBezTo>
                  <a:pt x="560785" y="626195"/>
                  <a:pt x="559334" y="632929"/>
                  <a:pt x="556432" y="641599"/>
                </a:cubicBezTo>
                <a:cubicBezTo>
                  <a:pt x="546720" y="665932"/>
                  <a:pt x="537661" y="683345"/>
                  <a:pt x="529252" y="693837"/>
                </a:cubicBezTo>
                <a:cubicBezTo>
                  <a:pt x="529252" y="701986"/>
                  <a:pt x="514183" y="717017"/>
                  <a:pt x="484045" y="738932"/>
                </a:cubicBezTo>
                <a:cubicBezTo>
                  <a:pt x="469572" y="748569"/>
                  <a:pt x="455321" y="753387"/>
                  <a:pt x="441294" y="753387"/>
                </a:cubicBezTo>
                <a:lnTo>
                  <a:pt x="441294" y="739155"/>
                </a:lnTo>
                <a:lnTo>
                  <a:pt x="441294" y="735639"/>
                </a:lnTo>
                <a:lnTo>
                  <a:pt x="441294" y="723640"/>
                </a:lnTo>
                <a:cubicBezTo>
                  <a:pt x="436606" y="709650"/>
                  <a:pt x="434262" y="697707"/>
                  <a:pt x="434262" y="687810"/>
                </a:cubicBezTo>
                <a:cubicBezTo>
                  <a:pt x="431993" y="685503"/>
                  <a:pt x="424551" y="677001"/>
                  <a:pt x="411938" y="662304"/>
                </a:cubicBezTo>
                <a:lnTo>
                  <a:pt x="402729" y="662304"/>
                </a:lnTo>
                <a:lnTo>
                  <a:pt x="402729" y="646175"/>
                </a:lnTo>
                <a:lnTo>
                  <a:pt x="420198" y="633897"/>
                </a:lnTo>
                <a:cubicBezTo>
                  <a:pt x="425407" y="640929"/>
                  <a:pt x="433146" y="644445"/>
                  <a:pt x="443415" y="644445"/>
                </a:cubicBezTo>
                <a:lnTo>
                  <a:pt x="447489" y="647905"/>
                </a:lnTo>
                <a:lnTo>
                  <a:pt x="450391" y="644389"/>
                </a:lnTo>
                <a:lnTo>
                  <a:pt x="459042" y="647905"/>
                </a:lnTo>
                <a:cubicBezTo>
                  <a:pt x="465888" y="633432"/>
                  <a:pt x="469311" y="619442"/>
                  <a:pt x="469311" y="605936"/>
                </a:cubicBezTo>
                <a:cubicBezTo>
                  <a:pt x="472660" y="605936"/>
                  <a:pt x="477850" y="591927"/>
                  <a:pt x="484882" y="563910"/>
                </a:cubicBezTo>
                <a:lnTo>
                  <a:pt x="486780" y="563910"/>
                </a:lnTo>
                <a:lnTo>
                  <a:pt x="486780" y="566812"/>
                </a:lnTo>
                <a:lnTo>
                  <a:pt x="490296" y="557659"/>
                </a:lnTo>
                <a:lnTo>
                  <a:pt x="488609" y="551847"/>
                </a:lnTo>
                <a:lnTo>
                  <a:pt x="486613" y="553753"/>
                </a:lnTo>
                <a:lnTo>
                  <a:pt x="479413" y="550237"/>
                </a:lnTo>
                <a:lnTo>
                  <a:pt x="476901" y="553753"/>
                </a:lnTo>
                <a:lnTo>
                  <a:pt x="443415" y="550237"/>
                </a:lnTo>
                <a:lnTo>
                  <a:pt x="436606" y="553753"/>
                </a:lnTo>
                <a:cubicBezTo>
                  <a:pt x="406841" y="551409"/>
                  <a:pt x="391344" y="550237"/>
                  <a:pt x="390116" y="550237"/>
                </a:cubicBezTo>
                <a:lnTo>
                  <a:pt x="372176" y="553333"/>
                </a:lnTo>
                <a:lnTo>
                  <a:pt x="367666" y="555427"/>
                </a:lnTo>
                <a:cubicBezTo>
                  <a:pt x="362671" y="557176"/>
                  <a:pt x="355179" y="558943"/>
                  <a:pt x="345189" y="560729"/>
                </a:cubicBezTo>
                <a:lnTo>
                  <a:pt x="339831" y="557269"/>
                </a:lnTo>
                <a:lnTo>
                  <a:pt x="290104" y="581770"/>
                </a:lnTo>
                <a:lnTo>
                  <a:pt x="283909" y="581770"/>
                </a:lnTo>
                <a:cubicBezTo>
                  <a:pt x="269733" y="581770"/>
                  <a:pt x="262645" y="562087"/>
                  <a:pt x="262645" y="522722"/>
                </a:cubicBezTo>
                <a:cubicBezTo>
                  <a:pt x="270570" y="517476"/>
                  <a:pt x="282569" y="499914"/>
                  <a:pt x="298643" y="470037"/>
                </a:cubicBezTo>
                <a:cubicBezTo>
                  <a:pt x="300177" y="468502"/>
                  <a:pt x="303366" y="460113"/>
                  <a:pt x="308207" y="444870"/>
                </a:cubicBezTo>
                <a:lnTo>
                  <a:pt x="309405" y="440975"/>
                </a:lnTo>
                <a:lnTo>
                  <a:pt x="305117" y="441685"/>
                </a:lnTo>
                <a:cubicBezTo>
                  <a:pt x="305117" y="443025"/>
                  <a:pt x="295592" y="445276"/>
                  <a:pt x="276542" y="448438"/>
                </a:cubicBezTo>
                <a:lnTo>
                  <a:pt x="274309" y="449555"/>
                </a:lnTo>
                <a:cubicBezTo>
                  <a:pt x="271072" y="455991"/>
                  <a:pt x="264933" y="459210"/>
                  <a:pt x="255892" y="459210"/>
                </a:cubicBezTo>
                <a:cubicBezTo>
                  <a:pt x="244060" y="459210"/>
                  <a:pt x="238144" y="454577"/>
                  <a:pt x="238144" y="445313"/>
                </a:cubicBezTo>
                <a:cubicBezTo>
                  <a:pt x="236358" y="442932"/>
                  <a:pt x="234330" y="441146"/>
                  <a:pt x="232061" y="439955"/>
                </a:cubicBezTo>
                <a:lnTo>
                  <a:pt x="231176" y="439746"/>
                </a:lnTo>
                <a:lnTo>
                  <a:pt x="223689" y="449097"/>
                </a:lnTo>
                <a:cubicBezTo>
                  <a:pt x="212304" y="464313"/>
                  <a:pt x="200918" y="482510"/>
                  <a:pt x="189533" y="503691"/>
                </a:cubicBezTo>
                <a:cubicBezTo>
                  <a:pt x="189533" y="511913"/>
                  <a:pt x="182538" y="523038"/>
                  <a:pt x="168548" y="537065"/>
                </a:cubicBezTo>
                <a:cubicBezTo>
                  <a:pt x="168548" y="541716"/>
                  <a:pt x="167376" y="544897"/>
                  <a:pt x="165032" y="546609"/>
                </a:cubicBezTo>
                <a:lnTo>
                  <a:pt x="168548" y="567761"/>
                </a:lnTo>
                <a:cubicBezTo>
                  <a:pt x="164158" y="567761"/>
                  <a:pt x="161814" y="567910"/>
                  <a:pt x="161516" y="568208"/>
                </a:cubicBezTo>
                <a:lnTo>
                  <a:pt x="165032" y="577863"/>
                </a:lnTo>
                <a:lnTo>
                  <a:pt x="165032" y="577919"/>
                </a:lnTo>
                <a:cubicBezTo>
                  <a:pt x="169125" y="577919"/>
                  <a:pt x="174669" y="582588"/>
                  <a:pt x="181664" y="591927"/>
                </a:cubicBezTo>
                <a:cubicBezTo>
                  <a:pt x="189180" y="591927"/>
                  <a:pt x="198649" y="601880"/>
                  <a:pt x="210071" y="621786"/>
                </a:cubicBezTo>
                <a:lnTo>
                  <a:pt x="214034" y="633897"/>
                </a:lnTo>
                <a:lnTo>
                  <a:pt x="214034" y="637580"/>
                </a:lnTo>
                <a:cubicBezTo>
                  <a:pt x="214034" y="647328"/>
                  <a:pt x="203951" y="663737"/>
                  <a:pt x="183785" y="686805"/>
                </a:cubicBezTo>
                <a:lnTo>
                  <a:pt x="166260" y="686805"/>
                </a:lnTo>
                <a:cubicBezTo>
                  <a:pt x="137127" y="678099"/>
                  <a:pt x="122560" y="667922"/>
                  <a:pt x="122560" y="656277"/>
                </a:cubicBezTo>
                <a:cubicBezTo>
                  <a:pt x="117240" y="650956"/>
                  <a:pt x="110245" y="648296"/>
                  <a:pt x="101576" y="648296"/>
                </a:cubicBezTo>
                <a:cubicBezTo>
                  <a:pt x="101576" y="643347"/>
                  <a:pt x="96906" y="638548"/>
                  <a:pt x="87567" y="633897"/>
                </a:cubicBezTo>
                <a:cubicBezTo>
                  <a:pt x="87567" y="622214"/>
                  <a:pt x="83530" y="614363"/>
                  <a:pt x="75456" y="610345"/>
                </a:cubicBezTo>
                <a:lnTo>
                  <a:pt x="66527" y="583555"/>
                </a:lnTo>
                <a:cubicBezTo>
                  <a:pt x="66527" y="582588"/>
                  <a:pt x="60704" y="575091"/>
                  <a:pt x="49058" y="561064"/>
                </a:cubicBezTo>
                <a:lnTo>
                  <a:pt x="49058" y="550014"/>
                </a:lnTo>
                <a:cubicBezTo>
                  <a:pt x="49058" y="542944"/>
                  <a:pt x="54602" y="539409"/>
                  <a:pt x="65689" y="539409"/>
                </a:cubicBezTo>
                <a:cubicBezTo>
                  <a:pt x="77335" y="544060"/>
                  <a:pt x="85856" y="546386"/>
                  <a:pt x="91251" y="546386"/>
                </a:cubicBezTo>
                <a:cubicBezTo>
                  <a:pt x="91995" y="546386"/>
                  <a:pt x="115491" y="521085"/>
                  <a:pt x="161739" y="470483"/>
                </a:cubicBezTo>
                <a:cubicBezTo>
                  <a:pt x="164121" y="463265"/>
                  <a:pt x="180882" y="445369"/>
                  <a:pt x="212025" y="416794"/>
                </a:cubicBezTo>
                <a:lnTo>
                  <a:pt x="213920" y="416794"/>
                </a:lnTo>
                <a:lnTo>
                  <a:pt x="213643" y="416236"/>
                </a:lnTo>
                <a:cubicBezTo>
                  <a:pt x="213643" y="404962"/>
                  <a:pt x="220713" y="399325"/>
                  <a:pt x="234851" y="399325"/>
                </a:cubicBezTo>
                <a:lnTo>
                  <a:pt x="242051" y="399325"/>
                </a:lnTo>
                <a:lnTo>
                  <a:pt x="249027" y="395809"/>
                </a:lnTo>
                <a:lnTo>
                  <a:pt x="260691" y="395809"/>
                </a:lnTo>
                <a:cubicBezTo>
                  <a:pt x="267017" y="393688"/>
                  <a:pt x="285192" y="390637"/>
                  <a:pt x="315218" y="386656"/>
                </a:cubicBezTo>
                <a:cubicBezTo>
                  <a:pt x="315218" y="383419"/>
                  <a:pt x="319944" y="381801"/>
                  <a:pt x="329394" y="381801"/>
                </a:cubicBezTo>
                <a:lnTo>
                  <a:pt x="330678" y="381801"/>
                </a:lnTo>
                <a:lnTo>
                  <a:pt x="341170" y="336259"/>
                </a:lnTo>
                <a:cubicBezTo>
                  <a:pt x="342547" y="336259"/>
                  <a:pt x="343235" y="336985"/>
                  <a:pt x="343235" y="338436"/>
                </a:cubicBezTo>
                <a:lnTo>
                  <a:pt x="339719" y="327887"/>
                </a:lnTo>
                <a:lnTo>
                  <a:pt x="339719" y="313879"/>
                </a:lnTo>
                <a:cubicBezTo>
                  <a:pt x="337375" y="306884"/>
                  <a:pt x="336203" y="295052"/>
                  <a:pt x="336203" y="278383"/>
                </a:cubicBezTo>
                <a:lnTo>
                  <a:pt x="344854" y="269733"/>
                </a:lnTo>
                <a:lnTo>
                  <a:pt x="366341" y="269733"/>
                </a:lnTo>
                <a:cubicBezTo>
                  <a:pt x="371885" y="275277"/>
                  <a:pt x="378182" y="280658"/>
                  <a:pt x="385233" y="285876"/>
                </a:cubicBezTo>
                <a:lnTo>
                  <a:pt x="390580" y="289340"/>
                </a:lnTo>
                <a:lnTo>
                  <a:pt x="378228" y="273305"/>
                </a:lnTo>
                <a:lnTo>
                  <a:pt x="402841" y="255724"/>
                </a:lnTo>
                <a:lnTo>
                  <a:pt x="415789" y="255724"/>
                </a:lnTo>
                <a:lnTo>
                  <a:pt x="448271" y="250311"/>
                </a:lnTo>
                <a:cubicBezTo>
                  <a:pt x="448271" y="248822"/>
                  <a:pt x="451768" y="246906"/>
                  <a:pt x="458763" y="244562"/>
                </a:cubicBezTo>
                <a:cubicBezTo>
                  <a:pt x="458763" y="237977"/>
                  <a:pt x="464605" y="234684"/>
                  <a:pt x="476288" y="234684"/>
                </a:cubicBezTo>
                <a:cubicBezTo>
                  <a:pt x="476288" y="233233"/>
                  <a:pt x="488975" y="230926"/>
                  <a:pt x="514350" y="227763"/>
                </a:cubicBezTo>
                <a:lnTo>
                  <a:pt x="517029" y="227707"/>
                </a:lnTo>
                <a:close/>
                <a:moveTo>
                  <a:pt x="139304" y="126076"/>
                </a:moveTo>
                <a:lnTo>
                  <a:pt x="158670" y="133164"/>
                </a:lnTo>
                <a:lnTo>
                  <a:pt x="187524" y="133164"/>
                </a:lnTo>
                <a:cubicBezTo>
                  <a:pt x="190612" y="136178"/>
                  <a:pt x="197049" y="138671"/>
                  <a:pt x="206834" y="140643"/>
                </a:cubicBezTo>
                <a:cubicBezTo>
                  <a:pt x="226517" y="146298"/>
                  <a:pt x="241567" y="159526"/>
                  <a:pt x="251985" y="180324"/>
                </a:cubicBezTo>
                <a:lnTo>
                  <a:pt x="259575" y="199356"/>
                </a:lnTo>
                <a:lnTo>
                  <a:pt x="259575" y="203318"/>
                </a:lnTo>
                <a:cubicBezTo>
                  <a:pt x="259575" y="213067"/>
                  <a:pt x="250087" y="228787"/>
                  <a:pt x="231112" y="250478"/>
                </a:cubicBezTo>
                <a:cubicBezTo>
                  <a:pt x="223708" y="254199"/>
                  <a:pt x="213773" y="256059"/>
                  <a:pt x="201309" y="256059"/>
                </a:cubicBezTo>
                <a:cubicBezTo>
                  <a:pt x="191635" y="252822"/>
                  <a:pt x="177683" y="242088"/>
                  <a:pt x="159451" y="223856"/>
                </a:cubicBezTo>
                <a:cubicBezTo>
                  <a:pt x="157628" y="220247"/>
                  <a:pt x="152549" y="216341"/>
                  <a:pt x="144215" y="212136"/>
                </a:cubicBezTo>
                <a:cubicBezTo>
                  <a:pt x="132048" y="199970"/>
                  <a:pt x="115547" y="186594"/>
                  <a:pt x="94711" y="172008"/>
                </a:cubicBezTo>
                <a:cubicBezTo>
                  <a:pt x="85260" y="172008"/>
                  <a:pt x="80535" y="167265"/>
                  <a:pt x="80535" y="157777"/>
                </a:cubicBezTo>
                <a:lnTo>
                  <a:pt x="80535" y="154317"/>
                </a:lnTo>
                <a:cubicBezTo>
                  <a:pt x="80535" y="146057"/>
                  <a:pt x="95678" y="139192"/>
                  <a:pt x="125965" y="133723"/>
                </a:cubicBezTo>
                <a:close/>
                <a:moveTo>
                  <a:pt x="412496" y="0"/>
                </a:moveTo>
                <a:cubicBezTo>
                  <a:pt x="422728" y="10679"/>
                  <a:pt x="439174" y="20557"/>
                  <a:pt x="461833" y="29636"/>
                </a:cubicBezTo>
                <a:cubicBezTo>
                  <a:pt x="476418" y="41282"/>
                  <a:pt x="483710" y="48984"/>
                  <a:pt x="483710" y="52741"/>
                </a:cubicBezTo>
                <a:lnTo>
                  <a:pt x="483710" y="67978"/>
                </a:lnTo>
                <a:cubicBezTo>
                  <a:pt x="478055" y="87883"/>
                  <a:pt x="469404" y="102190"/>
                  <a:pt x="457758" y="110896"/>
                </a:cubicBezTo>
                <a:cubicBezTo>
                  <a:pt x="442913" y="123472"/>
                  <a:pt x="430021" y="134364"/>
                  <a:pt x="419082" y="143573"/>
                </a:cubicBezTo>
                <a:lnTo>
                  <a:pt x="405684" y="154825"/>
                </a:lnTo>
                <a:lnTo>
                  <a:pt x="417910" y="151694"/>
                </a:lnTo>
                <a:cubicBezTo>
                  <a:pt x="430411" y="141648"/>
                  <a:pt x="439360" y="136625"/>
                  <a:pt x="444755" y="136625"/>
                </a:cubicBezTo>
                <a:cubicBezTo>
                  <a:pt x="444755" y="136215"/>
                  <a:pt x="453275" y="133164"/>
                  <a:pt x="470316" y="127472"/>
                </a:cubicBezTo>
                <a:cubicBezTo>
                  <a:pt x="477683" y="122560"/>
                  <a:pt x="485627" y="119044"/>
                  <a:pt x="494147" y="116924"/>
                </a:cubicBezTo>
                <a:cubicBezTo>
                  <a:pt x="500993" y="110078"/>
                  <a:pt x="513253" y="104106"/>
                  <a:pt x="530926" y="99008"/>
                </a:cubicBezTo>
                <a:cubicBezTo>
                  <a:pt x="535391" y="96776"/>
                  <a:pt x="542497" y="92962"/>
                  <a:pt x="552246" y="87567"/>
                </a:cubicBezTo>
                <a:cubicBezTo>
                  <a:pt x="590606" y="95604"/>
                  <a:pt x="609786" y="103845"/>
                  <a:pt x="609786" y="112291"/>
                </a:cubicBezTo>
                <a:lnTo>
                  <a:pt x="609786" y="119268"/>
                </a:lnTo>
                <a:cubicBezTo>
                  <a:pt x="609786" y="132476"/>
                  <a:pt x="602959" y="143062"/>
                  <a:pt x="589304" y="151024"/>
                </a:cubicBezTo>
                <a:lnTo>
                  <a:pt x="580430" y="147508"/>
                </a:lnTo>
                <a:cubicBezTo>
                  <a:pt x="546423" y="158149"/>
                  <a:pt x="528433" y="165441"/>
                  <a:pt x="526461" y="169385"/>
                </a:cubicBezTo>
                <a:cubicBezTo>
                  <a:pt x="518945" y="173143"/>
                  <a:pt x="509439" y="176176"/>
                  <a:pt x="497942" y="178483"/>
                </a:cubicBezTo>
                <a:cubicBezTo>
                  <a:pt x="464679" y="199839"/>
                  <a:pt x="444699" y="210518"/>
                  <a:pt x="438002" y="210518"/>
                </a:cubicBezTo>
                <a:cubicBezTo>
                  <a:pt x="430597" y="210518"/>
                  <a:pt x="418710" y="203523"/>
                  <a:pt x="402339" y="189533"/>
                </a:cubicBezTo>
                <a:cubicBezTo>
                  <a:pt x="393595" y="189533"/>
                  <a:pt x="386730" y="184585"/>
                  <a:pt x="381745" y="174688"/>
                </a:cubicBezTo>
                <a:lnTo>
                  <a:pt x="381745" y="174453"/>
                </a:lnTo>
                <a:lnTo>
                  <a:pt x="361150" y="190928"/>
                </a:lnTo>
                <a:cubicBezTo>
                  <a:pt x="361150" y="193868"/>
                  <a:pt x="353877" y="199691"/>
                  <a:pt x="339329" y="208397"/>
                </a:cubicBezTo>
                <a:lnTo>
                  <a:pt x="291276" y="249083"/>
                </a:lnTo>
                <a:lnTo>
                  <a:pt x="269677" y="249083"/>
                </a:lnTo>
                <a:lnTo>
                  <a:pt x="269677" y="232842"/>
                </a:lnTo>
                <a:cubicBezTo>
                  <a:pt x="307033" y="195486"/>
                  <a:pt x="325711" y="171246"/>
                  <a:pt x="325711" y="160121"/>
                </a:cubicBezTo>
                <a:lnTo>
                  <a:pt x="350658" y="120942"/>
                </a:lnTo>
                <a:lnTo>
                  <a:pt x="363104" y="87623"/>
                </a:lnTo>
                <a:cubicBezTo>
                  <a:pt x="364853" y="87623"/>
                  <a:pt x="368722" y="75698"/>
                  <a:pt x="374712" y="51848"/>
                </a:cubicBezTo>
                <a:cubicBezTo>
                  <a:pt x="374712" y="49356"/>
                  <a:pt x="371215" y="37617"/>
                  <a:pt x="364220" y="16632"/>
                </a:cubicBezTo>
                <a:lnTo>
                  <a:pt x="391344" y="10660"/>
                </a:lnTo>
                <a:lnTo>
                  <a:pt x="392683" y="10549"/>
                </a:lnTo>
                <a:close/>
              </a:path>
            </a:pathLst>
          </a:custGeom>
          <a:solidFill>
            <a:schemeClr val="bg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dist">
              <a:defRPr sz="5400" b="1" spc="600">
                <a:solidFill>
                  <a:schemeClr val="bg1"/>
                </a:solidFill>
                <a:effectLst>
                  <a:outerShdw blurRad="38100" dist="38100" dir="2700000" algn="tl">
                    <a:srgbClr val="000000">
                      <a:alpha val="43137"/>
                    </a:srgbClr>
                  </a:outerShdw>
                </a:effectLst>
              </a:defRPr>
            </a:lvl1pPr>
          </a:lstStyle>
          <a:p>
            <a:pPr algn="ctr"/>
            <a:endParaRPr lang="zh-CN" altLang="en-US" sz="7200" dirty="0">
              <a:effectLst>
                <a:outerShdw blurRad="50800" dist="38100" dir="2700000" algn="tl" rotWithShape="0">
                  <a:prstClr val="black">
                    <a:alpha val="40000"/>
                  </a:prstClr>
                </a:outerShdw>
              </a:effectLst>
              <a:cs typeface="+mn-ea"/>
              <a:sym typeface="+mn-lt"/>
            </a:endParaRPr>
          </a:p>
        </p:txBody>
      </p:sp>
      <p:sp>
        <p:nvSpPr>
          <p:cNvPr id="77" name="文本框 76">
            <a:extLst>
              <a:ext uri="{FF2B5EF4-FFF2-40B4-BE49-F238E27FC236}">
                <a16:creationId xmlns:a16="http://schemas.microsoft.com/office/drawing/2014/main" id="{9EA2C83A-DECC-4200-80AD-1F092540C5B0}"/>
              </a:ext>
            </a:extLst>
          </p:cNvPr>
          <p:cNvSpPr txBox="1"/>
          <p:nvPr/>
        </p:nvSpPr>
        <p:spPr>
          <a:xfrm>
            <a:off x="7171342" y="1515111"/>
            <a:ext cx="833921" cy="3985616"/>
          </a:xfrm>
          <a:custGeom>
            <a:avLst/>
            <a:gdLst/>
            <a:ahLst/>
            <a:cxnLst/>
            <a:rect l="l" t="t" r="r" b="b"/>
            <a:pathLst>
              <a:path w="833921" h="3985616">
                <a:moveTo>
                  <a:pt x="638011" y="3584772"/>
                </a:moveTo>
                <a:lnTo>
                  <a:pt x="628204" y="3586702"/>
                </a:lnTo>
                <a:lnTo>
                  <a:pt x="621953" y="3586702"/>
                </a:lnTo>
                <a:cubicBezTo>
                  <a:pt x="613842" y="3589419"/>
                  <a:pt x="609786" y="3594088"/>
                  <a:pt x="609786" y="3600711"/>
                </a:cubicBezTo>
                <a:lnTo>
                  <a:pt x="590197" y="3597251"/>
                </a:lnTo>
                <a:cubicBezTo>
                  <a:pt x="584988" y="3601492"/>
                  <a:pt x="578681" y="3604357"/>
                  <a:pt x="571277" y="3605845"/>
                </a:cubicBezTo>
                <a:cubicBezTo>
                  <a:pt x="571277" y="3608562"/>
                  <a:pt x="563110" y="3611073"/>
                  <a:pt x="546776" y="3613380"/>
                </a:cubicBezTo>
                <a:lnTo>
                  <a:pt x="546776" y="3621528"/>
                </a:lnTo>
                <a:lnTo>
                  <a:pt x="546776" y="3632021"/>
                </a:lnTo>
                <a:lnTo>
                  <a:pt x="546776" y="3642569"/>
                </a:lnTo>
                <a:lnTo>
                  <a:pt x="546776" y="3649545"/>
                </a:lnTo>
                <a:lnTo>
                  <a:pt x="546776" y="3656577"/>
                </a:lnTo>
                <a:lnTo>
                  <a:pt x="546776" y="3667070"/>
                </a:lnTo>
                <a:lnTo>
                  <a:pt x="546776" y="3712611"/>
                </a:lnTo>
                <a:lnTo>
                  <a:pt x="546776" y="3719253"/>
                </a:lnTo>
                <a:lnTo>
                  <a:pt x="547781" y="3722880"/>
                </a:lnTo>
                <a:lnTo>
                  <a:pt x="597005" y="3708928"/>
                </a:lnTo>
                <a:cubicBezTo>
                  <a:pt x="616018" y="3708928"/>
                  <a:pt x="625971" y="3707681"/>
                  <a:pt x="626864" y="3705188"/>
                </a:cubicBezTo>
                <a:lnTo>
                  <a:pt x="633896" y="3658977"/>
                </a:lnTo>
                <a:lnTo>
                  <a:pt x="633896" y="3648429"/>
                </a:lnTo>
                <a:lnTo>
                  <a:pt x="637412" y="3639276"/>
                </a:lnTo>
                <a:lnTo>
                  <a:pt x="633896" y="3639276"/>
                </a:lnTo>
                <a:lnTo>
                  <a:pt x="633896" y="3624263"/>
                </a:lnTo>
                <a:cubicBezTo>
                  <a:pt x="636315" y="3604804"/>
                  <a:pt x="638640" y="3594255"/>
                  <a:pt x="640873" y="3592618"/>
                </a:cubicBezTo>
                <a:close/>
                <a:moveTo>
                  <a:pt x="683791" y="3477760"/>
                </a:moveTo>
                <a:lnTo>
                  <a:pt x="744959" y="3507117"/>
                </a:lnTo>
                <a:cubicBezTo>
                  <a:pt x="759879" y="3512065"/>
                  <a:pt x="774353" y="3521572"/>
                  <a:pt x="788380" y="3535636"/>
                </a:cubicBezTo>
                <a:lnTo>
                  <a:pt x="788380" y="3544510"/>
                </a:lnTo>
                <a:lnTo>
                  <a:pt x="788380" y="3555002"/>
                </a:lnTo>
                <a:lnTo>
                  <a:pt x="788380" y="3565662"/>
                </a:lnTo>
                <a:cubicBezTo>
                  <a:pt x="771451" y="3587428"/>
                  <a:pt x="761330" y="3604953"/>
                  <a:pt x="758019" y="3618235"/>
                </a:cubicBezTo>
                <a:cubicBezTo>
                  <a:pt x="755228" y="3618235"/>
                  <a:pt x="751824" y="3624263"/>
                  <a:pt x="747806" y="3636318"/>
                </a:cubicBezTo>
                <a:cubicBezTo>
                  <a:pt x="744531" y="3637918"/>
                  <a:pt x="742894" y="3643536"/>
                  <a:pt x="742894" y="3653173"/>
                </a:cubicBezTo>
                <a:cubicBezTo>
                  <a:pt x="735304" y="3663293"/>
                  <a:pt x="729853" y="3674995"/>
                  <a:pt x="726542" y="3688278"/>
                </a:cubicBezTo>
                <a:cubicBezTo>
                  <a:pt x="724793" y="3688278"/>
                  <a:pt x="723230" y="3692352"/>
                  <a:pt x="721854" y="3700500"/>
                </a:cubicBezTo>
                <a:lnTo>
                  <a:pt x="742894" y="3721262"/>
                </a:lnTo>
                <a:lnTo>
                  <a:pt x="742894" y="3733596"/>
                </a:lnTo>
                <a:lnTo>
                  <a:pt x="742894" y="3737112"/>
                </a:lnTo>
                <a:cubicBezTo>
                  <a:pt x="742894" y="3752813"/>
                  <a:pt x="734411" y="3765724"/>
                  <a:pt x="717445" y="3775844"/>
                </a:cubicBezTo>
                <a:lnTo>
                  <a:pt x="642938" y="3775844"/>
                </a:lnTo>
                <a:lnTo>
                  <a:pt x="621953" y="3782821"/>
                </a:lnTo>
                <a:lnTo>
                  <a:pt x="616595" y="3782821"/>
                </a:lnTo>
                <a:lnTo>
                  <a:pt x="604875" y="3782821"/>
                </a:lnTo>
                <a:lnTo>
                  <a:pt x="602977" y="3779360"/>
                </a:lnTo>
                <a:lnTo>
                  <a:pt x="597285" y="3782821"/>
                </a:lnTo>
                <a:lnTo>
                  <a:pt x="592094" y="3782821"/>
                </a:lnTo>
                <a:cubicBezTo>
                  <a:pt x="580299" y="3782821"/>
                  <a:pt x="570905" y="3785165"/>
                  <a:pt x="563910" y="3789853"/>
                </a:cubicBezTo>
                <a:lnTo>
                  <a:pt x="546590" y="3789853"/>
                </a:lnTo>
                <a:lnTo>
                  <a:pt x="546776" y="3790299"/>
                </a:lnTo>
                <a:cubicBezTo>
                  <a:pt x="533381" y="3820846"/>
                  <a:pt x="522517" y="3838203"/>
                  <a:pt x="514183" y="3842371"/>
                </a:cubicBezTo>
                <a:lnTo>
                  <a:pt x="508043" y="3842371"/>
                </a:lnTo>
                <a:cubicBezTo>
                  <a:pt x="497886" y="3842371"/>
                  <a:pt x="490184" y="3833162"/>
                  <a:pt x="484938" y="3814744"/>
                </a:cubicBezTo>
                <a:cubicBezTo>
                  <a:pt x="479171" y="3811842"/>
                  <a:pt x="476287" y="3802299"/>
                  <a:pt x="476287" y="3786114"/>
                </a:cubicBezTo>
                <a:lnTo>
                  <a:pt x="476287" y="3780309"/>
                </a:lnTo>
                <a:lnTo>
                  <a:pt x="478799" y="3782821"/>
                </a:lnTo>
                <a:lnTo>
                  <a:pt x="490742" y="3782821"/>
                </a:lnTo>
                <a:lnTo>
                  <a:pt x="480027" y="3779137"/>
                </a:lnTo>
                <a:lnTo>
                  <a:pt x="469311" y="3754636"/>
                </a:lnTo>
                <a:lnTo>
                  <a:pt x="469311" y="3718080"/>
                </a:lnTo>
                <a:cubicBezTo>
                  <a:pt x="467041" y="3711309"/>
                  <a:pt x="464958" y="3695533"/>
                  <a:pt x="463060" y="3670753"/>
                </a:cubicBezTo>
                <a:cubicBezTo>
                  <a:pt x="460195" y="3670753"/>
                  <a:pt x="458763" y="3663684"/>
                  <a:pt x="458763" y="3649545"/>
                </a:cubicBezTo>
                <a:lnTo>
                  <a:pt x="458763" y="3639053"/>
                </a:lnTo>
                <a:cubicBezTo>
                  <a:pt x="458763" y="3631090"/>
                  <a:pt x="451768" y="3608431"/>
                  <a:pt x="437778" y="3571076"/>
                </a:cubicBezTo>
                <a:lnTo>
                  <a:pt x="437778" y="3565718"/>
                </a:lnTo>
                <a:cubicBezTo>
                  <a:pt x="435434" y="3565718"/>
                  <a:pt x="434262" y="3559169"/>
                  <a:pt x="434262" y="3546072"/>
                </a:cubicBezTo>
                <a:lnTo>
                  <a:pt x="445536" y="3533794"/>
                </a:lnTo>
                <a:lnTo>
                  <a:pt x="475618" y="3547858"/>
                </a:lnTo>
                <a:cubicBezTo>
                  <a:pt x="486528" y="3547858"/>
                  <a:pt x="495315" y="3551144"/>
                  <a:pt x="501978" y="3557716"/>
                </a:cubicBezTo>
                <a:lnTo>
                  <a:pt x="505143" y="3561791"/>
                </a:lnTo>
                <a:lnTo>
                  <a:pt x="510136" y="3560109"/>
                </a:lnTo>
                <a:cubicBezTo>
                  <a:pt x="515550" y="3558937"/>
                  <a:pt x="523094" y="3558351"/>
                  <a:pt x="532768" y="3558351"/>
                </a:cubicBezTo>
                <a:lnTo>
                  <a:pt x="532768" y="3558295"/>
                </a:lnTo>
                <a:cubicBezTo>
                  <a:pt x="525698" y="3553681"/>
                  <a:pt x="530535" y="3551374"/>
                  <a:pt x="547278" y="3551374"/>
                </a:cubicBezTo>
                <a:cubicBezTo>
                  <a:pt x="579983" y="3537347"/>
                  <a:pt x="605991" y="3530334"/>
                  <a:pt x="625301" y="3530334"/>
                </a:cubicBezTo>
                <a:lnTo>
                  <a:pt x="634231" y="3528101"/>
                </a:lnTo>
                <a:close/>
                <a:moveTo>
                  <a:pt x="262868" y="3453315"/>
                </a:moveTo>
                <a:lnTo>
                  <a:pt x="272746" y="3453315"/>
                </a:lnTo>
                <a:cubicBezTo>
                  <a:pt x="280485" y="3463622"/>
                  <a:pt x="298084" y="3472198"/>
                  <a:pt x="325543" y="3479044"/>
                </a:cubicBezTo>
                <a:lnTo>
                  <a:pt x="324929" y="3477760"/>
                </a:lnTo>
                <a:lnTo>
                  <a:pt x="326101" y="3477816"/>
                </a:lnTo>
                <a:cubicBezTo>
                  <a:pt x="334249" y="3477816"/>
                  <a:pt x="341821" y="3481314"/>
                  <a:pt x="348816" y="3488308"/>
                </a:cubicBezTo>
                <a:cubicBezTo>
                  <a:pt x="354230" y="3488308"/>
                  <a:pt x="358272" y="3491594"/>
                  <a:pt x="360944" y="3498166"/>
                </a:cubicBezTo>
                <a:lnTo>
                  <a:pt x="362285" y="3502806"/>
                </a:lnTo>
                <a:lnTo>
                  <a:pt x="388609" y="3491769"/>
                </a:lnTo>
                <a:cubicBezTo>
                  <a:pt x="392776" y="3496940"/>
                  <a:pt x="403994" y="3500680"/>
                  <a:pt x="422263" y="3502987"/>
                </a:cubicBezTo>
                <a:cubicBezTo>
                  <a:pt x="435211" y="3512660"/>
                  <a:pt x="441685" y="3520325"/>
                  <a:pt x="441685" y="3525981"/>
                </a:cubicBezTo>
                <a:cubicBezTo>
                  <a:pt x="431974" y="3545477"/>
                  <a:pt x="419565" y="3555225"/>
                  <a:pt x="404459" y="3555225"/>
                </a:cubicBezTo>
                <a:lnTo>
                  <a:pt x="396367" y="3551709"/>
                </a:lnTo>
                <a:lnTo>
                  <a:pt x="377670" y="3560472"/>
                </a:lnTo>
                <a:cubicBezTo>
                  <a:pt x="369522" y="3568620"/>
                  <a:pt x="361671" y="3572694"/>
                  <a:pt x="354118" y="3572694"/>
                </a:cubicBezTo>
                <a:lnTo>
                  <a:pt x="357634" y="3572359"/>
                </a:lnTo>
                <a:lnTo>
                  <a:pt x="357634" y="3577494"/>
                </a:lnTo>
                <a:lnTo>
                  <a:pt x="354118" y="3588042"/>
                </a:lnTo>
                <a:lnTo>
                  <a:pt x="354118" y="3596190"/>
                </a:lnTo>
                <a:lnTo>
                  <a:pt x="351420" y="3625602"/>
                </a:lnTo>
                <a:lnTo>
                  <a:pt x="359197" y="3621305"/>
                </a:lnTo>
                <a:lnTo>
                  <a:pt x="407194" y="3631909"/>
                </a:lnTo>
                <a:cubicBezTo>
                  <a:pt x="425723" y="3631909"/>
                  <a:pt x="441499" y="3644913"/>
                  <a:pt x="454521" y="3670921"/>
                </a:cubicBezTo>
                <a:lnTo>
                  <a:pt x="459209" y="3681915"/>
                </a:lnTo>
                <a:cubicBezTo>
                  <a:pt x="447117" y="3707179"/>
                  <a:pt x="431862" y="3719811"/>
                  <a:pt x="413445" y="3719811"/>
                </a:cubicBezTo>
                <a:cubicBezTo>
                  <a:pt x="401538" y="3719811"/>
                  <a:pt x="386246" y="3712797"/>
                  <a:pt x="367568" y="3698770"/>
                </a:cubicBezTo>
                <a:cubicBezTo>
                  <a:pt x="364964" y="3698770"/>
                  <a:pt x="361843" y="3697603"/>
                  <a:pt x="358206" y="3695268"/>
                </a:cubicBezTo>
                <a:lnTo>
                  <a:pt x="350658" y="3688903"/>
                </a:lnTo>
                <a:lnTo>
                  <a:pt x="350658" y="3719587"/>
                </a:lnTo>
                <a:lnTo>
                  <a:pt x="350658" y="3747604"/>
                </a:lnTo>
                <a:lnTo>
                  <a:pt x="350658" y="3765966"/>
                </a:lnTo>
                <a:lnTo>
                  <a:pt x="347142" y="3778970"/>
                </a:lnTo>
                <a:lnTo>
                  <a:pt x="350658" y="3778970"/>
                </a:lnTo>
                <a:lnTo>
                  <a:pt x="350658" y="3800345"/>
                </a:lnTo>
                <a:lnTo>
                  <a:pt x="347142" y="3800345"/>
                </a:lnTo>
                <a:lnTo>
                  <a:pt x="349279" y="3808859"/>
                </a:lnTo>
                <a:lnTo>
                  <a:pt x="350658" y="3805312"/>
                </a:lnTo>
                <a:lnTo>
                  <a:pt x="350658" y="3814354"/>
                </a:lnTo>
                <a:lnTo>
                  <a:pt x="350658" y="3828027"/>
                </a:lnTo>
                <a:lnTo>
                  <a:pt x="350658" y="3830650"/>
                </a:lnTo>
                <a:lnTo>
                  <a:pt x="350327" y="3830403"/>
                </a:lnTo>
                <a:lnTo>
                  <a:pt x="347142" y="3853254"/>
                </a:lnTo>
                <a:lnTo>
                  <a:pt x="347142" y="3894721"/>
                </a:lnTo>
                <a:cubicBezTo>
                  <a:pt x="347142" y="3901716"/>
                  <a:pt x="347142" y="3907539"/>
                  <a:pt x="347142" y="3912190"/>
                </a:cubicBezTo>
                <a:lnTo>
                  <a:pt x="347142" y="3916766"/>
                </a:lnTo>
                <a:lnTo>
                  <a:pt x="314476" y="3985616"/>
                </a:lnTo>
                <a:lnTo>
                  <a:pt x="266161" y="3985616"/>
                </a:lnTo>
                <a:lnTo>
                  <a:pt x="266161" y="3961247"/>
                </a:lnTo>
                <a:lnTo>
                  <a:pt x="266161" y="3940206"/>
                </a:lnTo>
                <a:lnTo>
                  <a:pt x="266161" y="3939593"/>
                </a:lnTo>
                <a:cubicBezTo>
                  <a:pt x="263817" y="3934942"/>
                  <a:pt x="262645" y="3925472"/>
                  <a:pt x="262645" y="3911185"/>
                </a:cubicBezTo>
                <a:cubicBezTo>
                  <a:pt x="264989" y="3894926"/>
                  <a:pt x="267351" y="3877364"/>
                  <a:pt x="269732" y="3858500"/>
                </a:cubicBezTo>
                <a:lnTo>
                  <a:pt x="273193" y="3853588"/>
                </a:lnTo>
                <a:lnTo>
                  <a:pt x="269677" y="3848566"/>
                </a:lnTo>
                <a:lnTo>
                  <a:pt x="269677" y="3838017"/>
                </a:lnTo>
                <a:lnTo>
                  <a:pt x="266161" y="3827748"/>
                </a:lnTo>
                <a:lnTo>
                  <a:pt x="273193" y="3820158"/>
                </a:lnTo>
                <a:lnTo>
                  <a:pt x="269677" y="3810447"/>
                </a:lnTo>
                <a:lnTo>
                  <a:pt x="276653" y="3799676"/>
                </a:lnTo>
                <a:lnTo>
                  <a:pt x="273193" y="3786560"/>
                </a:lnTo>
                <a:lnTo>
                  <a:pt x="276653" y="3775677"/>
                </a:lnTo>
                <a:lnTo>
                  <a:pt x="270179" y="3770319"/>
                </a:lnTo>
                <a:lnTo>
                  <a:pt x="266183" y="3740795"/>
                </a:lnTo>
                <a:lnTo>
                  <a:pt x="266161" y="3740795"/>
                </a:lnTo>
                <a:lnTo>
                  <a:pt x="266174" y="3740725"/>
                </a:lnTo>
                <a:lnTo>
                  <a:pt x="266161" y="3740628"/>
                </a:lnTo>
                <a:lnTo>
                  <a:pt x="266192" y="3740629"/>
                </a:lnTo>
                <a:lnTo>
                  <a:pt x="269677" y="3721987"/>
                </a:lnTo>
                <a:lnTo>
                  <a:pt x="269677" y="3718918"/>
                </a:lnTo>
                <a:lnTo>
                  <a:pt x="267616" y="3714077"/>
                </a:lnTo>
                <a:lnTo>
                  <a:pt x="253492" y="3726619"/>
                </a:lnTo>
                <a:lnTo>
                  <a:pt x="209848" y="3773891"/>
                </a:lnTo>
                <a:lnTo>
                  <a:pt x="191988" y="3782821"/>
                </a:lnTo>
                <a:cubicBezTo>
                  <a:pt x="190649" y="3782821"/>
                  <a:pt x="189254" y="3784997"/>
                  <a:pt x="187803" y="3789351"/>
                </a:cubicBezTo>
                <a:lnTo>
                  <a:pt x="145052" y="3820437"/>
                </a:lnTo>
                <a:cubicBezTo>
                  <a:pt x="95194" y="3858425"/>
                  <a:pt x="63345" y="3877420"/>
                  <a:pt x="49504" y="3877420"/>
                </a:cubicBezTo>
                <a:lnTo>
                  <a:pt x="42025" y="3857942"/>
                </a:lnTo>
                <a:cubicBezTo>
                  <a:pt x="76070" y="3837589"/>
                  <a:pt x="100013" y="3818167"/>
                  <a:pt x="113854" y="3799676"/>
                </a:cubicBezTo>
                <a:cubicBezTo>
                  <a:pt x="121072" y="3794839"/>
                  <a:pt x="139712" y="3773947"/>
                  <a:pt x="169776" y="3737000"/>
                </a:cubicBezTo>
                <a:cubicBezTo>
                  <a:pt x="185514" y="3723457"/>
                  <a:pt x="196007" y="3710193"/>
                  <a:pt x="201253" y="3697207"/>
                </a:cubicBezTo>
                <a:cubicBezTo>
                  <a:pt x="208434" y="3694863"/>
                  <a:pt x="216192" y="3685357"/>
                  <a:pt x="224526" y="3668688"/>
                </a:cubicBezTo>
                <a:cubicBezTo>
                  <a:pt x="235948" y="3650457"/>
                  <a:pt x="241660" y="3638736"/>
                  <a:pt x="241660" y="3633528"/>
                </a:cubicBezTo>
                <a:cubicBezTo>
                  <a:pt x="244283" y="3630904"/>
                  <a:pt x="247055" y="3627593"/>
                  <a:pt x="249976" y="3623593"/>
                </a:cubicBezTo>
                <a:lnTo>
                  <a:pt x="253436" y="3618308"/>
                </a:lnTo>
                <a:lnTo>
                  <a:pt x="248692" y="3621751"/>
                </a:lnTo>
                <a:cubicBezTo>
                  <a:pt x="244599" y="3624300"/>
                  <a:pt x="241232" y="3625900"/>
                  <a:pt x="238590" y="3626551"/>
                </a:cubicBezTo>
                <a:cubicBezTo>
                  <a:pt x="238590" y="3630346"/>
                  <a:pt x="231484" y="3632244"/>
                  <a:pt x="217271" y="3632244"/>
                </a:cubicBezTo>
                <a:cubicBezTo>
                  <a:pt x="195207" y="3647685"/>
                  <a:pt x="165813" y="3665191"/>
                  <a:pt x="129090" y="3684762"/>
                </a:cubicBezTo>
                <a:lnTo>
                  <a:pt x="118095" y="3684762"/>
                </a:lnTo>
                <a:cubicBezTo>
                  <a:pt x="104738" y="3671441"/>
                  <a:pt x="93408" y="3661265"/>
                  <a:pt x="84107" y="3654233"/>
                </a:cubicBezTo>
                <a:cubicBezTo>
                  <a:pt x="82283" y="3652447"/>
                  <a:pt x="72182" y="3647592"/>
                  <a:pt x="53801" y="3639667"/>
                </a:cubicBezTo>
                <a:lnTo>
                  <a:pt x="49058" y="3611092"/>
                </a:lnTo>
                <a:cubicBezTo>
                  <a:pt x="82358" y="3596953"/>
                  <a:pt x="104980" y="3589884"/>
                  <a:pt x="116923" y="3589884"/>
                </a:cubicBezTo>
                <a:lnTo>
                  <a:pt x="142150" y="3580396"/>
                </a:lnTo>
                <a:cubicBezTo>
                  <a:pt x="163469" y="3570945"/>
                  <a:pt x="200844" y="3559225"/>
                  <a:pt x="254273" y="3545235"/>
                </a:cubicBezTo>
                <a:lnTo>
                  <a:pt x="263705" y="3540547"/>
                </a:lnTo>
                <a:lnTo>
                  <a:pt x="266161" y="3534185"/>
                </a:lnTo>
                <a:lnTo>
                  <a:pt x="260021" y="3508010"/>
                </a:lnTo>
                <a:cubicBezTo>
                  <a:pt x="247780" y="3495768"/>
                  <a:pt x="241660" y="3484588"/>
                  <a:pt x="241660" y="3474467"/>
                </a:cubicBezTo>
                <a:lnTo>
                  <a:pt x="241660" y="3469556"/>
                </a:lnTo>
                <a:cubicBezTo>
                  <a:pt x="248878" y="3458729"/>
                  <a:pt x="255947" y="3453315"/>
                  <a:pt x="262868" y="3453315"/>
                </a:cubicBezTo>
                <a:close/>
                <a:moveTo>
                  <a:pt x="324706" y="3278182"/>
                </a:moveTo>
                <a:lnTo>
                  <a:pt x="345356" y="3278182"/>
                </a:lnTo>
                <a:cubicBezTo>
                  <a:pt x="381223" y="3314049"/>
                  <a:pt x="405166" y="3333490"/>
                  <a:pt x="417184" y="3336504"/>
                </a:cubicBezTo>
                <a:cubicBezTo>
                  <a:pt x="417184" y="3340299"/>
                  <a:pt x="420440" y="3344373"/>
                  <a:pt x="426951" y="3348726"/>
                </a:cubicBezTo>
                <a:lnTo>
                  <a:pt x="434708" y="3381096"/>
                </a:lnTo>
                <a:cubicBezTo>
                  <a:pt x="422802" y="3408444"/>
                  <a:pt x="411882" y="3422117"/>
                  <a:pt x="401948" y="3422117"/>
                </a:cubicBezTo>
                <a:lnTo>
                  <a:pt x="360815" y="3418601"/>
                </a:lnTo>
                <a:lnTo>
                  <a:pt x="322808" y="3422117"/>
                </a:lnTo>
                <a:lnTo>
                  <a:pt x="317450" y="3422117"/>
                </a:lnTo>
                <a:lnTo>
                  <a:pt x="248469" y="3446227"/>
                </a:lnTo>
                <a:lnTo>
                  <a:pt x="238590" y="3448236"/>
                </a:lnTo>
                <a:cubicBezTo>
                  <a:pt x="238590" y="3452701"/>
                  <a:pt x="222219" y="3459027"/>
                  <a:pt x="189477" y="3467212"/>
                </a:cubicBezTo>
                <a:cubicBezTo>
                  <a:pt x="156251" y="3486188"/>
                  <a:pt x="137517" y="3495675"/>
                  <a:pt x="133276" y="3495675"/>
                </a:cubicBezTo>
                <a:lnTo>
                  <a:pt x="123062" y="3495675"/>
                </a:lnTo>
                <a:lnTo>
                  <a:pt x="115584" y="3480830"/>
                </a:lnTo>
                <a:cubicBezTo>
                  <a:pt x="115584" y="3471826"/>
                  <a:pt x="121053" y="3467324"/>
                  <a:pt x="131992" y="3467324"/>
                </a:cubicBezTo>
                <a:cubicBezTo>
                  <a:pt x="155470" y="3448088"/>
                  <a:pt x="183654" y="3427884"/>
                  <a:pt x="216545" y="3406713"/>
                </a:cubicBezTo>
                <a:cubicBezTo>
                  <a:pt x="251110" y="3377059"/>
                  <a:pt x="268170" y="3362232"/>
                  <a:pt x="267723" y="3362232"/>
                </a:cubicBezTo>
                <a:cubicBezTo>
                  <a:pt x="269621" y="3354605"/>
                  <a:pt x="274923" y="3349322"/>
                  <a:pt x="283629" y="3346382"/>
                </a:cubicBezTo>
                <a:cubicBezTo>
                  <a:pt x="289489" y="3340541"/>
                  <a:pt x="293884" y="3335741"/>
                  <a:pt x="296815" y="3331983"/>
                </a:cubicBezTo>
                <a:lnTo>
                  <a:pt x="297877" y="3330418"/>
                </a:lnTo>
                <a:lnTo>
                  <a:pt x="293543" y="3329545"/>
                </a:lnTo>
                <a:cubicBezTo>
                  <a:pt x="286971" y="3326454"/>
                  <a:pt x="283685" y="3318728"/>
                  <a:pt x="283685" y="3306366"/>
                </a:cubicBezTo>
                <a:cubicBezTo>
                  <a:pt x="283685" y="3293641"/>
                  <a:pt x="297359" y="3284247"/>
                  <a:pt x="324706" y="3278182"/>
                </a:cubicBezTo>
                <a:close/>
                <a:moveTo>
                  <a:pt x="402707" y="2744824"/>
                </a:moveTo>
                <a:lnTo>
                  <a:pt x="402617" y="2745531"/>
                </a:lnTo>
                <a:lnTo>
                  <a:pt x="401397" y="2746599"/>
                </a:lnTo>
                <a:lnTo>
                  <a:pt x="401484" y="2746329"/>
                </a:lnTo>
                <a:close/>
                <a:moveTo>
                  <a:pt x="294403" y="2734834"/>
                </a:moveTo>
                <a:lnTo>
                  <a:pt x="294052" y="2735066"/>
                </a:lnTo>
                <a:cubicBezTo>
                  <a:pt x="292908" y="2736024"/>
                  <a:pt x="293098" y="2736503"/>
                  <a:pt x="294624" y="2736503"/>
                </a:cubicBezTo>
                <a:close/>
                <a:moveTo>
                  <a:pt x="247897" y="2682369"/>
                </a:moveTo>
                <a:lnTo>
                  <a:pt x="205271" y="2703631"/>
                </a:lnTo>
                <a:lnTo>
                  <a:pt x="200025" y="2706924"/>
                </a:lnTo>
                <a:cubicBezTo>
                  <a:pt x="201960" y="2735759"/>
                  <a:pt x="205476" y="2750177"/>
                  <a:pt x="210573" y="2750177"/>
                </a:cubicBezTo>
                <a:lnTo>
                  <a:pt x="209426" y="2755603"/>
                </a:lnTo>
                <a:lnTo>
                  <a:pt x="218791" y="2749940"/>
                </a:lnTo>
                <a:cubicBezTo>
                  <a:pt x="224772" y="2747158"/>
                  <a:pt x="230851" y="2745154"/>
                  <a:pt x="237027" y="2743926"/>
                </a:cubicBezTo>
                <a:cubicBezTo>
                  <a:pt x="242460" y="2741210"/>
                  <a:pt x="245176" y="2729285"/>
                  <a:pt x="245176" y="2708151"/>
                </a:cubicBezTo>
                <a:lnTo>
                  <a:pt x="248636" y="2708151"/>
                </a:lnTo>
                <a:lnTo>
                  <a:pt x="245176" y="2697603"/>
                </a:lnTo>
                <a:lnTo>
                  <a:pt x="246046" y="2698146"/>
                </a:lnTo>
                <a:lnTo>
                  <a:pt x="245176" y="2696152"/>
                </a:lnTo>
                <a:close/>
                <a:moveTo>
                  <a:pt x="273862" y="2599544"/>
                </a:moveTo>
                <a:lnTo>
                  <a:pt x="288317" y="2599544"/>
                </a:lnTo>
                <a:cubicBezTo>
                  <a:pt x="298996" y="2607544"/>
                  <a:pt x="310995" y="2613757"/>
                  <a:pt x="324315" y="2618185"/>
                </a:cubicBezTo>
                <a:cubicBezTo>
                  <a:pt x="343440" y="2629124"/>
                  <a:pt x="354546" y="2639914"/>
                  <a:pt x="357634" y="2650555"/>
                </a:cubicBezTo>
                <a:cubicBezTo>
                  <a:pt x="344240" y="2672730"/>
                  <a:pt x="333970" y="2687409"/>
                  <a:pt x="326827" y="2694589"/>
                </a:cubicBezTo>
                <a:lnTo>
                  <a:pt x="304957" y="2725804"/>
                </a:lnTo>
                <a:lnTo>
                  <a:pt x="307642" y="2727012"/>
                </a:lnTo>
                <a:cubicBezTo>
                  <a:pt x="317269" y="2731944"/>
                  <a:pt x="323422" y="2737117"/>
                  <a:pt x="326101" y="2742531"/>
                </a:cubicBezTo>
                <a:lnTo>
                  <a:pt x="326101" y="2760558"/>
                </a:lnTo>
                <a:cubicBezTo>
                  <a:pt x="318139" y="2772538"/>
                  <a:pt x="307014" y="2778529"/>
                  <a:pt x="292726" y="2778529"/>
                </a:cubicBezTo>
                <a:cubicBezTo>
                  <a:pt x="285731" y="2780873"/>
                  <a:pt x="275779" y="2782045"/>
                  <a:pt x="262868" y="2782045"/>
                </a:cubicBezTo>
                <a:lnTo>
                  <a:pt x="265993" y="2782045"/>
                </a:lnTo>
                <a:cubicBezTo>
                  <a:pt x="263686" y="2786695"/>
                  <a:pt x="257584" y="2789021"/>
                  <a:pt x="247687" y="2789021"/>
                </a:cubicBezTo>
                <a:lnTo>
                  <a:pt x="247073" y="2785505"/>
                </a:lnTo>
                <a:lnTo>
                  <a:pt x="234404" y="2796053"/>
                </a:lnTo>
                <a:lnTo>
                  <a:pt x="238590" y="2796053"/>
                </a:lnTo>
                <a:cubicBezTo>
                  <a:pt x="238590" y="2798360"/>
                  <a:pt x="231856" y="2799513"/>
                  <a:pt x="218387" y="2799513"/>
                </a:cubicBezTo>
                <a:lnTo>
                  <a:pt x="214034" y="2803867"/>
                </a:lnTo>
                <a:lnTo>
                  <a:pt x="214034" y="2820331"/>
                </a:lnTo>
                <a:lnTo>
                  <a:pt x="214034" y="2829874"/>
                </a:lnTo>
                <a:cubicBezTo>
                  <a:pt x="211280" y="2835418"/>
                  <a:pt x="208620" y="2844590"/>
                  <a:pt x="206053" y="2857389"/>
                </a:cubicBezTo>
                <a:cubicBezTo>
                  <a:pt x="193253" y="2870188"/>
                  <a:pt x="183003" y="2876588"/>
                  <a:pt x="175301" y="2876588"/>
                </a:cubicBezTo>
                <a:lnTo>
                  <a:pt x="167153" y="2876588"/>
                </a:lnTo>
                <a:cubicBezTo>
                  <a:pt x="153795" y="2863230"/>
                  <a:pt x="147117" y="2846041"/>
                  <a:pt x="147117" y="2825019"/>
                </a:cubicBezTo>
                <a:cubicBezTo>
                  <a:pt x="143024" y="2820963"/>
                  <a:pt x="136178" y="2798490"/>
                  <a:pt x="126578" y="2757600"/>
                </a:cubicBezTo>
                <a:cubicBezTo>
                  <a:pt x="121593" y="2747591"/>
                  <a:pt x="119100" y="2740559"/>
                  <a:pt x="119100" y="2736503"/>
                </a:cubicBezTo>
                <a:cubicBezTo>
                  <a:pt x="116644" y="2736503"/>
                  <a:pt x="107361" y="2716356"/>
                  <a:pt x="91250" y="2676060"/>
                </a:cubicBezTo>
                <a:lnTo>
                  <a:pt x="87567" y="2645086"/>
                </a:lnTo>
                <a:lnTo>
                  <a:pt x="101799" y="2645086"/>
                </a:lnTo>
                <a:lnTo>
                  <a:pt x="114188" y="2645086"/>
                </a:lnTo>
                <a:cubicBezTo>
                  <a:pt x="122486" y="2653383"/>
                  <a:pt x="135676" y="2660936"/>
                  <a:pt x="153758" y="2667745"/>
                </a:cubicBezTo>
                <a:lnTo>
                  <a:pt x="162053" y="2673249"/>
                </a:lnTo>
                <a:lnTo>
                  <a:pt x="166284" y="2669035"/>
                </a:lnTo>
                <a:cubicBezTo>
                  <a:pt x="175207" y="2661738"/>
                  <a:pt x="188054" y="2655299"/>
                  <a:pt x="204825" y="2649718"/>
                </a:cubicBezTo>
                <a:cubicBezTo>
                  <a:pt x="228637" y="2641049"/>
                  <a:pt x="245697" y="2628993"/>
                  <a:pt x="256003" y="2613553"/>
                </a:cubicBezTo>
                <a:cubicBezTo>
                  <a:pt x="260914" y="2613553"/>
                  <a:pt x="266868" y="2608883"/>
                  <a:pt x="273862" y="2599544"/>
                </a:cubicBezTo>
                <a:close/>
                <a:moveTo>
                  <a:pt x="508043" y="2550877"/>
                </a:moveTo>
                <a:cubicBezTo>
                  <a:pt x="505588" y="2550877"/>
                  <a:pt x="500862" y="2553221"/>
                  <a:pt x="493868" y="2557909"/>
                </a:cubicBezTo>
                <a:lnTo>
                  <a:pt x="494202" y="2557909"/>
                </a:lnTo>
                <a:cubicBezTo>
                  <a:pt x="494202" y="2557537"/>
                  <a:pt x="489533" y="2559361"/>
                  <a:pt x="480194" y="2563379"/>
                </a:cubicBezTo>
                <a:lnTo>
                  <a:pt x="483710" y="2569574"/>
                </a:lnTo>
                <a:lnTo>
                  <a:pt x="480194" y="2577666"/>
                </a:lnTo>
                <a:cubicBezTo>
                  <a:pt x="480194" y="2580150"/>
                  <a:pt x="480001" y="2582323"/>
                  <a:pt x="479615" y="2584186"/>
                </a:cubicBezTo>
                <a:lnTo>
                  <a:pt x="477989" y="2588544"/>
                </a:lnTo>
                <a:lnTo>
                  <a:pt x="482036" y="2586973"/>
                </a:lnTo>
                <a:cubicBezTo>
                  <a:pt x="487375" y="2585326"/>
                  <a:pt x="494351" y="2583899"/>
                  <a:pt x="502965" y="2582689"/>
                </a:cubicBezTo>
                <a:lnTo>
                  <a:pt x="507820" y="2582410"/>
                </a:lnTo>
                <a:lnTo>
                  <a:pt x="504304" y="2582020"/>
                </a:lnTo>
                <a:lnTo>
                  <a:pt x="507820" y="2567509"/>
                </a:lnTo>
                <a:lnTo>
                  <a:pt x="507820" y="2557686"/>
                </a:lnTo>
                <a:lnTo>
                  <a:pt x="508383" y="2550877"/>
                </a:lnTo>
                <a:close/>
                <a:moveTo>
                  <a:pt x="581379" y="2531739"/>
                </a:moveTo>
                <a:lnTo>
                  <a:pt x="579411" y="2532111"/>
                </a:lnTo>
                <a:cubicBezTo>
                  <a:pt x="576332" y="2532827"/>
                  <a:pt x="574793" y="2533520"/>
                  <a:pt x="574793" y="2534190"/>
                </a:cubicBezTo>
                <a:lnTo>
                  <a:pt x="571277" y="2536534"/>
                </a:lnTo>
                <a:lnTo>
                  <a:pt x="574793" y="2543510"/>
                </a:lnTo>
                <a:lnTo>
                  <a:pt x="574793" y="2550654"/>
                </a:lnTo>
                <a:lnTo>
                  <a:pt x="574793" y="2554170"/>
                </a:lnTo>
                <a:lnTo>
                  <a:pt x="574793" y="2564876"/>
                </a:lnTo>
                <a:lnTo>
                  <a:pt x="575281" y="2564467"/>
                </a:lnTo>
                <a:cubicBezTo>
                  <a:pt x="577002" y="2562067"/>
                  <a:pt x="577862" y="2558468"/>
                  <a:pt x="577862" y="2553668"/>
                </a:cubicBezTo>
                <a:lnTo>
                  <a:pt x="581379" y="2536088"/>
                </a:lnTo>
                <a:close/>
                <a:moveTo>
                  <a:pt x="476734" y="2512111"/>
                </a:moveTo>
                <a:lnTo>
                  <a:pt x="476059" y="2512568"/>
                </a:lnTo>
                <a:lnTo>
                  <a:pt x="476734" y="2512368"/>
                </a:lnTo>
                <a:close/>
                <a:moveTo>
                  <a:pt x="510220" y="2480835"/>
                </a:moveTo>
                <a:lnTo>
                  <a:pt x="510667" y="2484351"/>
                </a:lnTo>
                <a:lnTo>
                  <a:pt x="498556" y="2484351"/>
                </a:lnTo>
                <a:lnTo>
                  <a:pt x="487952" y="2494844"/>
                </a:lnTo>
                <a:lnTo>
                  <a:pt x="483682" y="2494844"/>
                </a:lnTo>
                <a:lnTo>
                  <a:pt x="482535" y="2503923"/>
                </a:lnTo>
                <a:cubicBezTo>
                  <a:pt x="481751" y="2506581"/>
                  <a:pt x="480575" y="2508796"/>
                  <a:pt x="479008" y="2510568"/>
                </a:cubicBezTo>
                <a:lnTo>
                  <a:pt x="476848" y="2512033"/>
                </a:lnTo>
                <a:lnTo>
                  <a:pt x="477906" y="2512033"/>
                </a:lnTo>
                <a:lnTo>
                  <a:pt x="487840" y="2501429"/>
                </a:lnTo>
                <a:lnTo>
                  <a:pt x="498500" y="2504945"/>
                </a:lnTo>
                <a:cubicBezTo>
                  <a:pt x="504713" y="2504536"/>
                  <a:pt x="507820" y="2504610"/>
                  <a:pt x="507820" y="2505168"/>
                </a:cubicBezTo>
                <a:lnTo>
                  <a:pt x="507820" y="2489151"/>
                </a:lnTo>
                <a:lnTo>
                  <a:pt x="511130" y="2485841"/>
                </a:lnTo>
                <a:close/>
                <a:moveTo>
                  <a:pt x="584839" y="2480444"/>
                </a:moveTo>
                <a:lnTo>
                  <a:pt x="588355" y="2480473"/>
                </a:lnTo>
                <a:lnTo>
                  <a:pt x="588355" y="2480500"/>
                </a:lnTo>
                <a:lnTo>
                  <a:pt x="584839" y="2480500"/>
                </a:lnTo>
                <a:close/>
                <a:moveTo>
                  <a:pt x="594920" y="2451160"/>
                </a:moveTo>
                <a:lnTo>
                  <a:pt x="578490" y="2457213"/>
                </a:lnTo>
                <a:lnTo>
                  <a:pt x="574793" y="2457601"/>
                </a:lnTo>
                <a:lnTo>
                  <a:pt x="574793" y="2462139"/>
                </a:lnTo>
                <a:lnTo>
                  <a:pt x="571277" y="2467441"/>
                </a:lnTo>
                <a:lnTo>
                  <a:pt x="574793" y="2473580"/>
                </a:lnTo>
                <a:lnTo>
                  <a:pt x="571710" y="2486304"/>
                </a:lnTo>
                <a:lnTo>
                  <a:pt x="581434" y="2480500"/>
                </a:lnTo>
                <a:lnTo>
                  <a:pt x="584839" y="2480500"/>
                </a:lnTo>
                <a:lnTo>
                  <a:pt x="584839" y="2485635"/>
                </a:lnTo>
                <a:lnTo>
                  <a:pt x="588355" y="2482119"/>
                </a:lnTo>
                <a:lnTo>
                  <a:pt x="588355" y="2480500"/>
                </a:lnTo>
                <a:lnTo>
                  <a:pt x="591703" y="2480500"/>
                </a:lnTo>
                <a:lnTo>
                  <a:pt x="588355" y="2480473"/>
                </a:lnTo>
                <a:lnTo>
                  <a:pt x="588355" y="2475756"/>
                </a:lnTo>
                <a:cubicBezTo>
                  <a:pt x="590699" y="2472240"/>
                  <a:pt x="592457" y="2468068"/>
                  <a:pt x="593629" y="2463241"/>
                </a:cubicBezTo>
                <a:close/>
                <a:moveTo>
                  <a:pt x="266551" y="2441991"/>
                </a:moveTo>
                <a:cubicBezTo>
                  <a:pt x="282736" y="2441991"/>
                  <a:pt x="295591" y="2449953"/>
                  <a:pt x="305116" y="2465878"/>
                </a:cubicBezTo>
                <a:lnTo>
                  <a:pt x="305116" y="2473636"/>
                </a:lnTo>
                <a:cubicBezTo>
                  <a:pt x="305116" y="2481672"/>
                  <a:pt x="300447" y="2486844"/>
                  <a:pt x="291108" y="2489151"/>
                </a:cubicBezTo>
                <a:cubicBezTo>
                  <a:pt x="291108" y="2493020"/>
                  <a:pt x="282401" y="2498415"/>
                  <a:pt x="264989" y="2505336"/>
                </a:cubicBezTo>
                <a:lnTo>
                  <a:pt x="263091" y="2505336"/>
                </a:lnTo>
                <a:cubicBezTo>
                  <a:pt x="263091" y="2507754"/>
                  <a:pt x="249250" y="2514489"/>
                  <a:pt x="221568" y="2525539"/>
                </a:cubicBezTo>
                <a:lnTo>
                  <a:pt x="212973" y="2529893"/>
                </a:lnTo>
                <a:lnTo>
                  <a:pt x="198741" y="2529893"/>
                </a:lnTo>
                <a:cubicBezTo>
                  <a:pt x="196435" y="2527549"/>
                  <a:pt x="188565" y="2526376"/>
                  <a:pt x="175134" y="2526376"/>
                </a:cubicBezTo>
                <a:cubicBezTo>
                  <a:pt x="175134" y="2520461"/>
                  <a:pt x="169292" y="2516349"/>
                  <a:pt x="157609" y="2514042"/>
                </a:cubicBezTo>
                <a:lnTo>
                  <a:pt x="157609" y="2491160"/>
                </a:lnTo>
                <a:cubicBezTo>
                  <a:pt x="185924" y="2477059"/>
                  <a:pt x="199932" y="2470008"/>
                  <a:pt x="199634" y="2470008"/>
                </a:cubicBezTo>
                <a:cubicBezTo>
                  <a:pt x="199634" y="2469561"/>
                  <a:pt x="211876" y="2465264"/>
                  <a:pt x="236358" y="2457116"/>
                </a:cubicBezTo>
                <a:close/>
                <a:moveTo>
                  <a:pt x="489295" y="2408262"/>
                </a:moveTo>
                <a:lnTo>
                  <a:pt x="486214" y="2411904"/>
                </a:lnTo>
                <a:lnTo>
                  <a:pt x="490742" y="2414923"/>
                </a:lnTo>
                <a:lnTo>
                  <a:pt x="490742" y="2429601"/>
                </a:lnTo>
                <a:lnTo>
                  <a:pt x="487177" y="2440269"/>
                </a:lnTo>
                <a:lnTo>
                  <a:pt x="498611" y="2434959"/>
                </a:lnTo>
                <a:cubicBezTo>
                  <a:pt x="502407" y="2434959"/>
                  <a:pt x="504304" y="2435015"/>
                  <a:pt x="504304" y="2435126"/>
                </a:cubicBezTo>
                <a:lnTo>
                  <a:pt x="504304" y="2413416"/>
                </a:lnTo>
                <a:lnTo>
                  <a:pt x="502687" y="2408717"/>
                </a:lnTo>
                <a:lnTo>
                  <a:pt x="500342" y="2410793"/>
                </a:lnTo>
                <a:close/>
                <a:moveTo>
                  <a:pt x="517608" y="2396655"/>
                </a:moveTo>
                <a:lnTo>
                  <a:pt x="517414" y="2396784"/>
                </a:lnTo>
                <a:lnTo>
                  <a:pt x="518759" y="2396784"/>
                </a:lnTo>
                <a:cubicBezTo>
                  <a:pt x="518759" y="2396338"/>
                  <a:pt x="518375" y="2396295"/>
                  <a:pt x="517608" y="2396655"/>
                </a:cubicBezTo>
                <a:close/>
                <a:moveTo>
                  <a:pt x="581546" y="2168798"/>
                </a:moveTo>
                <a:lnTo>
                  <a:pt x="590476" y="2168798"/>
                </a:lnTo>
                <a:lnTo>
                  <a:pt x="604484" y="2182807"/>
                </a:lnTo>
                <a:cubicBezTo>
                  <a:pt x="608242" y="2182807"/>
                  <a:pt x="613618" y="2185151"/>
                  <a:pt x="620613" y="2189839"/>
                </a:cubicBezTo>
                <a:cubicBezTo>
                  <a:pt x="637543" y="2189839"/>
                  <a:pt x="649114" y="2199159"/>
                  <a:pt x="655327" y="2217800"/>
                </a:cubicBezTo>
                <a:lnTo>
                  <a:pt x="655327" y="2224999"/>
                </a:lnTo>
                <a:cubicBezTo>
                  <a:pt x="655327" y="2233669"/>
                  <a:pt x="646844" y="2243063"/>
                  <a:pt x="629878" y="2253184"/>
                </a:cubicBezTo>
                <a:lnTo>
                  <a:pt x="630827" y="2253184"/>
                </a:lnTo>
                <a:cubicBezTo>
                  <a:pt x="630827" y="2254077"/>
                  <a:pt x="624985" y="2259193"/>
                  <a:pt x="613302" y="2268532"/>
                </a:cubicBezTo>
                <a:cubicBezTo>
                  <a:pt x="613302" y="2270801"/>
                  <a:pt x="604019" y="2279880"/>
                  <a:pt x="585453" y="2295767"/>
                </a:cubicBezTo>
                <a:lnTo>
                  <a:pt x="574938" y="2308960"/>
                </a:lnTo>
                <a:lnTo>
                  <a:pt x="576746" y="2308994"/>
                </a:lnTo>
                <a:lnTo>
                  <a:pt x="579369" y="2308883"/>
                </a:lnTo>
                <a:cubicBezTo>
                  <a:pt x="593396" y="2304232"/>
                  <a:pt x="608149" y="2301906"/>
                  <a:pt x="623627" y="2301906"/>
                </a:cubicBezTo>
                <a:cubicBezTo>
                  <a:pt x="635273" y="2308901"/>
                  <a:pt x="643905" y="2312399"/>
                  <a:pt x="649523" y="2312399"/>
                </a:cubicBezTo>
                <a:lnTo>
                  <a:pt x="655327" y="2329868"/>
                </a:lnTo>
                <a:lnTo>
                  <a:pt x="655327" y="2345048"/>
                </a:lnTo>
                <a:cubicBezTo>
                  <a:pt x="649746" y="2350629"/>
                  <a:pt x="638622" y="2356210"/>
                  <a:pt x="621953" y="2361791"/>
                </a:cubicBezTo>
                <a:lnTo>
                  <a:pt x="619944" y="2361791"/>
                </a:lnTo>
                <a:cubicBezTo>
                  <a:pt x="612949" y="2366442"/>
                  <a:pt x="603666" y="2368767"/>
                  <a:pt x="592094" y="2368767"/>
                </a:cubicBezTo>
                <a:lnTo>
                  <a:pt x="590810" y="2368767"/>
                </a:lnTo>
                <a:lnTo>
                  <a:pt x="576121" y="2375063"/>
                </a:lnTo>
                <a:lnTo>
                  <a:pt x="581769" y="2380711"/>
                </a:lnTo>
                <a:lnTo>
                  <a:pt x="581769" y="2392822"/>
                </a:lnTo>
                <a:cubicBezTo>
                  <a:pt x="579444" y="2396338"/>
                  <a:pt x="577700" y="2399435"/>
                  <a:pt x="576537" y="2402114"/>
                </a:cubicBezTo>
                <a:lnTo>
                  <a:pt x="576528" y="2402149"/>
                </a:lnTo>
                <a:lnTo>
                  <a:pt x="610288" y="2394217"/>
                </a:lnTo>
                <a:lnTo>
                  <a:pt x="630659" y="2378869"/>
                </a:lnTo>
                <a:cubicBezTo>
                  <a:pt x="645244" y="2390589"/>
                  <a:pt x="652890" y="2396450"/>
                  <a:pt x="653597" y="2396450"/>
                </a:cubicBezTo>
                <a:cubicBezTo>
                  <a:pt x="671047" y="2402254"/>
                  <a:pt x="686805" y="2412318"/>
                  <a:pt x="700869" y="2426643"/>
                </a:cubicBezTo>
                <a:lnTo>
                  <a:pt x="696460" y="2455274"/>
                </a:lnTo>
                <a:lnTo>
                  <a:pt x="690863" y="2459460"/>
                </a:lnTo>
                <a:lnTo>
                  <a:pt x="692162" y="2459460"/>
                </a:lnTo>
                <a:cubicBezTo>
                  <a:pt x="718951" y="2468427"/>
                  <a:pt x="732346" y="2480147"/>
                  <a:pt x="732346" y="2494620"/>
                </a:cubicBezTo>
                <a:cubicBezTo>
                  <a:pt x="732346" y="2504964"/>
                  <a:pt x="724700" y="2512052"/>
                  <a:pt x="709408" y="2515884"/>
                </a:cubicBezTo>
                <a:lnTo>
                  <a:pt x="698134" y="2515884"/>
                </a:lnTo>
                <a:cubicBezTo>
                  <a:pt x="695827" y="2518191"/>
                  <a:pt x="690153" y="2519344"/>
                  <a:pt x="681112" y="2519344"/>
                </a:cubicBezTo>
                <a:lnTo>
                  <a:pt x="671345" y="2515884"/>
                </a:lnTo>
                <a:cubicBezTo>
                  <a:pt x="658323" y="2517484"/>
                  <a:pt x="651811" y="2518396"/>
                  <a:pt x="651811" y="2518619"/>
                </a:cubicBezTo>
                <a:lnTo>
                  <a:pt x="627311" y="2560644"/>
                </a:lnTo>
                <a:lnTo>
                  <a:pt x="627311" y="2561202"/>
                </a:lnTo>
                <a:cubicBezTo>
                  <a:pt x="627311" y="2559714"/>
                  <a:pt x="633543" y="2559863"/>
                  <a:pt x="646007" y="2561649"/>
                </a:cubicBezTo>
                <a:lnTo>
                  <a:pt x="662304" y="2572532"/>
                </a:lnTo>
                <a:lnTo>
                  <a:pt x="662304" y="2584699"/>
                </a:lnTo>
                <a:cubicBezTo>
                  <a:pt x="654937" y="2599507"/>
                  <a:pt x="643496" y="2606911"/>
                  <a:pt x="627980" y="2606911"/>
                </a:cubicBezTo>
                <a:lnTo>
                  <a:pt x="624520" y="2610427"/>
                </a:lnTo>
                <a:lnTo>
                  <a:pt x="602587" y="2610427"/>
                </a:lnTo>
                <a:lnTo>
                  <a:pt x="593545" y="2610427"/>
                </a:lnTo>
                <a:lnTo>
                  <a:pt x="585006" y="2606911"/>
                </a:lnTo>
                <a:lnTo>
                  <a:pt x="583316" y="2607603"/>
                </a:lnTo>
                <a:lnTo>
                  <a:pt x="585843" y="2608139"/>
                </a:lnTo>
                <a:lnTo>
                  <a:pt x="609786" y="2644081"/>
                </a:lnTo>
                <a:cubicBezTo>
                  <a:pt x="609786" y="2642407"/>
                  <a:pt x="612707" y="2641569"/>
                  <a:pt x="618548" y="2641569"/>
                </a:cubicBezTo>
                <a:cubicBezTo>
                  <a:pt x="620892" y="2650908"/>
                  <a:pt x="624557" y="2655578"/>
                  <a:pt x="629543" y="2655578"/>
                </a:cubicBezTo>
                <a:cubicBezTo>
                  <a:pt x="642751" y="2671465"/>
                  <a:pt x="657448" y="2684023"/>
                  <a:pt x="673633" y="2693250"/>
                </a:cubicBezTo>
                <a:cubicBezTo>
                  <a:pt x="680889" y="2700468"/>
                  <a:pt x="687884" y="2706589"/>
                  <a:pt x="694618" y="2711612"/>
                </a:cubicBezTo>
                <a:cubicBezTo>
                  <a:pt x="696813" y="2711612"/>
                  <a:pt x="706096" y="2717453"/>
                  <a:pt x="722468" y="2729136"/>
                </a:cubicBezTo>
                <a:cubicBezTo>
                  <a:pt x="730207" y="2729136"/>
                  <a:pt x="738746" y="2733806"/>
                  <a:pt x="748085" y="2743145"/>
                </a:cubicBezTo>
                <a:cubicBezTo>
                  <a:pt x="754410" y="2743145"/>
                  <a:pt x="762242" y="2746642"/>
                  <a:pt x="771581" y="2753637"/>
                </a:cubicBezTo>
                <a:cubicBezTo>
                  <a:pt x="792119" y="2753637"/>
                  <a:pt x="802388" y="2756372"/>
                  <a:pt x="802388" y="2761841"/>
                </a:cubicBezTo>
                <a:cubicBezTo>
                  <a:pt x="823410" y="2764185"/>
                  <a:pt x="833921" y="2769673"/>
                  <a:pt x="833921" y="2778305"/>
                </a:cubicBezTo>
                <a:lnTo>
                  <a:pt x="833921" y="2786342"/>
                </a:lnTo>
                <a:lnTo>
                  <a:pt x="824210" y="2796053"/>
                </a:lnTo>
                <a:lnTo>
                  <a:pt x="809420" y="2796053"/>
                </a:lnTo>
                <a:cubicBezTo>
                  <a:pt x="809420" y="2803048"/>
                  <a:pt x="791766" y="2806545"/>
                  <a:pt x="756456" y="2806545"/>
                </a:cubicBezTo>
                <a:lnTo>
                  <a:pt x="756456" y="2803029"/>
                </a:lnTo>
                <a:lnTo>
                  <a:pt x="753445" y="2804541"/>
                </a:lnTo>
                <a:lnTo>
                  <a:pt x="751759" y="2807192"/>
                </a:lnTo>
                <a:cubicBezTo>
                  <a:pt x="745733" y="2814119"/>
                  <a:pt x="730965" y="2822070"/>
                  <a:pt x="707455" y="2831046"/>
                </a:cubicBezTo>
                <a:cubicBezTo>
                  <a:pt x="707455" y="2824051"/>
                  <a:pt x="699269" y="2820554"/>
                  <a:pt x="682898" y="2820554"/>
                </a:cubicBezTo>
                <a:cubicBezTo>
                  <a:pt x="682898" y="2815866"/>
                  <a:pt x="682582" y="2813522"/>
                  <a:pt x="681949" y="2813522"/>
                </a:cubicBezTo>
                <a:lnTo>
                  <a:pt x="644389" y="2776017"/>
                </a:lnTo>
                <a:cubicBezTo>
                  <a:pt x="644389" y="2775050"/>
                  <a:pt x="639719" y="2772222"/>
                  <a:pt x="630380" y="2767534"/>
                </a:cubicBezTo>
                <a:cubicBezTo>
                  <a:pt x="630380" y="2763850"/>
                  <a:pt x="619869" y="2751498"/>
                  <a:pt x="598847" y="2730476"/>
                </a:cubicBezTo>
                <a:cubicBezTo>
                  <a:pt x="598847" y="2726718"/>
                  <a:pt x="594047" y="2721955"/>
                  <a:pt x="584448" y="2716188"/>
                </a:cubicBezTo>
                <a:lnTo>
                  <a:pt x="581769" y="2712977"/>
                </a:lnTo>
                <a:lnTo>
                  <a:pt x="581769" y="2750288"/>
                </a:lnTo>
                <a:lnTo>
                  <a:pt x="581769" y="2757209"/>
                </a:lnTo>
                <a:lnTo>
                  <a:pt x="583439" y="2772320"/>
                </a:lnTo>
                <a:lnTo>
                  <a:pt x="585285" y="2771162"/>
                </a:lnTo>
                <a:lnTo>
                  <a:pt x="585285" y="2789021"/>
                </a:lnTo>
                <a:lnTo>
                  <a:pt x="585285" y="2792314"/>
                </a:lnTo>
                <a:lnTo>
                  <a:pt x="585285" y="2799346"/>
                </a:lnTo>
                <a:lnTo>
                  <a:pt x="585285" y="2802806"/>
                </a:lnTo>
                <a:lnTo>
                  <a:pt x="585285" y="2809838"/>
                </a:lnTo>
                <a:lnTo>
                  <a:pt x="585285" y="2824851"/>
                </a:lnTo>
                <a:cubicBezTo>
                  <a:pt x="582941" y="2827195"/>
                  <a:pt x="581769" y="2829744"/>
                  <a:pt x="581769" y="2832497"/>
                </a:cubicBezTo>
                <a:lnTo>
                  <a:pt x="585285" y="2836125"/>
                </a:lnTo>
                <a:cubicBezTo>
                  <a:pt x="579816" y="2888773"/>
                  <a:pt x="567798" y="2915097"/>
                  <a:pt x="549232" y="2915097"/>
                </a:cubicBezTo>
                <a:lnTo>
                  <a:pt x="542199" y="2918613"/>
                </a:lnTo>
                <a:cubicBezTo>
                  <a:pt x="530554" y="2918613"/>
                  <a:pt x="523559" y="2915116"/>
                  <a:pt x="521215" y="2908121"/>
                </a:cubicBezTo>
                <a:cubicBezTo>
                  <a:pt x="509941" y="2908121"/>
                  <a:pt x="504304" y="2899637"/>
                  <a:pt x="504304" y="2882671"/>
                </a:cubicBezTo>
                <a:lnTo>
                  <a:pt x="507820" y="2873518"/>
                </a:lnTo>
                <a:lnTo>
                  <a:pt x="504304" y="2863026"/>
                </a:lnTo>
                <a:cubicBezTo>
                  <a:pt x="506648" y="2855101"/>
                  <a:pt x="508992" y="2831474"/>
                  <a:pt x="511336" y="2792146"/>
                </a:cubicBezTo>
                <a:lnTo>
                  <a:pt x="511336" y="2781821"/>
                </a:lnTo>
                <a:cubicBezTo>
                  <a:pt x="511336" y="2772371"/>
                  <a:pt x="512490" y="2767645"/>
                  <a:pt x="514797" y="2767645"/>
                </a:cubicBezTo>
                <a:cubicBezTo>
                  <a:pt x="513122" y="2756223"/>
                  <a:pt x="510797" y="2750512"/>
                  <a:pt x="507820" y="2750512"/>
                </a:cubicBezTo>
                <a:lnTo>
                  <a:pt x="511336" y="2713007"/>
                </a:lnTo>
                <a:cubicBezTo>
                  <a:pt x="508992" y="2706533"/>
                  <a:pt x="507820" y="2691743"/>
                  <a:pt x="507820" y="2668638"/>
                </a:cubicBezTo>
                <a:lnTo>
                  <a:pt x="511336" y="2662666"/>
                </a:lnTo>
                <a:lnTo>
                  <a:pt x="507820" y="2650722"/>
                </a:lnTo>
                <a:lnTo>
                  <a:pt x="507820" y="2641737"/>
                </a:lnTo>
                <a:lnTo>
                  <a:pt x="507820" y="2638221"/>
                </a:lnTo>
                <a:cubicBezTo>
                  <a:pt x="507820" y="2634984"/>
                  <a:pt x="507893" y="2632079"/>
                  <a:pt x="508040" y="2629507"/>
                </a:cubicBezTo>
                <a:lnTo>
                  <a:pt x="508538" y="2624436"/>
                </a:lnTo>
                <a:lnTo>
                  <a:pt x="508211" y="2624436"/>
                </a:lnTo>
                <a:cubicBezTo>
                  <a:pt x="508211" y="2629086"/>
                  <a:pt x="502183" y="2631412"/>
                  <a:pt x="490128" y="2631412"/>
                </a:cubicBezTo>
                <a:cubicBezTo>
                  <a:pt x="488975" y="2633756"/>
                  <a:pt x="487026" y="2635514"/>
                  <a:pt x="484282" y="2636686"/>
                </a:cubicBezTo>
                <a:lnTo>
                  <a:pt x="478123" y="2637706"/>
                </a:lnTo>
                <a:lnTo>
                  <a:pt x="480027" y="2644416"/>
                </a:lnTo>
                <a:lnTo>
                  <a:pt x="480194" y="2649997"/>
                </a:lnTo>
                <a:lnTo>
                  <a:pt x="476734" y="2660601"/>
                </a:lnTo>
                <a:cubicBezTo>
                  <a:pt x="476734" y="2659596"/>
                  <a:pt x="477887" y="2659094"/>
                  <a:pt x="480194" y="2659094"/>
                </a:cubicBezTo>
                <a:lnTo>
                  <a:pt x="480194" y="2676730"/>
                </a:lnTo>
                <a:lnTo>
                  <a:pt x="480194" y="2696710"/>
                </a:lnTo>
                <a:lnTo>
                  <a:pt x="476734" y="2702124"/>
                </a:lnTo>
                <a:lnTo>
                  <a:pt x="480194" y="2707482"/>
                </a:lnTo>
                <a:lnTo>
                  <a:pt x="480194" y="2718755"/>
                </a:lnTo>
                <a:lnTo>
                  <a:pt x="480194" y="2725788"/>
                </a:lnTo>
                <a:lnTo>
                  <a:pt x="480194" y="2759832"/>
                </a:lnTo>
                <a:lnTo>
                  <a:pt x="476734" y="2765190"/>
                </a:lnTo>
                <a:lnTo>
                  <a:pt x="480194" y="2770548"/>
                </a:lnTo>
                <a:lnTo>
                  <a:pt x="480194" y="2807104"/>
                </a:lnTo>
                <a:lnTo>
                  <a:pt x="476734" y="2809503"/>
                </a:lnTo>
                <a:lnTo>
                  <a:pt x="480194" y="2816647"/>
                </a:lnTo>
                <a:lnTo>
                  <a:pt x="480194" y="2853203"/>
                </a:lnTo>
                <a:lnTo>
                  <a:pt x="476734" y="2865816"/>
                </a:lnTo>
                <a:lnTo>
                  <a:pt x="480194" y="2883564"/>
                </a:lnTo>
                <a:cubicBezTo>
                  <a:pt x="473199" y="2883564"/>
                  <a:pt x="469702" y="2885964"/>
                  <a:pt x="469702" y="2890764"/>
                </a:cubicBezTo>
                <a:lnTo>
                  <a:pt x="442913" y="2922129"/>
                </a:lnTo>
                <a:lnTo>
                  <a:pt x="434485" y="2922129"/>
                </a:lnTo>
                <a:cubicBezTo>
                  <a:pt x="418002" y="2922129"/>
                  <a:pt x="409761" y="2913162"/>
                  <a:pt x="409761" y="2895228"/>
                </a:cubicBezTo>
                <a:lnTo>
                  <a:pt x="406245" y="2862244"/>
                </a:lnTo>
                <a:lnTo>
                  <a:pt x="409761" y="2840367"/>
                </a:lnTo>
                <a:lnTo>
                  <a:pt x="409761" y="2823289"/>
                </a:lnTo>
                <a:lnTo>
                  <a:pt x="413277" y="2781542"/>
                </a:lnTo>
                <a:lnTo>
                  <a:pt x="413277" y="2778305"/>
                </a:lnTo>
                <a:lnTo>
                  <a:pt x="413277" y="2774789"/>
                </a:lnTo>
                <a:lnTo>
                  <a:pt x="413277" y="2771329"/>
                </a:lnTo>
                <a:lnTo>
                  <a:pt x="413277" y="2757321"/>
                </a:lnTo>
                <a:lnTo>
                  <a:pt x="413277" y="2743312"/>
                </a:lnTo>
                <a:lnTo>
                  <a:pt x="413277" y="2734773"/>
                </a:lnTo>
                <a:lnTo>
                  <a:pt x="412493" y="2732146"/>
                </a:lnTo>
                <a:lnTo>
                  <a:pt x="410902" y="2734738"/>
                </a:lnTo>
                <a:lnTo>
                  <a:pt x="402707" y="2744824"/>
                </a:lnTo>
                <a:lnTo>
                  <a:pt x="403175" y="2741135"/>
                </a:lnTo>
                <a:lnTo>
                  <a:pt x="401484" y="2746329"/>
                </a:lnTo>
                <a:lnTo>
                  <a:pt x="400943" y="2746996"/>
                </a:lnTo>
                <a:lnTo>
                  <a:pt x="401397" y="2746599"/>
                </a:lnTo>
                <a:lnTo>
                  <a:pt x="399844" y="2751366"/>
                </a:lnTo>
                <a:cubicBezTo>
                  <a:pt x="396112" y="2760135"/>
                  <a:pt x="391176" y="2764520"/>
                  <a:pt x="385037" y="2764520"/>
                </a:cubicBezTo>
                <a:cubicBezTo>
                  <a:pt x="381205" y="2772110"/>
                  <a:pt x="371922" y="2779608"/>
                  <a:pt x="357188" y="2787012"/>
                </a:cubicBezTo>
                <a:cubicBezTo>
                  <a:pt x="340258" y="2806359"/>
                  <a:pt x="326603" y="2817335"/>
                  <a:pt x="316223" y="2819940"/>
                </a:cubicBezTo>
                <a:lnTo>
                  <a:pt x="253603" y="2865147"/>
                </a:lnTo>
                <a:lnTo>
                  <a:pt x="235465" y="2869556"/>
                </a:lnTo>
                <a:lnTo>
                  <a:pt x="224135" y="2859956"/>
                </a:lnTo>
                <a:lnTo>
                  <a:pt x="224135" y="2851864"/>
                </a:lnTo>
                <a:cubicBezTo>
                  <a:pt x="224135" y="2847027"/>
                  <a:pt x="232860" y="2840869"/>
                  <a:pt x="250310" y="2833390"/>
                </a:cubicBezTo>
                <a:cubicBezTo>
                  <a:pt x="252208" y="2829558"/>
                  <a:pt x="273137" y="2812387"/>
                  <a:pt x="313097" y="2781877"/>
                </a:cubicBezTo>
                <a:cubicBezTo>
                  <a:pt x="324073" y="2765394"/>
                  <a:pt x="331887" y="2757153"/>
                  <a:pt x="336538" y="2757153"/>
                </a:cubicBezTo>
                <a:lnTo>
                  <a:pt x="346695" y="2741861"/>
                </a:lnTo>
                <a:cubicBezTo>
                  <a:pt x="346695" y="2733378"/>
                  <a:pt x="351365" y="2729136"/>
                  <a:pt x="360704" y="2729136"/>
                </a:cubicBezTo>
                <a:cubicBezTo>
                  <a:pt x="360704" y="2722141"/>
                  <a:pt x="363048" y="2718644"/>
                  <a:pt x="367736" y="2718644"/>
                </a:cubicBezTo>
                <a:lnTo>
                  <a:pt x="364220" y="2718365"/>
                </a:lnTo>
                <a:cubicBezTo>
                  <a:pt x="369503" y="2712040"/>
                  <a:pt x="375977" y="2701175"/>
                  <a:pt x="383642" y="2685771"/>
                </a:cubicBezTo>
                <a:cubicBezTo>
                  <a:pt x="389372" y="2683911"/>
                  <a:pt x="392237" y="2678516"/>
                  <a:pt x="392237" y="2669586"/>
                </a:cubicBezTo>
                <a:cubicBezTo>
                  <a:pt x="393409" y="2669586"/>
                  <a:pt x="394288" y="2668712"/>
                  <a:pt x="394874" y="2666963"/>
                </a:cubicBezTo>
                <a:lnTo>
                  <a:pt x="395582" y="2660622"/>
                </a:lnTo>
                <a:lnTo>
                  <a:pt x="387674" y="2657322"/>
                </a:lnTo>
                <a:cubicBezTo>
                  <a:pt x="380186" y="2653573"/>
                  <a:pt x="371196" y="2647950"/>
                  <a:pt x="360704" y="2640453"/>
                </a:cubicBezTo>
                <a:lnTo>
                  <a:pt x="360704" y="2631244"/>
                </a:lnTo>
                <a:cubicBezTo>
                  <a:pt x="360704" y="2621794"/>
                  <a:pt x="368889" y="2617069"/>
                  <a:pt x="385260" y="2617069"/>
                </a:cubicBezTo>
                <a:cubicBezTo>
                  <a:pt x="385260" y="2616399"/>
                  <a:pt x="394897" y="2613329"/>
                  <a:pt x="414170" y="2607860"/>
                </a:cubicBezTo>
                <a:cubicBezTo>
                  <a:pt x="418970" y="2604260"/>
                  <a:pt x="421970" y="2597113"/>
                  <a:pt x="423170" y="2586418"/>
                </a:cubicBezTo>
                <a:lnTo>
                  <a:pt x="423522" y="2579437"/>
                </a:lnTo>
                <a:lnTo>
                  <a:pt x="422486" y="2580750"/>
                </a:lnTo>
                <a:cubicBezTo>
                  <a:pt x="420309" y="2582192"/>
                  <a:pt x="417370" y="2583285"/>
                  <a:pt x="413668" y="2584029"/>
                </a:cubicBezTo>
                <a:cubicBezTo>
                  <a:pt x="413668" y="2589945"/>
                  <a:pt x="408924" y="2592903"/>
                  <a:pt x="399436" y="2592903"/>
                </a:cubicBezTo>
                <a:lnTo>
                  <a:pt x="399659" y="2592903"/>
                </a:lnTo>
                <a:cubicBezTo>
                  <a:pt x="399659" y="2595247"/>
                  <a:pt x="392460" y="2596419"/>
                  <a:pt x="378061" y="2596419"/>
                </a:cubicBezTo>
                <a:cubicBezTo>
                  <a:pt x="375754" y="2601070"/>
                  <a:pt x="371215" y="2603395"/>
                  <a:pt x="364443" y="2603395"/>
                </a:cubicBezTo>
                <a:lnTo>
                  <a:pt x="353783" y="2603395"/>
                </a:lnTo>
                <a:lnTo>
                  <a:pt x="309429" y="2571093"/>
                </a:lnTo>
                <a:lnTo>
                  <a:pt x="309218" y="2571499"/>
                </a:lnTo>
                <a:cubicBezTo>
                  <a:pt x="304958" y="2576429"/>
                  <a:pt x="298568" y="2578894"/>
                  <a:pt x="290047" y="2578894"/>
                </a:cubicBezTo>
                <a:lnTo>
                  <a:pt x="283015" y="2582410"/>
                </a:lnTo>
                <a:lnTo>
                  <a:pt x="284076" y="2582410"/>
                </a:lnTo>
                <a:cubicBezTo>
                  <a:pt x="284076" y="2583303"/>
                  <a:pt x="275425" y="2585629"/>
                  <a:pt x="258124" y="2589387"/>
                </a:cubicBezTo>
                <a:lnTo>
                  <a:pt x="257901" y="2585926"/>
                </a:lnTo>
                <a:cubicBezTo>
                  <a:pt x="254329" y="2597572"/>
                  <a:pt x="246980" y="2603395"/>
                  <a:pt x="235855" y="2603395"/>
                </a:cubicBezTo>
                <a:lnTo>
                  <a:pt x="228879" y="2610427"/>
                </a:lnTo>
                <a:lnTo>
                  <a:pt x="224191" y="2610427"/>
                </a:lnTo>
                <a:cubicBezTo>
                  <a:pt x="210201" y="2619766"/>
                  <a:pt x="199300" y="2624436"/>
                  <a:pt x="191486" y="2624436"/>
                </a:cubicBezTo>
                <a:cubicBezTo>
                  <a:pt x="176194" y="2621385"/>
                  <a:pt x="163730" y="2611804"/>
                  <a:pt x="154093" y="2595693"/>
                </a:cubicBezTo>
                <a:lnTo>
                  <a:pt x="154093" y="2589219"/>
                </a:lnTo>
                <a:cubicBezTo>
                  <a:pt x="154093" y="2584308"/>
                  <a:pt x="168101" y="2576011"/>
                  <a:pt x="196118" y="2564328"/>
                </a:cubicBezTo>
                <a:lnTo>
                  <a:pt x="196118" y="2553947"/>
                </a:lnTo>
                <a:lnTo>
                  <a:pt x="210350" y="2557463"/>
                </a:lnTo>
                <a:cubicBezTo>
                  <a:pt x="217940" y="2548161"/>
                  <a:pt x="227037" y="2543510"/>
                  <a:pt x="237641" y="2543510"/>
                </a:cubicBezTo>
                <a:cubicBezTo>
                  <a:pt x="239241" y="2540348"/>
                  <a:pt x="257063" y="2533334"/>
                  <a:pt x="291108" y="2522470"/>
                </a:cubicBezTo>
                <a:cubicBezTo>
                  <a:pt x="291108" y="2527158"/>
                  <a:pt x="294326" y="2529502"/>
                  <a:pt x="300763" y="2529502"/>
                </a:cubicBezTo>
                <a:lnTo>
                  <a:pt x="315609" y="2549315"/>
                </a:lnTo>
                <a:lnTo>
                  <a:pt x="315263" y="2552116"/>
                </a:lnTo>
                <a:lnTo>
                  <a:pt x="316837" y="2550542"/>
                </a:lnTo>
                <a:lnTo>
                  <a:pt x="329059" y="2550542"/>
                </a:lnTo>
                <a:lnTo>
                  <a:pt x="331403" y="2550487"/>
                </a:lnTo>
                <a:cubicBezTo>
                  <a:pt x="338696" y="2545836"/>
                  <a:pt x="346137" y="2543510"/>
                  <a:pt x="353727" y="2543510"/>
                </a:cubicBezTo>
                <a:cubicBezTo>
                  <a:pt x="353727" y="2541203"/>
                  <a:pt x="358471" y="2540050"/>
                  <a:pt x="367959" y="2540050"/>
                </a:cubicBezTo>
                <a:lnTo>
                  <a:pt x="374935" y="2540050"/>
                </a:lnTo>
                <a:lnTo>
                  <a:pt x="376386" y="2540050"/>
                </a:lnTo>
                <a:cubicBezTo>
                  <a:pt x="381037" y="2535362"/>
                  <a:pt x="387493" y="2533018"/>
                  <a:pt x="395753" y="2533018"/>
                </a:cubicBezTo>
                <a:lnTo>
                  <a:pt x="395753" y="2529502"/>
                </a:lnTo>
                <a:lnTo>
                  <a:pt x="413110" y="2529502"/>
                </a:lnTo>
                <a:lnTo>
                  <a:pt x="406245" y="2529446"/>
                </a:lnTo>
                <a:cubicBezTo>
                  <a:pt x="406245" y="2527744"/>
                  <a:pt x="409531" y="2526680"/>
                  <a:pt x="416103" y="2526254"/>
                </a:cubicBezTo>
                <a:lnTo>
                  <a:pt x="421032" y="2526117"/>
                </a:lnTo>
                <a:lnTo>
                  <a:pt x="420473" y="2520670"/>
                </a:lnTo>
                <a:lnTo>
                  <a:pt x="420332" y="2515327"/>
                </a:lnTo>
                <a:lnTo>
                  <a:pt x="418830" y="2515664"/>
                </a:lnTo>
                <a:cubicBezTo>
                  <a:pt x="417444" y="2515811"/>
                  <a:pt x="415649" y="2515884"/>
                  <a:pt x="413445" y="2515884"/>
                </a:cubicBezTo>
                <a:lnTo>
                  <a:pt x="404794" y="2515884"/>
                </a:lnTo>
                <a:lnTo>
                  <a:pt x="381744" y="2488202"/>
                </a:lnTo>
                <a:cubicBezTo>
                  <a:pt x="381744" y="2479421"/>
                  <a:pt x="390172" y="2473636"/>
                  <a:pt x="407026" y="2470845"/>
                </a:cubicBezTo>
                <a:cubicBezTo>
                  <a:pt x="409073" y="2468799"/>
                  <a:pt x="411198" y="2467064"/>
                  <a:pt x="413403" y="2465641"/>
                </a:cubicBezTo>
                <a:lnTo>
                  <a:pt x="420201" y="2462332"/>
                </a:lnTo>
                <a:lnTo>
                  <a:pt x="416737" y="2453041"/>
                </a:lnTo>
                <a:cubicBezTo>
                  <a:pt x="419081" y="2448930"/>
                  <a:pt x="420839" y="2445326"/>
                  <a:pt x="422012" y="2442228"/>
                </a:cubicBezTo>
                <a:lnTo>
                  <a:pt x="422305" y="2440930"/>
                </a:lnTo>
                <a:lnTo>
                  <a:pt x="413445" y="2442326"/>
                </a:lnTo>
                <a:cubicBezTo>
                  <a:pt x="404180" y="2436112"/>
                  <a:pt x="391065" y="2425601"/>
                  <a:pt x="374098" y="2410793"/>
                </a:cubicBezTo>
                <a:lnTo>
                  <a:pt x="367903" y="2410793"/>
                </a:lnTo>
                <a:lnTo>
                  <a:pt x="350211" y="2399017"/>
                </a:lnTo>
                <a:lnTo>
                  <a:pt x="350211" y="2389808"/>
                </a:lnTo>
                <a:lnTo>
                  <a:pt x="340556" y="2389808"/>
                </a:lnTo>
                <a:lnTo>
                  <a:pt x="334194" y="2386292"/>
                </a:lnTo>
                <a:lnTo>
                  <a:pt x="297794" y="2389232"/>
                </a:lnTo>
                <a:lnTo>
                  <a:pt x="298084" y="2390589"/>
                </a:lnTo>
                <a:cubicBezTo>
                  <a:pt x="298084" y="2400673"/>
                  <a:pt x="287555" y="2413249"/>
                  <a:pt x="266495" y="2428317"/>
                </a:cubicBezTo>
                <a:lnTo>
                  <a:pt x="255891" y="2428317"/>
                </a:lnTo>
                <a:cubicBezTo>
                  <a:pt x="238255" y="2428317"/>
                  <a:pt x="227233" y="2424990"/>
                  <a:pt x="222824" y="2418334"/>
                </a:cubicBezTo>
                <a:lnTo>
                  <a:pt x="221681" y="2414309"/>
                </a:lnTo>
                <a:lnTo>
                  <a:pt x="221010" y="2414309"/>
                </a:lnTo>
                <a:cubicBezTo>
                  <a:pt x="202332" y="2428299"/>
                  <a:pt x="189514" y="2435294"/>
                  <a:pt x="182556" y="2435294"/>
                </a:cubicBezTo>
                <a:cubicBezTo>
                  <a:pt x="182556" y="2437638"/>
                  <a:pt x="177887" y="2438810"/>
                  <a:pt x="168548" y="2438810"/>
                </a:cubicBezTo>
                <a:cubicBezTo>
                  <a:pt x="168548" y="2441526"/>
                  <a:pt x="158911" y="2446084"/>
                  <a:pt x="139638" y="2452483"/>
                </a:cubicBezTo>
                <a:lnTo>
                  <a:pt x="126523" y="2455106"/>
                </a:lnTo>
                <a:cubicBezTo>
                  <a:pt x="124551" y="2459088"/>
                  <a:pt x="116179" y="2464036"/>
                  <a:pt x="101408" y="2469952"/>
                </a:cubicBezTo>
                <a:cubicBezTo>
                  <a:pt x="94785" y="2471291"/>
                  <a:pt x="91474" y="2472408"/>
                  <a:pt x="91474" y="2473301"/>
                </a:cubicBezTo>
                <a:lnTo>
                  <a:pt x="71549" y="2480835"/>
                </a:lnTo>
                <a:lnTo>
                  <a:pt x="68033" y="2477319"/>
                </a:lnTo>
                <a:lnTo>
                  <a:pt x="65912" y="2480835"/>
                </a:lnTo>
                <a:lnTo>
                  <a:pt x="59773" y="2480835"/>
                </a:lnTo>
                <a:cubicBezTo>
                  <a:pt x="47160" y="2480835"/>
                  <a:pt x="30528" y="2469245"/>
                  <a:pt x="9879" y="2446065"/>
                </a:cubicBezTo>
                <a:lnTo>
                  <a:pt x="0" y="2436298"/>
                </a:lnTo>
                <a:lnTo>
                  <a:pt x="0" y="2428094"/>
                </a:lnTo>
                <a:cubicBezTo>
                  <a:pt x="0" y="2418681"/>
                  <a:pt x="8167" y="2413974"/>
                  <a:pt x="24501" y="2413974"/>
                </a:cubicBezTo>
                <a:cubicBezTo>
                  <a:pt x="24501" y="2413007"/>
                  <a:pt x="37821" y="2409565"/>
                  <a:pt x="64461" y="2403649"/>
                </a:cubicBezTo>
                <a:lnTo>
                  <a:pt x="83158" y="2400077"/>
                </a:lnTo>
                <a:lnTo>
                  <a:pt x="89799" y="2399966"/>
                </a:lnTo>
                <a:lnTo>
                  <a:pt x="87567" y="2399854"/>
                </a:lnTo>
                <a:cubicBezTo>
                  <a:pt x="87567" y="2399482"/>
                  <a:pt x="94562" y="2396952"/>
                  <a:pt x="108552" y="2392264"/>
                </a:cubicBezTo>
                <a:cubicBezTo>
                  <a:pt x="108552" y="2388059"/>
                  <a:pt x="114468" y="2385957"/>
                  <a:pt x="126299" y="2385957"/>
                </a:cubicBezTo>
                <a:lnTo>
                  <a:pt x="138466" y="2385957"/>
                </a:lnTo>
                <a:lnTo>
                  <a:pt x="126076" y="2385846"/>
                </a:lnTo>
                <a:cubicBezTo>
                  <a:pt x="126076" y="2384506"/>
                  <a:pt x="134243" y="2382664"/>
                  <a:pt x="150577" y="2380320"/>
                </a:cubicBezTo>
                <a:cubicBezTo>
                  <a:pt x="150577" y="2377046"/>
                  <a:pt x="155321" y="2375409"/>
                  <a:pt x="164809" y="2375409"/>
                </a:cubicBezTo>
                <a:lnTo>
                  <a:pt x="173738" y="2375409"/>
                </a:lnTo>
                <a:lnTo>
                  <a:pt x="168492" y="2375353"/>
                </a:lnTo>
                <a:cubicBezTo>
                  <a:pt x="167897" y="2373084"/>
                  <a:pt x="171264" y="2371949"/>
                  <a:pt x="178594" y="2371949"/>
                </a:cubicBezTo>
                <a:cubicBezTo>
                  <a:pt x="178594" y="2369605"/>
                  <a:pt x="185682" y="2368433"/>
                  <a:pt x="199858" y="2368433"/>
                </a:cubicBezTo>
                <a:lnTo>
                  <a:pt x="196118" y="2368433"/>
                </a:lnTo>
                <a:cubicBezTo>
                  <a:pt x="196118" y="2368209"/>
                  <a:pt x="196993" y="2367749"/>
                  <a:pt x="198741" y="2367051"/>
                </a:cubicBezTo>
                <a:lnTo>
                  <a:pt x="205379" y="2364686"/>
                </a:lnTo>
                <a:lnTo>
                  <a:pt x="197011" y="2342648"/>
                </a:lnTo>
                <a:cubicBezTo>
                  <a:pt x="192919" y="2338518"/>
                  <a:pt x="184510" y="2322705"/>
                  <a:pt x="171785" y="2295209"/>
                </a:cubicBezTo>
                <a:cubicBezTo>
                  <a:pt x="162334" y="2295209"/>
                  <a:pt x="157609" y="2286000"/>
                  <a:pt x="157609" y="2267583"/>
                </a:cubicBezTo>
                <a:cubicBezTo>
                  <a:pt x="173087" y="2258318"/>
                  <a:pt x="192565" y="2251082"/>
                  <a:pt x="216043" y="2245873"/>
                </a:cubicBezTo>
                <a:cubicBezTo>
                  <a:pt x="228395" y="2245873"/>
                  <a:pt x="237418" y="2250151"/>
                  <a:pt x="243111" y="2258709"/>
                </a:cubicBezTo>
                <a:cubicBezTo>
                  <a:pt x="278569" y="2272885"/>
                  <a:pt x="300410" y="2289628"/>
                  <a:pt x="308632" y="2308939"/>
                </a:cubicBezTo>
                <a:lnTo>
                  <a:pt x="305116" y="2322891"/>
                </a:lnTo>
                <a:lnTo>
                  <a:pt x="308632" y="2322891"/>
                </a:lnTo>
                <a:lnTo>
                  <a:pt x="308632" y="2336900"/>
                </a:lnTo>
                <a:lnTo>
                  <a:pt x="315051" y="2336900"/>
                </a:lnTo>
                <a:lnTo>
                  <a:pt x="318790" y="2336844"/>
                </a:lnTo>
                <a:lnTo>
                  <a:pt x="322585" y="2336900"/>
                </a:lnTo>
                <a:cubicBezTo>
                  <a:pt x="352946" y="2336900"/>
                  <a:pt x="368126" y="2345122"/>
                  <a:pt x="368126" y="2361568"/>
                </a:cubicBezTo>
                <a:lnTo>
                  <a:pt x="368126" y="2372956"/>
                </a:lnTo>
                <a:lnTo>
                  <a:pt x="374712" y="2371949"/>
                </a:lnTo>
                <a:lnTo>
                  <a:pt x="375732" y="2370419"/>
                </a:lnTo>
                <a:lnTo>
                  <a:pt x="374712" y="2369660"/>
                </a:lnTo>
                <a:cubicBezTo>
                  <a:pt x="374712" y="2360991"/>
                  <a:pt x="379735" y="2349141"/>
                  <a:pt x="389781" y="2334109"/>
                </a:cubicBezTo>
                <a:cubicBezTo>
                  <a:pt x="400757" y="2314389"/>
                  <a:pt x="406245" y="2302167"/>
                  <a:pt x="406245" y="2297442"/>
                </a:cubicBezTo>
                <a:cubicBezTo>
                  <a:pt x="413240" y="2285833"/>
                  <a:pt x="416737" y="2276178"/>
                  <a:pt x="416737" y="2268476"/>
                </a:cubicBezTo>
                <a:lnTo>
                  <a:pt x="426547" y="2258718"/>
                </a:lnTo>
                <a:lnTo>
                  <a:pt x="413277" y="2235827"/>
                </a:lnTo>
                <a:cubicBezTo>
                  <a:pt x="417333" y="2230283"/>
                  <a:pt x="426672" y="2223120"/>
                  <a:pt x="441294" y="2214340"/>
                </a:cubicBezTo>
                <a:lnTo>
                  <a:pt x="459544" y="2214340"/>
                </a:lnTo>
                <a:cubicBezTo>
                  <a:pt x="462595" y="2220479"/>
                  <a:pt x="471357" y="2225130"/>
                  <a:pt x="485831" y="2228292"/>
                </a:cubicBezTo>
                <a:lnTo>
                  <a:pt x="490686" y="2228348"/>
                </a:lnTo>
                <a:lnTo>
                  <a:pt x="502909" y="2228348"/>
                </a:lnTo>
                <a:lnTo>
                  <a:pt x="525735" y="2251175"/>
                </a:lnTo>
                <a:lnTo>
                  <a:pt x="525735" y="2266020"/>
                </a:lnTo>
                <a:cubicBezTo>
                  <a:pt x="515987" y="2285480"/>
                  <a:pt x="508992" y="2295209"/>
                  <a:pt x="504751" y="2295209"/>
                </a:cubicBezTo>
                <a:cubicBezTo>
                  <a:pt x="504751" y="2299897"/>
                  <a:pt x="499876" y="2302241"/>
                  <a:pt x="490128" y="2302241"/>
                </a:cubicBezTo>
                <a:cubicBezTo>
                  <a:pt x="485477" y="2311580"/>
                  <a:pt x="479841" y="2316250"/>
                  <a:pt x="473218" y="2316250"/>
                </a:cubicBezTo>
                <a:cubicBezTo>
                  <a:pt x="473218" y="2315096"/>
                  <a:pt x="467339" y="2318910"/>
                  <a:pt x="455582" y="2327691"/>
                </a:cubicBezTo>
                <a:cubicBezTo>
                  <a:pt x="437536" y="2345736"/>
                  <a:pt x="425835" y="2354759"/>
                  <a:pt x="420477" y="2354759"/>
                </a:cubicBezTo>
                <a:lnTo>
                  <a:pt x="420444" y="2354790"/>
                </a:lnTo>
                <a:lnTo>
                  <a:pt x="430746" y="2354424"/>
                </a:lnTo>
                <a:cubicBezTo>
                  <a:pt x="430746" y="2349736"/>
                  <a:pt x="438931" y="2347392"/>
                  <a:pt x="455303" y="2347392"/>
                </a:cubicBezTo>
                <a:cubicBezTo>
                  <a:pt x="455303" y="2346983"/>
                  <a:pt x="461646" y="2344657"/>
                  <a:pt x="474334" y="2340416"/>
                </a:cubicBezTo>
                <a:lnTo>
                  <a:pt x="472771" y="2340416"/>
                </a:lnTo>
                <a:cubicBezTo>
                  <a:pt x="472771" y="2335728"/>
                  <a:pt x="480324" y="2333384"/>
                  <a:pt x="495430" y="2333384"/>
                </a:cubicBezTo>
                <a:cubicBezTo>
                  <a:pt x="499002" y="2329849"/>
                  <a:pt x="503820" y="2327077"/>
                  <a:pt x="509885" y="2325068"/>
                </a:cubicBezTo>
                <a:lnTo>
                  <a:pt x="535837" y="2276401"/>
                </a:lnTo>
                <a:lnTo>
                  <a:pt x="535837" y="2271211"/>
                </a:lnTo>
                <a:cubicBezTo>
                  <a:pt x="542832" y="2266560"/>
                  <a:pt x="546329" y="2260495"/>
                  <a:pt x="546329" y="2253016"/>
                </a:cubicBezTo>
                <a:lnTo>
                  <a:pt x="546329" y="2236999"/>
                </a:lnTo>
                <a:lnTo>
                  <a:pt x="553362" y="2230804"/>
                </a:lnTo>
                <a:lnTo>
                  <a:pt x="547948" y="2215065"/>
                </a:lnTo>
                <a:cubicBezTo>
                  <a:pt x="542218" y="2212163"/>
                  <a:pt x="539353" y="2207289"/>
                  <a:pt x="539353" y="2200443"/>
                </a:cubicBezTo>
                <a:cubicBezTo>
                  <a:pt x="539353" y="2187830"/>
                  <a:pt x="545325" y="2180035"/>
                  <a:pt x="557268" y="2177058"/>
                </a:cubicBezTo>
                <a:cubicBezTo>
                  <a:pt x="562738" y="2171551"/>
                  <a:pt x="570830" y="2168798"/>
                  <a:pt x="581546" y="2168798"/>
                </a:cubicBezTo>
                <a:close/>
                <a:moveTo>
                  <a:pt x="395753" y="1591736"/>
                </a:moveTo>
                <a:lnTo>
                  <a:pt x="411156" y="1591736"/>
                </a:lnTo>
                <a:lnTo>
                  <a:pt x="479580" y="1606916"/>
                </a:lnTo>
                <a:cubicBezTo>
                  <a:pt x="495765" y="1623101"/>
                  <a:pt x="506481" y="1637779"/>
                  <a:pt x="511727" y="1650951"/>
                </a:cubicBezTo>
                <a:lnTo>
                  <a:pt x="511727" y="1665238"/>
                </a:lnTo>
                <a:cubicBezTo>
                  <a:pt x="499077" y="1684177"/>
                  <a:pt x="484994" y="1693646"/>
                  <a:pt x="469478" y="1693646"/>
                </a:cubicBezTo>
                <a:lnTo>
                  <a:pt x="466018" y="1693646"/>
                </a:lnTo>
                <a:cubicBezTo>
                  <a:pt x="454186" y="1693646"/>
                  <a:pt x="448270" y="1689460"/>
                  <a:pt x="448270" y="1681088"/>
                </a:cubicBezTo>
                <a:cubicBezTo>
                  <a:pt x="437555" y="1672531"/>
                  <a:pt x="428737" y="1657890"/>
                  <a:pt x="421816" y="1637166"/>
                </a:cubicBezTo>
                <a:cubicBezTo>
                  <a:pt x="411435" y="1629389"/>
                  <a:pt x="406245" y="1623697"/>
                  <a:pt x="406245" y="1620088"/>
                </a:cubicBezTo>
                <a:cubicBezTo>
                  <a:pt x="407101" y="1620088"/>
                  <a:pt x="403603" y="1610637"/>
                  <a:pt x="395753" y="1591736"/>
                </a:cubicBezTo>
                <a:close/>
                <a:moveTo>
                  <a:pt x="512861" y="1337288"/>
                </a:moveTo>
                <a:lnTo>
                  <a:pt x="508232" y="1338740"/>
                </a:lnTo>
                <a:cubicBezTo>
                  <a:pt x="504172" y="1339851"/>
                  <a:pt x="499514" y="1340988"/>
                  <a:pt x="494258" y="1342151"/>
                </a:cubicBezTo>
                <a:lnTo>
                  <a:pt x="490072" y="1350467"/>
                </a:lnTo>
                <a:lnTo>
                  <a:pt x="471320" y="1350467"/>
                </a:lnTo>
                <a:cubicBezTo>
                  <a:pt x="470241" y="1350802"/>
                  <a:pt x="469702" y="1353127"/>
                  <a:pt x="469702" y="1357443"/>
                </a:cubicBezTo>
                <a:lnTo>
                  <a:pt x="449163" y="1353927"/>
                </a:lnTo>
                <a:cubicBezTo>
                  <a:pt x="449089" y="1353927"/>
                  <a:pt x="442057" y="1359769"/>
                  <a:pt x="428067" y="1371452"/>
                </a:cubicBezTo>
                <a:lnTo>
                  <a:pt x="409761" y="1371452"/>
                </a:lnTo>
                <a:lnTo>
                  <a:pt x="409761" y="1367935"/>
                </a:lnTo>
                <a:cubicBezTo>
                  <a:pt x="410022" y="1372289"/>
                  <a:pt x="404868" y="1375526"/>
                  <a:pt x="394302" y="1377647"/>
                </a:cubicBezTo>
                <a:cubicBezTo>
                  <a:pt x="384405" y="1387544"/>
                  <a:pt x="378024" y="1392492"/>
                  <a:pt x="375159" y="1392492"/>
                </a:cubicBezTo>
                <a:cubicBezTo>
                  <a:pt x="375159" y="1392743"/>
                  <a:pt x="371213" y="1394219"/>
                  <a:pt x="363323" y="1396919"/>
                </a:cubicBezTo>
                <a:lnTo>
                  <a:pt x="359407" y="1398241"/>
                </a:lnTo>
                <a:lnTo>
                  <a:pt x="363976" y="1399437"/>
                </a:lnTo>
                <a:cubicBezTo>
                  <a:pt x="366166" y="1399951"/>
                  <a:pt x="368722" y="1400501"/>
                  <a:pt x="371643" y="1401087"/>
                </a:cubicBezTo>
                <a:cubicBezTo>
                  <a:pt x="371643" y="1402129"/>
                  <a:pt x="375252" y="1402650"/>
                  <a:pt x="382470" y="1402650"/>
                </a:cubicBezTo>
                <a:lnTo>
                  <a:pt x="392683" y="1423020"/>
                </a:lnTo>
                <a:lnTo>
                  <a:pt x="392683" y="1427764"/>
                </a:lnTo>
                <a:lnTo>
                  <a:pt x="385651" y="1462367"/>
                </a:lnTo>
                <a:lnTo>
                  <a:pt x="389167" y="1472859"/>
                </a:lnTo>
                <a:lnTo>
                  <a:pt x="386720" y="1489875"/>
                </a:lnTo>
                <a:lnTo>
                  <a:pt x="391113" y="1483230"/>
                </a:lnTo>
                <a:cubicBezTo>
                  <a:pt x="402736" y="1463647"/>
                  <a:pt x="410570" y="1443782"/>
                  <a:pt x="414617" y="1423634"/>
                </a:cubicBezTo>
                <a:cubicBezTo>
                  <a:pt x="416700" y="1423634"/>
                  <a:pt x="418914" y="1416639"/>
                  <a:pt x="421258" y="1402650"/>
                </a:cubicBezTo>
                <a:lnTo>
                  <a:pt x="423770" y="1402650"/>
                </a:lnTo>
                <a:cubicBezTo>
                  <a:pt x="416775" y="1403468"/>
                  <a:pt x="413277" y="1398464"/>
                  <a:pt x="413277" y="1387637"/>
                </a:cubicBezTo>
                <a:cubicBezTo>
                  <a:pt x="417593" y="1378967"/>
                  <a:pt x="425295" y="1374633"/>
                  <a:pt x="436383" y="1374633"/>
                </a:cubicBezTo>
                <a:cubicBezTo>
                  <a:pt x="456391" y="1380632"/>
                  <a:pt x="472893" y="1390734"/>
                  <a:pt x="485890" y="1404938"/>
                </a:cubicBezTo>
                <a:lnTo>
                  <a:pt x="494202" y="1415880"/>
                </a:lnTo>
                <a:lnTo>
                  <a:pt x="494202" y="1412472"/>
                </a:lnTo>
                <a:lnTo>
                  <a:pt x="496586" y="1419019"/>
                </a:lnTo>
                <a:lnTo>
                  <a:pt x="497718" y="1420509"/>
                </a:lnTo>
                <a:lnTo>
                  <a:pt x="497129" y="1420509"/>
                </a:lnTo>
                <a:lnTo>
                  <a:pt x="497718" y="1422128"/>
                </a:lnTo>
                <a:cubicBezTo>
                  <a:pt x="488900" y="1435076"/>
                  <a:pt x="478389" y="1447633"/>
                  <a:pt x="466186" y="1459800"/>
                </a:cubicBezTo>
                <a:cubicBezTo>
                  <a:pt x="466186" y="1463111"/>
                  <a:pt x="454521" y="1471780"/>
                  <a:pt x="431192" y="1485807"/>
                </a:cubicBezTo>
                <a:cubicBezTo>
                  <a:pt x="431192" y="1488151"/>
                  <a:pt x="429732" y="1490784"/>
                  <a:pt x="426811" y="1493705"/>
                </a:cubicBezTo>
                <a:lnTo>
                  <a:pt x="422656" y="1497193"/>
                </a:lnTo>
                <a:lnTo>
                  <a:pt x="425388" y="1497193"/>
                </a:lnTo>
                <a:lnTo>
                  <a:pt x="432420" y="1490161"/>
                </a:lnTo>
                <a:lnTo>
                  <a:pt x="434262" y="1490161"/>
                </a:lnTo>
                <a:cubicBezTo>
                  <a:pt x="434262" y="1486440"/>
                  <a:pt x="443899" y="1483184"/>
                  <a:pt x="463172" y="1480394"/>
                </a:cubicBezTo>
                <a:lnTo>
                  <a:pt x="470929" y="1472692"/>
                </a:lnTo>
                <a:cubicBezTo>
                  <a:pt x="483468" y="1472692"/>
                  <a:pt x="493723" y="1474389"/>
                  <a:pt x="501695" y="1477785"/>
                </a:cubicBezTo>
                <a:lnTo>
                  <a:pt x="504319" y="1479415"/>
                </a:lnTo>
                <a:lnTo>
                  <a:pt x="504304" y="1479110"/>
                </a:lnTo>
                <a:lnTo>
                  <a:pt x="507820" y="1466274"/>
                </a:lnTo>
                <a:lnTo>
                  <a:pt x="504304" y="1452265"/>
                </a:lnTo>
                <a:lnTo>
                  <a:pt x="507820" y="1440601"/>
                </a:lnTo>
                <a:lnTo>
                  <a:pt x="507820" y="1437810"/>
                </a:lnTo>
                <a:lnTo>
                  <a:pt x="507820" y="1392269"/>
                </a:lnTo>
                <a:lnTo>
                  <a:pt x="507820" y="1388083"/>
                </a:lnTo>
                <a:lnTo>
                  <a:pt x="511336" y="1353425"/>
                </a:lnTo>
                <a:lnTo>
                  <a:pt x="511336" y="1349462"/>
                </a:lnTo>
                <a:close/>
                <a:moveTo>
                  <a:pt x="536339" y="1266025"/>
                </a:moveTo>
                <a:lnTo>
                  <a:pt x="548785" y="1266025"/>
                </a:lnTo>
                <a:lnTo>
                  <a:pt x="594271" y="1283550"/>
                </a:lnTo>
                <a:cubicBezTo>
                  <a:pt x="613953" y="1283550"/>
                  <a:pt x="623795" y="1291773"/>
                  <a:pt x="623795" y="1308218"/>
                </a:cubicBezTo>
                <a:cubicBezTo>
                  <a:pt x="623795" y="1320571"/>
                  <a:pt x="613618" y="1336923"/>
                  <a:pt x="593266" y="1357276"/>
                </a:cubicBezTo>
                <a:cubicBezTo>
                  <a:pt x="582923" y="1373796"/>
                  <a:pt x="575593" y="1396213"/>
                  <a:pt x="571277" y="1424527"/>
                </a:cubicBezTo>
                <a:lnTo>
                  <a:pt x="571277" y="1439094"/>
                </a:lnTo>
                <a:lnTo>
                  <a:pt x="567705" y="1499927"/>
                </a:lnTo>
                <a:lnTo>
                  <a:pt x="571277" y="1518568"/>
                </a:lnTo>
                <a:lnTo>
                  <a:pt x="568361" y="1518568"/>
                </a:lnTo>
                <a:lnTo>
                  <a:pt x="569166" y="1528314"/>
                </a:lnTo>
                <a:cubicBezTo>
                  <a:pt x="571978" y="1548392"/>
                  <a:pt x="579007" y="1577699"/>
                  <a:pt x="590252" y="1616237"/>
                </a:cubicBezTo>
                <a:cubicBezTo>
                  <a:pt x="592931" y="1616237"/>
                  <a:pt x="595443" y="1622078"/>
                  <a:pt x="597787" y="1633761"/>
                </a:cubicBezTo>
                <a:cubicBezTo>
                  <a:pt x="598605" y="1633761"/>
                  <a:pt x="606810" y="1646802"/>
                  <a:pt x="622399" y="1672884"/>
                </a:cubicBezTo>
                <a:cubicBezTo>
                  <a:pt x="638919" y="1693497"/>
                  <a:pt x="647793" y="1703803"/>
                  <a:pt x="649021" y="1703803"/>
                </a:cubicBezTo>
                <a:cubicBezTo>
                  <a:pt x="659327" y="1711505"/>
                  <a:pt x="667717" y="1716175"/>
                  <a:pt x="674191" y="1717812"/>
                </a:cubicBezTo>
                <a:cubicBezTo>
                  <a:pt x="671326" y="1717812"/>
                  <a:pt x="671066" y="1710817"/>
                  <a:pt x="673410" y="1696827"/>
                </a:cubicBezTo>
                <a:cubicBezTo>
                  <a:pt x="677428" y="1696827"/>
                  <a:pt x="679438" y="1695376"/>
                  <a:pt x="679438" y="1692474"/>
                </a:cubicBezTo>
                <a:lnTo>
                  <a:pt x="699139" y="1637277"/>
                </a:lnTo>
                <a:lnTo>
                  <a:pt x="711138" y="1637277"/>
                </a:lnTo>
                <a:lnTo>
                  <a:pt x="725370" y="1637277"/>
                </a:lnTo>
                <a:lnTo>
                  <a:pt x="725370" y="1653909"/>
                </a:lnTo>
                <a:cubicBezTo>
                  <a:pt x="723026" y="1658560"/>
                  <a:pt x="721854" y="1664736"/>
                  <a:pt x="721854" y="1672438"/>
                </a:cubicBezTo>
                <a:lnTo>
                  <a:pt x="721854" y="1694929"/>
                </a:lnTo>
                <a:lnTo>
                  <a:pt x="718338" y="1705254"/>
                </a:lnTo>
                <a:cubicBezTo>
                  <a:pt x="720421" y="1721588"/>
                  <a:pt x="729593" y="1737885"/>
                  <a:pt x="745852" y="1754144"/>
                </a:cubicBezTo>
                <a:lnTo>
                  <a:pt x="749871" y="1770050"/>
                </a:lnTo>
                <a:cubicBezTo>
                  <a:pt x="749871" y="1789696"/>
                  <a:pt x="731788" y="1805081"/>
                  <a:pt x="695623" y="1816206"/>
                </a:cubicBezTo>
                <a:lnTo>
                  <a:pt x="681949" y="1816206"/>
                </a:lnTo>
                <a:cubicBezTo>
                  <a:pt x="677261" y="1811555"/>
                  <a:pt x="671010" y="1809229"/>
                  <a:pt x="663197" y="1809229"/>
                </a:cubicBezTo>
                <a:cubicBezTo>
                  <a:pt x="644184" y="1801081"/>
                  <a:pt x="621469" y="1783780"/>
                  <a:pt x="595052" y="1757326"/>
                </a:cubicBezTo>
                <a:cubicBezTo>
                  <a:pt x="570495" y="1727858"/>
                  <a:pt x="552617" y="1698576"/>
                  <a:pt x="541418" y="1669480"/>
                </a:cubicBezTo>
                <a:cubicBezTo>
                  <a:pt x="528507" y="1638561"/>
                  <a:pt x="518666" y="1602768"/>
                  <a:pt x="511894" y="1562100"/>
                </a:cubicBezTo>
                <a:lnTo>
                  <a:pt x="508043" y="1558249"/>
                </a:lnTo>
                <a:lnTo>
                  <a:pt x="506382" y="1523080"/>
                </a:lnTo>
                <a:lnTo>
                  <a:pt x="500896" y="1526811"/>
                </a:lnTo>
                <a:cubicBezTo>
                  <a:pt x="496927" y="1528311"/>
                  <a:pt x="492296" y="1529061"/>
                  <a:pt x="487003" y="1529061"/>
                </a:cubicBezTo>
                <a:lnTo>
                  <a:pt x="478017" y="1529061"/>
                </a:lnTo>
                <a:lnTo>
                  <a:pt x="468920" y="1525544"/>
                </a:lnTo>
                <a:lnTo>
                  <a:pt x="397818" y="1542232"/>
                </a:lnTo>
                <a:cubicBezTo>
                  <a:pt x="396367" y="1543683"/>
                  <a:pt x="394627" y="1544771"/>
                  <a:pt x="392599" y="1545497"/>
                </a:cubicBezTo>
                <a:lnTo>
                  <a:pt x="388008" y="1546216"/>
                </a:lnTo>
                <a:lnTo>
                  <a:pt x="389167" y="1549710"/>
                </a:lnTo>
                <a:lnTo>
                  <a:pt x="389167" y="1557022"/>
                </a:lnTo>
                <a:cubicBezTo>
                  <a:pt x="391437" y="1572909"/>
                  <a:pt x="392609" y="1582192"/>
                  <a:pt x="392683" y="1584871"/>
                </a:cubicBezTo>
                <a:lnTo>
                  <a:pt x="392683" y="1588387"/>
                </a:lnTo>
                <a:lnTo>
                  <a:pt x="392683" y="1616404"/>
                </a:lnTo>
                <a:lnTo>
                  <a:pt x="392683" y="1626171"/>
                </a:lnTo>
                <a:cubicBezTo>
                  <a:pt x="394990" y="1630822"/>
                  <a:pt x="396143" y="1645072"/>
                  <a:pt x="396143" y="1668922"/>
                </a:cubicBezTo>
                <a:lnTo>
                  <a:pt x="396143" y="1675954"/>
                </a:lnTo>
                <a:lnTo>
                  <a:pt x="396143" y="1703971"/>
                </a:lnTo>
                <a:lnTo>
                  <a:pt x="396143" y="1704138"/>
                </a:lnTo>
                <a:lnTo>
                  <a:pt x="396108" y="1704138"/>
                </a:lnTo>
                <a:lnTo>
                  <a:pt x="389558" y="1734806"/>
                </a:lnTo>
                <a:cubicBezTo>
                  <a:pt x="386470" y="1744908"/>
                  <a:pt x="382488" y="1754833"/>
                  <a:pt x="377614" y="1764581"/>
                </a:cubicBezTo>
                <a:cubicBezTo>
                  <a:pt x="367271" y="1782701"/>
                  <a:pt x="349876" y="1801081"/>
                  <a:pt x="325431" y="1819722"/>
                </a:cubicBezTo>
                <a:lnTo>
                  <a:pt x="308186" y="1806718"/>
                </a:lnTo>
                <a:lnTo>
                  <a:pt x="308186" y="1791482"/>
                </a:lnTo>
                <a:cubicBezTo>
                  <a:pt x="308186" y="1779836"/>
                  <a:pt x="299647" y="1761195"/>
                  <a:pt x="282569" y="1735560"/>
                </a:cubicBezTo>
                <a:lnTo>
                  <a:pt x="255668" y="1712454"/>
                </a:lnTo>
                <a:lnTo>
                  <a:pt x="255668" y="1703971"/>
                </a:lnTo>
                <a:cubicBezTo>
                  <a:pt x="255668" y="1696864"/>
                  <a:pt x="262291" y="1693311"/>
                  <a:pt x="275537" y="1693311"/>
                </a:cubicBezTo>
                <a:lnTo>
                  <a:pt x="301991" y="1700231"/>
                </a:lnTo>
                <a:cubicBezTo>
                  <a:pt x="303777" y="1701757"/>
                  <a:pt x="304670" y="1700659"/>
                  <a:pt x="304670" y="1696939"/>
                </a:cubicBezTo>
                <a:lnTo>
                  <a:pt x="304670" y="1689962"/>
                </a:lnTo>
                <a:cubicBezTo>
                  <a:pt x="304670" y="1657183"/>
                  <a:pt x="305842" y="1640793"/>
                  <a:pt x="308186" y="1640793"/>
                </a:cubicBezTo>
                <a:lnTo>
                  <a:pt x="308186" y="1636384"/>
                </a:lnTo>
                <a:lnTo>
                  <a:pt x="311702" y="1613000"/>
                </a:lnTo>
                <a:lnTo>
                  <a:pt x="308186" y="1585206"/>
                </a:lnTo>
                <a:lnTo>
                  <a:pt x="310778" y="1564020"/>
                </a:lnTo>
                <a:lnTo>
                  <a:pt x="309414" y="1564054"/>
                </a:lnTo>
                <a:lnTo>
                  <a:pt x="297303" y="1574602"/>
                </a:lnTo>
                <a:lnTo>
                  <a:pt x="290550" y="1571086"/>
                </a:lnTo>
                <a:cubicBezTo>
                  <a:pt x="289359" y="1576630"/>
                  <a:pt x="279574" y="1582471"/>
                  <a:pt x="261193" y="1588610"/>
                </a:cubicBezTo>
                <a:cubicBezTo>
                  <a:pt x="258180" y="1588610"/>
                  <a:pt x="254980" y="1589764"/>
                  <a:pt x="251594" y="1592071"/>
                </a:cubicBezTo>
                <a:lnTo>
                  <a:pt x="245064" y="1588610"/>
                </a:lnTo>
                <a:cubicBezTo>
                  <a:pt x="244004" y="1593159"/>
                  <a:pt x="239406" y="1596787"/>
                  <a:pt x="231272" y="1599493"/>
                </a:cubicBezTo>
                <a:lnTo>
                  <a:pt x="231132" y="1599529"/>
                </a:lnTo>
                <a:lnTo>
                  <a:pt x="243250" y="1615466"/>
                </a:lnTo>
                <a:cubicBezTo>
                  <a:pt x="254133" y="1630221"/>
                  <a:pt x="259575" y="1639147"/>
                  <a:pt x="259575" y="1642244"/>
                </a:cubicBezTo>
                <a:lnTo>
                  <a:pt x="256059" y="1655360"/>
                </a:lnTo>
                <a:lnTo>
                  <a:pt x="259575" y="1668699"/>
                </a:lnTo>
                <a:lnTo>
                  <a:pt x="256059" y="1673442"/>
                </a:lnTo>
                <a:lnTo>
                  <a:pt x="256059" y="1675954"/>
                </a:lnTo>
                <a:cubicBezTo>
                  <a:pt x="256059" y="1700362"/>
                  <a:pt x="248301" y="1718779"/>
                  <a:pt x="232786" y="1731206"/>
                </a:cubicBezTo>
                <a:cubicBezTo>
                  <a:pt x="215559" y="1743522"/>
                  <a:pt x="204583" y="1749680"/>
                  <a:pt x="199858" y="1749680"/>
                </a:cubicBezTo>
                <a:lnTo>
                  <a:pt x="188137" y="1749680"/>
                </a:lnTo>
                <a:lnTo>
                  <a:pt x="178594" y="1740136"/>
                </a:lnTo>
                <a:lnTo>
                  <a:pt x="178594" y="1704864"/>
                </a:lnTo>
                <a:cubicBezTo>
                  <a:pt x="188082" y="1697757"/>
                  <a:pt x="194146" y="1681070"/>
                  <a:pt x="196788" y="1654802"/>
                </a:cubicBezTo>
                <a:cubicBezTo>
                  <a:pt x="199281" y="1654802"/>
                  <a:pt x="201402" y="1648644"/>
                  <a:pt x="203150" y="1636328"/>
                </a:cubicBezTo>
                <a:cubicBezTo>
                  <a:pt x="205457" y="1631640"/>
                  <a:pt x="206611" y="1626171"/>
                  <a:pt x="206611" y="1619920"/>
                </a:cubicBezTo>
                <a:lnTo>
                  <a:pt x="206611" y="1611772"/>
                </a:lnTo>
                <a:lnTo>
                  <a:pt x="207043" y="1610911"/>
                </a:lnTo>
                <a:lnTo>
                  <a:pt x="200025" y="1613111"/>
                </a:lnTo>
                <a:cubicBezTo>
                  <a:pt x="200025" y="1619213"/>
                  <a:pt x="189328" y="1623808"/>
                  <a:pt x="167934" y="1626896"/>
                </a:cubicBezTo>
                <a:lnTo>
                  <a:pt x="161516" y="1630078"/>
                </a:lnTo>
                <a:cubicBezTo>
                  <a:pt x="161516" y="1637445"/>
                  <a:pt x="154446" y="1641128"/>
                  <a:pt x="140308" y="1641128"/>
                </a:cubicBezTo>
                <a:lnTo>
                  <a:pt x="131211" y="1641128"/>
                </a:lnTo>
                <a:cubicBezTo>
                  <a:pt x="124216" y="1631789"/>
                  <a:pt x="116663" y="1627120"/>
                  <a:pt x="108552" y="1627120"/>
                </a:cubicBezTo>
                <a:cubicBezTo>
                  <a:pt x="108552" y="1622134"/>
                  <a:pt x="99213" y="1614972"/>
                  <a:pt x="80535" y="1605633"/>
                </a:cubicBezTo>
                <a:cubicBezTo>
                  <a:pt x="80535" y="1591717"/>
                  <a:pt x="88720" y="1584759"/>
                  <a:pt x="105091" y="1584759"/>
                </a:cubicBezTo>
                <a:cubicBezTo>
                  <a:pt x="105091" y="1582415"/>
                  <a:pt x="112626" y="1581243"/>
                  <a:pt x="127695" y="1581243"/>
                </a:cubicBezTo>
                <a:lnTo>
                  <a:pt x="131211" y="1577727"/>
                </a:lnTo>
                <a:lnTo>
                  <a:pt x="129592" y="1577727"/>
                </a:lnTo>
                <a:cubicBezTo>
                  <a:pt x="129592" y="1576760"/>
                  <a:pt x="152549" y="1571179"/>
                  <a:pt x="198462" y="1560984"/>
                </a:cubicBezTo>
                <a:lnTo>
                  <a:pt x="219838" y="1549655"/>
                </a:lnTo>
                <a:lnTo>
                  <a:pt x="224805" y="1553171"/>
                </a:lnTo>
                <a:lnTo>
                  <a:pt x="232460" y="1553897"/>
                </a:lnTo>
                <a:lnTo>
                  <a:pt x="224665" y="1546320"/>
                </a:lnTo>
                <a:cubicBezTo>
                  <a:pt x="221261" y="1540934"/>
                  <a:pt x="218945" y="1534530"/>
                  <a:pt x="217717" y="1527107"/>
                </a:cubicBezTo>
                <a:cubicBezTo>
                  <a:pt x="215001" y="1524391"/>
                  <a:pt x="213643" y="1520373"/>
                  <a:pt x="213643" y="1515052"/>
                </a:cubicBezTo>
                <a:cubicBezTo>
                  <a:pt x="208955" y="1515052"/>
                  <a:pt x="206611" y="1510383"/>
                  <a:pt x="206611" y="1501044"/>
                </a:cubicBezTo>
                <a:cubicBezTo>
                  <a:pt x="208322" y="1501044"/>
                  <a:pt x="201327" y="1492077"/>
                  <a:pt x="185626" y="1474143"/>
                </a:cubicBezTo>
                <a:lnTo>
                  <a:pt x="194277" y="1462144"/>
                </a:lnTo>
                <a:lnTo>
                  <a:pt x="221456" y="1462144"/>
                </a:lnTo>
                <a:cubicBezTo>
                  <a:pt x="224321" y="1467948"/>
                  <a:pt x="234218" y="1472971"/>
                  <a:pt x="251148" y="1477213"/>
                </a:cubicBezTo>
                <a:cubicBezTo>
                  <a:pt x="273100" y="1493695"/>
                  <a:pt x="284076" y="1503797"/>
                  <a:pt x="284076" y="1507518"/>
                </a:cubicBezTo>
                <a:lnTo>
                  <a:pt x="287592" y="1532577"/>
                </a:lnTo>
                <a:lnTo>
                  <a:pt x="287006" y="1532577"/>
                </a:lnTo>
                <a:lnTo>
                  <a:pt x="287592" y="1533693"/>
                </a:lnTo>
                <a:lnTo>
                  <a:pt x="286987" y="1534439"/>
                </a:lnTo>
                <a:lnTo>
                  <a:pt x="294624" y="1532130"/>
                </a:lnTo>
                <a:lnTo>
                  <a:pt x="294624" y="1535646"/>
                </a:lnTo>
                <a:lnTo>
                  <a:pt x="309525" y="1528726"/>
                </a:lnTo>
                <a:cubicBezTo>
                  <a:pt x="308632" y="1528726"/>
                  <a:pt x="308186" y="1515201"/>
                  <a:pt x="308186" y="1488151"/>
                </a:cubicBezTo>
                <a:lnTo>
                  <a:pt x="304670" y="1455949"/>
                </a:lnTo>
                <a:lnTo>
                  <a:pt x="304670" y="1448303"/>
                </a:lnTo>
                <a:lnTo>
                  <a:pt x="304670" y="1437978"/>
                </a:lnTo>
                <a:cubicBezTo>
                  <a:pt x="305098" y="1437978"/>
                  <a:pt x="305180" y="1437686"/>
                  <a:pt x="304918" y="1437102"/>
                </a:cubicBezTo>
                <a:lnTo>
                  <a:pt x="304670" y="1436746"/>
                </a:lnTo>
                <a:lnTo>
                  <a:pt x="303093" y="1434476"/>
                </a:lnTo>
                <a:cubicBezTo>
                  <a:pt x="301186" y="1432141"/>
                  <a:pt x="297898" y="1428639"/>
                  <a:pt x="293229" y="1423969"/>
                </a:cubicBezTo>
                <a:cubicBezTo>
                  <a:pt x="294159" y="1423969"/>
                  <a:pt x="284559" y="1431801"/>
                  <a:pt x="264430" y="1447466"/>
                </a:cubicBezTo>
                <a:cubicBezTo>
                  <a:pt x="256952" y="1449921"/>
                  <a:pt x="247966" y="1453772"/>
                  <a:pt x="237474" y="1459018"/>
                </a:cubicBezTo>
                <a:cubicBezTo>
                  <a:pt x="230256" y="1459018"/>
                  <a:pt x="212973" y="1445326"/>
                  <a:pt x="185626" y="1417942"/>
                </a:cubicBezTo>
                <a:cubicBezTo>
                  <a:pt x="185626" y="1407747"/>
                  <a:pt x="196193" y="1402650"/>
                  <a:pt x="217326" y="1402650"/>
                </a:cubicBezTo>
                <a:lnTo>
                  <a:pt x="220842" y="1402650"/>
                </a:lnTo>
                <a:cubicBezTo>
                  <a:pt x="231521" y="1402650"/>
                  <a:pt x="242739" y="1397738"/>
                  <a:pt x="254496" y="1387916"/>
                </a:cubicBezTo>
                <a:lnTo>
                  <a:pt x="264319" y="1378093"/>
                </a:lnTo>
                <a:lnTo>
                  <a:pt x="276876" y="1378093"/>
                </a:lnTo>
                <a:cubicBezTo>
                  <a:pt x="285955" y="1378093"/>
                  <a:pt x="298363" y="1373182"/>
                  <a:pt x="314102" y="1363359"/>
                </a:cubicBezTo>
                <a:lnTo>
                  <a:pt x="320353" y="1357108"/>
                </a:lnTo>
                <a:lnTo>
                  <a:pt x="336426" y="1357108"/>
                </a:lnTo>
                <a:lnTo>
                  <a:pt x="341226" y="1357108"/>
                </a:lnTo>
                <a:cubicBezTo>
                  <a:pt x="345021" y="1355843"/>
                  <a:pt x="369038" y="1347472"/>
                  <a:pt x="413277" y="1331993"/>
                </a:cubicBezTo>
                <a:cubicBezTo>
                  <a:pt x="413277" y="1325371"/>
                  <a:pt x="420644" y="1322059"/>
                  <a:pt x="435378" y="1322059"/>
                </a:cubicBezTo>
                <a:cubicBezTo>
                  <a:pt x="445833" y="1317892"/>
                  <a:pt x="466260" y="1311120"/>
                  <a:pt x="496658" y="1301744"/>
                </a:cubicBezTo>
                <a:cubicBezTo>
                  <a:pt x="510239" y="1295940"/>
                  <a:pt x="523466" y="1284034"/>
                  <a:pt x="536339" y="1266025"/>
                </a:cubicBezTo>
                <a:close/>
                <a:moveTo>
                  <a:pt x="463004" y="1223944"/>
                </a:moveTo>
                <a:lnTo>
                  <a:pt x="478073" y="1231032"/>
                </a:lnTo>
                <a:lnTo>
                  <a:pt x="489849" y="1231032"/>
                </a:lnTo>
                <a:lnTo>
                  <a:pt x="504751" y="1250845"/>
                </a:lnTo>
                <a:lnTo>
                  <a:pt x="504751" y="1259161"/>
                </a:lnTo>
                <a:cubicBezTo>
                  <a:pt x="504751" y="1269281"/>
                  <a:pt x="486705" y="1279494"/>
                  <a:pt x="450614" y="1289801"/>
                </a:cubicBezTo>
                <a:cubicBezTo>
                  <a:pt x="448419" y="1291996"/>
                  <a:pt x="439936" y="1295549"/>
                  <a:pt x="425165" y="1300461"/>
                </a:cubicBezTo>
                <a:cubicBezTo>
                  <a:pt x="398041" y="1311771"/>
                  <a:pt x="380479" y="1321427"/>
                  <a:pt x="372480" y="1329426"/>
                </a:cubicBezTo>
                <a:lnTo>
                  <a:pt x="358081" y="1329426"/>
                </a:lnTo>
                <a:cubicBezTo>
                  <a:pt x="341486" y="1321129"/>
                  <a:pt x="327199" y="1309483"/>
                  <a:pt x="315218" y="1294489"/>
                </a:cubicBezTo>
                <a:lnTo>
                  <a:pt x="315218" y="1285168"/>
                </a:lnTo>
                <a:cubicBezTo>
                  <a:pt x="319795" y="1280592"/>
                  <a:pt x="334956" y="1274006"/>
                  <a:pt x="360704" y="1265412"/>
                </a:cubicBezTo>
                <a:cubicBezTo>
                  <a:pt x="360704" y="1262249"/>
                  <a:pt x="369429" y="1259198"/>
                  <a:pt x="386879" y="1256259"/>
                </a:cubicBezTo>
                <a:cubicBezTo>
                  <a:pt x="396850" y="1248780"/>
                  <a:pt x="407622" y="1245041"/>
                  <a:pt x="419193" y="1245041"/>
                </a:cubicBezTo>
                <a:cubicBezTo>
                  <a:pt x="430244" y="1236223"/>
                  <a:pt x="444847" y="1229190"/>
                  <a:pt x="463004" y="1223944"/>
                </a:cubicBezTo>
                <a:close/>
                <a:moveTo>
                  <a:pt x="513904" y="1076883"/>
                </a:moveTo>
                <a:cubicBezTo>
                  <a:pt x="549808" y="1085143"/>
                  <a:pt x="567761" y="1098222"/>
                  <a:pt x="567761" y="1116118"/>
                </a:cubicBezTo>
                <a:cubicBezTo>
                  <a:pt x="561733" y="1146256"/>
                  <a:pt x="550050" y="1161325"/>
                  <a:pt x="532712" y="1161325"/>
                </a:cubicBezTo>
                <a:cubicBezTo>
                  <a:pt x="523336" y="1168320"/>
                  <a:pt x="516341" y="1171817"/>
                  <a:pt x="511727" y="1171817"/>
                </a:cubicBezTo>
                <a:cubicBezTo>
                  <a:pt x="511727" y="1176654"/>
                  <a:pt x="500211" y="1183389"/>
                  <a:pt x="477180" y="1192021"/>
                </a:cubicBezTo>
                <a:cubicBezTo>
                  <a:pt x="473534" y="1193881"/>
                  <a:pt x="460549" y="1203499"/>
                  <a:pt x="438224" y="1220875"/>
                </a:cubicBezTo>
                <a:cubicBezTo>
                  <a:pt x="436401" y="1220875"/>
                  <a:pt x="433778" y="1222586"/>
                  <a:pt x="430355" y="1226009"/>
                </a:cubicBezTo>
                <a:lnTo>
                  <a:pt x="417407" y="1231367"/>
                </a:lnTo>
                <a:cubicBezTo>
                  <a:pt x="400590" y="1225414"/>
                  <a:pt x="389539" y="1218419"/>
                  <a:pt x="384256" y="1210382"/>
                </a:cubicBezTo>
                <a:lnTo>
                  <a:pt x="367401" y="1196374"/>
                </a:lnTo>
                <a:cubicBezTo>
                  <a:pt x="362973" y="1196374"/>
                  <a:pt x="359071" y="1195206"/>
                  <a:pt x="355695" y="1192872"/>
                </a:cubicBezTo>
                <a:lnTo>
                  <a:pt x="350838" y="1186905"/>
                </a:lnTo>
                <a:lnTo>
                  <a:pt x="349967" y="1189492"/>
                </a:lnTo>
                <a:cubicBezTo>
                  <a:pt x="349144" y="1191075"/>
                  <a:pt x="347942" y="1192923"/>
                  <a:pt x="346360" y="1195034"/>
                </a:cubicBezTo>
                <a:cubicBezTo>
                  <a:pt x="331254" y="1199313"/>
                  <a:pt x="322845" y="1204020"/>
                  <a:pt x="321134" y="1209154"/>
                </a:cubicBezTo>
                <a:cubicBezTo>
                  <a:pt x="318009" y="1212280"/>
                  <a:pt x="306921" y="1222028"/>
                  <a:pt x="287871" y="1238399"/>
                </a:cubicBezTo>
                <a:cubicBezTo>
                  <a:pt x="285266" y="1238399"/>
                  <a:pt x="278160" y="1243069"/>
                  <a:pt x="266551" y="1252408"/>
                </a:cubicBezTo>
                <a:cubicBezTo>
                  <a:pt x="265175" y="1252408"/>
                  <a:pt x="259817" y="1258231"/>
                  <a:pt x="250478" y="1269876"/>
                </a:cubicBezTo>
                <a:cubicBezTo>
                  <a:pt x="243074" y="1269876"/>
                  <a:pt x="228321" y="1280387"/>
                  <a:pt x="206220" y="1301409"/>
                </a:cubicBezTo>
                <a:lnTo>
                  <a:pt x="194388" y="1297893"/>
                </a:lnTo>
                <a:lnTo>
                  <a:pt x="185682" y="1304925"/>
                </a:lnTo>
                <a:lnTo>
                  <a:pt x="170725" y="1304925"/>
                </a:lnTo>
                <a:lnTo>
                  <a:pt x="161125" y="1293317"/>
                </a:lnTo>
                <a:cubicBezTo>
                  <a:pt x="164102" y="1284871"/>
                  <a:pt x="172976" y="1274471"/>
                  <a:pt x="187747" y="1262119"/>
                </a:cubicBezTo>
                <a:cubicBezTo>
                  <a:pt x="221791" y="1223535"/>
                  <a:pt x="245994" y="1187519"/>
                  <a:pt x="260356" y="1154069"/>
                </a:cubicBezTo>
                <a:lnTo>
                  <a:pt x="269677" y="1149214"/>
                </a:lnTo>
                <a:cubicBezTo>
                  <a:pt x="266365" y="1145419"/>
                  <a:pt x="258198" y="1138312"/>
                  <a:pt x="245176" y="1127894"/>
                </a:cubicBezTo>
                <a:lnTo>
                  <a:pt x="245176" y="1114556"/>
                </a:lnTo>
                <a:cubicBezTo>
                  <a:pt x="248338" y="1108119"/>
                  <a:pt x="255203" y="1101422"/>
                  <a:pt x="265770" y="1094464"/>
                </a:cubicBezTo>
                <a:lnTo>
                  <a:pt x="289322" y="1094464"/>
                </a:lnTo>
                <a:lnTo>
                  <a:pt x="302661" y="1107803"/>
                </a:lnTo>
                <a:lnTo>
                  <a:pt x="315385" y="1115449"/>
                </a:lnTo>
                <a:cubicBezTo>
                  <a:pt x="319367" y="1115449"/>
                  <a:pt x="327813" y="1118034"/>
                  <a:pt x="340723" y="1123206"/>
                </a:cubicBezTo>
                <a:cubicBezTo>
                  <a:pt x="361336" y="1129085"/>
                  <a:pt x="371643" y="1139391"/>
                  <a:pt x="371643" y="1154125"/>
                </a:cubicBezTo>
                <a:lnTo>
                  <a:pt x="371643" y="1156998"/>
                </a:lnTo>
                <a:lnTo>
                  <a:pt x="376878" y="1154139"/>
                </a:lnTo>
                <a:cubicBezTo>
                  <a:pt x="390922" y="1146744"/>
                  <a:pt x="409454" y="1137717"/>
                  <a:pt x="432476" y="1127057"/>
                </a:cubicBezTo>
                <a:cubicBezTo>
                  <a:pt x="443824" y="1120211"/>
                  <a:pt x="457609" y="1113346"/>
                  <a:pt x="473832" y="1106463"/>
                </a:cubicBezTo>
                <a:lnTo>
                  <a:pt x="503411" y="1089943"/>
                </a:lnTo>
                <a:close/>
                <a:moveTo>
                  <a:pt x="396126" y="245176"/>
                </a:moveTo>
                <a:lnTo>
                  <a:pt x="396032" y="246013"/>
                </a:lnTo>
                <a:lnTo>
                  <a:pt x="396143" y="245176"/>
                </a:lnTo>
                <a:close/>
                <a:moveTo>
                  <a:pt x="347867" y="0"/>
                </a:moveTo>
                <a:cubicBezTo>
                  <a:pt x="364871" y="18716"/>
                  <a:pt x="374433" y="28073"/>
                  <a:pt x="376554" y="28073"/>
                </a:cubicBezTo>
                <a:lnTo>
                  <a:pt x="390506" y="31589"/>
                </a:lnTo>
                <a:lnTo>
                  <a:pt x="406971" y="31589"/>
                </a:lnTo>
                <a:cubicBezTo>
                  <a:pt x="418430" y="39217"/>
                  <a:pt x="424160" y="47421"/>
                  <a:pt x="424160" y="56202"/>
                </a:cubicBezTo>
                <a:lnTo>
                  <a:pt x="424160" y="59718"/>
                </a:lnTo>
                <a:cubicBezTo>
                  <a:pt x="424160" y="66824"/>
                  <a:pt x="420384" y="75419"/>
                  <a:pt x="412831" y="85502"/>
                </a:cubicBezTo>
                <a:lnTo>
                  <a:pt x="410152" y="98785"/>
                </a:lnTo>
                <a:lnTo>
                  <a:pt x="410152" y="109780"/>
                </a:lnTo>
                <a:lnTo>
                  <a:pt x="403175" y="113575"/>
                </a:lnTo>
                <a:lnTo>
                  <a:pt x="406692" y="114133"/>
                </a:lnTo>
                <a:lnTo>
                  <a:pt x="403175" y="143992"/>
                </a:lnTo>
                <a:lnTo>
                  <a:pt x="406692" y="161684"/>
                </a:lnTo>
                <a:lnTo>
                  <a:pt x="399548" y="207672"/>
                </a:lnTo>
                <a:lnTo>
                  <a:pt x="399659" y="210294"/>
                </a:lnTo>
                <a:lnTo>
                  <a:pt x="399659" y="213643"/>
                </a:lnTo>
                <a:lnTo>
                  <a:pt x="396801" y="239147"/>
                </a:lnTo>
                <a:lnTo>
                  <a:pt x="406027" y="243911"/>
                </a:lnTo>
                <a:lnTo>
                  <a:pt x="417882" y="234670"/>
                </a:lnTo>
                <a:cubicBezTo>
                  <a:pt x="422198" y="232335"/>
                  <a:pt x="426337" y="231168"/>
                  <a:pt x="430299" y="231168"/>
                </a:cubicBezTo>
                <a:cubicBezTo>
                  <a:pt x="431862" y="228005"/>
                  <a:pt x="442950" y="222145"/>
                  <a:pt x="463562" y="213587"/>
                </a:cubicBezTo>
                <a:lnTo>
                  <a:pt x="469925" y="217103"/>
                </a:lnTo>
                <a:lnTo>
                  <a:pt x="494426" y="206611"/>
                </a:lnTo>
                <a:lnTo>
                  <a:pt x="496658" y="210127"/>
                </a:lnTo>
                <a:cubicBezTo>
                  <a:pt x="499672" y="205476"/>
                  <a:pt x="505792" y="203151"/>
                  <a:pt x="515020" y="203151"/>
                </a:cubicBezTo>
                <a:lnTo>
                  <a:pt x="542646" y="203151"/>
                </a:lnTo>
                <a:lnTo>
                  <a:pt x="547557" y="203095"/>
                </a:lnTo>
                <a:lnTo>
                  <a:pt x="560561" y="199579"/>
                </a:lnTo>
                <a:lnTo>
                  <a:pt x="563966" y="206611"/>
                </a:lnTo>
                <a:lnTo>
                  <a:pt x="565807" y="203095"/>
                </a:lnTo>
                <a:cubicBezTo>
                  <a:pt x="579462" y="212025"/>
                  <a:pt x="589452" y="219652"/>
                  <a:pt x="595778" y="225977"/>
                </a:cubicBezTo>
                <a:lnTo>
                  <a:pt x="595778" y="241828"/>
                </a:lnTo>
                <a:cubicBezTo>
                  <a:pt x="595778" y="256599"/>
                  <a:pt x="585918" y="266812"/>
                  <a:pt x="566198" y="272468"/>
                </a:cubicBezTo>
                <a:cubicBezTo>
                  <a:pt x="561026" y="277602"/>
                  <a:pt x="548711" y="281156"/>
                  <a:pt x="529251" y="283127"/>
                </a:cubicBezTo>
                <a:cubicBezTo>
                  <a:pt x="529251" y="284839"/>
                  <a:pt x="522257" y="287071"/>
                  <a:pt x="508267" y="289825"/>
                </a:cubicBezTo>
                <a:cubicBezTo>
                  <a:pt x="505476" y="295331"/>
                  <a:pt x="494463" y="298085"/>
                  <a:pt x="475227" y="298085"/>
                </a:cubicBezTo>
                <a:cubicBezTo>
                  <a:pt x="470576" y="305079"/>
                  <a:pt x="459265" y="308577"/>
                  <a:pt x="441294" y="308577"/>
                </a:cubicBezTo>
                <a:lnTo>
                  <a:pt x="441294" y="305061"/>
                </a:lnTo>
                <a:cubicBezTo>
                  <a:pt x="442187" y="311647"/>
                  <a:pt x="436439" y="316167"/>
                  <a:pt x="424049" y="318623"/>
                </a:cubicBezTo>
                <a:lnTo>
                  <a:pt x="393775" y="333780"/>
                </a:lnTo>
                <a:lnTo>
                  <a:pt x="396436" y="335478"/>
                </a:lnTo>
                <a:cubicBezTo>
                  <a:pt x="401469" y="339645"/>
                  <a:pt x="406766" y="345896"/>
                  <a:pt x="412328" y="354230"/>
                </a:cubicBezTo>
                <a:lnTo>
                  <a:pt x="458986" y="400832"/>
                </a:lnTo>
                <a:lnTo>
                  <a:pt x="486780" y="444755"/>
                </a:lnTo>
                <a:lnTo>
                  <a:pt x="486780" y="444810"/>
                </a:lnTo>
                <a:lnTo>
                  <a:pt x="506425" y="444810"/>
                </a:lnTo>
                <a:lnTo>
                  <a:pt x="524340" y="462726"/>
                </a:lnTo>
                <a:cubicBezTo>
                  <a:pt x="534498" y="470725"/>
                  <a:pt x="540860" y="475915"/>
                  <a:pt x="543427" y="478297"/>
                </a:cubicBezTo>
                <a:cubicBezTo>
                  <a:pt x="555222" y="483022"/>
                  <a:pt x="565249" y="490538"/>
                  <a:pt x="573509" y="500844"/>
                </a:cubicBezTo>
                <a:cubicBezTo>
                  <a:pt x="574588" y="500844"/>
                  <a:pt x="593787" y="513681"/>
                  <a:pt x="631106" y="539354"/>
                </a:cubicBezTo>
                <a:cubicBezTo>
                  <a:pt x="636054" y="539354"/>
                  <a:pt x="653449" y="550534"/>
                  <a:pt x="683289" y="572896"/>
                </a:cubicBezTo>
                <a:lnTo>
                  <a:pt x="703101" y="582830"/>
                </a:lnTo>
                <a:lnTo>
                  <a:pt x="757182" y="606549"/>
                </a:lnTo>
                <a:cubicBezTo>
                  <a:pt x="787319" y="612019"/>
                  <a:pt x="802388" y="620167"/>
                  <a:pt x="802388" y="630994"/>
                </a:cubicBezTo>
                <a:cubicBezTo>
                  <a:pt x="777869" y="640185"/>
                  <a:pt x="756512" y="644780"/>
                  <a:pt x="738318" y="644780"/>
                </a:cubicBezTo>
                <a:lnTo>
                  <a:pt x="730560" y="648296"/>
                </a:lnTo>
                <a:lnTo>
                  <a:pt x="697743" y="644780"/>
                </a:lnTo>
                <a:lnTo>
                  <a:pt x="650528" y="657560"/>
                </a:lnTo>
                <a:cubicBezTo>
                  <a:pt x="635794" y="674713"/>
                  <a:pt x="622139" y="683289"/>
                  <a:pt x="609563" y="683289"/>
                </a:cubicBezTo>
                <a:lnTo>
                  <a:pt x="606103" y="683289"/>
                </a:lnTo>
                <a:cubicBezTo>
                  <a:pt x="598698" y="683289"/>
                  <a:pt x="580988" y="671625"/>
                  <a:pt x="552971" y="648296"/>
                </a:cubicBezTo>
                <a:cubicBezTo>
                  <a:pt x="550218" y="648296"/>
                  <a:pt x="539502" y="638957"/>
                  <a:pt x="520824" y="620279"/>
                </a:cubicBezTo>
                <a:cubicBezTo>
                  <a:pt x="503746" y="605619"/>
                  <a:pt x="494054" y="594848"/>
                  <a:pt x="491747" y="587965"/>
                </a:cubicBezTo>
                <a:cubicBezTo>
                  <a:pt x="466855" y="567575"/>
                  <a:pt x="450893" y="551502"/>
                  <a:pt x="443861" y="539744"/>
                </a:cubicBezTo>
                <a:lnTo>
                  <a:pt x="429183" y="522220"/>
                </a:lnTo>
                <a:cubicBezTo>
                  <a:pt x="422821" y="522220"/>
                  <a:pt x="418095" y="517569"/>
                  <a:pt x="415007" y="508267"/>
                </a:cubicBezTo>
                <a:cubicBezTo>
                  <a:pt x="402171" y="500528"/>
                  <a:pt x="395753" y="490110"/>
                  <a:pt x="395753" y="477013"/>
                </a:cubicBezTo>
                <a:lnTo>
                  <a:pt x="365615" y="440123"/>
                </a:lnTo>
                <a:cubicBezTo>
                  <a:pt x="362694" y="436216"/>
                  <a:pt x="359969" y="432932"/>
                  <a:pt x="357439" y="430272"/>
                </a:cubicBezTo>
                <a:lnTo>
                  <a:pt x="356498" y="429451"/>
                </a:lnTo>
                <a:lnTo>
                  <a:pt x="357634" y="434207"/>
                </a:lnTo>
                <a:lnTo>
                  <a:pt x="331682" y="473162"/>
                </a:lnTo>
                <a:cubicBezTo>
                  <a:pt x="330306" y="473162"/>
                  <a:pt x="329617" y="476548"/>
                  <a:pt x="329617" y="483320"/>
                </a:cubicBezTo>
                <a:lnTo>
                  <a:pt x="302326" y="522331"/>
                </a:lnTo>
                <a:cubicBezTo>
                  <a:pt x="293173" y="531484"/>
                  <a:pt x="285434" y="540786"/>
                  <a:pt x="279109" y="550237"/>
                </a:cubicBezTo>
                <a:cubicBezTo>
                  <a:pt x="274048" y="550237"/>
                  <a:pt x="266737" y="555948"/>
                  <a:pt x="257175" y="567371"/>
                </a:cubicBezTo>
                <a:lnTo>
                  <a:pt x="221345" y="599238"/>
                </a:lnTo>
                <a:cubicBezTo>
                  <a:pt x="219373" y="599238"/>
                  <a:pt x="213717" y="603908"/>
                  <a:pt x="204378" y="613247"/>
                </a:cubicBezTo>
                <a:cubicBezTo>
                  <a:pt x="202034" y="613247"/>
                  <a:pt x="197365" y="616763"/>
                  <a:pt x="190370" y="623795"/>
                </a:cubicBezTo>
                <a:cubicBezTo>
                  <a:pt x="185049" y="623795"/>
                  <a:pt x="176566" y="628464"/>
                  <a:pt x="164920" y="637803"/>
                </a:cubicBezTo>
                <a:cubicBezTo>
                  <a:pt x="160121" y="637803"/>
                  <a:pt x="146019" y="645970"/>
                  <a:pt x="122616" y="662304"/>
                </a:cubicBezTo>
                <a:cubicBezTo>
                  <a:pt x="112830" y="662304"/>
                  <a:pt x="98599" y="666974"/>
                  <a:pt x="79921" y="676313"/>
                </a:cubicBezTo>
                <a:cubicBezTo>
                  <a:pt x="77614" y="676313"/>
                  <a:pt x="69447" y="679810"/>
                  <a:pt x="55420" y="686805"/>
                </a:cubicBezTo>
                <a:cubicBezTo>
                  <a:pt x="39495" y="686805"/>
                  <a:pt x="31533" y="680908"/>
                  <a:pt x="31533" y="669113"/>
                </a:cubicBezTo>
                <a:cubicBezTo>
                  <a:pt x="31533" y="661151"/>
                  <a:pt x="47197" y="653263"/>
                  <a:pt x="78526" y="645449"/>
                </a:cubicBezTo>
                <a:cubicBezTo>
                  <a:pt x="115919" y="616837"/>
                  <a:pt x="147210" y="588783"/>
                  <a:pt x="172399" y="561287"/>
                </a:cubicBezTo>
                <a:cubicBezTo>
                  <a:pt x="174817" y="556562"/>
                  <a:pt x="179226" y="550962"/>
                  <a:pt x="185626" y="544488"/>
                </a:cubicBezTo>
                <a:cubicBezTo>
                  <a:pt x="185626" y="541921"/>
                  <a:pt x="193123" y="534386"/>
                  <a:pt x="208118" y="521885"/>
                </a:cubicBezTo>
                <a:cubicBezTo>
                  <a:pt x="221475" y="501868"/>
                  <a:pt x="233977" y="479060"/>
                  <a:pt x="245622" y="453461"/>
                </a:cubicBezTo>
                <a:cubicBezTo>
                  <a:pt x="250236" y="446503"/>
                  <a:pt x="257138" y="430318"/>
                  <a:pt x="266328" y="404906"/>
                </a:cubicBezTo>
                <a:cubicBezTo>
                  <a:pt x="270942" y="395697"/>
                  <a:pt x="274402" y="388400"/>
                  <a:pt x="276709" y="383014"/>
                </a:cubicBezTo>
                <a:lnTo>
                  <a:pt x="277639" y="380632"/>
                </a:lnTo>
                <a:lnTo>
                  <a:pt x="265714" y="389112"/>
                </a:lnTo>
                <a:cubicBezTo>
                  <a:pt x="259054" y="389112"/>
                  <a:pt x="248710" y="393781"/>
                  <a:pt x="234683" y="403120"/>
                </a:cubicBezTo>
                <a:cubicBezTo>
                  <a:pt x="218908" y="403120"/>
                  <a:pt x="205904" y="394153"/>
                  <a:pt x="195672" y="376219"/>
                </a:cubicBezTo>
                <a:cubicBezTo>
                  <a:pt x="188193" y="372499"/>
                  <a:pt x="172213" y="364499"/>
                  <a:pt x="147731" y="352221"/>
                </a:cubicBezTo>
                <a:cubicBezTo>
                  <a:pt x="140289" y="344779"/>
                  <a:pt x="136568" y="337171"/>
                  <a:pt x="136568" y="329394"/>
                </a:cubicBezTo>
                <a:lnTo>
                  <a:pt x="136568" y="325878"/>
                </a:lnTo>
                <a:cubicBezTo>
                  <a:pt x="136568" y="318772"/>
                  <a:pt x="142484" y="315218"/>
                  <a:pt x="154316" y="315218"/>
                </a:cubicBezTo>
                <a:lnTo>
                  <a:pt x="167655" y="315218"/>
                </a:lnTo>
                <a:lnTo>
                  <a:pt x="181273" y="304670"/>
                </a:lnTo>
                <a:lnTo>
                  <a:pt x="189254" y="308186"/>
                </a:lnTo>
                <a:cubicBezTo>
                  <a:pt x="209904" y="299145"/>
                  <a:pt x="232395" y="293508"/>
                  <a:pt x="256729" y="291276"/>
                </a:cubicBezTo>
                <a:cubicBezTo>
                  <a:pt x="261045" y="286997"/>
                  <a:pt x="267686" y="283964"/>
                  <a:pt x="276653" y="282179"/>
                </a:cubicBezTo>
                <a:cubicBezTo>
                  <a:pt x="276653" y="276188"/>
                  <a:pt x="284839" y="273193"/>
                  <a:pt x="301210" y="273193"/>
                </a:cubicBezTo>
                <a:cubicBezTo>
                  <a:pt x="301210" y="270030"/>
                  <a:pt x="303535" y="264933"/>
                  <a:pt x="308186" y="257901"/>
                </a:cubicBezTo>
                <a:lnTo>
                  <a:pt x="308186" y="254720"/>
                </a:lnTo>
                <a:cubicBezTo>
                  <a:pt x="310530" y="250069"/>
                  <a:pt x="311702" y="226424"/>
                  <a:pt x="311702" y="183785"/>
                </a:cubicBezTo>
                <a:lnTo>
                  <a:pt x="315218" y="180268"/>
                </a:lnTo>
                <a:lnTo>
                  <a:pt x="315218" y="175301"/>
                </a:lnTo>
                <a:lnTo>
                  <a:pt x="315218" y="147285"/>
                </a:lnTo>
                <a:lnTo>
                  <a:pt x="315218" y="143266"/>
                </a:lnTo>
                <a:lnTo>
                  <a:pt x="318678" y="126300"/>
                </a:lnTo>
                <a:lnTo>
                  <a:pt x="315218" y="92367"/>
                </a:lnTo>
                <a:lnTo>
                  <a:pt x="315218" y="82767"/>
                </a:lnTo>
                <a:lnTo>
                  <a:pt x="311088" y="70433"/>
                </a:lnTo>
                <a:cubicBezTo>
                  <a:pt x="308744" y="70433"/>
                  <a:pt x="306419" y="66936"/>
                  <a:pt x="304112" y="59941"/>
                </a:cubicBezTo>
                <a:cubicBezTo>
                  <a:pt x="301768" y="59941"/>
                  <a:pt x="298456" y="53541"/>
                  <a:pt x="294177" y="40742"/>
                </a:cubicBezTo>
                <a:cubicBezTo>
                  <a:pt x="294177" y="20613"/>
                  <a:pt x="300019" y="10549"/>
                  <a:pt x="311702" y="10549"/>
                </a:cubicBezTo>
                <a:cubicBezTo>
                  <a:pt x="311702" y="9246"/>
                  <a:pt x="323757" y="5730"/>
                  <a:pt x="347867" y="0"/>
                </a:cubicBezTo>
                <a:close/>
              </a:path>
            </a:pathLst>
          </a:custGeom>
          <a:solidFill>
            <a:schemeClr val="bg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dist">
              <a:defRPr sz="5400" b="1" spc="600">
                <a:solidFill>
                  <a:schemeClr val="bg1"/>
                </a:solidFill>
                <a:effectLst>
                  <a:outerShdw blurRad="38100" dist="38100" dir="2700000" algn="tl">
                    <a:srgbClr val="000000">
                      <a:alpha val="43137"/>
                    </a:srgbClr>
                  </a:outerShdw>
                </a:effectLst>
              </a:defRPr>
            </a:lvl1pPr>
          </a:lstStyle>
          <a:p>
            <a:pPr algn="ctr"/>
            <a:endParaRPr lang="zh-CN" altLang="en-US" sz="7200" dirty="0">
              <a:effectLst>
                <a:outerShdw blurRad="50800" dist="38100" dir="2700000" algn="tl" rotWithShape="0">
                  <a:prstClr val="black">
                    <a:alpha val="40000"/>
                  </a:prstClr>
                </a:outerShdw>
              </a:effectLst>
              <a:cs typeface="+mn-ea"/>
              <a:sym typeface="+mn-lt"/>
            </a:endParaRPr>
          </a:p>
        </p:txBody>
      </p:sp>
      <p:sp>
        <p:nvSpPr>
          <p:cNvPr id="78" name="文本框 77">
            <a:extLst>
              <a:ext uri="{FF2B5EF4-FFF2-40B4-BE49-F238E27FC236}">
                <a16:creationId xmlns:a16="http://schemas.microsoft.com/office/drawing/2014/main" id="{FBDA8919-4DD3-4373-A523-6E09A55A7C08}"/>
              </a:ext>
            </a:extLst>
          </p:cNvPr>
          <p:cNvSpPr txBox="1"/>
          <p:nvPr/>
        </p:nvSpPr>
        <p:spPr>
          <a:xfrm>
            <a:off x="10230851" y="1462651"/>
            <a:ext cx="819913" cy="4038077"/>
          </a:xfrm>
          <a:custGeom>
            <a:avLst/>
            <a:gdLst/>
            <a:ahLst/>
            <a:cxnLst/>
            <a:rect l="l" t="t" r="r" b="b"/>
            <a:pathLst>
              <a:path w="819913" h="4038077">
                <a:moveTo>
                  <a:pt x="498142" y="3812969"/>
                </a:moveTo>
                <a:lnTo>
                  <a:pt x="481087" y="3819376"/>
                </a:lnTo>
                <a:lnTo>
                  <a:pt x="477784" y="3820031"/>
                </a:lnTo>
                <a:lnTo>
                  <a:pt x="489584" y="3827929"/>
                </a:lnTo>
                <a:cubicBezTo>
                  <a:pt x="494188" y="3830263"/>
                  <a:pt x="498165" y="3831431"/>
                  <a:pt x="501513" y="3831431"/>
                </a:cubicBezTo>
                <a:lnTo>
                  <a:pt x="502875" y="3832341"/>
                </a:lnTo>
                <a:lnTo>
                  <a:pt x="500648" y="3828030"/>
                </a:lnTo>
                <a:cubicBezTo>
                  <a:pt x="499235" y="3824074"/>
                  <a:pt x="498109" y="3819459"/>
                  <a:pt x="497272" y="3814185"/>
                </a:cubicBezTo>
                <a:close/>
                <a:moveTo>
                  <a:pt x="514796" y="3664512"/>
                </a:moveTo>
                <a:lnTo>
                  <a:pt x="514441" y="3664599"/>
                </a:lnTo>
                <a:cubicBezTo>
                  <a:pt x="510380" y="3665408"/>
                  <a:pt x="505643" y="3666194"/>
                  <a:pt x="500230" y="3666957"/>
                </a:cubicBezTo>
                <a:lnTo>
                  <a:pt x="459153" y="3681635"/>
                </a:lnTo>
                <a:cubicBezTo>
                  <a:pt x="459153" y="3684761"/>
                  <a:pt x="445368" y="3689058"/>
                  <a:pt x="417798" y="3694528"/>
                </a:cubicBezTo>
                <a:cubicBezTo>
                  <a:pt x="410133" y="3699662"/>
                  <a:pt x="400571" y="3702229"/>
                  <a:pt x="389111" y="3702229"/>
                </a:cubicBezTo>
                <a:lnTo>
                  <a:pt x="382135" y="3704350"/>
                </a:lnTo>
                <a:lnTo>
                  <a:pt x="396143" y="3715010"/>
                </a:lnTo>
                <a:lnTo>
                  <a:pt x="392627" y="3727512"/>
                </a:lnTo>
                <a:lnTo>
                  <a:pt x="393400" y="3732775"/>
                </a:lnTo>
                <a:lnTo>
                  <a:pt x="398752" y="3730271"/>
                </a:lnTo>
                <a:cubicBezTo>
                  <a:pt x="414826" y="3721976"/>
                  <a:pt x="438476" y="3707810"/>
                  <a:pt x="469702" y="3687774"/>
                </a:cubicBezTo>
                <a:lnTo>
                  <a:pt x="478241" y="3694807"/>
                </a:lnTo>
                <a:lnTo>
                  <a:pt x="477906" y="3694862"/>
                </a:lnTo>
                <a:cubicBezTo>
                  <a:pt x="490742" y="3694862"/>
                  <a:pt x="500844" y="3700350"/>
                  <a:pt x="508211" y="3711326"/>
                </a:cubicBezTo>
                <a:lnTo>
                  <a:pt x="508211" y="3719921"/>
                </a:lnTo>
                <a:cubicBezTo>
                  <a:pt x="490835" y="3740162"/>
                  <a:pt x="472101" y="3752794"/>
                  <a:pt x="452010" y="3757817"/>
                </a:cubicBezTo>
                <a:lnTo>
                  <a:pt x="433815" y="3768756"/>
                </a:lnTo>
                <a:lnTo>
                  <a:pt x="415733" y="3768756"/>
                </a:lnTo>
                <a:cubicBezTo>
                  <a:pt x="412886" y="3765909"/>
                  <a:pt x="408919" y="3763040"/>
                  <a:pt x="403831" y="3760147"/>
                </a:cubicBezTo>
                <a:lnTo>
                  <a:pt x="392939" y="3755031"/>
                </a:lnTo>
                <a:lnTo>
                  <a:pt x="396143" y="3761389"/>
                </a:lnTo>
                <a:lnTo>
                  <a:pt x="396143" y="3768532"/>
                </a:lnTo>
                <a:lnTo>
                  <a:pt x="396143" y="3789796"/>
                </a:lnTo>
                <a:lnTo>
                  <a:pt x="392627" y="3789796"/>
                </a:lnTo>
                <a:lnTo>
                  <a:pt x="399659" y="3793201"/>
                </a:lnTo>
                <a:lnTo>
                  <a:pt x="396252" y="3803370"/>
                </a:lnTo>
                <a:lnTo>
                  <a:pt x="404455" y="3800027"/>
                </a:lnTo>
                <a:cubicBezTo>
                  <a:pt x="414829" y="3796378"/>
                  <a:pt x="431388" y="3791945"/>
                  <a:pt x="454130" y="3786727"/>
                </a:cubicBezTo>
                <a:cubicBezTo>
                  <a:pt x="469125" y="3779174"/>
                  <a:pt x="476510" y="3775397"/>
                  <a:pt x="476287" y="3775397"/>
                </a:cubicBezTo>
                <a:cubicBezTo>
                  <a:pt x="476287" y="3774988"/>
                  <a:pt x="486910" y="3771230"/>
                  <a:pt x="508155" y="3764123"/>
                </a:cubicBezTo>
                <a:lnTo>
                  <a:pt x="511280" y="3737725"/>
                </a:lnTo>
                <a:lnTo>
                  <a:pt x="507764" y="3733372"/>
                </a:lnTo>
                <a:lnTo>
                  <a:pt x="514796" y="3708369"/>
                </a:lnTo>
                <a:lnTo>
                  <a:pt x="514796" y="3705522"/>
                </a:lnTo>
                <a:lnTo>
                  <a:pt x="514796" y="3687998"/>
                </a:lnTo>
                <a:close/>
                <a:moveTo>
                  <a:pt x="521773" y="3645861"/>
                </a:moveTo>
                <a:lnTo>
                  <a:pt x="521773" y="3647663"/>
                </a:lnTo>
                <a:lnTo>
                  <a:pt x="529028" y="3645861"/>
                </a:lnTo>
                <a:close/>
                <a:moveTo>
                  <a:pt x="564579" y="3596803"/>
                </a:moveTo>
                <a:cubicBezTo>
                  <a:pt x="569863" y="3607407"/>
                  <a:pt x="584355" y="3615946"/>
                  <a:pt x="608056" y="3622420"/>
                </a:cubicBezTo>
                <a:cubicBezTo>
                  <a:pt x="623199" y="3631536"/>
                  <a:pt x="630771" y="3644093"/>
                  <a:pt x="630771" y="3660092"/>
                </a:cubicBezTo>
                <a:cubicBezTo>
                  <a:pt x="616781" y="3678770"/>
                  <a:pt x="609786" y="3690677"/>
                  <a:pt x="609786" y="3695811"/>
                </a:cubicBezTo>
                <a:cubicBezTo>
                  <a:pt x="595015" y="3764570"/>
                  <a:pt x="578904" y="3806428"/>
                  <a:pt x="561454" y="3821385"/>
                </a:cubicBezTo>
                <a:cubicBezTo>
                  <a:pt x="555724" y="3827115"/>
                  <a:pt x="542292" y="3835263"/>
                  <a:pt x="521159" y="3845830"/>
                </a:cubicBezTo>
                <a:lnTo>
                  <a:pt x="518703" y="3845263"/>
                </a:lnTo>
                <a:lnTo>
                  <a:pt x="518703" y="3857606"/>
                </a:lnTo>
                <a:lnTo>
                  <a:pt x="511727" y="3878647"/>
                </a:lnTo>
                <a:lnTo>
                  <a:pt x="511727" y="3887632"/>
                </a:lnTo>
                <a:lnTo>
                  <a:pt x="511727" y="3891148"/>
                </a:lnTo>
                <a:lnTo>
                  <a:pt x="511727" y="3894608"/>
                </a:lnTo>
                <a:lnTo>
                  <a:pt x="511727" y="3898627"/>
                </a:lnTo>
                <a:lnTo>
                  <a:pt x="504639" y="3933955"/>
                </a:lnTo>
                <a:lnTo>
                  <a:pt x="508099" y="3985468"/>
                </a:lnTo>
                <a:lnTo>
                  <a:pt x="508211" y="3995402"/>
                </a:lnTo>
                <a:cubicBezTo>
                  <a:pt x="513085" y="4005188"/>
                  <a:pt x="522424" y="4010080"/>
                  <a:pt x="536228" y="4010080"/>
                </a:cubicBezTo>
                <a:cubicBezTo>
                  <a:pt x="536228" y="4015810"/>
                  <a:pt x="538590" y="4018117"/>
                  <a:pt x="543316" y="4017001"/>
                </a:cubicBezTo>
                <a:lnTo>
                  <a:pt x="554924" y="4009969"/>
                </a:lnTo>
                <a:lnTo>
                  <a:pt x="568207" y="4013485"/>
                </a:lnTo>
                <a:lnTo>
                  <a:pt x="597787" y="4010080"/>
                </a:lnTo>
                <a:lnTo>
                  <a:pt x="615646" y="4010080"/>
                </a:lnTo>
                <a:cubicBezTo>
                  <a:pt x="646788" y="4005616"/>
                  <a:pt x="666210" y="4002099"/>
                  <a:pt x="673912" y="3999532"/>
                </a:cubicBezTo>
                <a:lnTo>
                  <a:pt x="678433" y="3999532"/>
                </a:lnTo>
                <a:cubicBezTo>
                  <a:pt x="683995" y="3998602"/>
                  <a:pt x="689776" y="3996760"/>
                  <a:pt x="695776" y="3994007"/>
                </a:cubicBezTo>
                <a:lnTo>
                  <a:pt x="712916" y="3983905"/>
                </a:lnTo>
                <a:lnTo>
                  <a:pt x="710915" y="3979998"/>
                </a:lnTo>
                <a:cubicBezTo>
                  <a:pt x="717910" y="3970771"/>
                  <a:pt x="721407" y="3964948"/>
                  <a:pt x="721407" y="3962530"/>
                </a:cubicBezTo>
                <a:lnTo>
                  <a:pt x="717891" y="3943722"/>
                </a:lnTo>
                <a:lnTo>
                  <a:pt x="730560" y="3904989"/>
                </a:lnTo>
                <a:cubicBezTo>
                  <a:pt x="748085" y="3904989"/>
                  <a:pt x="756847" y="3914328"/>
                  <a:pt x="756847" y="3933006"/>
                </a:cubicBezTo>
                <a:cubicBezTo>
                  <a:pt x="758484" y="3933006"/>
                  <a:pt x="760474" y="3941173"/>
                  <a:pt x="762819" y="3957507"/>
                </a:cubicBezTo>
                <a:cubicBezTo>
                  <a:pt x="764679" y="3957507"/>
                  <a:pt x="767190" y="3963776"/>
                  <a:pt x="770353" y="3976315"/>
                </a:cubicBezTo>
                <a:lnTo>
                  <a:pt x="792175" y="3998193"/>
                </a:lnTo>
                <a:cubicBezTo>
                  <a:pt x="798984" y="4004964"/>
                  <a:pt x="802388" y="4011308"/>
                  <a:pt x="802388" y="4017224"/>
                </a:cubicBezTo>
                <a:lnTo>
                  <a:pt x="802388" y="4030451"/>
                </a:lnTo>
                <a:lnTo>
                  <a:pt x="794868" y="4038077"/>
                </a:lnTo>
                <a:lnTo>
                  <a:pt x="467932" y="4038077"/>
                </a:lnTo>
                <a:lnTo>
                  <a:pt x="466353" y="4035642"/>
                </a:lnTo>
                <a:lnTo>
                  <a:pt x="455247" y="3987365"/>
                </a:lnTo>
                <a:lnTo>
                  <a:pt x="455247" y="3974529"/>
                </a:lnTo>
                <a:lnTo>
                  <a:pt x="451731" y="3966827"/>
                </a:lnTo>
                <a:lnTo>
                  <a:pt x="455247" y="3937694"/>
                </a:lnTo>
                <a:lnTo>
                  <a:pt x="451731" y="3924634"/>
                </a:lnTo>
                <a:lnTo>
                  <a:pt x="451731" y="3914923"/>
                </a:lnTo>
                <a:lnTo>
                  <a:pt x="455247" y="3905268"/>
                </a:lnTo>
                <a:lnTo>
                  <a:pt x="451731" y="3887241"/>
                </a:lnTo>
                <a:lnTo>
                  <a:pt x="455247" y="3881493"/>
                </a:lnTo>
                <a:lnTo>
                  <a:pt x="451731" y="3875186"/>
                </a:lnTo>
                <a:lnTo>
                  <a:pt x="455247" y="3861848"/>
                </a:lnTo>
                <a:cubicBezTo>
                  <a:pt x="450596" y="3855708"/>
                  <a:pt x="448270" y="3846797"/>
                  <a:pt x="448270" y="3835114"/>
                </a:cubicBezTo>
                <a:cubicBezTo>
                  <a:pt x="448270" y="3833375"/>
                  <a:pt x="448570" y="3831702"/>
                  <a:pt x="449170" y="3830095"/>
                </a:cubicBezTo>
                <a:lnTo>
                  <a:pt x="451153" y="3826700"/>
                </a:lnTo>
                <a:lnTo>
                  <a:pt x="440830" y="3832299"/>
                </a:lnTo>
                <a:cubicBezTo>
                  <a:pt x="428070" y="3838976"/>
                  <a:pt x="420114" y="3842314"/>
                  <a:pt x="416961" y="3842314"/>
                </a:cubicBezTo>
                <a:lnTo>
                  <a:pt x="417965" y="3842314"/>
                </a:lnTo>
                <a:lnTo>
                  <a:pt x="413668" y="3842760"/>
                </a:lnTo>
                <a:lnTo>
                  <a:pt x="445145" y="3864973"/>
                </a:lnTo>
                <a:cubicBezTo>
                  <a:pt x="440792" y="3880228"/>
                  <a:pt x="436122" y="3887855"/>
                  <a:pt x="431136" y="3887855"/>
                </a:cubicBezTo>
                <a:lnTo>
                  <a:pt x="431136" y="3892767"/>
                </a:lnTo>
                <a:lnTo>
                  <a:pt x="412552" y="3907668"/>
                </a:lnTo>
                <a:cubicBezTo>
                  <a:pt x="410207" y="3919239"/>
                  <a:pt x="392962" y="3938643"/>
                  <a:pt x="360815" y="3965878"/>
                </a:cubicBezTo>
                <a:cubicBezTo>
                  <a:pt x="342174" y="3982249"/>
                  <a:pt x="326845" y="3994026"/>
                  <a:pt x="314827" y="4001206"/>
                </a:cubicBezTo>
                <a:lnTo>
                  <a:pt x="261383" y="4038077"/>
                </a:lnTo>
                <a:lnTo>
                  <a:pt x="202161" y="4038077"/>
                </a:lnTo>
                <a:lnTo>
                  <a:pt x="213364" y="4031065"/>
                </a:lnTo>
                <a:cubicBezTo>
                  <a:pt x="215410" y="4031065"/>
                  <a:pt x="232618" y="4019215"/>
                  <a:pt x="264988" y="3995514"/>
                </a:cubicBezTo>
                <a:lnTo>
                  <a:pt x="288596" y="3975199"/>
                </a:lnTo>
                <a:cubicBezTo>
                  <a:pt x="336779" y="3923011"/>
                  <a:pt x="363882" y="3890565"/>
                  <a:pt x="369905" y="3877860"/>
                </a:cubicBezTo>
                <a:lnTo>
                  <a:pt x="370074" y="3877307"/>
                </a:lnTo>
                <a:lnTo>
                  <a:pt x="367680" y="3877307"/>
                </a:lnTo>
                <a:lnTo>
                  <a:pt x="367680" y="3874961"/>
                </a:lnTo>
                <a:lnTo>
                  <a:pt x="365137" y="3873219"/>
                </a:lnTo>
                <a:cubicBezTo>
                  <a:pt x="356256" y="3865043"/>
                  <a:pt x="347783" y="3844602"/>
                  <a:pt x="339719" y="3811897"/>
                </a:cubicBezTo>
                <a:lnTo>
                  <a:pt x="339663" y="3808102"/>
                </a:lnTo>
                <a:cubicBezTo>
                  <a:pt x="337505" y="3781573"/>
                  <a:pt x="335421" y="3766318"/>
                  <a:pt x="333412" y="3762337"/>
                </a:cubicBezTo>
                <a:cubicBezTo>
                  <a:pt x="326454" y="3736702"/>
                  <a:pt x="319701" y="3717373"/>
                  <a:pt x="313153" y="3704350"/>
                </a:cubicBezTo>
                <a:lnTo>
                  <a:pt x="301154" y="3673320"/>
                </a:lnTo>
                <a:lnTo>
                  <a:pt x="309804" y="3663329"/>
                </a:lnTo>
                <a:lnTo>
                  <a:pt x="329896" y="3663329"/>
                </a:lnTo>
                <a:cubicBezTo>
                  <a:pt x="332649" y="3668799"/>
                  <a:pt x="337970" y="3671124"/>
                  <a:pt x="345858" y="3670306"/>
                </a:cubicBezTo>
                <a:cubicBezTo>
                  <a:pt x="352109" y="3670343"/>
                  <a:pt x="359457" y="3670362"/>
                  <a:pt x="367903" y="3670362"/>
                </a:cubicBezTo>
                <a:lnTo>
                  <a:pt x="368126" y="3670362"/>
                </a:lnTo>
                <a:lnTo>
                  <a:pt x="378340" y="3663274"/>
                </a:lnTo>
                <a:lnTo>
                  <a:pt x="384869" y="3666790"/>
                </a:lnTo>
                <a:cubicBezTo>
                  <a:pt x="393315" y="3662883"/>
                  <a:pt x="410394" y="3657395"/>
                  <a:pt x="436104" y="3650326"/>
                </a:cubicBezTo>
                <a:cubicBezTo>
                  <a:pt x="441536" y="3647684"/>
                  <a:pt x="452140" y="3645228"/>
                  <a:pt x="467916" y="3642959"/>
                </a:cubicBezTo>
                <a:lnTo>
                  <a:pt x="472771" y="3639666"/>
                </a:lnTo>
                <a:cubicBezTo>
                  <a:pt x="472771" y="3635759"/>
                  <a:pt x="481366" y="3632057"/>
                  <a:pt x="498556" y="3628559"/>
                </a:cubicBezTo>
                <a:lnTo>
                  <a:pt x="509160" y="3625825"/>
                </a:lnTo>
                <a:cubicBezTo>
                  <a:pt x="533344" y="3606477"/>
                  <a:pt x="551817" y="3596803"/>
                  <a:pt x="564579" y="3596803"/>
                </a:cubicBezTo>
                <a:close/>
                <a:moveTo>
                  <a:pt x="481707" y="3455950"/>
                </a:moveTo>
                <a:lnTo>
                  <a:pt x="474711" y="3460584"/>
                </a:lnTo>
                <a:cubicBezTo>
                  <a:pt x="469957" y="3462918"/>
                  <a:pt x="465739" y="3464086"/>
                  <a:pt x="462055" y="3464086"/>
                </a:cubicBezTo>
                <a:cubicBezTo>
                  <a:pt x="459711" y="3468737"/>
                  <a:pt x="454019" y="3471062"/>
                  <a:pt x="444977" y="3471062"/>
                </a:cubicBezTo>
                <a:lnTo>
                  <a:pt x="442781" y="3471062"/>
                </a:lnTo>
                <a:lnTo>
                  <a:pt x="439201" y="3475471"/>
                </a:lnTo>
                <a:cubicBezTo>
                  <a:pt x="436113" y="3477220"/>
                  <a:pt x="432067" y="3478094"/>
                  <a:pt x="427062" y="3478094"/>
                </a:cubicBezTo>
                <a:cubicBezTo>
                  <a:pt x="426058" y="3480122"/>
                  <a:pt x="423100" y="3482010"/>
                  <a:pt x="418188" y="3483759"/>
                </a:cubicBezTo>
                <a:lnTo>
                  <a:pt x="417385" y="3483988"/>
                </a:lnTo>
                <a:lnTo>
                  <a:pt x="421014" y="3485922"/>
                </a:lnTo>
                <a:cubicBezTo>
                  <a:pt x="424209" y="3487401"/>
                  <a:pt x="427937" y="3488940"/>
                  <a:pt x="432197" y="3490540"/>
                </a:cubicBezTo>
                <a:lnTo>
                  <a:pt x="443471" y="3509404"/>
                </a:lnTo>
                <a:lnTo>
                  <a:pt x="462669" y="3528547"/>
                </a:lnTo>
                <a:cubicBezTo>
                  <a:pt x="462669" y="3536286"/>
                  <a:pt x="463265" y="3540360"/>
                  <a:pt x="464455" y="3540769"/>
                </a:cubicBezTo>
                <a:lnTo>
                  <a:pt x="472994" y="3540769"/>
                </a:lnTo>
                <a:cubicBezTo>
                  <a:pt x="471394" y="3540769"/>
                  <a:pt x="472511" y="3531170"/>
                  <a:pt x="476343" y="3511971"/>
                </a:cubicBezTo>
                <a:lnTo>
                  <a:pt x="483263" y="3493330"/>
                </a:lnTo>
                <a:lnTo>
                  <a:pt x="479747" y="3486801"/>
                </a:lnTo>
                <a:lnTo>
                  <a:pt x="483263" y="3467546"/>
                </a:lnTo>
                <a:close/>
                <a:moveTo>
                  <a:pt x="509140" y="3442463"/>
                </a:moveTo>
                <a:lnTo>
                  <a:pt x="504471" y="3443045"/>
                </a:lnTo>
                <a:lnTo>
                  <a:pt x="508211" y="3443045"/>
                </a:lnTo>
                <a:close/>
                <a:moveTo>
                  <a:pt x="157776" y="3400685"/>
                </a:moveTo>
                <a:cubicBezTo>
                  <a:pt x="171915" y="3400685"/>
                  <a:pt x="178984" y="3406713"/>
                  <a:pt x="178984" y="3418768"/>
                </a:cubicBezTo>
                <a:cubicBezTo>
                  <a:pt x="196583" y="3428590"/>
                  <a:pt x="211280" y="3435846"/>
                  <a:pt x="223075" y="3440534"/>
                </a:cubicBezTo>
                <a:cubicBezTo>
                  <a:pt x="235725" y="3446859"/>
                  <a:pt x="242050" y="3454635"/>
                  <a:pt x="242050" y="3463863"/>
                </a:cubicBezTo>
                <a:lnTo>
                  <a:pt x="242050" y="3467379"/>
                </a:lnTo>
                <a:cubicBezTo>
                  <a:pt x="242050" y="3475229"/>
                  <a:pt x="239706" y="3484512"/>
                  <a:pt x="235018" y="3495228"/>
                </a:cubicBezTo>
                <a:cubicBezTo>
                  <a:pt x="235427" y="3495228"/>
                  <a:pt x="236027" y="3496107"/>
                  <a:pt x="236818" y="3497865"/>
                </a:cubicBezTo>
                <a:lnTo>
                  <a:pt x="239009" y="3503753"/>
                </a:lnTo>
                <a:lnTo>
                  <a:pt x="241995" y="3502260"/>
                </a:lnTo>
                <a:lnTo>
                  <a:pt x="255445" y="3502260"/>
                </a:lnTo>
                <a:cubicBezTo>
                  <a:pt x="261100" y="3505088"/>
                  <a:pt x="270774" y="3507841"/>
                  <a:pt x="284466" y="3510520"/>
                </a:cubicBezTo>
                <a:cubicBezTo>
                  <a:pt x="291201" y="3520715"/>
                  <a:pt x="294568" y="3532361"/>
                  <a:pt x="294568" y="3545458"/>
                </a:cubicBezTo>
                <a:lnTo>
                  <a:pt x="273025" y="3566945"/>
                </a:lnTo>
                <a:cubicBezTo>
                  <a:pt x="251631" y="3578851"/>
                  <a:pt x="235223" y="3589566"/>
                  <a:pt x="223800" y="3599091"/>
                </a:cubicBezTo>
                <a:lnTo>
                  <a:pt x="221010" y="3621304"/>
                </a:lnTo>
                <a:lnTo>
                  <a:pt x="224526" y="3635257"/>
                </a:lnTo>
                <a:lnTo>
                  <a:pt x="221010" y="3638215"/>
                </a:lnTo>
                <a:lnTo>
                  <a:pt x="224526" y="3645191"/>
                </a:lnTo>
                <a:cubicBezTo>
                  <a:pt x="217531" y="3653377"/>
                  <a:pt x="214033" y="3659478"/>
                  <a:pt x="214033" y="3663497"/>
                </a:cubicBezTo>
                <a:lnTo>
                  <a:pt x="214033" y="3685821"/>
                </a:lnTo>
                <a:cubicBezTo>
                  <a:pt x="212136" y="3693383"/>
                  <a:pt x="210270" y="3706795"/>
                  <a:pt x="208435" y="3726057"/>
                </a:cubicBezTo>
                <a:lnTo>
                  <a:pt x="207395" y="3738151"/>
                </a:lnTo>
                <a:lnTo>
                  <a:pt x="214923" y="3733473"/>
                </a:lnTo>
                <a:cubicBezTo>
                  <a:pt x="219855" y="3730661"/>
                  <a:pt x="225456" y="3727688"/>
                  <a:pt x="231725" y="3724554"/>
                </a:cubicBezTo>
                <a:lnTo>
                  <a:pt x="257845" y="3708201"/>
                </a:lnTo>
                <a:cubicBezTo>
                  <a:pt x="266812" y="3699309"/>
                  <a:pt x="277285" y="3694862"/>
                  <a:pt x="289266" y="3694862"/>
                </a:cubicBezTo>
                <a:lnTo>
                  <a:pt x="298084" y="3703680"/>
                </a:lnTo>
                <a:cubicBezTo>
                  <a:pt x="298084" y="3710899"/>
                  <a:pt x="287499" y="3722414"/>
                  <a:pt x="266328" y="3738227"/>
                </a:cubicBezTo>
                <a:lnTo>
                  <a:pt x="223410" y="3791861"/>
                </a:lnTo>
                <a:lnTo>
                  <a:pt x="187021" y="3831598"/>
                </a:lnTo>
                <a:lnTo>
                  <a:pt x="164976" y="3853643"/>
                </a:lnTo>
                <a:cubicBezTo>
                  <a:pt x="164976" y="3856546"/>
                  <a:pt x="159525" y="3862108"/>
                  <a:pt x="148623" y="3870331"/>
                </a:cubicBezTo>
                <a:cubicBezTo>
                  <a:pt x="138094" y="3891353"/>
                  <a:pt x="123639" y="3901864"/>
                  <a:pt x="105259" y="3901864"/>
                </a:cubicBezTo>
                <a:lnTo>
                  <a:pt x="93092" y="3901864"/>
                </a:lnTo>
                <a:cubicBezTo>
                  <a:pt x="83753" y="3890181"/>
                  <a:pt x="75735" y="3884339"/>
                  <a:pt x="69038" y="3884339"/>
                </a:cubicBezTo>
                <a:cubicBezTo>
                  <a:pt x="62824" y="3878088"/>
                  <a:pt x="52257" y="3869996"/>
                  <a:pt x="37337" y="3860062"/>
                </a:cubicBezTo>
                <a:lnTo>
                  <a:pt x="31477" y="3848453"/>
                </a:lnTo>
                <a:cubicBezTo>
                  <a:pt x="31477" y="3834798"/>
                  <a:pt x="37281" y="3827971"/>
                  <a:pt x="48890" y="3827971"/>
                </a:cubicBezTo>
                <a:cubicBezTo>
                  <a:pt x="58787" y="3821980"/>
                  <a:pt x="75177" y="3813292"/>
                  <a:pt x="98059" y="3801907"/>
                </a:cubicBezTo>
                <a:cubicBezTo>
                  <a:pt x="107845" y="3794540"/>
                  <a:pt x="116439" y="3789629"/>
                  <a:pt x="123844" y="3787173"/>
                </a:cubicBezTo>
                <a:cubicBezTo>
                  <a:pt x="136940" y="3779322"/>
                  <a:pt x="144680" y="3775397"/>
                  <a:pt x="147061" y="3775397"/>
                </a:cubicBezTo>
                <a:lnTo>
                  <a:pt x="143545" y="3774058"/>
                </a:lnTo>
                <a:lnTo>
                  <a:pt x="143545" y="3767528"/>
                </a:lnTo>
                <a:lnTo>
                  <a:pt x="147061" y="3756087"/>
                </a:lnTo>
                <a:lnTo>
                  <a:pt x="143545" y="3748385"/>
                </a:lnTo>
                <a:cubicBezTo>
                  <a:pt x="145889" y="3742394"/>
                  <a:pt x="147061" y="3736274"/>
                  <a:pt x="147061" y="3730023"/>
                </a:cubicBezTo>
                <a:lnTo>
                  <a:pt x="147061" y="3718861"/>
                </a:lnTo>
                <a:lnTo>
                  <a:pt x="143545" y="3709875"/>
                </a:lnTo>
                <a:lnTo>
                  <a:pt x="147061" y="3702899"/>
                </a:lnTo>
                <a:lnTo>
                  <a:pt x="143545" y="3697039"/>
                </a:lnTo>
                <a:lnTo>
                  <a:pt x="147061" y="3670808"/>
                </a:lnTo>
                <a:lnTo>
                  <a:pt x="144791" y="3655787"/>
                </a:lnTo>
                <a:lnTo>
                  <a:pt x="143991" y="3659199"/>
                </a:lnTo>
                <a:lnTo>
                  <a:pt x="108998" y="3677729"/>
                </a:lnTo>
                <a:lnTo>
                  <a:pt x="68368" y="3658976"/>
                </a:lnTo>
                <a:lnTo>
                  <a:pt x="32370" y="3633806"/>
                </a:lnTo>
                <a:lnTo>
                  <a:pt x="14008" y="3620020"/>
                </a:lnTo>
                <a:lnTo>
                  <a:pt x="14008" y="3610979"/>
                </a:lnTo>
                <a:cubicBezTo>
                  <a:pt x="14008" y="3601529"/>
                  <a:pt x="22324" y="3596803"/>
                  <a:pt x="38956" y="3596803"/>
                </a:cubicBezTo>
                <a:lnTo>
                  <a:pt x="91529" y="3572302"/>
                </a:lnTo>
                <a:cubicBezTo>
                  <a:pt x="98227" y="3572302"/>
                  <a:pt x="113240" y="3565289"/>
                  <a:pt x="136568" y="3551262"/>
                </a:cubicBezTo>
                <a:lnTo>
                  <a:pt x="141424" y="3551262"/>
                </a:lnTo>
                <a:lnTo>
                  <a:pt x="143545" y="3540993"/>
                </a:lnTo>
                <a:lnTo>
                  <a:pt x="140308" y="3505274"/>
                </a:lnTo>
                <a:cubicBezTo>
                  <a:pt x="136252" y="3473127"/>
                  <a:pt x="132736" y="3457054"/>
                  <a:pt x="129759" y="3457054"/>
                </a:cubicBezTo>
                <a:cubicBezTo>
                  <a:pt x="119490" y="3450245"/>
                  <a:pt x="112421" y="3442971"/>
                  <a:pt x="108551" y="3435232"/>
                </a:cubicBezTo>
                <a:cubicBezTo>
                  <a:pt x="108551" y="3420126"/>
                  <a:pt x="116718" y="3411419"/>
                  <a:pt x="133052" y="3409112"/>
                </a:cubicBezTo>
                <a:cubicBezTo>
                  <a:pt x="133052" y="3403494"/>
                  <a:pt x="141294" y="3400685"/>
                  <a:pt x="157776" y="3400685"/>
                </a:cubicBezTo>
                <a:close/>
                <a:moveTo>
                  <a:pt x="463283" y="3295538"/>
                </a:moveTo>
                <a:cubicBezTo>
                  <a:pt x="477645" y="3309602"/>
                  <a:pt x="496063" y="3316634"/>
                  <a:pt x="518536" y="3316634"/>
                </a:cubicBezTo>
                <a:cubicBezTo>
                  <a:pt x="534981" y="3326531"/>
                  <a:pt x="543204" y="3336038"/>
                  <a:pt x="543204" y="3345153"/>
                </a:cubicBezTo>
                <a:lnTo>
                  <a:pt x="546720" y="3364185"/>
                </a:lnTo>
                <a:cubicBezTo>
                  <a:pt x="543223" y="3371384"/>
                  <a:pt x="540599" y="3376561"/>
                  <a:pt x="538851" y="3379714"/>
                </a:cubicBezTo>
                <a:lnTo>
                  <a:pt x="536945" y="3382827"/>
                </a:lnTo>
                <a:lnTo>
                  <a:pt x="557045" y="3375040"/>
                </a:lnTo>
                <a:cubicBezTo>
                  <a:pt x="563761" y="3371543"/>
                  <a:pt x="570253" y="3367236"/>
                  <a:pt x="576523" y="3362120"/>
                </a:cubicBezTo>
                <a:lnTo>
                  <a:pt x="609172" y="3379700"/>
                </a:lnTo>
                <a:cubicBezTo>
                  <a:pt x="616799" y="3379700"/>
                  <a:pt x="623999" y="3386491"/>
                  <a:pt x="630771" y="3400071"/>
                </a:cubicBezTo>
                <a:lnTo>
                  <a:pt x="630771" y="3411066"/>
                </a:lnTo>
                <a:cubicBezTo>
                  <a:pt x="622808" y="3423046"/>
                  <a:pt x="610400" y="3429037"/>
                  <a:pt x="593545" y="3429037"/>
                </a:cubicBezTo>
                <a:lnTo>
                  <a:pt x="582662" y="3425576"/>
                </a:lnTo>
                <a:lnTo>
                  <a:pt x="570216" y="3432553"/>
                </a:lnTo>
                <a:lnTo>
                  <a:pt x="557659" y="3432553"/>
                </a:lnTo>
                <a:lnTo>
                  <a:pt x="552128" y="3429765"/>
                </a:lnTo>
                <a:lnTo>
                  <a:pt x="532572" y="3439543"/>
                </a:lnTo>
                <a:lnTo>
                  <a:pt x="530249" y="3439833"/>
                </a:lnTo>
                <a:lnTo>
                  <a:pt x="537037" y="3444720"/>
                </a:lnTo>
                <a:cubicBezTo>
                  <a:pt x="542488" y="3447436"/>
                  <a:pt x="548506" y="3449352"/>
                  <a:pt x="555092" y="3450468"/>
                </a:cubicBezTo>
                <a:cubicBezTo>
                  <a:pt x="565845" y="3457612"/>
                  <a:pt x="571221" y="3464421"/>
                  <a:pt x="571221" y="3470895"/>
                </a:cubicBezTo>
                <a:cubicBezTo>
                  <a:pt x="571221" y="3484103"/>
                  <a:pt x="560729" y="3497702"/>
                  <a:pt x="539744" y="3511692"/>
                </a:cubicBezTo>
                <a:cubicBezTo>
                  <a:pt x="539744" y="3514185"/>
                  <a:pt x="533902" y="3518929"/>
                  <a:pt x="522219" y="3525924"/>
                </a:cubicBezTo>
                <a:lnTo>
                  <a:pt x="521420" y="3528488"/>
                </a:lnTo>
                <a:lnTo>
                  <a:pt x="525903" y="3527096"/>
                </a:lnTo>
                <a:cubicBezTo>
                  <a:pt x="539855" y="3524752"/>
                  <a:pt x="550087" y="3522501"/>
                  <a:pt x="556599" y="3520343"/>
                </a:cubicBezTo>
                <a:cubicBezTo>
                  <a:pt x="578104" y="3516027"/>
                  <a:pt x="591555" y="3511171"/>
                  <a:pt x="596950" y="3505776"/>
                </a:cubicBezTo>
                <a:cubicBezTo>
                  <a:pt x="605507" y="3505776"/>
                  <a:pt x="616074" y="3502614"/>
                  <a:pt x="628650" y="3496288"/>
                </a:cubicBezTo>
                <a:lnTo>
                  <a:pt x="642379" y="3491768"/>
                </a:lnTo>
                <a:cubicBezTo>
                  <a:pt x="654695" y="3491768"/>
                  <a:pt x="673689" y="3496437"/>
                  <a:pt x="699362" y="3505776"/>
                </a:cubicBezTo>
                <a:lnTo>
                  <a:pt x="702431" y="3505776"/>
                </a:lnTo>
                <a:cubicBezTo>
                  <a:pt x="713631" y="3509423"/>
                  <a:pt x="722430" y="3516101"/>
                  <a:pt x="728830" y="3525812"/>
                </a:cubicBezTo>
                <a:lnTo>
                  <a:pt x="728830" y="3537421"/>
                </a:lnTo>
                <a:cubicBezTo>
                  <a:pt x="728830" y="3546537"/>
                  <a:pt x="722728" y="3554145"/>
                  <a:pt x="710524" y="3560247"/>
                </a:cubicBezTo>
                <a:lnTo>
                  <a:pt x="705110" y="3565661"/>
                </a:lnTo>
                <a:lnTo>
                  <a:pt x="684572" y="3565661"/>
                </a:lnTo>
                <a:lnTo>
                  <a:pt x="674805" y="3562145"/>
                </a:lnTo>
                <a:lnTo>
                  <a:pt x="641598" y="3565661"/>
                </a:lnTo>
                <a:lnTo>
                  <a:pt x="637580" y="3565661"/>
                </a:lnTo>
                <a:lnTo>
                  <a:pt x="623571" y="3565661"/>
                </a:lnTo>
                <a:lnTo>
                  <a:pt x="612242" y="3565661"/>
                </a:lnTo>
                <a:cubicBezTo>
                  <a:pt x="602903" y="3570312"/>
                  <a:pt x="588076" y="3572637"/>
                  <a:pt x="567761" y="3572637"/>
                </a:cubicBezTo>
                <a:cubicBezTo>
                  <a:pt x="567761" y="3573642"/>
                  <a:pt x="551408" y="3577642"/>
                  <a:pt x="518703" y="3584637"/>
                </a:cubicBezTo>
                <a:cubicBezTo>
                  <a:pt x="518703" y="3586609"/>
                  <a:pt x="507560" y="3590776"/>
                  <a:pt x="485273" y="3597138"/>
                </a:cubicBezTo>
                <a:lnTo>
                  <a:pt x="487170" y="3597138"/>
                </a:lnTo>
                <a:cubicBezTo>
                  <a:pt x="487170" y="3598217"/>
                  <a:pt x="477217" y="3600561"/>
                  <a:pt x="457312" y="3604170"/>
                </a:cubicBezTo>
                <a:lnTo>
                  <a:pt x="454019" y="3600654"/>
                </a:lnTo>
                <a:cubicBezTo>
                  <a:pt x="448661" y="3607649"/>
                  <a:pt x="441313" y="3611147"/>
                  <a:pt x="431974" y="3611147"/>
                </a:cubicBezTo>
                <a:cubicBezTo>
                  <a:pt x="427285" y="3615835"/>
                  <a:pt x="421184" y="3618179"/>
                  <a:pt x="413668" y="3618179"/>
                </a:cubicBezTo>
                <a:cubicBezTo>
                  <a:pt x="413668" y="3618551"/>
                  <a:pt x="407157" y="3620876"/>
                  <a:pt x="394134" y="3625155"/>
                </a:cubicBezTo>
                <a:lnTo>
                  <a:pt x="393464" y="3625155"/>
                </a:lnTo>
                <a:cubicBezTo>
                  <a:pt x="389334" y="3629285"/>
                  <a:pt x="381428" y="3632522"/>
                  <a:pt x="369745" y="3634866"/>
                </a:cubicBezTo>
                <a:cubicBezTo>
                  <a:pt x="362192" y="3642419"/>
                  <a:pt x="355811" y="3646196"/>
                  <a:pt x="350602" y="3646196"/>
                </a:cubicBezTo>
                <a:cubicBezTo>
                  <a:pt x="350602" y="3647051"/>
                  <a:pt x="339496" y="3650251"/>
                  <a:pt x="317283" y="3655795"/>
                </a:cubicBezTo>
                <a:cubicBezTo>
                  <a:pt x="312037" y="3661078"/>
                  <a:pt x="304298" y="3663720"/>
                  <a:pt x="294066" y="3663720"/>
                </a:cubicBezTo>
                <a:cubicBezTo>
                  <a:pt x="275239" y="3650251"/>
                  <a:pt x="257882" y="3638568"/>
                  <a:pt x="241995" y="3628671"/>
                </a:cubicBezTo>
                <a:lnTo>
                  <a:pt x="231111" y="3628671"/>
                </a:lnTo>
                <a:lnTo>
                  <a:pt x="231111" y="3614439"/>
                </a:lnTo>
                <a:cubicBezTo>
                  <a:pt x="231111" y="3608375"/>
                  <a:pt x="248487" y="3602663"/>
                  <a:pt x="283239" y="3597306"/>
                </a:cubicBezTo>
                <a:cubicBezTo>
                  <a:pt x="308651" y="3585771"/>
                  <a:pt x="339142" y="3575818"/>
                  <a:pt x="374712" y="3567447"/>
                </a:cubicBezTo>
                <a:cubicBezTo>
                  <a:pt x="374712" y="3564628"/>
                  <a:pt x="378615" y="3562867"/>
                  <a:pt x="386422" y="3562162"/>
                </a:cubicBezTo>
                <a:lnTo>
                  <a:pt x="390370" y="3562009"/>
                </a:lnTo>
                <a:lnTo>
                  <a:pt x="386460" y="3549922"/>
                </a:lnTo>
                <a:cubicBezTo>
                  <a:pt x="384897" y="3543727"/>
                  <a:pt x="383697" y="3537291"/>
                  <a:pt x="382860" y="3530612"/>
                </a:cubicBezTo>
                <a:cubicBezTo>
                  <a:pt x="379772" y="3530612"/>
                  <a:pt x="378228" y="3521124"/>
                  <a:pt x="378228" y="3502149"/>
                </a:cubicBezTo>
                <a:lnTo>
                  <a:pt x="372938" y="3499504"/>
                </a:lnTo>
                <a:lnTo>
                  <a:pt x="357913" y="3502595"/>
                </a:lnTo>
                <a:lnTo>
                  <a:pt x="333301" y="3488587"/>
                </a:lnTo>
                <a:cubicBezTo>
                  <a:pt x="329096" y="3488587"/>
                  <a:pt x="324650" y="3485089"/>
                  <a:pt x="319962" y="3478094"/>
                </a:cubicBezTo>
                <a:lnTo>
                  <a:pt x="318901" y="3478094"/>
                </a:lnTo>
                <a:lnTo>
                  <a:pt x="305116" y="3478094"/>
                </a:lnTo>
                <a:lnTo>
                  <a:pt x="297638" y="3459286"/>
                </a:lnTo>
                <a:cubicBezTo>
                  <a:pt x="310474" y="3448645"/>
                  <a:pt x="327050" y="3442059"/>
                  <a:pt x="347365" y="3439529"/>
                </a:cubicBezTo>
                <a:cubicBezTo>
                  <a:pt x="391269" y="3426990"/>
                  <a:pt x="413221" y="3417540"/>
                  <a:pt x="413221" y="3411177"/>
                </a:cubicBezTo>
                <a:cubicBezTo>
                  <a:pt x="422560" y="3411177"/>
                  <a:pt x="427230" y="3403513"/>
                  <a:pt x="427230" y="3388183"/>
                </a:cubicBezTo>
                <a:lnTo>
                  <a:pt x="424160" y="3363962"/>
                </a:lnTo>
                <a:lnTo>
                  <a:pt x="402729" y="3342475"/>
                </a:lnTo>
                <a:lnTo>
                  <a:pt x="402729" y="3326401"/>
                </a:lnTo>
                <a:cubicBezTo>
                  <a:pt x="409054" y="3310551"/>
                  <a:pt x="417184" y="3302626"/>
                  <a:pt x="427118" y="3302626"/>
                </a:cubicBezTo>
                <a:close/>
                <a:moveTo>
                  <a:pt x="449257" y="2305184"/>
                </a:moveTo>
                <a:cubicBezTo>
                  <a:pt x="456199" y="2306607"/>
                  <a:pt x="466102" y="2312844"/>
                  <a:pt x="478966" y="2323895"/>
                </a:cubicBezTo>
                <a:cubicBezTo>
                  <a:pt x="514796" y="2331559"/>
                  <a:pt x="532712" y="2338982"/>
                  <a:pt x="532712" y="2346163"/>
                </a:cubicBezTo>
                <a:lnTo>
                  <a:pt x="546720" y="2363632"/>
                </a:lnTo>
                <a:lnTo>
                  <a:pt x="546720" y="2382496"/>
                </a:lnTo>
                <a:cubicBezTo>
                  <a:pt x="546720" y="2389565"/>
                  <a:pt x="540879" y="2401267"/>
                  <a:pt x="529196" y="2417601"/>
                </a:cubicBezTo>
                <a:cubicBezTo>
                  <a:pt x="529196" y="2433228"/>
                  <a:pt x="526870" y="2445339"/>
                  <a:pt x="522219" y="2453933"/>
                </a:cubicBezTo>
                <a:lnTo>
                  <a:pt x="525735" y="2462863"/>
                </a:lnTo>
                <a:lnTo>
                  <a:pt x="525735" y="2474918"/>
                </a:lnTo>
                <a:lnTo>
                  <a:pt x="522219" y="2488927"/>
                </a:lnTo>
                <a:lnTo>
                  <a:pt x="522219" y="2495066"/>
                </a:lnTo>
                <a:lnTo>
                  <a:pt x="519874" y="2509025"/>
                </a:lnTo>
                <a:lnTo>
                  <a:pt x="551352" y="2492164"/>
                </a:lnTo>
                <a:lnTo>
                  <a:pt x="589415" y="2476927"/>
                </a:lnTo>
                <a:cubicBezTo>
                  <a:pt x="633319" y="2476927"/>
                  <a:pt x="655272" y="2486304"/>
                  <a:pt x="655272" y="2505056"/>
                </a:cubicBezTo>
                <a:lnTo>
                  <a:pt x="655272" y="2508572"/>
                </a:lnTo>
                <a:cubicBezTo>
                  <a:pt x="652072" y="2534394"/>
                  <a:pt x="643905" y="2547305"/>
                  <a:pt x="630771" y="2547305"/>
                </a:cubicBezTo>
                <a:cubicBezTo>
                  <a:pt x="630771" y="2549649"/>
                  <a:pt x="624036" y="2550821"/>
                  <a:pt x="610567" y="2550821"/>
                </a:cubicBezTo>
                <a:cubicBezTo>
                  <a:pt x="609265" y="2552123"/>
                  <a:pt x="602270" y="2555304"/>
                  <a:pt x="589583" y="2560364"/>
                </a:cubicBezTo>
                <a:cubicBezTo>
                  <a:pt x="574700" y="2568847"/>
                  <a:pt x="563017" y="2577331"/>
                  <a:pt x="554534" y="2585814"/>
                </a:cubicBezTo>
                <a:lnTo>
                  <a:pt x="543037" y="2585814"/>
                </a:lnTo>
                <a:cubicBezTo>
                  <a:pt x="536004" y="2585814"/>
                  <a:pt x="528991" y="2583488"/>
                  <a:pt x="521996" y="2578837"/>
                </a:cubicBezTo>
                <a:lnTo>
                  <a:pt x="518703" y="2578165"/>
                </a:lnTo>
                <a:lnTo>
                  <a:pt x="518703" y="2582354"/>
                </a:lnTo>
                <a:cubicBezTo>
                  <a:pt x="515652" y="2582354"/>
                  <a:pt x="513327" y="2591413"/>
                  <a:pt x="511727" y="2609533"/>
                </a:cubicBezTo>
                <a:lnTo>
                  <a:pt x="511727" y="2620640"/>
                </a:lnTo>
                <a:lnTo>
                  <a:pt x="511727" y="2631132"/>
                </a:lnTo>
                <a:lnTo>
                  <a:pt x="511727" y="2641122"/>
                </a:lnTo>
                <a:lnTo>
                  <a:pt x="504192" y="2720206"/>
                </a:lnTo>
                <a:lnTo>
                  <a:pt x="501179" y="2722047"/>
                </a:lnTo>
                <a:lnTo>
                  <a:pt x="504695" y="2732484"/>
                </a:lnTo>
                <a:lnTo>
                  <a:pt x="501179" y="2739122"/>
                </a:lnTo>
                <a:lnTo>
                  <a:pt x="544320" y="2736279"/>
                </a:lnTo>
                <a:cubicBezTo>
                  <a:pt x="550311" y="2735088"/>
                  <a:pt x="553306" y="2731498"/>
                  <a:pt x="553306" y="2725508"/>
                </a:cubicBezTo>
                <a:lnTo>
                  <a:pt x="575853" y="2729024"/>
                </a:lnTo>
                <a:cubicBezTo>
                  <a:pt x="623850" y="2725229"/>
                  <a:pt x="647849" y="2720578"/>
                  <a:pt x="647849" y="2715071"/>
                </a:cubicBezTo>
                <a:lnTo>
                  <a:pt x="674247" y="2715071"/>
                </a:lnTo>
                <a:lnTo>
                  <a:pt x="701650" y="2722885"/>
                </a:lnTo>
                <a:cubicBezTo>
                  <a:pt x="743136" y="2741042"/>
                  <a:pt x="763879" y="2754771"/>
                  <a:pt x="763879" y="2764073"/>
                </a:cubicBezTo>
                <a:cubicBezTo>
                  <a:pt x="765032" y="2764073"/>
                  <a:pt x="767358" y="2771272"/>
                  <a:pt x="770855" y="2785671"/>
                </a:cubicBezTo>
                <a:cubicBezTo>
                  <a:pt x="764642" y="2811195"/>
                  <a:pt x="752401" y="2823957"/>
                  <a:pt x="734132" y="2823957"/>
                </a:cubicBezTo>
                <a:cubicBezTo>
                  <a:pt x="718282" y="2821651"/>
                  <a:pt x="709445" y="2820497"/>
                  <a:pt x="707622" y="2820497"/>
                </a:cubicBezTo>
                <a:lnTo>
                  <a:pt x="693390" y="2820497"/>
                </a:lnTo>
                <a:cubicBezTo>
                  <a:pt x="693390" y="2815400"/>
                  <a:pt x="676628" y="2811791"/>
                  <a:pt x="643105" y="2809670"/>
                </a:cubicBezTo>
                <a:cubicBezTo>
                  <a:pt x="638640" y="2805205"/>
                  <a:pt x="629785" y="2802973"/>
                  <a:pt x="616539" y="2802973"/>
                </a:cubicBezTo>
                <a:lnTo>
                  <a:pt x="608893" y="2802973"/>
                </a:lnTo>
                <a:lnTo>
                  <a:pt x="543539" y="2799457"/>
                </a:lnTo>
                <a:lnTo>
                  <a:pt x="512062" y="2802973"/>
                </a:lnTo>
                <a:lnTo>
                  <a:pt x="504471" y="2802973"/>
                </a:lnTo>
                <a:lnTo>
                  <a:pt x="497495" y="2802973"/>
                </a:lnTo>
                <a:lnTo>
                  <a:pt x="477515" y="2802973"/>
                </a:lnTo>
                <a:lnTo>
                  <a:pt x="473999" y="2806489"/>
                </a:lnTo>
                <a:lnTo>
                  <a:pt x="458986" y="2806489"/>
                </a:lnTo>
                <a:cubicBezTo>
                  <a:pt x="451098" y="2806489"/>
                  <a:pt x="441294" y="2808814"/>
                  <a:pt x="429574" y="2813465"/>
                </a:cubicBezTo>
                <a:lnTo>
                  <a:pt x="409091" y="2813465"/>
                </a:lnTo>
                <a:lnTo>
                  <a:pt x="399324" y="2816981"/>
                </a:lnTo>
                <a:lnTo>
                  <a:pt x="392292" y="2813465"/>
                </a:lnTo>
                <a:lnTo>
                  <a:pt x="381074" y="2820497"/>
                </a:lnTo>
                <a:lnTo>
                  <a:pt x="374935" y="2820497"/>
                </a:lnTo>
                <a:lnTo>
                  <a:pt x="365559" y="2820497"/>
                </a:lnTo>
                <a:lnTo>
                  <a:pt x="330510" y="2827473"/>
                </a:lnTo>
                <a:cubicBezTo>
                  <a:pt x="322213" y="2827473"/>
                  <a:pt x="311051" y="2830971"/>
                  <a:pt x="297024" y="2837966"/>
                </a:cubicBezTo>
                <a:lnTo>
                  <a:pt x="288820" y="2837966"/>
                </a:lnTo>
                <a:cubicBezTo>
                  <a:pt x="264970" y="2844514"/>
                  <a:pt x="250180" y="2849184"/>
                  <a:pt x="244450" y="2851974"/>
                </a:cubicBezTo>
                <a:cubicBezTo>
                  <a:pt x="233251" y="2851974"/>
                  <a:pt x="221103" y="2856346"/>
                  <a:pt x="208006" y="2865090"/>
                </a:cubicBezTo>
                <a:cubicBezTo>
                  <a:pt x="183003" y="2871936"/>
                  <a:pt x="166594" y="2879247"/>
                  <a:pt x="158781" y="2887023"/>
                </a:cubicBezTo>
                <a:cubicBezTo>
                  <a:pt x="146019" y="2887023"/>
                  <a:pt x="133778" y="2890521"/>
                  <a:pt x="122058" y="2897516"/>
                </a:cubicBezTo>
                <a:lnTo>
                  <a:pt x="111063" y="2897516"/>
                </a:lnTo>
                <a:lnTo>
                  <a:pt x="90078" y="2876531"/>
                </a:lnTo>
                <a:cubicBezTo>
                  <a:pt x="77019" y="2876531"/>
                  <a:pt x="68145" y="2871861"/>
                  <a:pt x="63457" y="2862522"/>
                </a:cubicBezTo>
                <a:cubicBezTo>
                  <a:pt x="53820" y="2862522"/>
                  <a:pt x="49002" y="2851267"/>
                  <a:pt x="49002" y="2828757"/>
                </a:cubicBezTo>
                <a:lnTo>
                  <a:pt x="57652" y="2820106"/>
                </a:lnTo>
                <a:lnTo>
                  <a:pt x="70210" y="2820106"/>
                </a:lnTo>
                <a:cubicBezTo>
                  <a:pt x="82376" y="2820106"/>
                  <a:pt x="97706" y="2815418"/>
                  <a:pt x="116198" y="2806042"/>
                </a:cubicBezTo>
                <a:lnTo>
                  <a:pt x="124290" y="2809558"/>
                </a:lnTo>
                <a:lnTo>
                  <a:pt x="161851" y="2802917"/>
                </a:lnTo>
                <a:cubicBezTo>
                  <a:pt x="191691" y="2798936"/>
                  <a:pt x="206611" y="2794173"/>
                  <a:pt x="206611" y="2788629"/>
                </a:cubicBezTo>
                <a:lnTo>
                  <a:pt x="227595" y="2788629"/>
                </a:lnTo>
                <a:lnTo>
                  <a:pt x="227595" y="2782434"/>
                </a:lnTo>
                <a:cubicBezTo>
                  <a:pt x="223317" y="2705081"/>
                  <a:pt x="219131" y="2666404"/>
                  <a:pt x="215038" y="2666404"/>
                </a:cubicBezTo>
                <a:cubicBezTo>
                  <a:pt x="209866" y="2635299"/>
                  <a:pt x="203002" y="2616528"/>
                  <a:pt x="194444" y="2610091"/>
                </a:cubicBezTo>
                <a:lnTo>
                  <a:pt x="188919" y="2596362"/>
                </a:lnTo>
                <a:cubicBezTo>
                  <a:pt x="184379" y="2596362"/>
                  <a:pt x="182110" y="2591618"/>
                  <a:pt x="182110" y="2582130"/>
                </a:cubicBezTo>
                <a:lnTo>
                  <a:pt x="182110" y="2578614"/>
                </a:lnTo>
                <a:cubicBezTo>
                  <a:pt x="182110" y="2570689"/>
                  <a:pt x="188063" y="2565238"/>
                  <a:pt x="199969" y="2562262"/>
                </a:cubicBezTo>
                <a:cubicBezTo>
                  <a:pt x="207820" y="2554411"/>
                  <a:pt x="215931" y="2550486"/>
                  <a:pt x="224303" y="2550486"/>
                </a:cubicBezTo>
                <a:lnTo>
                  <a:pt x="238032" y="2550486"/>
                </a:lnTo>
                <a:cubicBezTo>
                  <a:pt x="247371" y="2564476"/>
                  <a:pt x="253305" y="2571470"/>
                  <a:pt x="255836" y="2571470"/>
                </a:cubicBezTo>
                <a:cubicBezTo>
                  <a:pt x="284559" y="2571470"/>
                  <a:pt x="301898" y="2578930"/>
                  <a:pt x="307851" y="2593851"/>
                </a:cubicBezTo>
                <a:cubicBezTo>
                  <a:pt x="312837" y="2601292"/>
                  <a:pt x="316576" y="2615040"/>
                  <a:pt x="319069" y="2635095"/>
                </a:cubicBezTo>
                <a:lnTo>
                  <a:pt x="319069" y="2652173"/>
                </a:lnTo>
                <a:lnTo>
                  <a:pt x="319069" y="2657028"/>
                </a:lnTo>
                <a:cubicBezTo>
                  <a:pt x="316762" y="2666367"/>
                  <a:pt x="315609" y="2685752"/>
                  <a:pt x="315609" y="2715183"/>
                </a:cubicBezTo>
                <a:lnTo>
                  <a:pt x="315609" y="2729693"/>
                </a:lnTo>
                <a:lnTo>
                  <a:pt x="309194" y="2774338"/>
                </a:lnTo>
                <a:lnTo>
                  <a:pt x="327301" y="2769319"/>
                </a:lnTo>
                <a:cubicBezTo>
                  <a:pt x="333570" y="2768165"/>
                  <a:pt x="339868" y="2767589"/>
                  <a:pt x="346193" y="2767589"/>
                </a:cubicBezTo>
                <a:cubicBezTo>
                  <a:pt x="348537" y="2762938"/>
                  <a:pt x="356871" y="2760612"/>
                  <a:pt x="371196" y="2760612"/>
                </a:cubicBezTo>
                <a:cubicBezTo>
                  <a:pt x="371196" y="2758938"/>
                  <a:pt x="385558" y="2756780"/>
                  <a:pt x="414282" y="2754138"/>
                </a:cubicBezTo>
                <a:cubicBezTo>
                  <a:pt x="413575" y="2754845"/>
                  <a:pt x="413221" y="2747627"/>
                  <a:pt x="413221" y="2732484"/>
                </a:cubicBezTo>
                <a:lnTo>
                  <a:pt x="416737" y="2660209"/>
                </a:lnTo>
                <a:lnTo>
                  <a:pt x="413221" y="2655521"/>
                </a:lnTo>
                <a:lnTo>
                  <a:pt x="416737" y="2641010"/>
                </a:lnTo>
                <a:lnTo>
                  <a:pt x="416737" y="2620640"/>
                </a:lnTo>
                <a:cubicBezTo>
                  <a:pt x="416737" y="2596306"/>
                  <a:pt x="415565" y="2580642"/>
                  <a:pt x="413221" y="2573647"/>
                </a:cubicBezTo>
                <a:lnTo>
                  <a:pt x="413221" y="2557629"/>
                </a:lnTo>
                <a:lnTo>
                  <a:pt x="413221" y="2554113"/>
                </a:lnTo>
                <a:lnTo>
                  <a:pt x="413221" y="2550597"/>
                </a:lnTo>
                <a:lnTo>
                  <a:pt x="413221" y="2547081"/>
                </a:lnTo>
                <a:lnTo>
                  <a:pt x="413221" y="2529613"/>
                </a:lnTo>
                <a:lnTo>
                  <a:pt x="413221" y="2509074"/>
                </a:lnTo>
                <a:lnTo>
                  <a:pt x="409705" y="2430549"/>
                </a:lnTo>
                <a:lnTo>
                  <a:pt x="413221" y="2423852"/>
                </a:lnTo>
                <a:lnTo>
                  <a:pt x="410152" y="2398123"/>
                </a:lnTo>
                <a:lnTo>
                  <a:pt x="402729" y="2390700"/>
                </a:lnTo>
                <a:lnTo>
                  <a:pt x="402729" y="2375352"/>
                </a:lnTo>
                <a:lnTo>
                  <a:pt x="404956" y="2375352"/>
                </a:lnTo>
                <a:lnTo>
                  <a:pt x="401864" y="2372185"/>
                </a:lnTo>
                <a:cubicBezTo>
                  <a:pt x="398943" y="2368753"/>
                  <a:pt x="394562" y="2362944"/>
                  <a:pt x="388720" y="2354758"/>
                </a:cubicBezTo>
                <a:lnTo>
                  <a:pt x="388720" y="2347503"/>
                </a:lnTo>
                <a:cubicBezTo>
                  <a:pt x="388720" y="2325737"/>
                  <a:pt x="406431" y="2311747"/>
                  <a:pt x="441852" y="2305533"/>
                </a:cubicBezTo>
                <a:lnTo>
                  <a:pt x="443303" y="2305366"/>
                </a:lnTo>
                <a:cubicBezTo>
                  <a:pt x="444959" y="2304770"/>
                  <a:pt x="446944" y="2304710"/>
                  <a:pt x="449257" y="2305184"/>
                </a:cubicBezTo>
                <a:close/>
                <a:moveTo>
                  <a:pt x="339663" y="1679246"/>
                </a:moveTo>
                <a:cubicBezTo>
                  <a:pt x="359271" y="1679246"/>
                  <a:pt x="376944" y="1685794"/>
                  <a:pt x="392683" y="1698891"/>
                </a:cubicBezTo>
                <a:cubicBezTo>
                  <a:pt x="401724" y="1704919"/>
                  <a:pt x="407510" y="1720471"/>
                  <a:pt x="410040" y="1745549"/>
                </a:cubicBezTo>
                <a:lnTo>
                  <a:pt x="410152" y="1755539"/>
                </a:lnTo>
                <a:cubicBezTo>
                  <a:pt x="395492" y="1781956"/>
                  <a:pt x="381409" y="1795164"/>
                  <a:pt x="367903" y="1795164"/>
                </a:cubicBezTo>
                <a:lnTo>
                  <a:pt x="357411" y="1795164"/>
                </a:lnTo>
                <a:cubicBezTo>
                  <a:pt x="344537" y="1795164"/>
                  <a:pt x="336296" y="1785825"/>
                  <a:pt x="332687" y="1767147"/>
                </a:cubicBezTo>
                <a:lnTo>
                  <a:pt x="343179" y="1727801"/>
                </a:lnTo>
                <a:lnTo>
                  <a:pt x="343179" y="1726238"/>
                </a:lnTo>
                <a:lnTo>
                  <a:pt x="339663" y="1707430"/>
                </a:lnTo>
                <a:lnTo>
                  <a:pt x="343179" y="1702575"/>
                </a:lnTo>
                <a:lnTo>
                  <a:pt x="336203" y="1700119"/>
                </a:lnTo>
                <a:lnTo>
                  <a:pt x="336203" y="1682706"/>
                </a:lnTo>
                <a:lnTo>
                  <a:pt x="339663" y="1682706"/>
                </a:lnTo>
                <a:close/>
                <a:moveTo>
                  <a:pt x="433815" y="1675674"/>
                </a:moveTo>
                <a:cubicBezTo>
                  <a:pt x="481068" y="1688920"/>
                  <a:pt x="504695" y="1701868"/>
                  <a:pt x="504695" y="1714518"/>
                </a:cubicBezTo>
                <a:cubicBezTo>
                  <a:pt x="509383" y="1716862"/>
                  <a:pt x="511727" y="1723820"/>
                  <a:pt x="511727" y="1735391"/>
                </a:cubicBezTo>
                <a:cubicBezTo>
                  <a:pt x="511727" y="1756376"/>
                  <a:pt x="501216" y="1771538"/>
                  <a:pt x="480194" y="1780877"/>
                </a:cubicBezTo>
                <a:lnTo>
                  <a:pt x="480194" y="1788132"/>
                </a:lnTo>
                <a:lnTo>
                  <a:pt x="448326" y="1788132"/>
                </a:lnTo>
                <a:lnTo>
                  <a:pt x="434262" y="1755260"/>
                </a:lnTo>
                <a:lnTo>
                  <a:pt x="434262" y="1745884"/>
                </a:lnTo>
                <a:cubicBezTo>
                  <a:pt x="434262" y="1723336"/>
                  <a:pt x="429592" y="1706277"/>
                  <a:pt x="420253" y="1694705"/>
                </a:cubicBezTo>
                <a:close/>
                <a:moveTo>
                  <a:pt x="547948" y="1661721"/>
                </a:moveTo>
                <a:lnTo>
                  <a:pt x="564579" y="1661721"/>
                </a:lnTo>
                <a:cubicBezTo>
                  <a:pt x="567184" y="1666967"/>
                  <a:pt x="572765" y="1669274"/>
                  <a:pt x="581323" y="1668642"/>
                </a:cubicBezTo>
                <a:lnTo>
                  <a:pt x="581323" y="1668698"/>
                </a:lnTo>
                <a:lnTo>
                  <a:pt x="598680" y="1668698"/>
                </a:lnTo>
                <a:lnTo>
                  <a:pt x="612632" y="1675730"/>
                </a:lnTo>
                <a:lnTo>
                  <a:pt x="616204" y="1675730"/>
                </a:lnTo>
                <a:cubicBezTo>
                  <a:pt x="621897" y="1678595"/>
                  <a:pt x="631422" y="1681664"/>
                  <a:pt x="644779" y="1684938"/>
                </a:cubicBezTo>
                <a:cubicBezTo>
                  <a:pt x="644779" y="1688138"/>
                  <a:pt x="648593" y="1689738"/>
                  <a:pt x="656220" y="1689738"/>
                </a:cubicBezTo>
                <a:cubicBezTo>
                  <a:pt x="685949" y="1714072"/>
                  <a:pt x="700813" y="1739800"/>
                  <a:pt x="700813" y="1766924"/>
                </a:cubicBezTo>
                <a:lnTo>
                  <a:pt x="700813" y="1773900"/>
                </a:lnTo>
                <a:cubicBezTo>
                  <a:pt x="700813" y="1785993"/>
                  <a:pt x="690730" y="1803573"/>
                  <a:pt x="670564" y="1826641"/>
                </a:cubicBezTo>
                <a:cubicBezTo>
                  <a:pt x="665578" y="1826641"/>
                  <a:pt x="660053" y="1828985"/>
                  <a:pt x="653988" y="1833674"/>
                </a:cubicBezTo>
                <a:cubicBezTo>
                  <a:pt x="624222" y="1821879"/>
                  <a:pt x="609339" y="1812391"/>
                  <a:pt x="609339" y="1805210"/>
                </a:cubicBezTo>
                <a:cubicBezTo>
                  <a:pt x="605209" y="1803127"/>
                  <a:pt x="602140" y="1795108"/>
                  <a:pt x="600131" y="1781156"/>
                </a:cubicBezTo>
                <a:cubicBezTo>
                  <a:pt x="599349" y="1781156"/>
                  <a:pt x="592820" y="1767650"/>
                  <a:pt x="580541" y="1740637"/>
                </a:cubicBezTo>
                <a:cubicBezTo>
                  <a:pt x="573584" y="1738331"/>
                  <a:pt x="564951" y="1725587"/>
                  <a:pt x="554645" y="1702407"/>
                </a:cubicBezTo>
                <a:lnTo>
                  <a:pt x="539297" y="1679413"/>
                </a:lnTo>
                <a:lnTo>
                  <a:pt x="539297" y="1670372"/>
                </a:lnTo>
                <a:close/>
                <a:moveTo>
                  <a:pt x="343179" y="1497248"/>
                </a:moveTo>
                <a:lnTo>
                  <a:pt x="343179" y="1504447"/>
                </a:lnTo>
                <a:lnTo>
                  <a:pt x="340891" y="1504447"/>
                </a:lnTo>
                <a:cubicBezTo>
                  <a:pt x="336798" y="1508577"/>
                  <a:pt x="328910" y="1511814"/>
                  <a:pt x="317227" y="1514158"/>
                </a:cubicBezTo>
                <a:cubicBezTo>
                  <a:pt x="313804" y="1517581"/>
                  <a:pt x="312093" y="1518958"/>
                  <a:pt x="312093" y="1518288"/>
                </a:cubicBezTo>
                <a:lnTo>
                  <a:pt x="312093" y="1528781"/>
                </a:lnTo>
                <a:lnTo>
                  <a:pt x="312093" y="1553281"/>
                </a:lnTo>
                <a:lnTo>
                  <a:pt x="312093" y="1563774"/>
                </a:lnTo>
                <a:lnTo>
                  <a:pt x="312093" y="1581298"/>
                </a:lnTo>
                <a:lnTo>
                  <a:pt x="312093" y="1590842"/>
                </a:lnTo>
                <a:lnTo>
                  <a:pt x="308577" y="1597818"/>
                </a:lnTo>
                <a:lnTo>
                  <a:pt x="308577" y="1610152"/>
                </a:lnTo>
                <a:lnTo>
                  <a:pt x="305689" y="1620876"/>
                </a:lnTo>
                <a:lnTo>
                  <a:pt x="337151" y="1612608"/>
                </a:lnTo>
                <a:lnTo>
                  <a:pt x="339440" y="1616124"/>
                </a:lnTo>
                <a:lnTo>
                  <a:pt x="343179" y="1615901"/>
                </a:lnTo>
                <a:lnTo>
                  <a:pt x="343179" y="1602339"/>
                </a:lnTo>
                <a:lnTo>
                  <a:pt x="343179" y="1594581"/>
                </a:lnTo>
                <a:lnTo>
                  <a:pt x="346695" y="1586210"/>
                </a:lnTo>
                <a:lnTo>
                  <a:pt x="343179" y="1578619"/>
                </a:lnTo>
                <a:lnTo>
                  <a:pt x="346695" y="1570750"/>
                </a:lnTo>
                <a:lnTo>
                  <a:pt x="343179" y="1557690"/>
                </a:lnTo>
                <a:lnTo>
                  <a:pt x="346695" y="1540389"/>
                </a:lnTo>
                <a:lnTo>
                  <a:pt x="343179" y="1529450"/>
                </a:lnTo>
                <a:lnTo>
                  <a:pt x="346695" y="1521581"/>
                </a:lnTo>
                <a:lnTo>
                  <a:pt x="343179" y="1517507"/>
                </a:lnTo>
                <a:lnTo>
                  <a:pt x="346695" y="1518456"/>
                </a:lnTo>
                <a:cubicBezTo>
                  <a:pt x="344937" y="1518456"/>
                  <a:pt x="343838" y="1514479"/>
                  <a:pt x="343399" y="1506526"/>
                </a:cubicBezTo>
                <a:lnTo>
                  <a:pt x="343350" y="1504447"/>
                </a:lnTo>
                <a:close/>
                <a:moveTo>
                  <a:pt x="438169" y="1476430"/>
                </a:moveTo>
                <a:cubicBezTo>
                  <a:pt x="438169" y="1481118"/>
                  <a:pt x="432253" y="1483462"/>
                  <a:pt x="420421" y="1483462"/>
                </a:cubicBezTo>
                <a:lnTo>
                  <a:pt x="420218" y="1483462"/>
                </a:lnTo>
                <a:lnTo>
                  <a:pt x="418007" y="1500275"/>
                </a:lnTo>
                <a:cubicBezTo>
                  <a:pt x="417421" y="1507782"/>
                  <a:pt x="417128" y="1516112"/>
                  <a:pt x="417128" y="1525264"/>
                </a:cubicBezTo>
                <a:lnTo>
                  <a:pt x="417128" y="1528781"/>
                </a:lnTo>
                <a:lnTo>
                  <a:pt x="417128" y="1532297"/>
                </a:lnTo>
                <a:lnTo>
                  <a:pt x="417128" y="1539273"/>
                </a:lnTo>
                <a:lnTo>
                  <a:pt x="417128" y="1553281"/>
                </a:lnTo>
                <a:cubicBezTo>
                  <a:pt x="417128" y="1555625"/>
                  <a:pt x="417128" y="1565039"/>
                  <a:pt x="417128" y="1581522"/>
                </a:cubicBezTo>
                <a:cubicBezTo>
                  <a:pt x="412477" y="1581522"/>
                  <a:pt x="410152" y="1587363"/>
                  <a:pt x="410152" y="1599046"/>
                </a:cubicBezTo>
                <a:cubicBezTo>
                  <a:pt x="408198" y="1599046"/>
                  <a:pt x="406440" y="1600213"/>
                  <a:pt x="404878" y="1602548"/>
                </a:cubicBezTo>
                <a:lnTo>
                  <a:pt x="404369" y="1603851"/>
                </a:lnTo>
                <a:lnTo>
                  <a:pt x="409817" y="1603036"/>
                </a:lnTo>
                <a:cubicBezTo>
                  <a:pt x="416291" y="1602460"/>
                  <a:pt x="423453" y="1602171"/>
                  <a:pt x="431304" y="1602171"/>
                </a:cubicBezTo>
                <a:lnTo>
                  <a:pt x="434262" y="1567011"/>
                </a:lnTo>
                <a:lnTo>
                  <a:pt x="434262" y="1562658"/>
                </a:lnTo>
                <a:lnTo>
                  <a:pt x="437722" y="1555681"/>
                </a:lnTo>
                <a:lnTo>
                  <a:pt x="437722" y="1548761"/>
                </a:lnTo>
                <a:lnTo>
                  <a:pt x="441238" y="1537320"/>
                </a:lnTo>
                <a:lnTo>
                  <a:pt x="437722" y="1531180"/>
                </a:lnTo>
                <a:lnTo>
                  <a:pt x="441238" y="1486476"/>
                </a:lnTo>
                <a:lnTo>
                  <a:pt x="441238" y="1476430"/>
                </a:lnTo>
                <a:close/>
                <a:moveTo>
                  <a:pt x="524675" y="1451929"/>
                </a:moveTo>
                <a:lnTo>
                  <a:pt x="517699" y="1455446"/>
                </a:lnTo>
                <a:lnTo>
                  <a:pt x="512843" y="1455446"/>
                </a:lnTo>
                <a:cubicBezTo>
                  <a:pt x="511913" y="1459278"/>
                  <a:pt x="510201" y="1474886"/>
                  <a:pt x="507709" y="1502271"/>
                </a:cubicBezTo>
                <a:cubicBezTo>
                  <a:pt x="505699" y="1504280"/>
                  <a:pt x="504695" y="1506103"/>
                  <a:pt x="504695" y="1507740"/>
                </a:cubicBezTo>
                <a:lnTo>
                  <a:pt x="504695" y="1515833"/>
                </a:lnTo>
                <a:lnTo>
                  <a:pt x="487391" y="1591898"/>
                </a:lnTo>
                <a:lnTo>
                  <a:pt x="493993" y="1594152"/>
                </a:lnTo>
                <a:lnTo>
                  <a:pt x="495681" y="1591574"/>
                </a:lnTo>
                <a:cubicBezTo>
                  <a:pt x="498193" y="1585840"/>
                  <a:pt x="501123" y="1573764"/>
                  <a:pt x="504471" y="1555346"/>
                </a:cubicBezTo>
                <a:cubicBezTo>
                  <a:pt x="516006" y="1529897"/>
                  <a:pt x="521773" y="1512875"/>
                  <a:pt x="521773" y="1504280"/>
                </a:cubicBezTo>
                <a:lnTo>
                  <a:pt x="521773" y="1486588"/>
                </a:lnTo>
                <a:cubicBezTo>
                  <a:pt x="523866" y="1486588"/>
                  <a:pt x="525833" y="1480027"/>
                  <a:pt x="527675" y="1466904"/>
                </a:cubicBezTo>
                <a:lnTo>
                  <a:pt x="529435" y="1451929"/>
                </a:lnTo>
                <a:lnTo>
                  <a:pt x="529028" y="1451929"/>
                </a:lnTo>
                <a:close/>
                <a:moveTo>
                  <a:pt x="369354" y="1283828"/>
                </a:moveTo>
                <a:lnTo>
                  <a:pt x="347365" y="1304869"/>
                </a:lnTo>
                <a:cubicBezTo>
                  <a:pt x="347179" y="1304869"/>
                  <a:pt x="347086" y="1305855"/>
                  <a:pt x="347086" y="1307827"/>
                </a:cubicBezTo>
                <a:cubicBezTo>
                  <a:pt x="337710" y="1312552"/>
                  <a:pt x="326901" y="1318561"/>
                  <a:pt x="314660" y="1325853"/>
                </a:cubicBezTo>
                <a:cubicBezTo>
                  <a:pt x="312986" y="1325853"/>
                  <a:pt x="300465" y="1335192"/>
                  <a:pt x="277099" y="1353870"/>
                </a:cubicBezTo>
                <a:cubicBezTo>
                  <a:pt x="272932" y="1353870"/>
                  <a:pt x="265640" y="1359098"/>
                  <a:pt x="255222" y="1369553"/>
                </a:cubicBezTo>
                <a:cubicBezTo>
                  <a:pt x="248078" y="1373125"/>
                  <a:pt x="242999" y="1374911"/>
                  <a:pt x="239985" y="1374911"/>
                </a:cubicBezTo>
                <a:cubicBezTo>
                  <a:pt x="238227" y="1383645"/>
                  <a:pt x="233581" y="1389104"/>
                  <a:pt x="226047" y="1391288"/>
                </a:cubicBezTo>
                <a:lnTo>
                  <a:pt x="220156" y="1392045"/>
                </a:lnTo>
                <a:lnTo>
                  <a:pt x="235744" y="1392045"/>
                </a:lnTo>
                <a:lnTo>
                  <a:pt x="258068" y="1409513"/>
                </a:lnTo>
                <a:lnTo>
                  <a:pt x="257287" y="1409569"/>
                </a:lnTo>
                <a:lnTo>
                  <a:pt x="276541" y="1409569"/>
                </a:lnTo>
                <a:cubicBezTo>
                  <a:pt x="281229" y="1416564"/>
                  <a:pt x="289582" y="1420062"/>
                  <a:pt x="301600" y="1420062"/>
                </a:cubicBezTo>
                <a:lnTo>
                  <a:pt x="301600" y="1423578"/>
                </a:lnTo>
                <a:lnTo>
                  <a:pt x="297861" y="1423578"/>
                </a:lnTo>
                <a:cubicBezTo>
                  <a:pt x="305228" y="1423578"/>
                  <a:pt x="312297" y="1430368"/>
                  <a:pt x="319069" y="1443949"/>
                </a:cubicBezTo>
                <a:lnTo>
                  <a:pt x="319069" y="1445800"/>
                </a:lnTo>
                <a:lnTo>
                  <a:pt x="320297" y="1444562"/>
                </a:lnTo>
                <a:lnTo>
                  <a:pt x="325655" y="1444562"/>
                </a:lnTo>
                <a:lnTo>
                  <a:pt x="325655" y="1444507"/>
                </a:lnTo>
                <a:lnTo>
                  <a:pt x="338268" y="1444562"/>
                </a:lnTo>
                <a:lnTo>
                  <a:pt x="345300" y="1444562"/>
                </a:lnTo>
                <a:lnTo>
                  <a:pt x="343346" y="1444507"/>
                </a:lnTo>
                <a:lnTo>
                  <a:pt x="346695" y="1439205"/>
                </a:lnTo>
                <a:lnTo>
                  <a:pt x="346695" y="1430945"/>
                </a:lnTo>
                <a:cubicBezTo>
                  <a:pt x="344351" y="1430945"/>
                  <a:pt x="343179" y="1425029"/>
                  <a:pt x="343179" y="1413197"/>
                </a:cubicBezTo>
                <a:lnTo>
                  <a:pt x="343179" y="1407002"/>
                </a:lnTo>
                <a:cubicBezTo>
                  <a:pt x="336668" y="1404807"/>
                  <a:pt x="331998" y="1389980"/>
                  <a:pt x="329171" y="1362521"/>
                </a:cubicBezTo>
                <a:lnTo>
                  <a:pt x="337821" y="1353535"/>
                </a:lnTo>
                <a:cubicBezTo>
                  <a:pt x="353820" y="1353535"/>
                  <a:pt x="371959" y="1361126"/>
                  <a:pt x="392237" y="1376306"/>
                </a:cubicBezTo>
                <a:lnTo>
                  <a:pt x="412552" y="1385068"/>
                </a:lnTo>
                <a:cubicBezTo>
                  <a:pt x="421518" y="1385068"/>
                  <a:pt x="427713" y="1393310"/>
                  <a:pt x="431136" y="1409792"/>
                </a:cubicBezTo>
                <a:cubicBezTo>
                  <a:pt x="428811" y="1412434"/>
                  <a:pt x="427067" y="1414904"/>
                  <a:pt x="425904" y="1417201"/>
                </a:cubicBezTo>
                <a:lnTo>
                  <a:pt x="425000" y="1420507"/>
                </a:lnTo>
                <a:lnTo>
                  <a:pt x="429797" y="1420062"/>
                </a:lnTo>
                <a:cubicBezTo>
                  <a:pt x="437424" y="1418797"/>
                  <a:pt x="441238" y="1417680"/>
                  <a:pt x="441238" y="1416713"/>
                </a:cubicBezTo>
                <a:lnTo>
                  <a:pt x="441238" y="1413197"/>
                </a:lnTo>
                <a:cubicBezTo>
                  <a:pt x="441238" y="1384213"/>
                  <a:pt x="437741" y="1359433"/>
                  <a:pt x="430746" y="1338857"/>
                </a:cubicBezTo>
                <a:lnTo>
                  <a:pt x="436161" y="1332826"/>
                </a:lnTo>
                <a:lnTo>
                  <a:pt x="434373" y="1332886"/>
                </a:lnTo>
                <a:lnTo>
                  <a:pt x="369577" y="1286060"/>
                </a:lnTo>
                <a:close/>
                <a:moveTo>
                  <a:pt x="329561" y="1150385"/>
                </a:moveTo>
                <a:lnTo>
                  <a:pt x="347811" y="1150385"/>
                </a:lnTo>
                <a:cubicBezTo>
                  <a:pt x="361057" y="1160357"/>
                  <a:pt x="368889" y="1173695"/>
                  <a:pt x="371308" y="1190401"/>
                </a:cubicBezTo>
                <a:lnTo>
                  <a:pt x="392571" y="1211665"/>
                </a:lnTo>
                <a:cubicBezTo>
                  <a:pt x="408942" y="1217134"/>
                  <a:pt x="417128" y="1227515"/>
                  <a:pt x="417128" y="1242807"/>
                </a:cubicBezTo>
                <a:lnTo>
                  <a:pt x="412664" y="1253163"/>
                </a:lnTo>
                <a:lnTo>
                  <a:pt x="423086" y="1249044"/>
                </a:lnTo>
                <a:cubicBezTo>
                  <a:pt x="432304" y="1245630"/>
                  <a:pt x="442931" y="1242119"/>
                  <a:pt x="454968" y="1238510"/>
                </a:cubicBezTo>
                <a:lnTo>
                  <a:pt x="507318" y="1217581"/>
                </a:lnTo>
                <a:cubicBezTo>
                  <a:pt x="534367" y="1210772"/>
                  <a:pt x="551873" y="1204726"/>
                  <a:pt x="559836" y="1199443"/>
                </a:cubicBezTo>
                <a:lnTo>
                  <a:pt x="567537" y="1199443"/>
                </a:lnTo>
                <a:cubicBezTo>
                  <a:pt x="595591" y="1199443"/>
                  <a:pt x="615497" y="1209730"/>
                  <a:pt x="627255" y="1230306"/>
                </a:cubicBezTo>
                <a:lnTo>
                  <a:pt x="627255" y="1237338"/>
                </a:lnTo>
                <a:cubicBezTo>
                  <a:pt x="617060" y="1254341"/>
                  <a:pt x="608893" y="1262843"/>
                  <a:pt x="602754" y="1262843"/>
                </a:cubicBezTo>
                <a:cubicBezTo>
                  <a:pt x="602754" y="1263885"/>
                  <a:pt x="594513" y="1266062"/>
                  <a:pt x="578030" y="1269373"/>
                </a:cubicBezTo>
                <a:cubicBezTo>
                  <a:pt x="552506" y="1281168"/>
                  <a:pt x="539744" y="1288163"/>
                  <a:pt x="539744" y="1290358"/>
                </a:cubicBezTo>
                <a:lnTo>
                  <a:pt x="466185" y="1325407"/>
                </a:lnTo>
                <a:cubicBezTo>
                  <a:pt x="466185" y="1327900"/>
                  <a:pt x="463535" y="1329769"/>
                  <a:pt x="458233" y="1331016"/>
                </a:cubicBezTo>
                <a:lnTo>
                  <a:pt x="457902" y="1331063"/>
                </a:lnTo>
                <a:lnTo>
                  <a:pt x="471920" y="1335495"/>
                </a:lnTo>
                <a:cubicBezTo>
                  <a:pt x="481566" y="1339801"/>
                  <a:pt x="490072" y="1346261"/>
                  <a:pt x="497439" y="1354875"/>
                </a:cubicBezTo>
                <a:cubicBezTo>
                  <a:pt x="518610" y="1360158"/>
                  <a:pt x="529196" y="1367935"/>
                  <a:pt x="529196" y="1378204"/>
                </a:cubicBezTo>
                <a:lnTo>
                  <a:pt x="529196" y="1386687"/>
                </a:lnTo>
                <a:lnTo>
                  <a:pt x="528414" y="1388111"/>
                </a:lnTo>
                <a:lnTo>
                  <a:pt x="539297" y="1387301"/>
                </a:lnTo>
                <a:lnTo>
                  <a:pt x="539297" y="1379766"/>
                </a:lnTo>
                <a:lnTo>
                  <a:pt x="542813" y="1376306"/>
                </a:lnTo>
                <a:lnTo>
                  <a:pt x="542813" y="1364195"/>
                </a:lnTo>
                <a:lnTo>
                  <a:pt x="542813" y="1356047"/>
                </a:lnTo>
                <a:lnTo>
                  <a:pt x="546329" y="1350187"/>
                </a:lnTo>
                <a:cubicBezTo>
                  <a:pt x="542385" y="1337685"/>
                  <a:pt x="536544" y="1327565"/>
                  <a:pt x="528805" y="1319826"/>
                </a:cubicBezTo>
                <a:lnTo>
                  <a:pt x="528805" y="1310226"/>
                </a:lnTo>
                <a:cubicBezTo>
                  <a:pt x="536023" y="1299399"/>
                  <a:pt x="545436" y="1293986"/>
                  <a:pt x="557045" y="1293986"/>
                </a:cubicBezTo>
                <a:cubicBezTo>
                  <a:pt x="565007" y="1293986"/>
                  <a:pt x="578755" y="1302525"/>
                  <a:pt x="598289" y="1319603"/>
                </a:cubicBezTo>
                <a:cubicBezTo>
                  <a:pt x="633971" y="1327267"/>
                  <a:pt x="651811" y="1342131"/>
                  <a:pt x="651811" y="1364195"/>
                </a:cubicBezTo>
                <a:lnTo>
                  <a:pt x="651811" y="1365646"/>
                </a:lnTo>
                <a:lnTo>
                  <a:pt x="659904" y="1363972"/>
                </a:lnTo>
                <a:lnTo>
                  <a:pt x="679828" y="1360456"/>
                </a:lnTo>
                <a:cubicBezTo>
                  <a:pt x="679828" y="1369014"/>
                  <a:pt x="683493" y="1374204"/>
                  <a:pt x="690823" y="1376027"/>
                </a:cubicBezTo>
                <a:lnTo>
                  <a:pt x="700813" y="1391096"/>
                </a:lnTo>
                <a:lnTo>
                  <a:pt x="700813" y="1409681"/>
                </a:lnTo>
                <a:cubicBezTo>
                  <a:pt x="700813" y="1423038"/>
                  <a:pt x="680163" y="1432452"/>
                  <a:pt x="638863" y="1437921"/>
                </a:cubicBezTo>
                <a:lnTo>
                  <a:pt x="623571" y="1437921"/>
                </a:lnTo>
                <a:cubicBezTo>
                  <a:pt x="626027" y="1437921"/>
                  <a:pt x="627255" y="1444935"/>
                  <a:pt x="627255" y="1458962"/>
                </a:cubicBezTo>
                <a:cubicBezTo>
                  <a:pt x="623832" y="1458962"/>
                  <a:pt x="620948" y="1465956"/>
                  <a:pt x="618604" y="1479946"/>
                </a:cubicBezTo>
                <a:cubicBezTo>
                  <a:pt x="616260" y="1479946"/>
                  <a:pt x="614102" y="1485806"/>
                  <a:pt x="612130" y="1497527"/>
                </a:cubicBezTo>
                <a:cubicBezTo>
                  <a:pt x="607591" y="1499796"/>
                  <a:pt x="603982" y="1510289"/>
                  <a:pt x="601303" y="1529004"/>
                </a:cubicBezTo>
                <a:cubicBezTo>
                  <a:pt x="595796" y="1529004"/>
                  <a:pt x="591331" y="1534994"/>
                  <a:pt x="587908" y="1546975"/>
                </a:cubicBezTo>
                <a:lnTo>
                  <a:pt x="567761" y="1581187"/>
                </a:lnTo>
                <a:lnTo>
                  <a:pt x="571221" y="1581187"/>
                </a:lnTo>
                <a:lnTo>
                  <a:pt x="571221" y="1581075"/>
                </a:lnTo>
                <a:lnTo>
                  <a:pt x="592038" y="1581187"/>
                </a:lnTo>
                <a:lnTo>
                  <a:pt x="601861" y="1581187"/>
                </a:lnTo>
                <a:lnTo>
                  <a:pt x="693390" y="1568573"/>
                </a:lnTo>
                <a:cubicBezTo>
                  <a:pt x="693390" y="1566081"/>
                  <a:pt x="708440" y="1562081"/>
                  <a:pt x="738541" y="1556574"/>
                </a:cubicBezTo>
                <a:cubicBezTo>
                  <a:pt x="750596" y="1565950"/>
                  <a:pt x="758837" y="1570638"/>
                  <a:pt x="763265" y="1570638"/>
                </a:cubicBezTo>
                <a:cubicBezTo>
                  <a:pt x="777292" y="1577671"/>
                  <a:pt x="785850" y="1581187"/>
                  <a:pt x="788938" y="1581187"/>
                </a:cubicBezTo>
                <a:cubicBezTo>
                  <a:pt x="809588" y="1595883"/>
                  <a:pt x="819913" y="1607604"/>
                  <a:pt x="819913" y="1616347"/>
                </a:cubicBezTo>
                <a:lnTo>
                  <a:pt x="819913" y="1633816"/>
                </a:lnTo>
                <a:cubicBezTo>
                  <a:pt x="819913" y="1641592"/>
                  <a:pt x="810630" y="1648141"/>
                  <a:pt x="792063" y="1653461"/>
                </a:cubicBezTo>
                <a:lnTo>
                  <a:pt x="787822" y="1662056"/>
                </a:lnTo>
                <a:lnTo>
                  <a:pt x="777664" y="1662056"/>
                </a:lnTo>
                <a:cubicBezTo>
                  <a:pt x="768176" y="1662056"/>
                  <a:pt x="763432" y="1659731"/>
                  <a:pt x="763432" y="1655080"/>
                </a:cubicBezTo>
                <a:lnTo>
                  <a:pt x="767172" y="1655080"/>
                </a:lnTo>
                <a:cubicBezTo>
                  <a:pt x="751433" y="1655080"/>
                  <a:pt x="729555" y="1649238"/>
                  <a:pt x="701539" y="1637555"/>
                </a:cubicBezTo>
                <a:lnTo>
                  <a:pt x="698581" y="1637555"/>
                </a:lnTo>
                <a:cubicBezTo>
                  <a:pt x="689242" y="1635211"/>
                  <a:pt x="677075" y="1634039"/>
                  <a:pt x="662080" y="1634039"/>
                </a:cubicBezTo>
                <a:lnTo>
                  <a:pt x="648072" y="1634039"/>
                </a:lnTo>
                <a:cubicBezTo>
                  <a:pt x="636277" y="1634039"/>
                  <a:pt x="630380" y="1632867"/>
                  <a:pt x="630380" y="1630523"/>
                </a:cubicBezTo>
                <a:lnTo>
                  <a:pt x="618381" y="1634039"/>
                </a:lnTo>
                <a:lnTo>
                  <a:pt x="612074" y="1630523"/>
                </a:lnTo>
                <a:lnTo>
                  <a:pt x="601526" y="1634039"/>
                </a:lnTo>
                <a:lnTo>
                  <a:pt x="593824" y="1630523"/>
                </a:lnTo>
                <a:lnTo>
                  <a:pt x="558831" y="1637555"/>
                </a:lnTo>
                <a:lnTo>
                  <a:pt x="553473" y="1634039"/>
                </a:lnTo>
                <a:lnTo>
                  <a:pt x="535781" y="1637555"/>
                </a:lnTo>
                <a:lnTo>
                  <a:pt x="535781" y="1635255"/>
                </a:lnTo>
                <a:lnTo>
                  <a:pt x="535293" y="1635337"/>
                </a:lnTo>
                <a:cubicBezTo>
                  <a:pt x="533572" y="1636202"/>
                  <a:pt x="532712" y="1637500"/>
                  <a:pt x="532712" y="1639230"/>
                </a:cubicBezTo>
                <a:cubicBezTo>
                  <a:pt x="526200" y="1655601"/>
                  <a:pt x="513624" y="1666447"/>
                  <a:pt x="494984" y="1671767"/>
                </a:cubicBezTo>
                <a:lnTo>
                  <a:pt x="468139" y="1686557"/>
                </a:lnTo>
                <a:lnTo>
                  <a:pt x="455247" y="1674725"/>
                </a:lnTo>
                <a:lnTo>
                  <a:pt x="472044" y="1644532"/>
                </a:lnTo>
                <a:lnTo>
                  <a:pt x="465125" y="1644532"/>
                </a:lnTo>
                <a:lnTo>
                  <a:pt x="453237" y="1648048"/>
                </a:lnTo>
                <a:lnTo>
                  <a:pt x="448884" y="1644532"/>
                </a:lnTo>
                <a:lnTo>
                  <a:pt x="409705" y="1655080"/>
                </a:lnTo>
                <a:lnTo>
                  <a:pt x="409705" y="1654231"/>
                </a:lnTo>
                <a:lnTo>
                  <a:pt x="395920" y="1655080"/>
                </a:lnTo>
                <a:lnTo>
                  <a:pt x="383586" y="1655080"/>
                </a:lnTo>
                <a:lnTo>
                  <a:pt x="359197" y="1662056"/>
                </a:lnTo>
                <a:cubicBezTo>
                  <a:pt x="346174" y="1662056"/>
                  <a:pt x="339663" y="1660884"/>
                  <a:pt x="339663" y="1658540"/>
                </a:cubicBezTo>
                <a:cubicBezTo>
                  <a:pt x="334826" y="1658540"/>
                  <a:pt x="325673" y="1662056"/>
                  <a:pt x="312204" y="1669088"/>
                </a:cubicBezTo>
                <a:lnTo>
                  <a:pt x="304335" y="1665572"/>
                </a:lnTo>
                <a:cubicBezTo>
                  <a:pt x="289824" y="1672567"/>
                  <a:pt x="279574" y="1676065"/>
                  <a:pt x="273583" y="1676065"/>
                </a:cubicBezTo>
                <a:cubicBezTo>
                  <a:pt x="273583" y="1677237"/>
                  <a:pt x="271383" y="1678116"/>
                  <a:pt x="266984" y="1678702"/>
                </a:cubicBezTo>
                <a:lnTo>
                  <a:pt x="260947" y="1679184"/>
                </a:lnTo>
                <a:lnTo>
                  <a:pt x="272467" y="1692741"/>
                </a:lnTo>
                <a:cubicBezTo>
                  <a:pt x="284857" y="1708180"/>
                  <a:pt x="291052" y="1718899"/>
                  <a:pt x="291052" y="1724899"/>
                </a:cubicBezTo>
                <a:lnTo>
                  <a:pt x="291052" y="1735391"/>
                </a:lnTo>
                <a:cubicBezTo>
                  <a:pt x="291052" y="1747483"/>
                  <a:pt x="282253" y="1763613"/>
                  <a:pt x="264654" y="1783779"/>
                </a:cubicBezTo>
                <a:cubicBezTo>
                  <a:pt x="252822" y="1807368"/>
                  <a:pt x="238013" y="1826772"/>
                  <a:pt x="220228" y="1841989"/>
                </a:cubicBezTo>
                <a:cubicBezTo>
                  <a:pt x="206127" y="1850435"/>
                  <a:pt x="194258" y="1854658"/>
                  <a:pt x="184621" y="1854658"/>
                </a:cubicBezTo>
                <a:cubicBezTo>
                  <a:pt x="175915" y="1845989"/>
                  <a:pt x="171562" y="1837748"/>
                  <a:pt x="171562" y="1829934"/>
                </a:cubicBezTo>
                <a:lnTo>
                  <a:pt x="171562" y="1808447"/>
                </a:lnTo>
                <a:cubicBezTo>
                  <a:pt x="174092" y="1795797"/>
                  <a:pt x="185942" y="1776542"/>
                  <a:pt x="207113" y="1750683"/>
                </a:cubicBezTo>
                <a:cubicBezTo>
                  <a:pt x="209420" y="1743874"/>
                  <a:pt x="216322" y="1731243"/>
                  <a:pt x="227819" y="1712788"/>
                </a:cubicBezTo>
                <a:cubicBezTo>
                  <a:pt x="230572" y="1700435"/>
                  <a:pt x="234465" y="1691171"/>
                  <a:pt x="239497" y="1684994"/>
                </a:cubicBezTo>
                <a:lnTo>
                  <a:pt x="245464" y="1680060"/>
                </a:lnTo>
                <a:lnTo>
                  <a:pt x="236047" y="1682685"/>
                </a:lnTo>
                <a:cubicBezTo>
                  <a:pt x="225994" y="1685852"/>
                  <a:pt x="219196" y="1689208"/>
                  <a:pt x="215652" y="1692752"/>
                </a:cubicBezTo>
                <a:lnTo>
                  <a:pt x="176417" y="1700565"/>
                </a:lnTo>
                <a:lnTo>
                  <a:pt x="172789" y="1700565"/>
                </a:lnTo>
                <a:cubicBezTo>
                  <a:pt x="168139" y="1705254"/>
                  <a:pt x="160679" y="1707598"/>
                  <a:pt x="150409" y="1707598"/>
                </a:cubicBezTo>
                <a:lnTo>
                  <a:pt x="117593" y="1725122"/>
                </a:lnTo>
                <a:lnTo>
                  <a:pt x="112681" y="1721606"/>
                </a:lnTo>
                <a:lnTo>
                  <a:pt x="61838" y="1739131"/>
                </a:lnTo>
                <a:lnTo>
                  <a:pt x="51122" y="1739131"/>
                </a:lnTo>
                <a:cubicBezTo>
                  <a:pt x="37133" y="1722759"/>
                  <a:pt x="27924" y="1714574"/>
                  <a:pt x="23496" y="1714574"/>
                </a:cubicBezTo>
                <a:cubicBezTo>
                  <a:pt x="7832" y="1698910"/>
                  <a:pt x="0" y="1686557"/>
                  <a:pt x="0" y="1677516"/>
                </a:cubicBezTo>
                <a:lnTo>
                  <a:pt x="8651" y="1668698"/>
                </a:lnTo>
                <a:lnTo>
                  <a:pt x="31700" y="1668698"/>
                </a:lnTo>
                <a:cubicBezTo>
                  <a:pt x="31552" y="1668698"/>
                  <a:pt x="31477" y="1667544"/>
                  <a:pt x="31477" y="1665237"/>
                </a:cubicBezTo>
                <a:lnTo>
                  <a:pt x="48555" y="1665237"/>
                </a:lnTo>
                <a:lnTo>
                  <a:pt x="91027" y="1659545"/>
                </a:lnTo>
                <a:cubicBezTo>
                  <a:pt x="91027" y="1656308"/>
                  <a:pt x="99268" y="1654689"/>
                  <a:pt x="115751" y="1654689"/>
                </a:cubicBezTo>
                <a:lnTo>
                  <a:pt x="122783" y="1654689"/>
                </a:lnTo>
                <a:cubicBezTo>
                  <a:pt x="124644" y="1654689"/>
                  <a:pt x="129071" y="1652364"/>
                  <a:pt x="136066" y="1647713"/>
                </a:cubicBezTo>
                <a:cubicBezTo>
                  <a:pt x="152288" y="1647713"/>
                  <a:pt x="168604" y="1646541"/>
                  <a:pt x="185012" y="1644197"/>
                </a:cubicBezTo>
                <a:cubicBezTo>
                  <a:pt x="190072" y="1644197"/>
                  <a:pt x="192602" y="1641871"/>
                  <a:pt x="192602" y="1637220"/>
                </a:cubicBezTo>
                <a:lnTo>
                  <a:pt x="216266" y="1637220"/>
                </a:lnTo>
                <a:lnTo>
                  <a:pt x="239092" y="1630133"/>
                </a:lnTo>
                <a:lnTo>
                  <a:pt x="238255" y="1633649"/>
                </a:lnTo>
                <a:lnTo>
                  <a:pt x="252394" y="1626653"/>
                </a:lnTo>
                <a:lnTo>
                  <a:pt x="248636" y="1626672"/>
                </a:lnTo>
                <a:lnTo>
                  <a:pt x="245120" y="1625333"/>
                </a:lnTo>
                <a:lnTo>
                  <a:pt x="245120" y="1617687"/>
                </a:lnTo>
                <a:lnTo>
                  <a:pt x="238144" y="1560983"/>
                </a:lnTo>
                <a:lnTo>
                  <a:pt x="238144" y="1556128"/>
                </a:lnTo>
                <a:lnTo>
                  <a:pt x="236581" y="1549989"/>
                </a:lnTo>
                <a:lnTo>
                  <a:pt x="226535" y="1557021"/>
                </a:lnTo>
                <a:lnTo>
                  <a:pt x="213810" y="1557021"/>
                </a:lnTo>
                <a:cubicBezTo>
                  <a:pt x="205550" y="1557021"/>
                  <a:pt x="199932" y="1549449"/>
                  <a:pt x="196955" y="1534306"/>
                </a:cubicBezTo>
                <a:cubicBezTo>
                  <a:pt x="195728" y="1533078"/>
                  <a:pt x="189607" y="1532464"/>
                  <a:pt x="178594" y="1532464"/>
                </a:cubicBezTo>
                <a:cubicBezTo>
                  <a:pt x="178594" y="1526139"/>
                  <a:pt x="174371" y="1518753"/>
                  <a:pt x="165925" y="1510307"/>
                </a:cubicBezTo>
                <a:lnTo>
                  <a:pt x="161069" y="1486588"/>
                </a:lnTo>
                <a:lnTo>
                  <a:pt x="178817" y="1486588"/>
                </a:lnTo>
                <a:lnTo>
                  <a:pt x="189421" y="1486588"/>
                </a:lnTo>
                <a:cubicBezTo>
                  <a:pt x="194109" y="1479593"/>
                  <a:pt x="205048" y="1476095"/>
                  <a:pt x="222238" y="1476095"/>
                </a:cubicBezTo>
                <a:lnTo>
                  <a:pt x="224135" y="1474254"/>
                </a:lnTo>
                <a:cubicBezTo>
                  <a:pt x="224135" y="1453604"/>
                  <a:pt x="219466" y="1439781"/>
                  <a:pt x="210127" y="1432786"/>
                </a:cubicBezTo>
                <a:cubicBezTo>
                  <a:pt x="210127" y="1427540"/>
                  <a:pt x="207783" y="1422573"/>
                  <a:pt x="203095" y="1417885"/>
                </a:cubicBezTo>
                <a:cubicBezTo>
                  <a:pt x="203095" y="1411690"/>
                  <a:pt x="204295" y="1406439"/>
                  <a:pt x="206694" y="1402132"/>
                </a:cubicBezTo>
                <a:lnTo>
                  <a:pt x="216900" y="1392600"/>
                </a:lnTo>
                <a:lnTo>
                  <a:pt x="215746" y="1392990"/>
                </a:lnTo>
                <a:cubicBezTo>
                  <a:pt x="212139" y="1394685"/>
                  <a:pt x="203122" y="1399635"/>
                  <a:pt x="188695" y="1407839"/>
                </a:cubicBezTo>
                <a:lnTo>
                  <a:pt x="154149" y="1430945"/>
                </a:lnTo>
                <a:lnTo>
                  <a:pt x="142596" y="1430945"/>
                </a:lnTo>
                <a:lnTo>
                  <a:pt x="133052" y="1421401"/>
                </a:lnTo>
                <a:cubicBezTo>
                  <a:pt x="133052" y="1414257"/>
                  <a:pt x="146558" y="1400844"/>
                  <a:pt x="173571" y="1381162"/>
                </a:cubicBezTo>
                <a:cubicBezTo>
                  <a:pt x="204639" y="1350131"/>
                  <a:pt x="220321" y="1334504"/>
                  <a:pt x="220619" y="1334281"/>
                </a:cubicBezTo>
                <a:cubicBezTo>
                  <a:pt x="220619" y="1329369"/>
                  <a:pt x="226461" y="1322244"/>
                  <a:pt x="238144" y="1312905"/>
                </a:cubicBezTo>
                <a:cubicBezTo>
                  <a:pt x="238144" y="1311008"/>
                  <a:pt x="243018" y="1303976"/>
                  <a:pt x="252766" y="1291809"/>
                </a:cubicBezTo>
                <a:cubicBezTo>
                  <a:pt x="278030" y="1248165"/>
                  <a:pt x="290661" y="1220930"/>
                  <a:pt x="290661" y="1210102"/>
                </a:cubicBezTo>
                <a:lnTo>
                  <a:pt x="290661" y="1207758"/>
                </a:lnTo>
                <a:cubicBezTo>
                  <a:pt x="285973" y="1203107"/>
                  <a:pt x="283629" y="1195703"/>
                  <a:pt x="283629" y="1185546"/>
                </a:cubicBezTo>
                <a:cubicBezTo>
                  <a:pt x="283629" y="1176132"/>
                  <a:pt x="296168" y="1165826"/>
                  <a:pt x="321245" y="1154627"/>
                </a:cubicBezTo>
                <a:close/>
                <a:moveTo>
                  <a:pt x="493700" y="336202"/>
                </a:moveTo>
                <a:cubicBezTo>
                  <a:pt x="503039" y="350192"/>
                  <a:pt x="511969" y="357187"/>
                  <a:pt x="520489" y="357187"/>
                </a:cubicBezTo>
                <a:cubicBezTo>
                  <a:pt x="540320" y="363810"/>
                  <a:pt x="550236" y="375530"/>
                  <a:pt x="550236" y="392348"/>
                </a:cubicBezTo>
                <a:lnTo>
                  <a:pt x="550236" y="402840"/>
                </a:lnTo>
                <a:cubicBezTo>
                  <a:pt x="550236" y="415751"/>
                  <a:pt x="532730" y="425704"/>
                  <a:pt x="497718" y="432699"/>
                </a:cubicBezTo>
                <a:cubicBezTo>
                  <a:pt x="497718" y="437126"/>
                  <a:pt x="486277" y="442224"/>
                  <a:pt x="463395" y="447991"/>
                </a:cubicBezTo>
                <a:cubicBezTo>
                  <a:pt x="457293" y="452865"/>
                  <a:pt x="452433" y="456520"/>
                  <a:pt x="448814" y="458958"/>
                </a:cubicBezTo>
                <a:lnTo>
                  <a:pt x="447935" y="459494"/>
                </a:lnTo>
                <a:lnTo>
                  <a:pt x="451793" y="463565"/>
                </a:lnTo>
                <a:lnTo>
                  <a:pt x="457820" y="469668"/>
                </a:lnTo>
                <a:lnTo>
                  <a:pt x="460911" y="467497"/>
                </a:lnTo>
                <a:cubicBezTo>
                  <a:pt x="463590" y="466325"/>
                  <a:pt x="466446" y="465739"/>
                  <a:pt x="469478" y="465739"/>
                </a:cubicBezTo>
                <a:lnTo>
                  <a:pt x="476678" y="465739"/>
                </a:lnTo>
                <a:cubicBezTo>
                  <a:pt x="485087" y="461571"/>
                  <a:pt x="504025" y="455823"/>
                  <a:pt x="533493" y="448493"/>
                </a:cubicBezTo>
                <a:lnTo>
                  <a:pt x="566365" y="441349"/>
                </a:lnTo>
                <a:lnTo>
                  <a:pt x="573453" y="441238"/>
                </a:lnTo>
                <a:lnTo>
                  <a:pt x="621897" y="459878"/>
                </a:lnTo>
                <a:cubicBezTo>
                  <a:pt x="637152" y="468994"/>
                  <a:pt x="644779" y="479170"/>
                  <a:pt x="644779" y="490407"/>
                </a:cubicBezTo>
                <a:cubicBezTo>
                  <a:pt x="644779" y="503839"/>
                  <a:pt x="630882" y="512080"/>
                  <a:pt x="603089" y="515131"/>
                </a:cubicBezTo>
                <a:lnTo>
                  <a:pt x="595554" y="515131"/>
                </a:lnTo>
                <a:lnTo>
                  <a:pt x="578309" y="515131"/>
                </a:lnTo>
                <a:cubicBezTo>
                  <a:pt x="575965" y="510480"/>
                  <a:pt x="575872" y="508154"/>
                  <a:pt x="578030" y="508154"/>
                </a:cubicBezTo>
                <a:lnTo>
                  <a:pt x="571053" y="508154"/>
                </a:lnTo>
                <a:lnTo>
                  <a:pt x="564021" y="508154"/>
                </a:lnTo>
                <a:lnTo>
                  <a:pt x="557045" y="508154"/>
                </a:lnTo>
                <a:lnTo>
                  <a:pt x="546497" y="508154"/>
                </a:lnTo>
                <a:lnTo>
                  <a:pt x="529028" y="508154"/>
                </a:lnTo>
                <a:lnTo>
                  <a:pt x="521996" y="508154"/>
                </a:lnTo>
                <a:lnTo>
                  <a:pt x="515020" y="508154"/>
                </a:lnTo>
                <a:lnTo>
                  <a:pt x="511504" y="508154"/>
                </a:lnTo>
                <a:lnTo>
                  <a:pt x="501011" y="508154"/>
                </a:lnTo>
                <a:lnTo>
                  <a:pt x="497495" y="508154"/>
                </a:lnTo>
                <a:lnTo>
                  <a:pt x="490463" y="508154"/>
                </a:lnTo>
                <a:lnTo>
                  <a:pt x="483487" y="508154"/>
                </a:lnTo>
                <a:cubicBezTo>
                  <a:pt x="478947" y="508154"/>
                  <a:pt x="476678" y="505736"/>
                  <a:pt x="476678" y="500899"/>
                </a:cubicBezTo>
                <a:lnTo>
                  <a:pt x="476678" y="514908"/>
                </a:lnTo>
                <a:lnTo>
                  <a:pt x="476678" y="523726"/>
                </a:lnTo>
                <a:lnTo>
                  <a:pt x="480194" y="527967"/>
                </a:lnTo>
                <a:lnTo>
                  <a:pt x="476678" y="538404"/>
                </a:lnTo>
                <a:cubicBezTo>
                  <a:pt x="481366" y="542534"/>
                  <a:pt x="483710" y="554552"/>
                  <a:pt x="483710" y="574458"/>
                </a:cubicBezTo>
                <a:lnTo>
                  <a:pt x="483710" y="594382"/>
                </a:lnTo>
                <a:lnTo>
                  <a:pt x="487170" y="650750"/>
                </a:lnTo>
                <a:cubicBezTo>
                  <a:pt x="487170" y="687251"/>
                  <a:pt x="477087" y="714319"/>
                  <a:pt x="456921" y="731955"/>
                </a:cubicBezTo>
                <a:cubicBezTo>
                  <a:pt x="442336" y="761200"/>
                  <a:pt x="415900" y="782315"/>
                  <a:pt x="377614" y="795300"/>
                </a:cubicBezTo>
                <a:cubicBezTo>
                  <a:pt x="367196" y="790761"/>
                  <a:pt x="359439" y="777124"/>
                  <a:pt x="354341" y="754391"/>
                </a:cubicBezTo>
                <a:cubicBezTo>
                  <a:pt x="340314" y="736271"/>
                  <a:pt x="327087" y="725146"/>
                  <a:pt x="314660" y="721016"/>
                </a:cubicBezTo>
                <a:lnTo>
                  <a:pt x="290661" y="693390"/>
                </a:lnTo>
                <a:lnTo>
                  <a:pt x="304893" y="693390"/>
                </a:lnTo>
                <a:lnTo>
                  <a:pt x="308353" y="693390"/>
                </a:lnTo>
                <a:cubicBezTo>
                  <a:pt x="313562" y="693390"/>
                  <a:pt x="319771" y="693985"/>
                  <a:pt x="326980" y="695176"/>
                </a:cubicBezTo>
                <a:lnTo>
                  <a:pt x="348710" y="699903"/>
                </a:lnTo>
                <a:lnTo>
                  <a:pt x="353727" y="693334"/>
                </a:lnTo>
                <a:lnTo>
                  <a:pt x="369912" y="700422"/>
                </a:lnTo>
                <a:cubicBezTo>
                  <a:pt x="370768" y="700422"/>
                  <a:pt x="371196" y="697724"/>
                  <a:pt x="371196" y="692329"/>
                </a:cubicBezTo>
                <a:cubicBezTo>
                  <a:pt x="385223" y="666619"/>
                  <a:pt x="392237" y="647179"/>
                  <a:pt x="392237" y="634007"/>
                </a:cubicBezTo>
                <a:lnTo>
                  <a:pt x="392237" y="625971"/>
                </a:lnTo>
                <a:lnTo>
                  <a:pt x="399213" y="600521"/>
                </a:lnTo>
                <a:lnTo>
                  <a:pt x="395697" y="594828"/>
                </a:lnTo>
                <a:lnTo>
                  <a:pt x="395697" y="587350"/>
                </a:lnTo>
                <a:lnTo>
                  <a:pt x="399213" y="568430"/>
                </a:lnTo>
                <a:lnTo>
                  <a:pt x="395697" y="557993"/>
                </a:lnTo>
                <a:lnTo>
                  <a:pt x="399213" y="541362"/>
                </a:lnTo>
                <a:lnTo>
                  <a:pt x="395697" y="533995"/>
                </a:lnTo>
                <a:lnTo>
                  <a:pt x="397342" y="527438"/>
                </a:lnTo>
                <a:lnTo>
                  <a:pt x="391975" y="528986"/>
                </a:lnTo>
                <a:cubicBezTo>
                  <a:pt x="387154" y="530344"/>
                  <a:pt x="381530" y="531902"/>
                  <a:pt x="375103" y="533660"/>
                </a:cubicBezTo>
                <a:cubicBezTo>
                  <a:pt x="375103" y="537641"/>
                  <a:pt x="368108" y="539632"/>
                  <a:pt x="354118" y="539632"/>
                </a:cubicBezTo>
                <a:cubicBezTo>
                  <a:pt x="354118" y="541976"/>
                  <a:pt x="347793" y="543148"/>
                  <a:pt x="335142" y="543148"/>
                </a:cubicBezTo>
                <a:cubicBezTo>
                  <a:pt x="331087" y="549175"/>
                  <a:pt x="316483" y="555984"/>
                  <a:pt x="291331" y="563574"/>
                </a:cubicBezTo>
                <a:cubicBezTo>
                  <a:pt x="257882" y="582662"/>
                  <a:pt x="232525" y="592205"/>
                  <a:pt x="215261" y="592205"/>
                </a:cubicBezTo>
                <a:cubicBezTo>
                  <a:pt x="206890" y="581080"/>
                  <a:pt x="192323" y="569025"/>
                  <a:pt x="171562" y="556040"/>
                </a:cubicBezTo>
                <a:cubicBezTo>
                  <a:pt x="171562" y="546068"/>
                  <a:pt x="186426" y="538385"/>
                  <a:pt x="216154" y="532990"/>
                </a:cubicBezTo>
                <a:lnTo>
                  <a:pt x="244339" y="518200"/>
                </a:lnTo>
                <a:lnTo>
                  <a:pt x="246459" y="521717"/>
                </a:lnTo>
                <a:cubicBezTo>
                  <a:pt x="251333" y="517587"/>
                  <a:pt x="275574" y="511894"/>
                  <a:pt x="319181" y="504638"/>
                </a:cubicBezTo>
                <a:cubicBezTo>
                  <a:pt x="347867" y="495076"/>
                  <a:pt x="361708" y="490295"/>
                  <a:pt x="360704" y="490295"/>
                </a:cubicBezTo>
                <a:cubicBezTo>
                  <a:pt x="360704" y="488537"/>
                  <a:pt x="365957" y="487438"/>
                  <a:pt x="376463" y="486999"/>
                </a:cubicBezTo>
                <a:lnTo>
                  <a:pt x="384750" y="486850"/>
                </a:lnTo>
                <a:lnTo>
                  <a:pt x="367680" y="459320"/>
                </a:lnTo>
                <a:lnTo>
                  <a:pt x="367680" y="449888"/>
                </a:lnTo>
                <a:lnTo>
                  <a:pt x="376331" y="441238"/>
                </a:lnTo>
                <a:lnTo>
                  <a:pt x="395920" y="441238"/>
                </a:lnTo>
                <a:lnTo>
                  <a:pt x="404630" y="443496"/>
                </a:lnTo>
                <a:lnTo>
                  <a:pt x="414589" y="428597"/>
                </a:lnTo>
                <a:cubicBezTo>
                  <a:pt x="417361" y="423146"/>
                  <a:pt x="419305" y="417630"/>
                  <a:pt x="420421" y="412049"/>
                </a:cubicBezTo>
                <a:lnTo>
                  <a:pt x="427042" y="399736"/>
                </a:lnTo>
                <a:lnTo>
                  <a:pt x="416476" y="402857"/>
                </a:lnTo>
                <a:cubicBezTo>
                  <a:pt x="395135" y="409869"/>
                  <a:pt x="378535" y="417602"/>
                  <a:pt x="366675" y="426057"/>
                </a:cubicBezTo>
                <a:lnTo>
                  <a:pt x="329171" y="438112"/>
                </a:lnTo>
                <a:lnTo>
                  <a:pt x="329171" y="434596"/>
                </a:lnTo>
                <a:cubicBezTo>
                  <a:pt x="317525" y="448586"/>
                  <a:pt x="305116" y="455581"/>
                  <a:pt x="291945" y="455581"/>
                </a:cubicBezTo>
                <a:lnTo>
                  <a:pt x="273137" y="427397"/>
                </a:lnTo>
                <a:lnTo>
                  <a:pt x="273137" y="414728"/>
                </a:lnTo>
                <a:lnTo>
                  <a:pt x="269677" y="396980"/>
                </a:lnTo>
                <a:lnTo>
                  <a:pt x="269621" y="390338"/>
                </a:lnTo>
                <a:lnTo>
                  <a:pt x="278271" y="381688"/>
                </a:lnTo>
                <a:lnTo>
                  <a:pt x="290494" y="381688"/>
                </a:lnTo>
                <a:lnTo>
                  <a:pt x="306846" y="388664"/>
                </a:lnTo>
                <a:lnTo>
                  <a:pt x="316502" y="382637"/>
                </a:lnTo>
                <a:cubicBezTo>
                  <a:pt x="351588" y="375158"/>
                  <a:pt x="380330" y="370489"/>
                  <a:pt x="402729" y="368628"/>
                </a:cubicBezTo>
                <a:cubicBezTo>
                  <a:pt x="402729" y="366544"/>
                  <a:pt x="413537" y="364145"/>
                  <a:pt x="435155" y="361429"/>
                </a:cubicBezTo>
                <a:cubicBezTo>
                  <a:pt x="436122" y="360461"/>
                  <a:pt x="450670" y="353448"/>
                  <a:pt x="478799" y="340388"/>
                </a:cubicBezTo>
                <a:lnTo>
                  <a:pt x="481812" y="339774"/>
                </a:lnTo>
                <a:close/>
                <a:moveTo>
                  <a:pt x="396863" y="282619"/>
                </a:moveTo>
                <a:lnTo>
                  <a:pt x="385864" y="290940"/>
                </a:lnTo>
                <a:cubicBezTo>
                  <a:pt x="373341" y="300121"/>
                  <a:pt x="364638" y="305534"/>
                  <a:pt x="359755" y="307181"/>
                </a:cubicBezTo>
                <a:lnTo>
                  <a:pt x="355667" y="310835"/>
                </a:lnTo>
                <a:lnTo>
                  <a:pt x="413779" y="302214"/>
                </a:lnTo>
                <a:lnTo>
                  <a:pt x="418685" y="296869"/>
                </a:lnTo>
                <a:lnTo>
                  <a:pt x="410263" y="293340"/>
                </a:lnTo>
                <a:lnTo>
                  <a:pt x="404013" y="284019"/>
                </a:lnTo>
                <a:lnTo>
                  <a:pt x="398264" y="284019"/>
                </a:lnTo>
                <a:close/>
                <a:moveTo>
                  <a:pt x="339633" y="238623"/>
                </a:moveTo>
                <a:lnTo>
                  <a:pt x="330936" y="250453"/>
                </a:lnTo>
                <a:cubicBezTo>
                  <a:pt x="322076" y="261148"/>
                  <a:pt x="314158" y="266495"/>
                  <a:pt x="307181" y="266495"/>
                </a:cubicBezTo>
                <a:lnTo>
                  <a:pt x="305619" y="262979"/>
                </a:lnTo>
                <a:cubicBezTo>
                  <a:pt x="289285" y="270829"/>
                  <a:pt x="279555" y="277843"/>
                  <a:pt x="276430" y="284019"/>
                </a:cubicBezTo>
                <a:cubicBezTo>
                  <a:pt x="271221" y="284019"/>
                  <a:pt x="267928" y="284447"/>
                  <a:pt x="266551" y="285303"/>
                </a:cubicBezTo>
                <a:lnTo>
                  <a:pt x="270067" y="290382"/>
                </a:lnTo>
                <a:lnTo>
                  <a:pt x="266551" y="312818"/>
                </a:lnTo>
                <a:lnTo>
                  <a:pt x="266551" y="318008"/>
                </a:lnTo>
                <a:lnTo>
                  <a:pt x="270067" y="325933"/>
                </a:lnTo>
                <a:lnTo>
                  <a:pt x="266799" y="328942"/>
                </a:lnTo>
                <a:lnTo>
                  <a:pt x="298363" y="323198"/>
                </a:lnTo>
                <a:cubicBezTo>
                  <a:pt x="299163" y="322417"/>
                  <a:pt x="300884" y="321059"/>
                  <a:pt x="303526" y="319124"/>
                </a:cubicBezTo>
                <a:lnTo>
                  <a:pt x="304670" y="318318"/>
                </a:lnTo>
                <a:lnTo>
                  <a:pt x="304670" y="313320"/>
                </a:lnTo>
                <a:lnTo>
                  <a:pt x="337207" y="280783"/>
                </a:lnTo>
                <a:lnTo>
                  <a:pt x="360337" y="260194"/>
                </a:lnTo>
                <a:lnTo>
                  <a:pt x="355461" y="253906"/>
                </a:lnTo>
                <a:cubicBezTo>
                  <a:pt x="353635" y="251109"/>
                  <a:pt x="351792" y="247845"/>
                  <a:pt x="349932" y="244115"/>
                </a:cubicBezTo>
                <a:close/>
                <a:moveTo>
                  <a:pt x="463752" y="227214"/>
                </a:moveTo>
                <a:lnTo>
                  <a:pt x="461358" y="229932"/>
                </a:lnTo>
                <a:lnTo>
                  <a:pt x="453505" y="236048"/>
                </a:lnTo>
                <a:lnTo>
                  <a:pt x="453708" y="236249"/>
                </a:lnTo>
                <a:cubicBezTo>
                  <a:pt x="456771" y="238795"/>
                  <a:pt x="464427" y="244450"/>
                  <a:pt x="476678" y="253212"/>
                </a:cubicBezTo>
                <a:lnTo>
                  <a:pt x="476678" y="263983"/>
                </a:lnTo>
                <a:cubicBezTo>
                  <a:pt x="473813" y="274066"/>
                  <a:pt x="470301" y="282526"/>
                  <a:pt x="466144" y="289363"/>
                </a:cubicBezTo>
                <a:lnTo>
                  <a:pt x="461247" y="295947"/>
                </a:lnTo>
                <a:lnTo>
                  <a:pt x="461763" y="295893"/>
                </a:lnTo>
                <a:cubicBezTo>
                  <a:pt x="467055" y="294730"/>
                  <a:pt x="472046" y="292986"/>
                  <a:pt x="476734" y="290661"/>
                </a:cubicBezTo>
                <a:lnTo>
                  <a:pt x="507988" y="290661"/>
                </a:lnTo>
                <a:cubicBezTo>
                  <a:pt x="506164" y="290661"/>
                  <a:pt x="507262" y="277601"/>
                  <a:pt x="511280" y="251482"/>
                </a:cubicBezTo>
                <a:lnTo>
                  <a:pt x="516482" y="238478"/>
                </a:lnTo>
                <a:lnTo>
                  <a:pt x="510332" y="238478"/>
                </a:lnTo>
                <a:lnTo>
                  <a:pt x="511392" y="234962"/>
                </a:lnTo>
                <a:lnTo>
                  <a:pt x="505532" y="245454"/>
                </a:lnTo>
                <a:lnTo>
                  <a:pt x="486501" y="245454"/>
                </a:lnTo>
                <a:close/>
                <a:moveTo>
                  <a:pt x="536476" y="169468"/>
                </a:moveTo>
                <a:lnTo>
                  <a:pt x="535781" y="169674"/>
                </a:lnTo>
                <a:lnTo>
                  <a:pt x="535781" y="170296"/>
                </a:lnTo>
                <a:close/>
                <a:moveTo>
                  <a:pt x="473969" y="160090"/>
                </a:moveTo>
                <a:lnTo>
                  <a:pt x="472311" y="162520"/>
                </a:lnTo>
                <a:cubicBezTo>
                  <a:pt x="467055" y="167803"/>
                  <a:pt x="459172" y="172101"/>
                  <a:pt x="448661" y="175412"/>
                </a:cubicBezTo>
                <a:lnTo>
                  <a:pt x="441539" y="173438"/>
                </a:lnTo>
                <a:lnTo>
                  <a:pt x="473162" y="201141"/>
                </a:lnTo>
                <a:lnTo>
                  <a:pt x="473162" y="206610"/>
                </a:lnTo>
                <a:lnTo>
                  <a:pt x="476287" y="206610"/>
                </a:lnTo>
                <a:cubicBezTo>
                  <a:pt x="476287" y="203792"/>
                  <a:pt x="486302" y="200597"/>
                  <a:pt x="506331" y="197025"/>
                </a:cubicBezTo>
                <a:lnTo>
                  <a:pt x="528805" y="193469"/>
                </a:lnTo>
                <a:lnTo>
                  <a:pt x="528805" y="182221"/>
                </a:lnTo>
                <a:cubicBezTo>
                  <a:pt x="528805" y="180416"/>
                  <a:pt x="529540" y="178337"/>
                  <a:pt x="531009" y="175984"/>
                </a:cubicBezTo>
                <a:lnTo>
                  <a:pt x="533111" y="173480"/>
                </a:lnTo>
                <a:lnTo>
                  <a:pt x="532321" y="172677"/>
                </a:lnTo>
                <a:lnTo>
                  <a:pt x="532321" y="170697"/>
                </a:lnTo>
                <a:lnTo>
                  <a:pt x="528079" y="171952"/>
                </a:lnTo>
                <a:lnTo>
                  <a:pt x="525624" y="168436"/>
                </a:lnTo>
                <a:cubicBezTo>
                  <a:pt x="522387" y="175431"/>
                  <a:pt x="510759" y="178928"/>
                  <a:pt x="490742" y="178928"/>
                </a:cubicBezTo>
                <a:cubicBezTo>
                  <a:pt x="486054" y="169589"/>
                  <a:pt x="482073" y="164920"/>
                  <a:pt x="478799" y="164920"/>
                </a:cubicBezTo>
                <a:close/>
                <a:moveTo>
                  <a:pt x="397551" y="143895"/>
                </a:moveTo>
                <a:lnTo>
                  <a:pt x="388173" y="154448"/>
                </a:lnTo>
                <a:cubicBezTo>
                  <a:pt x="372204" y="170564"/>
                  <a:pt x="353169" y="184565"/>
                  <a:pt x="331068" y="196453"/>
                </a:cubicBezTo>
                <a:lnTo>
                  <a:pt x="326433" y="188455"/>
                </a:lnTo>
                <a:lnTo>
                  <a:pt x="323251" y="191590"/>
                </a:lnTo>
                <a:cubicBezTo>
                  <a:pt x="321068" y="192981"/>
                  <a:pt x="318520" y="193969"/>
                  <a:pt x="315609" y="194555"/>
                </a:cubicBezTo>
                <a:cubicBezTo>
                  <a:pt x="315609" y="199838"/>
                  <a:pt x="302289" y="203801"/>
                  <a:pt x="275648" y="206443"/>
                </a:cubicBezTo>
                <a:cubicBezTo>
                  <a:pt x="268393" y="216116"/>
                  <a:pt x="264189" y="220954"/>
                  <a:pt x="263035" y="220954"/>
                </a:cubicBezTo>
                <a:lnTo>
                  <a:pt x="263035" y="236279"/>
                </a:lnTo>
                <a:lnTo>
                  <a:pt x="302270" y="220619"/>
                </a:lnTo>
                <a:lnTo>
                  <a:pt x="311479" y="220619"/>
                </a:lnTo>
                <a:cubicBezTo>
                  <a:pt x="313823" y="221791"/>
                  <a:pt x="317381" y="222670"/>
                  <a:pt x="322152" y="223256"/>
                </a:cubicBezTo>
                <a:lnTo>
                  <a:pt x="329699" y="223872"/>
                </a:lnTo>
                <a:lnTo>
                  <a:pt x="335700" y="210126"/>
                </a:lnTo>
                <a:lnTo>
                  <a:pt x="346918" y="210126"/>
                </a:lnTo>
                <a:cubicBezTo>
                  <a:pt x="351644" y="210126"/>
                  <a:pt x="355188" y="210708"/>
                  <a:pt x="357550" y="211870"/>
                </a:cubicBezTo>
                <a:lnTo>
                  <a:pt x="361094" y="217102"/>
                </a:lnTo>
                <a:lnTo>
                  <a:pt x="387939" y="217047"/>
                </a:lnTo>
                <a:cubicBezTo>
                  <a:pt x="400255" y="206406"/>
                  <a:pt x="407584" y="194053"/>
                  <a:pt x="409928" y="179989"/>
                </a:cubicBezTo>
                <a:lnTo>
                  <a:pt x="418356" y="171561"/>
                </a:lnTo>
                <a:lnTo>
                  <a:pt x="436251" y="171561"/>
                </a:lnTo>
                <a:lnTo>
                  <a:pt x="431388" y="169398"/>
                </a:lnTo>
                <a:cubicBezTo>
                  <a:pt x="427388" y="167064"/>
                  <a:pt x="425146" y="164399"/>
                  <a:pt x="424662" y="161404"/>
                </a:cubicBezTo>
                <a:lnTo>
                  <a:pt x="413221" y="164920"/>
                </a:lnTo>
                <a:cubicBezTo>
                  <a:pt x="413221" y="160762"/>
                  <a:pt x="409548" y="155128"/>
                  <a:pt x="402202" y="148020"/>
                </a:cubicBezTo>
                <a:close/>
                <a:moveTo>
                  <a:pt x="381688" y="94487"/>
                </a:moveTo>
                <a:lnTo>
                  <a:pt x="381688" y="100012"/>
                </a:lnTo>
                <a:lnTo>
                  <a:pt x="385483" y="94854"/>
                </a:lnTo>
                <a:close/>
                <a:moveTo>
                  <a:pt x="347080" y="93486"/>
                </a:moveTo>
                <a:lnTo>
                  <a:pt x="329226" y="105370"/>
                </a:lnTo>
                <a:lnTo>
                  <a:pt x="328621" y="105370"/>
                </a:lnTo>
                <a:lnTo>
                  <a:pt x="327852" y="108038"/>
                </a:lnTo>
                <a:cubicBezTo>
                  <a:pt x="324322" y="113291"/>
                  <a:pt x="315497" y="115918"/>
                  <a:pt x="301377" y="115918"/>
                </a:cubicBezTo>
                <a:cubicBezTo>
                  <a:pt x="296280" y="115918"/>
                  <a:pt x="281397" y="122634"/>
                  <a:pt x="256729" y="136066"/>
                </a:cubicBezTo>
                <a:lnTo>
                  <a:pt x="255425" y="136500"/>
                </a:lnTo>
                <a:lnTo>
                  <a:pt x="260412" y="140823"/>
                </a:lnTo>
                <a:cubicBezTo>
                  <a:pt x="262161" y="143028"/>
                  <a:pt x="263035" y="145163"/>
                  <a:pt x="263035" y="147228"/>
                </a:cubicBezTo>
                <a:lnTo>
                  <a:pt x="263035" y="163134"/>
                </a:lnTo>
                <a:lnTo>
                  <a:pt x="260926" y="167098"/>
                </a:lnTo>
                <a:lnTo>
                  <a:pt x="287313" y="154092"/>
                </a:lnTo>
                <a:lnTo>
                  <a:pt x="294624" y="154092"/>
                </a:lnTo>
                <a:cubicBezTo>
                  <a:pt x="313851" y="156464"/>
                  <a:pt x="325867" y="159705"/>
                  <a:pt x="330674" y="163814"/>
                </a:cubicBezTo>
                <a:lnTo>
                  <a:pt x="331413" y="165166"/>
                </a:lnTo>
                <a:lnTo>
                  <a:pt x="342094" y="156074"/>
                </a:lnTo>
                <a:cubicBezTo>
                  <a:pt x="359151" y="141479"/>
                  <a:pt x="367680" y="133917"/>
                  <a:pt x="367680" y="133387"/>
                </a:cubicBezTo>
                <a:cubicBezTo>
                  <a:pt x="363029" y="133387"/>
                  <a:pt x="360704" y="128922"/>
                  <a:pt x="360704" y="119992"/>
                </a:cubicBezTo>
                <a:cubicBezTo>
                  <a:pt x="356164" y="118467"/>
                  <a:pt x="350323" y="111267"/>
                  <a:pt x="343179" y="98393"/>
                </a:cubicBezTo>
                <a:close/>
                <a:moveTo>
                  <a:pt x="483777" y="76432"/>
                </a:moveTo>
                <a:lnTo>
                  <a:pt x="482154" y="77814"/>
                </a:lnTo>
                <a:cubicBezTo>
                  <a:pt x="477927" y="80288"/>
                  <a:pt x="472994" y="82236"/>
                  <a:pt x="467357" y="83660"/>
                </a:cubicBezTo>
                <a:lnTo>
                  <a:pt x="446206" y="102708"/>
                </a:lnTo>
                <a:lnTo>
                  <a:pt x="446446" y="102743"/>
                </a:lnTo>
                <a:cubicBezTo>
                  <a:pt x="454378" y="105192"/>
                  <a:pt x="461274" y="111314"/>
                  <a:pt x="467134" y="121109"/>
                </a:cubicBezTo>
                <a:cubicBezTo>
                  <a:pt x="475841" y="124011"/>
                  <a:pt x="480194" y="129201"/>
                  <a:pt x="480194" y="136680"/>
                </a:cubicBezTo>
                <a:lnTo>
                  <a:pt x="480194" y="137578"/>
                </a:lnTo>
                <a:lnTo>
                  <a:pt x="486780" y="136568"/>
                </a:lnTo>
                <a:cubicBezTo>
                  <a:pt x="486780" y="135303"/>
                  <a:pt x="496342" y="133071"/>
                  <a:pt x="515466" y="129871"/>
                </a:cubicBezTo>
                <a:lnTo>
                  <a:pt x="526963" y="126076"/>
                </a:lnTo>
                <a:lnTo>
                  <a:pt x="532488" y="126076"/>
                </a:lnTo>
                <a:cubicBezTo>
                  <a:pt x="537028" y="126076"/>
                  <a:pt x="539297" y="124587"/>
                  <a:pt x="539297" y="121611"/>
                </a:cubicBezTo>
                <a:cubicBezTo>
                  <a:pt x="542795" y="115807"/>
                  <a:pt x="545418" y="110969"/>
                  <a:pt x="547167" y="107100"/>
                </a:cubicBezTo>
                <a:lnTo>
                  <a:pt x="549552" y="99183"/>
                </a:lnTo>
                <a:lnTo>
                  <a:pt x="546385" y="101031"/>
                </a:lnTo>
                <a:cubicBezTo>
                  <a:pt x="544525" y="101617"/>
                  <a:pt x="542311" y="101910"/>
                  <a:pt x="539744" y="101910"/>
                </a:cubicBezTo>
                <a:cubicBezTo>
                  <a:pt x="539744" y="104216"/>
                  <a:pt x="533828" y="105370"/>
                  <a:pt x="521996" y="105370"/>
                </a:cubicBezTo>
                <a:cubicBezTo>
                  <a:pt x="505402" y="105370"/>
                  <a:pt x="494779" y="99547"/>
                  <a:pt x="490128" y="87901"/>
                </a:cubicBezTo>
                <a:cubicBezTo>
                  <a:pt x="488565" y="87901"/>
                  <a:pt x="486919" y="85604"/>
                  <a:pt x="485189" y="81009"/>
                </a:cubicBezTo>
                <a:close/>
                <a:moveTo>
                  <a:pt x="443359" y="0"/>
                </a:moveTo>
                <a:cubicBezTo>
                  <a:pt x="455823" y="12389"/>
                  <a:pt x="466037" y="19422"/>
                  <a:pt x="473999" y="21096"/>
                </a:cubicBezTo>
                <a:lnTo>
                  <a:pt x="476455" y="20984"/>
                </a:lnTo>
                <a:cubicBezTo>
                  <a:pt x="486166" y="20984"/>
                  <a:pt x="494407" y="27775"/>
                  <a:pt x="501179" y="41355"/>
                </a:cubicBezTo>
                <a:lnTo>
                  <a:pt x="499637" y="52517"/>
                </a:lnTo>
                <a:lnTo>
                  <a:pt x="503411" y="52517"/>
                </a:lnTo>
                <a:cubicBezTo>
                  <a:pt x="533549" y="46490"/>
                  <a:pt x="550404" y="39885"/>
                  <a:pt x="553975" y="32705"/>
                </a:cubicBezTo>
                <a:cubicBezTo>
                  <a:pt x="562161" y="21728"/>
                  <a:pt x="573956" y="13152"/>
                  <a:pt x="589359" y="6976"/>
                </a:cubicBezTo>
                <a:lnTo>
                  <a:pt x="595554" y="6976"/>
                </a:lnTo>
                <a:cubicBezTo>
                  <a:pt x="603814" y="6976"/>
                  <a:pt x="613190" y="12222"/>
                  <a:pt x="623683" y="22715"/>
                </a:cubicBezTo>
                <a:cubicBezTo>
                  <a:pt x="654081" y="32835"/>
                  <a:pt x="669280" y="42806"/>
                  <a:pt x="669280" y="52629"/>
                </a:cubicBezTo>
                <a:lnTo>
                  <a:pt x="669280" y="76181"/>
                </a:lnTo>
                <a:cubicBezTo>
                  <a:pt x="663253" y="88273"/>
                  <a:pt x="654434" y="98952"/>
                  <a:pt x="642826" y="108216"/>
                </a:cubicBezTo>
                <a:cubicBezTo>
                  <a:pt x="636389" y="123285"/>
                  <a:pt x="632371" y="132438"/>
                  <a:pt x="630771" y="135675"/>
                </a:cubicBezTo>
                <a:cubicBezTo>
                  <a:pt x="630771" y="144642"/>
                  <a:pt x="619925" y="176826"/>
                  <a:pt x="598233" y="232227"/>
                </a:cubicBezTo>
                <a:lnTo>
                  <a:pt x="582270" y="280207"/>
                </a:lnTo>
                <a:lnTo>
                  <a:pt x="634789" y="283573"/>
                </a:lnTo>
                <a:lnTo>
                  <a:pt x="673075" y="269620"/>
                </a:lnTo>
                <a:lnTo>
                  <a:pt x="686358" y="269620"/>
                </a:lnTo>
                <a:cubicBezTo>
                  <a:pt x="693055" y="279778"/>
                  <a:pt x="700311" y="289731"/>
                  <a:pt x="708124" y="299479"/>
                </a:cubicBezTo>
                <a:cubicBezTo>
                  <a:pt x="738262" y="309525"/>
                  <a:pt x="753331" y="319217"/>
                  <a:pt x="753331" y="328556"/>
                </a:cubicBezTo>
                <a:lnTo>
                  <a:pt x="760363" y="343458"/>
                </a:lnTo>
                <a:cubicBezTo>
                  <a:pt x="753628" y="364517"/>
                  <a:pt x="743043" y="375047"/>
                  <a:pt x="728607" y="375047"/>
                </a:cubicBezTo>
                <a:lnTo>
                  <a:pt x="718114" y="375047"/>
                </a:lnTo>
                <a:lnTo>
                  <a:pt x="700590" y="375047"/>
                </a:lnTo>
                <a:lnTo>
                  <a:pt x="690097" y="368070"/>
                </a:lnTo>
                <a:lnTo>
                  <a:pt x="686581" y="368070"/>
                </a:lnTo>
                <a:lnTo>
                  <a:pt x="676089" y="368070"/>
                </a:lnTo>
                <a:cubicBezTo>
                  <a:pt x="645319" y="368070"/>
                  <a:pt x="619627" y="374246"/>
                  <a:pt x="599015" y="386599"/>
                </a:cubicBezTo>
                <a:lnTo>
                  <a:pt x="589583" y="396087"/>
                </a:lnTo>
                <a:lnTo>
                  <a:pt x="576858" y="396087"/>
                </a:lnTo>
                <a:lnTo>
                  <a:pt x="567314" y="386543"/>
                </a:lnTo>
                <a:lnTo>
                  <a:pt x="567314" y="374042"/>
                </a:lnTo>
                <a:cubicBezTo>
                  <a:pt x="579313" y="370051"/>
                  <a:pt x="592820" y="360065"/>
                  <a:pt x="607833" y="344082"/>
                </a:cubicBezTo>
                <a:lnTo>
                  <a:pt x="620410" y="329505"/>
                </a:lnTo>
                <a:lnTo>
                  <a:pt x="607219" y="329505"/>
                </a:lnTo>
                <a:lnTo>
                  <a:pt x="589136" y="333021"/>
                </a:lnTo>
                <a:lnTo>
                  <a:pt x="540804" y="329505"/>
                </a:lnTo>
                <a:lnTo>
                  <a:pt x="511950" y="336537"/>
                </a:lnTo>
                <a:lnTo>
                  <a:pt x="493979" y="333021"/>
                </a:lnTo>
                <a:cubicBezTo>
                  <a:pt x="492268" y="335365"/>
                  <a:pt x="483003" y="336537"/>
                  <a:pt x="466185" y="336537"/>
                </a:cubicBezTo>
                <a:cubicBezTo>
                  <a:pt x="466185" y="338881"/>
                  <a:pt x="459116" y="340053"/>
                  <a:pt x="444977" y="340053"/>
                </a:cubicBezTo>
                <a:lnTo>
                  <a:pt x="445145" y="340053"/>
                </a:lnTo>
                <a:cubicBezTo>
                  <a:pt x="445145" y="342360"/>
                  <a:pt x="431806" y="343513"/>
                  <a:pt x="405129" y="343513"/>
                </a:cubicBezTo>
                <a:lnTo>
                  <a:pt x="385986" y="350546"/>
                </a:lnTo>
                <a:lnTo>
                  <a:pt x="372535" y="347030"/>
                </a:lnTo>
                <a:lnTo>
                  <a:pt x="365224" y="350546"/>
                </a:lnTo>
                <a:lnTo>
                  <a:pt x="364610" y="347030"/>
                </a:lnTo>
                <a:cubicBezTo>
                  <a:pt x="364610" y="351122"/>
                  <a:pt x="351774" y="354322"/>
                  <a:pt x="326101" y="356629"/>
                </a:cubicBezTo>
                <a:cubicBezTo>
                  <a:pt x="326101" y="359568"/>
                  <a:pt x="312799" y="361038"/>
                  <a:pt x="286196" y="361038"/>
                </a:cubicBezTo>
                <a:lnTo>
                  <a:pt x="285415" y="357522"/>
                </a:lnTo>
                <a:cubicBezTo>
                  <a:pt x="272281" y="366861"/>
                  <a:pt x="263668" y="371530"/>
                  <a:pt x="259575" y="371530"/>
                </a:cubicBezTo>
                <a:cubicBezTo>
                  <a:pt x="259575" y="372981"/>
                  <a:pt x="251389" y="374879"/>
                  <a:pt x="235018" y="377223"/>
                </a:cubicBezTo>
                <a:cubicBezTo>
                  <a:pt x="235018" y="380460"/>
                  <a:pt x="229121" y="382078"/>
                  <a:pt x="217326" y="382078"/>
                </a:cubicBezTo>
                <a:lnTo>
                  <a:pt x="207838" y="382078"/>
                </a:lnTo>
                <a:cubicBezTo>
                  <a:pt x="203113" y="386729"/>
                  <a:pt x="198109" y="389055"/>
                  <a:pt x="192825" y="389055"/>
                </a:cubicBezTo>
                <a:lnTo>
                  <a:pt x="191151" y="389055"/>
                </a:lnTo>
                <a:cubicBezTo>
                  <a:pt x="178389" y="392255"/>
                  <a:pt x="172008" y="392069"/>
                  <a:pt x="172008" y="388497"/>
                </a:cubicBezTo>
                <a:lnTo>
                  <a:pt x="175524" y="404179"/>
                </a:lnTo>
                <a:lnTo>
                  <a:pt x="156716" y="446428"/>
                </a:lnTo>
                <a:cubicBezTo>
                  <a:pt x="144177" y="466483"/>
                  <a:pt x="132327" y="482091"/>
                  <a:pt x="121165" y="493253"/>
                </a:cubicBezTo>
                <a:lnTo>
                  <a:pt x="88962" y="501067"/>
                </a:lnTo>
                <a:lnTo>
                  <a:pt x="79530" y="501122"/>
                </a:lnTo>
                <a:cubicBezTo>
                  <a:pt x="66173" y="487765"/>
                  <a:pt x="59494" y="469013"/>
                  <a:pt x="59494" y="444865"/>
                </a:cubicBezTo>
                <a:cubicBezTo>
                  <a:pt x="59494" y="434410"/>
                  <a:pt x="68833" y="418690"/>
                  <a:pt x="87511" y="397705"/>
                </a:cubicBezTo>
                <a:cubicBezTo>
                  <a:pt x="87511" y="395734"/>
                  <a:pt x="92627" y="385799"/>
                  <a:pt x="102859" y="367903"/>
                </a:cubicBezTo>
                <a:cubicBezTo>
                  <a:pt x="111305" y="353131"/>
                  <a:pt x="115528" y="342044"/>
                  <a:pt x="115528" y="334639"/>
                </a:cubicBezTo>
                <a:lnTo>
                  <a:pt x="112068" y="310529"/>
                </a:lnTo>
                <a:lnTo>
                  <a:pt x="120718" y="301153"/>
                </a:lnTo>
                <a:lnTo>
                  <a:pt x="131769" y="301153"/>
                </a:lnTo>
                <a:cubicBezTo>
                  <a:pt x="140615" y="304111"/>
                  <a:pt x="149712" y="315953"/>
                  <a:pt x="159060" y="336680"/>
                </a:cubicBezTo>
                <a:lnTo>
                  <a:pt x="167733" y="358463"/>
                </a:lnTo>
                <a:lnTo>
                  <a:pt x="179598" y="353671"/>
                </a:lnTo>
                <a:lnTo>
                  <a:pt x="183617" y="353671"/>
                </a:lnTo>
                <a:cubicBezTo>
                  <a:pt x="189793" y="351624"/>
                  <a:pt x="195114" y="350043"/>
                  <a:pt x="199579" y="348927"/>
                </a:cubicBezTo>
                <a:lnTo>
                  <a:pt x="199579" y="341839"/>
                </a:lnTo>
                <a:lnTo>
                  <a:pt x="196118" y="331347"/>
                </a:lnTo>
                <a:lnTo>
                  <a:pt x="196118" y="323645"/>
                </a:lnTo>
                <a:lnTo>
                  <a:pt x="186742" y="248971"/>
                </a:lnTo>
                <a:cubicBezTo>
                  <a:pt x="186296" y="248971"/>
                  <a:pt x="183579" y="244022"/>
                  <a:pt x="178594" y="234125"/>
                </a:cubicBezTo>
                <a:cubicBezTo>
                  <a:pt x="178594" y="222777"/>
                  <a:pt x="179766" y="217103"/>
                  <a:pt x="182110" y="217103"/>
                </a:cubicBezTo>
                <a:cubicBezTo>
                  <a:pt x="180621" y="212675"/>
                  <a:pt x="177105" y="210461"/>
                  <a:pt x="171562" y="210461"/>
                </a:cubicBezTo>
                <a:lnTo>
                  <a:pt x="171562" y="191318"/>
                </a:lnTo>
                <a:lnTo>
                  <a:pt x="178594" y="192937"/>
                </a:lnTo>
                <a:cubicBezTo>
                  <a:pt x="178408" y="192937"/>
                  <a:pt x="174817" y="183598"/>
                  <a:pt x="167822" y="164920"/>
                </a:cubicBezTo>
                <a:cubicBezTo>
                  <a:pt x="166520" y="164920"/>
                  <a:pt x="159600" y="155525"/>
                  <a:pt x="147061" y="136735"/>
                </a:cubicBezTo>
                <a:lnTo>
                  <a:pt x="147061" y="124624"/>
                </a:lnTo>
                <a:cubicBezTo>
                  <a:pt x="156846" y="111565"/>
                  <a:pt x="166557" y="105035"/>
                  <a:pt x="176194" y="105035"/>
                </a:cubicBezTo>
                <a:cubicBezTo>
                  <a:pt x="187914" y="114374"/>
                  <a:pt x="194611" y="119043"/>
                  <a:pt x="196286" y="119043"/>
                </a:cubicBezTo>
                <a:cubicBezTo>
                  <a:pt x="200434" y="119043"/>
                  <a:pt x="204420" y="119918"/>
                  <a:pt x="208243" y="121666"/>
                </a:cubicBezTo>
                <a:lnTo>
                  <a:pt x="213297" y="125288"/>
                </a:lnTo>
                <a:lnTo>
                  <a:pt x="224470" y="108551"/>
                </a:lnTo>
                <a:cubicBezTo>
                  <a:pt x="228414" y="108551"/>
                  <a:pt x="236488" y="95361"/>
                  <a:pt x="248692" y="68982"/>
                </a:cubicBezTo>
                <a:lnTo>
                  <a:pt x="252152" y="58433"/>
                </a:lnTo>
                <a:lnTo>
                  <a:pt x="245120" y="49169"/>
                </a:lnTo>
                <a:lnTo>
                  <a:pt x="245120" y="40127"/>
                </a:lnTo>
                <a:lnTo>
                  <a:pt x="253771" y="31477"/>
                </a:lnTo>
                <a:lnTo>
                  <a:pt x="260747" y="31477"/>
                </a:lnTo>
                <a:cubicBezTo>
                  <a:pt x="267779" y="24482"/>
                  <a:pt x="275481" y="20984"/>
                  <a:pt x="283852" y="20984"/>
                </a:cubicBezTo>
                <a:cubicBezTo>
                  <a:pt x="290140" y="20984"/>
                  <a:pt x="301916" y="30863"/>
                  <a:pt x="319181" y="50620"/>
                </a:cubicBezTo>
                <a:cubicBezTo>
                  <a:pt x="337784" y="55940"/>
                  <a:pt x="347086" y="61279"/>
                  <a:pt x="347086" y="66637"/>
                </a:cubicBezTo>
                <a:lnTo>
                  <a:pt x="347086" y="93479"/>
                </a:lnTo>
                <a:lnTo>
                  <a:pt x="351830" y="87511"/>
                </a:lnTo>
                <a:lnTo>
                  <a:pt x="362545" y="87511"/>
                </a:lnTo>
                <a:lnTo>
                  <a:pt x="386452" y="93538"/>
                </a:lnTo>
                <a:lnTo>
                  <a:pt x="391155" y="87144"/>
                </a:lnTo>
                <a:cubicBezTo>
                  <a:pt x="399513" y="73715"/>
                  <a:pt x="404543" y="58601"/>
                  <a:pt x="406245" y="41801"/>
                </a:cubicBezTo>
                <a:cubicBezTo>
                  <a:pt x="406245" y="41578"/>
                  <a:pt x="405073" y="39141"/>
                  <a:pt x="402729" y="34491"/>
                </a:cubicBezTo>
                <a:lnTo>
                  <a:pt x="402729" y="15068"/>
                </a:lnTo>
                <a:cubicBezTo>
                  <a:pt x="416123" y="5022"/>
                  <a:pt x="429667" y="0"/>
                  <a:pt x="443359" y="0"/>
                </a:cubicBezTo>
                <a:close/>
              </a:path>
            </a:pathLst>
          </a:custGeom>
          <a:solidFill>
            <a:schemeClr val="bg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dist">
              <a:defRPr sz="5400" b="1" spc="600">
                <a:solidFill>
                  <a:schemeClr val="bg1"/>
                </a:solidFill>
                <a:effectLst>
                  <a:outerShdw blurRad="38100" dist="38100" dir="2700000" algn="tl">
                    <a:srgbClr val="000000">
                      <a:alpha val="43137"/>
                    </a:srgbClr>
                  </a:outerShdw>
                </a:effectLst>
              </a:defRPr>
            </a:lvl1pPr>
          </a:lstStyle>
          <a:p>
            <a:pPr algn="ctr"/>
            <a:endParaRPr lang="zh-CN" altLang="en-US" sz="7200" dirty="0">
              <a:effectLst>
                <a:outerShdw blurRad="50800" dist="38100" dir="2700000" algn="tl" rotWithShape="0">
                  <a:prstClr val="black">
                    <a:alpha val="40000"/>
                  </a:prstClr>
                </a:outerShdw>
              </a:effectLst>
              <a:cs typeface="+mn-ea"/>
              <a:sym typeface="+mn-lt"/>
            </a:endParaRPr>
          </a:p>
        </p:txBody>
      </p:sp>
      <p:grpSp>
        <p:nvGrpSpPr>
          <p:cNvPr id="79" name="组合 78">
            <a:extLst>
              <a:ext uri="{FF2B5EF4-FFF2-40B4-BE49-F238E27FC236}">
                <a16:creationId xmlns:a16="http://schemas.microsoft.com/office/drawing/2014/main" id="{FE0A1923-8889-4937-A89B-2DFB96631991}"/>
              </a:ext>
            </a:extLst>
          </p:cNvPr>
          <p:cNvGrpSpPr/>
          <p:nvPr/>
        </p:nvGrpSpPr>
        <p:grpSpPr>
          <a:xfrm>
            <a:off x="10477913" y="446123"/>
            <a:ext cx="1234662" cy="419641"/>
            <a:chOff x="1398368" y="5051425"/>
            <a:chExt cx="3242941" cy="1102222"/>
          </a:xfrm>
          <a:solidFill>
            <a:schemeClr val="bg1"/>
          </a:solidFill>
        </p:grpSpPr>
        <p:sp>
          <p:nvSpPr>
            <p:cNvPr id="80" name="Freeform 5">
              <a:extLst>
                <a:ext uri="{FF2B5EF4-FFF2-40B4-BE49-F238E27FC236}">
                  <a16:creationId xmlns:a16="http://schemas.microsoft.com/office/drawing/2014/main" id="{9B6A06E2-7612-4DDF-AADB-63BFE9F1AEE6}"/>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
              <a:extLst>
                <a:ext uri="{FF2B5EF4-FFF2-40B4-BE49-F238E27FC236}">
                  <a16:creationId xmlns:a16="http://schemas.microsoft.com/office/drawing/2014/main" id="{E0FA2A36-734C-46EF-8E51-68F6B4263C03}"/>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
              <a:extLst>
                <a:ext uri="{FF2B5EF4-FFF2-40B4-BE49-F238E27FC236}">
                  <a16:creationId xmlns:a16="http://schemas.microsoft.com/office/drawing/2014/main" id="{7A0A82CD-6A52-401F-8FF1-97846FC7CC66}"/>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3" name="组合 82">
              <a:extLst>
                <a:ext uri="{FF2B5EF4-FFF2-40B4-BE49-F238E27FC236}">
                  <a16:creationId xmlns:a16="http://schemas.microsoft.com/office/drawing/2014/main" id="{437CAF47-E04D-40E8-942B-66CEA2D8F655}"/>
                </a:ext>
              </a:extLst>
            </p:cNvPr>
            <p:cNvGrpSpPr/>
            <p:nvPr/>
          </p:nvGrpSpPr>
          <p:grpSpPr>
            <a:xfrm>
              <a:off x="2921957" y="5168150"/>
              <a:ext cx="542765" cy="642593"/>
              <a:chOff x="3102298" y="5183391"/>
              <a:chExt cx="501880" cy="594188"/>
            </a:xfrm>
            <a:grpFill/>
          </p:grpSpPr>
          <p:sp>
            <p:nvSpPr>
              <p:cNvPr id="125" name="Freeform 6">
                <a:extLst>
                  <a:ext uri="{FF2B5EF4-FFF2-40B4-BE49-F238E27FC236}">
                    <a16:creationId xmlns:a16="http://schemas.microsoft.com/office/drawing/2014/main" id="{B0609955-E5C9-429F-B1B5-F13EFBF37D33}"/>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0">
                <a:extLst>
                  <a:ext uri="{FF2B5EF4-FFF2-40B4-BE49-F238E27FC236}">
                    <a16:creationId xmlns:a16="http://schemas.microsoft.com/office/drawing/2014/main" id="{55114174-D660-4335-9F96-3137B6CA6358}"/>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3">
                <a:extLst>
                  <a:ext uri="{FF2B5EF4-FFF2-40B4-BE49-F238E27FC236}">
                    <a16:creationId xmlns:a16="http://schemas.microsoft.com/office/drawing/2014/main" id="{C96630F3-6696-49E6-9088-A9B4E231092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组合 83">
              <a:extLst>
                <a:ext uri="{FF2B5EF4-FFF2-40B4-BE49-F238E27FC236}">
                  <a16:creationId xmlns:a16="http://schemas.microsoft.com/office/drawing/2014/main" id="{2F9F5B87-3143-4AFA-9B9B-B841457DB41A}"/>
                </a:ext>
              </a:extLst>
            </p:cNvPr>
            <p:cNvGrpSpPr/>
            <p:nvPr/>
          </p:nvGrpSpPr>
          <p:grpSpPr>
            <a:xfrm>
              <a:off x="4196892" y="5154476"/>
              <a:ext cx="444417" cy="649987"/>
              <a:chOff x="4257853" y="5169716"/>
              <a:chExt cx="410940" cy="601025"/>
            </a:xfrm>
            <a:grpFill/>
          </p:grpSpPr>
          <p:sp>
            <p:nvSpPr>
              <p:cNvPr id="120" name="Freeform 9">
                <a:extLst>
                  <a:ext uri="{FF2B5EF4-FFF2-40B4-BE49-F238E27FC236}">
                    <a16:creationId xmlns:a16="http://schemas.microsoft.com/office/drawing/2014/main" id="{B3CB24DB-867D-4618-937A-E8916B26E1AC}"/>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
                <a:extLst>
                  <a:ext uri="{FF2B5EF4-FFF2-40B4-BE49-F238E27FC236}">
                    <a16:creationId xmlns:a16="http://schemas.microsoft.com/office/drawing/2014/main" id="{FB6B7DBC-FCC8-4043-A626-16F318CDD2CA}"/>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2">
                <a:extLst>
                  <a:ext uri="{FF2B5EF4-FFF2-40B4-BE49-F238E27FC236}">
                    <a16:creationId xmlns:a16="http://schemas.microsoft.com/office/drawing/2014/main" id="{D7153351-7070-4526-B610-5D8AB94920F7}"/>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4">
                <a:extLst>
                  <a:ext uri="{FF2B5EF4-FFF2-40B4-BE49-F238E27FC236}">
                    <a16:creationId xmlns:a16="http://schemas.microsoft.com/office/drawing/2014/main" id="{3FFB4C84-B4C1-4F39-9DEE-26AE24B0DE76}"/>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5">
                <a:extLst>
                  <a:ext uri="{FF2B5EF4-FFF2-40B4-BE49-F238E27FC236}">
                    <a16:creationId xmlns:a16="http://schemas.microsoft.com/office/drawing/2014/main" id="{1791C1DA-32DB-4F50-9E61-79A193F95CB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 name="Freeform 16">
              <a:extLst>
                <a:ext uri="{FF2B5EF4-FFF2-40B4-BE49-F238E27FC236}">
                  <a16:creationId xmlns:a16="http://schemas.microsoft.com/office/drawing/2014/main" id="{7601C5C1-4E21-47A1-B477-740F17A1EE91}"/>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7">
              <a:extLst>
                <a:ext uri="{FF2B5EF4-FFF2-40B4-BE49-F238E27FC236}">
                  <a16:creationId xmlns:a16="http://schemas.microsoft.com/office/drawing/2014/main" id="{BDED559F-3319-4FC6-95FE-B3E4E8AFC305}"/>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18">
              <a:extLst>
                <a:ext uri="{FF2B5EF4-FFF2-40B4-BE49-F238E27FC236}">
                  <a16:creationId xmlns:a16="http://schemas.microsoft.com/office/drawing/2014/main" id="{230F0D0A-127D-4A5F-ABF3-957E7F104EC2}"/>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9">
              <a:extLst>
                <a:ext uri="{FF2B5EF4-FFF2-40B4-BE49-F238E27FC236}">
                  <a16:creationId xmlns:a16="http://schemas.microsoft.com/office/drawing/2014/main" id="{294ECCEB-9FBA-4FD2-B85A-86F3848A855B}"/>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0">
              <a:extLst>
                <a:ext uri="{FF2B5EF4-FFF2-40B4-BE49-F238E27FC236}">
                  <a16:creationId xmlns:a16="http://schemas.microsoft.com/office/drawing/2014/main" id="{5E8CE1A4-3E46-4F0E-9744-CDBD91E8E373}"/>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1">
              <a:extLst>
                <a:ext uri="{FF2B5EF4-FFF2-40B4-BE49-F238E27FC236}">
                  <a16:creationId xmlns:a16="http://schemas.microsoft.com/office/drawing/2014/main" id="{07FCF84C-99C6-4A60-8D25-F631909B1C5B}"/>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2">
              <a:extLst>
                <a:ext uri="{FF2B5EF4-FFF2-40B4-BE49-F238E27FC236}">
                  <a16:creationId xmlns:a16="http://schemas.microsoft.com/office/drawing/2014/main" id="{C9394355-1972-44F3-BD69-776A15319CF3}"/>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3">
              <a:extLst>
                <a:ext uri="{FF2B5EF4-FFF2-40B4-BE49-F238E27FC236}">
                  <a16:creationId xmlns:a16="http://schemas.microsoft.com/office/drawing/2014/main" id="{9B281654-E0B1-47B4-B79E-924D3C503F7A}"/>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4">
              <a:extLst>
                <a:ext uri="{FF2B5EF4-FFF2-40B4-BE49-F238E27FC236}">
                  <a16:creationId xmlns:a16="http://schemas.microsoft.com/office/drawing/2014/main" id="{A375FA92-1546-4B1C-867E-D327F5E81DD4}"/>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5">
              <a:extLst>
                <a:ext uri="{FF2B5EF4-FFF2-40B4-BE49-F238E27FC236}">
                  <a16:creationId xmlns:a16="http://schemas.microsoft.com/office/drawing/2014/main" id="{6E613C4E-9D56-400C-B541-8B0C2A7D69C6}"/>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6">
              <a:extLst>
                <a:ext uri="{FF2B5EF4-FFF2-40B4-BE49-F238E27FC236}">
                  <a16:creationId xmlns:a16="http://schemas.microsoft.com/office/drawing/2014/main" id="{83A277A6-67BA-43C7-9469-07A7F4F35177}"/>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7">
              <a:extLst>
                <a:ext uri="{FF2B5EF4-FFF2-40B4-BE49-F238E27FC236}">
                  <a16:creationId xmlns:a16="http://schemas.microsoft.com/office/drawing/2014/main" id="{F3976E99-5584-4E70-9A6F-5C88AA18268D}"/>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8">
              <a:extLst>
                <a:ext uri="{FF2B5EF4-FFF2-40B4-BE49-F238E27FC236}">
                  <a16:creationId xmlns:a16="http://schemas.microsoft.com/office/drawing/2014/main" id="{8FDEEDBD-64B5-44C9-9832-57E07010E2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9">
              <a:extLst>
                <a:ext uri="{FF2B5EF4-FFF2-40B4-BE49-F238E27FC236}">
                  <a16:creationId xmlns:a16="http://schemas.microsoft.com/office/drawing/2014/main" id="{AE1DF21D-87F3-4496-9397-E8A255DE8883}"/>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30">
              <a:extLst>
                <a:ext uri="{FF2B5EF4-FFF2-40B4-BE49-F238E27FC236}">
                  <a16:creationId xmlns:a16="http://schemas.microsoft.com/office/drawing/2014/main" id="{E1637BE0-276D-4286-AD78-811782B5CEAC}"/>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1">
              <a:extLst>
                <a:ext uri="{FF2B5EF4-FFF2-40B4-BE49-F238E27FC236}">
                  <a16:creationId xmlns:a16="http://schemas.microsoft.com/office/drawing/2014/main" id="{D80592B1-1FBF-4FEE-80D0-2C1C1B820FB2}"/>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2">
              <a:extLst>
                <a:ext uri="{FF2B5EF4-FFF2-40B4-BE49-F238E27FC236}">
                  <a16:creationId xmlns:a16="http://schemas.microsoft.com/office/drawing/2014/main" id="{463BD02E-9BBF-4BFA-961D-12DB5B6F40C5}"/>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33">
              <a:extLst>
                <a:ext uri="{FF2B5EF4-FFF2-40B4-BE49-F238E27FC236}">
                  <a16:creationId xmlns:a16="http://schemas.microsoft.com/office/drawing/2014/main" id="{449FD0E0-7629-47A0-8D66-225688D7AF80}"/>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4">
              <a:extLst>
                <a:ext uri="{FF2B5EF4-FFF2-40B4-BE49-F238E27FC236}">
                  <a16:creationId xmlns:a16="http://schemas.microsoft.com/office/drawing/2014/main" id="{BDED758C-3AE3-42DB-9840-A6D0881AA888}"/>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5">
              <a:extLst>
                <a:ext uri="{FF2B5EF4-FFF2-40B4-BE49-F238E27FC236}">
                  <a16:creationId xmlns:a16="http://schemas.microsoft.com/office/drawing/2014/main" id="{0F9FC61E-0565-48A6-8A85-7940591F3C8A}"/>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6">
              <a:extLst>
                <a:ext uri="{FF2B5EF4-FFF2-40B4-BE49-F238E27FC236}">
                  <a16:creationId xmlns:a16="http://schemas.microsoft.com/office/drawing/2014/main" id="{EF6270DF-C9F0-47CD-A4F1-340FC2826102}"/>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7">
              <a:extLst>
                <a:ext uri="{FF2B5EF4-FFF2-40B4-BE49-F238E27FC236}">
                  <a16:creationId xmlns:a16="http://schemas.microsoft.com/office/drawing/2014/main" id="{0013A4AF-3FBE-4F3E-848B-CF5FFD516F79}"/>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8">
              <a:extLst>
                <a:ext uri="{FF2B5EF4-FFF2-40B4-BE49-F238E27FC236}">
                  <a16:creationId xmlns:a16="http://schemas.microsoft.com/office/drawing/2014/main" id="{9971BC72-4CE9-4F60-8525-0D5E6ECF794F}"/>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39">
              <a:extLst>
                <a:ext uri="{FF2B5EF4-FFF2-40B4-BE49-F238E27FC236}">
                  <a16:creationId xmlns:a16="http://schemas.microsoft.com/office/drawing/2014/main" id="{3CE03C27-7B90-49B4-9CE8-98BFC9C29ADC}"/>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0">
              <a:extLst>
                <a:ext uri="{FF2B5EF4-FFF2-40B4-BE49-F238E27FC236}">
                  <a16:creationId xmlns:a16="http://schemas.microsoft.com/office/drawing/2014/main" id="{AAAF9153-D5C9-499D-A1AC-E7740062CAB3}"/>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1">
              <a:extLst>
                <a:ext uri="{FF2B5EF4-FFF2-40B4-BE49-F238E27FC236}">
                  <a16:creationId xmlns:a16="http://schemas.microsoft.com/office/drawing/2014/main" id="{7351CB50-BDF0-42B5-9705-24E5CEB54EAD}"/>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2">
              <a:extLst>
                <a:ext uri="{FF2B5EF4-FFF2-40B4-BE49-F238E27FC236}">
                  <a16:creationId xmlns:a16="http://schemas.microsoft.com/office/drawing/2014/main" id="{E8CC6ADB-8E54-4FB2-B591-8792BE51B35E}"/>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3">
              <a:extLst>
                <a:ext uri="{FF2B5EF4-FFF2-40B4-BE49-F238E27FC236}">
                  <a16:creationId xmlns:a16="http://schemas.microsoft.com/office/drawing/2014/main" id="{01417036-DF5B-4B42-979C-12E92F208805}"/>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4">
              <a:extLst>
                <a:ext uri="{FF2B5EF4-FFF2-40B4-BE49-F238E27FC236}">
                  <a16:creationId xmlns:a16="http://schemas.microsoft.com/office/drawing/2014/main" id="{5FAC9212-84D2-4B1E-B43D-3A8B1119B81A}"/>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5">
              <a:extLst>
                <a:ext uri="{FF2B5EF4-FFF2-40B4-BE49-F238E27FC236}">
                  <a16:creationId xmlns:a16="http://schemas.microsoft.com/office/drawing/2014/main" id="{2DB9BC93-008C-49DD-8A52-EB62C0CE1081}"/>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6">
              <a:extLst>
                <a:ext uri="{FF2B5EF4-FFF2-40B4-BE49-F238E27FC236}">
                  <a16:creationId xmlns:a16="http://schemas.microsoft.com/office/drawing/2014/main" id="{E0D46DED-018C-40AA-AEEF-E33ECF426DD5}"/>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7">
              <a:extLst>
                <a:ext uri="{FF2B5EF4-FFF2-40B4-BE49-F238E27FC236}">
                  <a16:creationId xmlns:a16="http://schemas.microsoft.com/office/drawing/2014/main" id="{FFDB5E46-C8D4-4A11-94E1-65E84C3DBD7B}"/>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8">
              <a:extLst>
                <a:ext uri="{FF2B5EF4-FFF2-40B4-BE49-F238E27FC236}">
                  <a16:creationId xmlns:a16="http://schemas.microsoft.com/office/drawing/2014/main" id="{340C6304-0154-4031-9B02-68FACA198C97}"/>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49">
              <a:extLst>
                <a:ext uri="{FF2B5EF4-FFF2-40B4-BE49-F238E27FC236}">
                  <a16:creationId xmlns:a16="http://schemas.microsoft.com/office/drawing/2014/main" id="{4CA0A974-81E4-4B43-97FC-B64B21F3A389}"/>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172903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a:extLst>
              <a:ext uri="{FF2B5EF4-FFF2-40B4-BE49-F238E27FC236}">
                <a16:creationId xmlns:a16="http://schemas.microsoft.com/office/drawing/2014/main" id="{9B03AB00-4CB8-4E9F-8095-4062687770EF}"/>
              </a:ext>
            </a:extLst>
          </p:cNvPr>
          <p:cNvSpPr>
            <a:spLocks noGrp="1"/>
          </p:cNvSpPr>
          <p:nvPr>
            <p:ph type="subTitle" idx="1"/>
          </p:nvPr>
        </p:nvSpPr>
        <p:spPr/>
        <p:txBody>
          <a:bodyPr/>
          <a:lstStyle/>
          <a:p>
            <a:r>
              <a:rPr lang="en-US" dirty="0">
                <a:cs typeface="+mn-ea"/>
                <a:sym typeface="+mn-lt"/>
              </a:rPr>
              <a:t>FOLLOWED BY THE APPENDIX PAGE</a:t>
            </a:r>
          </a:p>
        </p:txBody>
      </p:sp>
      <p:sp>
        <p:nvSpPr>
          <p:cNvPr id="6" name="标题 5">
            <a:extLst>
              <a:ext uri="{FF2B5EF4-FFF2-40B4-BE49-F238E27FC236}">
                <a16:creationId xmlns:a16="http://schemas.microsoft.com/office/drawing/2014/main" id="{277D7C0E-1731-4A44-885B-29B0F3DB8234}"/>
              </a:ext>
            </a:extLst>
          </p:cNvPr>
          <p:cNvSpPr>
            <a:spLocks noGrp="1"/>
          </p:cNvSpPr>
          <p:nvPr>
            <p:ph type="ctrTitle"/>
          </p:nvPr>
        </p:nvSpPr>
        <p:spPr/>
        <p:txBody>
          <a:bodyPr/>
          <a:lstStyle/>
          <a:p>
            <a:r>
              <a:rPr lang="zh-CN" altLang="en-US" dirty="0">
                <a:cs typeface="+mn-ea"/>
                <a:sym typeface="+mn-lt"/>
              </a:rPr>
              <a:t>后面是附录页呀</a:t>
            </a:r>
            <a:endParaRPr lang="en-US" dirty="0">
              <a:cs typeface="+mn-ea"/>
              <a:sym typeface="+mn-lt"/>
            </a:endParaRPr>
          </a:p>
        </p:txBody>
      </p:sp>
      <p:sp>
        <p:nvSpPr>
          <p:cNvPr id="9" name="文本占位符 8">
            <a:extLst>
              <a:ext uri="{FF2B5EF4-FFF2-40B4-BE49-F238E27FC236}">
                <a16:creationId xmlns:a16="http://schemas.microsoft.com/office/drawing/2014/main" id="{4E7C1F2A-337C-494D-92AD-B706FB073018}"/>
              </a:ext>
            </a:extLst>
          </p:cNvPr>
          <p:cNvSpPr>
            <a:spLocks noGrp="1"/>
          </p:cNvSpPr>
          <p:nvPr>
            <p:ph type="body" sz="quarter" idx="12"/>
          </p:nvPr>
        </p:nvSpPr>
        <p:spPr/>
        <p:txBody>
          <a:bodyPr/>
          <a:lstStyle/>
          <a:p>
            <a:pPr marL="0" indent="0" algn="ctr">
              <a:buNone/>
            </a:pPr>
            <a:r>
              <a:rPr lang="en-US" dirty="0">
                <a:cs typeface="+mn-ea"/>
                <a:sym typeface="+mn-lt"/>
              </a:rPr>
              <a:t>06</a:t>
            </a:r>
          </a:p>
        </p:txBody>
      </p:sp>
      <p:grpSp>
        <p:nvGrpSpPr>
          <p:cNvPr id="5" name="组合 4">
            <a:extLst>
              <a:ext uri="{FF2B5EF4-FFF2-40B4-BE49-F238E27FC236}">
                <a16:creationId xmlns:a16="http://schemas.microsoft.com/office/drawing/2014/main" id="{4FC66278-9AC2-456A-8D21-391AAC743FE7}"/>
              </a:ext>
            </a:extLst>
          </p:cNvPr>
          <p:cNvGrpSpPr/>
          <p:nvPr/>
        </p:nvGrpSpPr>
        <p:grpSpPr>
          <a:xfrm>
            <a:off x="0" y="-715587"/>
            <a:ext cx="676656" cy="602672"/>
            <a:chOff x="0" y="6950133"/>
            <a:chExt cx="676656" cy="602672"/>
          </a:xfrm>
        </p:grpSpPr>
        <p:sp>
          <p:nvSpPr>
            <p:cNvPr id="7" name="矩形 6">
              <a:extLst>
                <a:ext uri="{FF2B5EF4-FFF2-40B4-BE49-F238E27FC236}">
                  <a16:creationId xmlns:a16="http://schemas.microsoft.com/office/drawing/2014/main" id="{DC7DB9FD-B5E9-4593-9456-7FED5B5E968E}"/>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10" name="组合 9">
              <a:extLst>
                <a:ext uri="{FF2B5EF4-FFF2-40B4-BE49-F238E27FC236}">
                  <a16:creationId xmlns:a16="http://schemas.microsoft.com/office/drawing/2014/main" id="{BF9A2FE4-9843-4485-88CB-5A4B310AF7AA}"/>
                </a:ext>
              </a:extLst>
            </p:cNvPr>
            <p:cNvGrpSpPr/>
            <p:nvPr/>
          </p:nvGrpSpPr>
          <p:grpSpPr>
            <a:xfrm>
              <a:off x="47544" y="7038552"/>
              <a:ext cx="581568" cy="425834"/>
              <a:chOff x="84575" y="6977592"/>
              <a:chExt cx="581568" cy="425834"/>
            </a:xfrm>
          </p:grpSpPr>
          <p:grpSp>
            <p:nvGrpSpPr>
              <p:cNvPr id="11" name="组合 10">
                <a:extLst>
                  <a:ext uri="{FF2B5EF4-FFF2-40B4-BE49-F238E27FC236}">
                    <a16:creationId xmlns:a16="http://schemas.microsoft.com/office/drawing/2014/main" id="{E7770A5C-6FA5-4F0B-BB4B-0A9F04A995A8}"/>
                  </a:ext>
                </a:extLst>
              </p:cNvPr>
              <p:cNvGrpSpPr/>
              <p:nvPr/>
            </p:nvGrpSpPr>
            <p:grpSpPr>
              <a:xfrm>
                <a:off x="84575" y="6979654"/>
                <a:ext cx="317380" cy="421711"/>
                <a:chOff x="14690033" y="2185397"/>
                <a:chExt cx="583830" cy="775754"/>
              </a:xfrm>
            </p:grpSpPr>
            <p:sp>
              <p:nvSpPr>
                <p:cNvPr id="13" name="iŝļíḑe">
                  <a:extLst>
                    <a:ext uri="{FF2B5EF4-FFF2-40B4-BE49-F238E27FC236}">
                      <a16:creationId xmlns:a16="http://schemas.microsoft.com/office/drawing/2014/main" id="{B0EF7FC0-7686-482E-9ABE-486835509700}"/>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şḷíḍé">
                  <a:extLst>
                    <a:ext uri="{FF2B5EF4-FFF2-40B4-BE49-F238E27FC236}">
                      <a16:creationId xmlns:a16="http://schemas.microsoft.com/office/drawing/2014/main" id="{311A9D3B-1B2C-4D38-B453-0B499E00BE53}"/>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ľïḓe">
                  <a:extLst>
                    <a:ext uri="{FF2B5EF4-FFF2-40B4-BE49-F238E27FC236}">
                      <a16:creationId xmlns:a16="http://schemas.microsoft.com/office/drawing/2014/main" id="{F1D94F98-DC46-4EAF-98A8-5EBF6F676293}"/>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ídê">
                  <a:extLst>
                    <a:ext uri="{FF2B5EF4-FFF2-40B4-BE49-F238E27FC236}">
                      <a16:creationId xmlns:a16="http://schemas.microsoft.com/office/drawing/2014/main" id="{CEB03758-64EE-418A-8319-FEBA8DF81165}"/>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îS1íḋè">
                  <a:extLst>
                    <a:ext uri="{FF2B5EF4-FFF2-40B4-BE49-F238E27FC236}">
                      <a16:creationId xmlns:a16="http://schemas.microsoft.com/office/drawing/2014/main" id="{7CB1A6F0-016F-4B30-9CB1-08FA3392CB1D}"/>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şļíde">
                  <a:extLst>
                    <a:ext uri="{FF2B5EF4-FFF2-40B4-BE49-F238E27FC236}">
                      <a16:creationId xmlns:a16="http://schemas.microsoft.com/office/drawing/2014/main" id="{3119D90A-B778-4C60-BCEB-407BB308B481}"/>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2" name="文本框 11">
                <a:extLst>
                  <a:ext uri="{FF2B5EF4-FFF2-40B4-BE49-F238E27FC236}">
                    <a16:creationId xmlns:a16="http://schemas.microsoft.com/office/drawing/2014/main" id="{3023390F-7AA1-4121-925B-C730108A16F3}"/>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a:extLst>
              <a:ext uri="{FF2B5EF4-FFF2-40B4-BE49-F238E27FC236}">
                <a16:creationId xmlns:a16="http://schemas.microsoft.com/office/drawing/2014/main" id="{611AD9AB-18D2-4ED6-9DF2-900CCD3066C0}"/>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30646381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940D073-51D2-4CE7-BBD8-B9F9CF6028DC}"/>
              </a:ext>
            </a:extLst>
          </p:cNvPr>
          <p:cNvSpPr txBox="1"/>
          <p:nvPr/>
        </p:nvSpPr>
        <p:spPr>
          <a:xfrm>
            <a:off x="-2" y="368300"/>
            <a:ext cx="7081522" cy="576263"/>
          </a:xfrm>
          <a:prstGeom prst="rect">
            <a:avLst/>
          </a:prstGeom>
          <a:solidFill>
            <a:schemeClr val="accent1"/>
          </a:solidFill>
        </p:spPr>
        <p:txBody>
          <a:bodyPr wrap="none" lIns="540000" tIns="0" rIns="0" bIns="0" rtlCol="0" anchor="ctr">
            <a:noAutofit/>
          </a:bodyPr>
          <a:lstStyle/>
          <a:p>
            <a:r>
              <a:rPr lang="zh-CN" altLang="en-US" sz="2800" b="1" spc="300" dirty="0">
                <a:solidFill>
                  <a:schemeClr val="bg1"/>
                </a:solidFill>
                <a:cs typeface="+mn-ea"/>
                <a:sym typeface="+mn-lt"/>
              </a:rPr>
              <a:t>答辩过程中的注意事项</a:t>
            </a:r>
            <a:endParaRPr lang="en-US" sz="2800" b="1" spc="300" dirty="0">
              <a:solidFill>
                <a:schemeClr val="bg1"/>
              </a:solidFill>
              <a:cs typeface="+mn-ea"/>
              <a:sym typeface="+mn-lt"/>
            </a:endParaRPr>
          </a:p>
        </p:txBody>
      </p:sp>
      <p:grpSp>
        <p:nvGrpSpPr>
          <p:cNvPr id="133" name="组合 132">
            <a:extLst>
              <a:ext uri="{FF2B5EF4-FFF2-40B4-BE49-F238E27FC236}">
                <a16:creationId xmlns:a16="http://schemas.microsoft.com/office/drawing/2014/main" id="{D9798060-8015-4F48-BD4C-0E2245104DB2}"/>
              </a:ext>
            </a:extLst>
          </p:cNvPr>
          <p:cNvGrpSpPr/>
          <p:nvPr/>
        </p:nvGrpSpPr>
        <p:grpSpPr>
          <a:xfrm>
            <a:off x="7284721" y="1482188"/>
            <a:ext cx="4340912" cy="4367181"/>
            <a:chOff x="15039165" y="1385489"/>
            <a:chExt cx="4824744" cy="4853940"/>
          </a:xfrm>
        </p:grpSpPr>
        <p:sp>
          <p:nvSpPr>
            <p:cNvPr id="10" name="iśļiḍè">
              <a:extLst>
                <a:ext uri="{FF2B5EF4-FFF2-40B4-BE49-F238E27FC236}">
                  <a16:creationId xmlns:a16="http://schemas.microsoft.com/office/drawing/2014/main" id="{1EBD090B-DF71-4E8D-A118-841FC9936E9F}"/>
                </a:ext>
              </a:extLst>
            </p:cNvPr>
            <p:cNvSpPr/>
            <p:nvPr/>
          </p:nvSpPr>
          <p:spPr bwMode="auto">
            <a:xfrm>
              <a:off x="18506265" y="4765000"/>
              <a:ext cx="204376" cy="200728"/>
            </a:xfrm>
            <a:custGeom>
              <a:avLst/>
              <a:gdLst>
                <a:gd name="T0" fmla="*/ 72 w 143"/>
                <a:gd name="T1" fmla="*/ 8 h 142"/>
                <a:gd name="T2" fmla="*/ 64 w 143"/>
                <a:gd name="T3" fmla="*/ 8 h 142"/>
                <a:gd name="T4" fmla="*/ 48 w 143"/>
                <a:gd name="T5" fmla="*/ 47 h 142"/>
                <a:gd name="T6" fmla="*/ 8 w 143"/>
                <a:gd name="T7" fmla="*/ 63 h 142"/>
                <a:gd name="T8" fmla="*/ 3 w 143"/>
                <a:gd name="T9" fmla="*/ 66 h 142"/>
                <a:gd name="T10" fmla="*/ 0 w 143"/>
                <a:gd name="T11" fmla="*/ 71 h 142"/>
                <a:gd name="T12" fmla="*/ 3 w 143"/>
                <a:gd name="T13" fmla="*/ 76 h 142"/>
                <a:gd name="T14" fmla="*/ 8 w 143"/>
                <a:gd name="T15" fmla="*/ 79 h 142"/>
                <a:gd name="T16" fmla="*/ 48 w 143"/>
                <a:gd name="T17" fmla="*/ 95 h 142"/>
                <a:gd name="T18" fmla="*/ 64 w 143"/>
                <a:gd name="T19" fmla="*/ 134 h 142"/>
                <a:gd name="T20" fmla="*/ 66 w 143"/>
                <a:gd name="T21" fmla="*/ 140 h 142"/>
                <a:gd name="T22" fmla="*/ 72 w 143"/>
                <a:gd name="T23" fmla="*/ 142 h 142"/>
                <a:gd name="T24" fmla="*/ 77 w 143"/>
                <a:gd name="T25" fmla="*/ 140 h 142"/>
                <a:gd name="T26" fmla="*/ 79 w 143"/>
                <a:gd name="T27" fmla="*/ 134 h 142"/>
                <a:gd name="T28" fmla="*/ 96 w 143"/>
                <a:gd name="T29" fmla="*/ 95 h 142"/>
                <a:gd name="T30" fmla="*/ 135 w 143"/>
                <a:gd name="T31" fmla="*/ 79 h 142"/>
                <a:gd name="T32" fmla="*/ 141 w 143"/>
                <a:gd name="T33" fmla="*/ 76 h 142"/>
                <a:gd name="T34" fmla="*/ 143 w 143"/>
                <a:gd name="T35" fmla="*/ 71 h 142"/>
                <a:gd name="T36" fmla="*/ 141 w 143"/>
                <a:gd name="T37" fmla="*/ 66 h 142"/>
                <a:gd name="T38" fmla="*/ 135 w 143"/>
                <a:gd name="T39" fmla="*/ 63 h 142"/>
                <a:gd name="T40" fmla="*/ 96 w 143"/>
                <a:gd name="T41" fmla="*/ 47 h 142"/>
                <a:gd name="T42" fmla="*/ 79 w 143"/>
                <a:gd name="T43" fmla="*/ 8 h 142"/>
                <a:gd name="T44" fmla="*/ 77 w 143"/>
                <a:gd name="T45" fmla="*/ 2 h 142"/>
                <a:gd name="T46" fmla="*/ 72 w 143"/>
                <a:gd name="T47" fmla="*/ 0 h 142"/>
                <a:gd name="T48" fmla="*/ 66 w 143"/>
                <a:gd name="T49" fmla="*/ 2 h 142"/>
                <a:gd name="T50" fmla="*/ 64 w 143"/>
                <a:gd name="T51" fmla="*/ 8 h 142"/>
                <a:gd name="T52" fmla="*/ 72 w 143"/>
                <a:gd name="T53" fmla="*/ 8 h 142"/>
                <a:gd name="T54" fmla="*/ 64 w 143"/>
                <a:gd name="T55" fmla="*/ 8 h 142"/>
                <a:gd name="T56" fmla="*/ 135 w 143"/>
                <a:gd name="T57" fmla="*/ 79 h 142"/>
                <a:gd name="T58" fmla="*/ 141 w 143"/>
                <a:gd name="T59" fmla="*/ 76 h 142"/>
                <a:gd name="T60" fmla="*/ 143 w 143"/>
                <a:gd name="T61" fmla="*/ 71 h 142"/>
                <a:gd name="T62" fmla="*/ 141 w 143"/>
                <a:gd name="T63" fmla="*/ 66 h 142"/>
                <a:gd name="T64" fmla="*/ 135 w 143"/>
                <a:gd name="T65" fmla="*/ 63 h 142"/>
                <a:gd name="T66" fmla="*/ 64 w 143"/>
                <a:gd name="T67" fmla="*/ 134 h 142"/>
                <a:gd name="T68" fmla="*/ 66 w 143"/>
                <a:gd name="T69" fmla="*/ 140 h 142"/>
                <a:gd name="T70" fmla="*/ 72 w 143"/>
                <a:gd name="T71" fmla="*/ 142 h 142"/>
                <a:gd name="T72" fmla="*/ 77 w 143"/>
                <a:gd name="T73" fmla="*/ 140 h 142"/>
                <a:gd name="T74" fmla="*/ 79 w 143"/>
                <a:gd name="T75" fmla="*/ 134 h 142"/>
                <a:gd name="T76" fmla="*/ 8 w 143"/>
                <a:gd name="T77" fmla="*/ 63 h 142"/>
                <a:gd name="T78" fmla="*/ 3 w 143"/>
                <a:gd name="T79" fmla="*/ 66 h 142"/>
                <a:gd name="T80" fmla="*/ 0 w 143"/>
                <a:gd name="T81" fmla="*/ 71 h 142"/>
                <a:gd name="T82" fmla="*/ 3 w 143"/>
                <a:gd name="T83" fmla="*/ 76 h 142"/>
                <a:gd name="T84" fmla="*/ 8 w 143"/>
                <a:gd name="T85" fmla="*/ 79 h 142"/>
                <a:gd name="T86" fmla="*/ 79 w 143"/>
                <a:gd name="T87" fmla="*/ 8 h 142"/>
                <a:gd name="T88" fmla="*/ 77 w 143"/>
                <a:gd name="T89" fmla="*/ 2 h 142"/>
                <a:gd name="T90" fmla="*/ 72 w 143"/>
                <a:gd name="T91" fmla="*/ 0 h 142"/>
                <a:gd name="T92" fmla="*/ 66 w 143"/>
                <a:gd name="T93" fmla="*/ 2 h 142"/>
                <a:gd name="T94" fmla="*/ 64 w 143"/>
                <a:gd name="T95" fmla="*/ 8 h 142"/>
                <a:gd name="T96" fmla="*/ 72 w 143"/>
                <a:gd name="T9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 h="142">
                  <a:moveTo>
                    <a:pt x="72" y="8"/>
                  </a:moveTo>
                  <a:cubicBezTo>
                    <a:pt x="64" y="8"/>
                    <a:pt x="64" y="8"/>
                    <a:pt x="64" y="8"/>
                  </a:cubicBezTo>
                  <a:cubicBezTo>
                    <a:pt x="64" y="23"/>
                    <a:pt x="58" y="37"/>
                    <a:pt x="48" y="47"/>
                  </a:cubicBezTo>
                  <a:cubicBezTo>
                    <a:pt x="37" y="57"/>
                    <a:pt x="24" y="63"/>
                    <a:pt x="8" y="63"/>
                  </a:cubicBezTo>
                  <a:cubicBezTo>
                    <a:pt x="6" y="63"/>
                    <a:pt x="4" y="64"/>
                    <a:pt x="3" y="66"/>
                  </a:cubicBezTo>
                  <a:cubicBezTo>
                    <a:pt x="1" y="67"/>
                    <a:pt x="0" y="69"/>
                    <a:pt x="0" y="71"/>
                  </a:cubicBezTo>
                  <a:cubicBezTo>
                    <a:pt x="0" y="73"/>
                    <a:pt x="1" y="75"/>
                    <a:pt x="3" y="76"/>
                  </a:cubicBezTo>
                  <a:cubicBezTo>
                    <a:pt x="4" y="78"/>
                    <a:pt x="6" y="79"/>
                    <a:pt x="8" y="79"/>
                  </a:cubicBezTo>
                  <a:cubicBezTo>
                    <a:pt x="24" y="79"/>
                    <a:pt x="37" y="85"/>
                    <a:pt x="48" y="95"/>
                  </a:cubicBezTo>
                  <a:cubicBezTo>
                    <a:pt x="58" y="105"/>
                    <a:pt x="64" y="119"/>
                    <a:pt x="64" y="134"/>
                  </a:cubicBezTo>
                  <a:cubicBezTo>
                    <a:pt x="64" y="136"/>
                    <a:pt x="65" y="138"/>
                    <a:pt x="66" y="140"/>
                  </a:cubicBezTo>
                  <a:cubicBezTo>
                    <a:pt x="68" y="141"/>
                    <a:pt x="70" y="142"/>
                    <a:pt x="72" y="142"/>
                  </a:cubicBezTo>
                  <a:cubicBezTo>
                    <a:pt x="74" y="142"/>
                    <a:pt x="76" y="141"/>
                    <a:pt x="77" y="140"/>
                  </a:cubicBezTo>
                  <a:cubicBezTo>
                    <a:pt x="79" y="138"/>
                    <a:pt x="79" y="136"/>
                    <a:pt x="79" y="134"/>
                  </a:cubicBezTo>
                  <a:cubicBezTo>
                    <a:pt x="79" y="119"/>
                    <a:pt x="86" y="105"/>
                    <a:pt x="96" y="95"/>
                  </a:cubicBezTo>
                  <a:cubicBezTo>
                    <a:pt x="106" y="85"/>
                    <a:pt x="120" y="79"/>
                    <a:pt x="135" y="79"/>
                  </a:cubicBezTo>
                  <a:cubicBezTo>
                    <a:pt x="137" y="79"/>
                    <a:pt x="139" y="78"/>
                    <a:pt x="141" y="76"/>
                  </a:cubicBezTo>
                  <a:cubicBezTo>
                    <a:pt x="142" y="75"/>
                    <a:pt x="143" y="73"/>
                    <a:pt x="143" y="71"/>
                  </a:cubicBezTo>
                  <a:cubicBezTo>
                    <a:pt x="143" y="69"/>
                    <a:pt x="142" y="67"/>
                    <a:pt x="141" y="66"/>
                  </a:cubicBezTo>
                  <a:cubicBezTo>
                    <a:pt x="139" y="64"/>
                    <a:pt x="137" y="63"/>
                    <a:pt x="135" y="63"/>
                  </a:cubicBezTo>
                  <a:cubicBezTo>
                    <a:pt x="120" y="63"/>
                    <a:pt x="106" y="57"/>
                    <a:pt x="96" y="47"/>
                  </a:cubicBezTo>
                  <a:cubicBezTo>
                    <a:pt x="86" y="37"/>
                    <a:pt x="79" y="23"/>
                    <a:pt x="79" y="8"/>
                  </a:cubicBezTo>
                  <a:cubicBezTo>
                    <a:pt x="79" y="6"/>
                    <a:pt x="79" y="4"/>
                    <a:pt x="77" y="2"/>
                  </a:cubicBezTo>
                  <a:cubicBezTo>
                    <a:pt x="76" y="1"/>
                    <a:pt x="74" y="0"/>
                    <a:pt x="72" y="0"/>
                  </a:cubicBezTo>
                  <a:cubicBezTo>
                    <a:pt x="70" y="0"/>
                    <a:pt x="68" y="1"/>
                    <a:pt x="66" y="2"/>
                  </a:cubicBezTo>
                  <a:cubicBezTo>
                    <a:pt x="65" y="4"/>
                    <a:pt x="64" y="6"/>
                    <a:pt x="64" y="8"/>
                  </a:cubicBezTo>
                  <a:cubicBezTo>
                    <a:pt x="72" y="8"/>
                    <a:pt x="72" y="8"/>
                    <a:pt x="72" y="8"/>
                  </a:cubicBezTo>
                  <a:cubicBezTo>
                    <a:pt x="64" y="8"/>
                    <a:pt x="64" y="8"/>
                    <a:pt x="64" y="8"/>
                  </a:cubicBezTo>
                  <a:cubicBezTo>
                    <a:pt x="64" y="47"/>
                    <a:pt x="96" y="79"/>
                    <a:pt x="135" y="79"/>
                  </a:cubicBezTo>
                  <a:cubicBezTo>
                    <a:pt x="137" y="79"/>
                    <a:pt x="139" y="78"/>
                    <a:pt x="141" y="76"/>
                  </a:cubicBezTo>
                  <a:cubicBezTo>
                    <a:pt x="142" y="75"/>
                    <a:pt x="143" y="73"/>
                    <a:pt x="143" y="71"/>
                  </a:cubicBezTo>
                  <a:cubicBezTo>
                    <a:pt x="143" y="69"/>
                    <a:pt x="142" y="67"/>
                    <a:pt x="141" y="66"/>
                  </a:cubicBezTo>
                  <a:cubicBezTo>
                    <a:pt x="139" y="64"/>
                    <a:pt x="137" y="63"/>
                    <a:pt x="135" y="63"/>
                  </a:cubicBezTo>
                  <a:cubicBezTo>
                    <a:pt x="96" y="63"/>
                    <a:pt x="64" y="95"/>
                    <a:pt x="64" y="134"/>
                  </a:cubicBezTo>
                  <a:cubicBezTo>
                    <a:pt x="64" y="136"/>
                    <a:pt x="65" y="138"/>
                    <a:pt x="66" y="140"/>
                  </a:cubicBezTo>
                  <a:cubicBezTo>
                    <a:pt x="68" y="141"/>
                    <a:pt x="70" y="142"/>
                    <a:pt x="72" y="142"/>
                  </a:cubicBezTo>
                  <a:cubicBezTo>
                    <a:pt x="74" y="142"/>
                    <a:pt x="76" y="141"/>
                    <a:pt x="77" y="140"/>
                  </a:cubicBezTo>
                  <a:cubicBezTo>
                    <a:pt x="79" y="138"/>
                    <a:pt x="79" y="136"/>
                    <a:pt x="79" y="134"/>
                  </a:cubicBezTo>
                  <a:cubicBezTo>
                    <a:pt x="79" y="95"/>
                    <a:pt x="47" y="63"/>
                    <a:pt x="8" y="63"/>
                  </a:cubicBezTo>
                  <a:cubicBezTo>
                    <a:pt x="6" y="63"/>
                    <a:pt x="4" y="64"/>
                    <a:pt x="3" y="66"/>
                  </a:cubicBezTo>
                  <a:cubicBezTo>
                    <a:pt x="1" y="67"/>
                    <a:pt x="0" y="69"/>
                    <a:pt x="0" y="71"/>
                  </a:cubicBezTo>
                  <a:cubicBezTo>
                    <a:pt x="0" y="73"/>
                    <a:pt x="1" y="75"/>
                    <a:pt x="3" y="76"/>
                  </a:cubicBezTo>
                  <a:cubicBezTo>
                    <a:pt x="4" y="78"/>
                    <a:pt x="6" y="79"/>
                    <a:pt x="8" y="79"/>
                  </a:cubicBezTo>
                  <a:cubicBezTo>
                    <a:pt x="47" y="79"/>
                    <a:pt x="79" y="47"/>
                    <a:pt x="79" y="8"/>
                  </a:cubicBezTo>
                  <a:cubicBezTo>
                    <a:pt x="79" y="6"/>
                    <a:pt x="79" y="4"/>
                    <a:pt x="77" y="2"/>
                  </a:cubicBezTo>
                  <a:cubicBezTo>
                    <a:pt x="76" y="1"/>
                    <a:pt x="74" y="0"/>
                    <a:pt x="72" y="0"/>
                  </a:cubicBezTo>
                  <a:cubicBezTo>
                    <a:pt x="70" y="0"/>
                    <a:pt x="68" y="1"/>
                    <a:pt x="66" y="2"/>
                  </a:cubicBezTo>
                  <a:cubicBezTo>
                    <a:pt x="65" y="4"/>
                    <a:pt x="64" y="6"/>
                    <a:pt x="64" y="8"/>
                  </a:cubicBezTo>
                  <a:cubicBezTo>
                    <a:pt x="72" y="8"/>
                    <a:pt x="72" y="8"/>
                    <a:pt x="72" y="8"/>
                  </a:cubicBezTo>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11" name="îṡ1iḋê">
              <a:extLst>
                <a:ext uri="{FF2B5EF4-FFF2-40B4-BE49-F238E27FC236}">
                  <a16:creationId xmlns:a16="http://schemas.microsoft.com/office/drawing/2014/main" id="{E2A5B82F-ED8F-464D-86F7-CA1F8866957A}"/>
                </a:ext>
              </a:extLst>
            </p:cNvPr>
            <p:cNvSpPr/>
            <p:nvPr/>
          </p:nvSpPr>
          <p:spPr bwMode="auto">
            <a:xfrm>
              <a:off x="17790948" y="1947526"/>
              <a:ext cx="835755" cy="660575"/>
            </a:xfrm>
            <a:custGeom>
              <a:avLst/>
              <a:gdLst>
                <a:gd name="T0" fmla="*/ 0 w 229"/>
                <a:gd name="T1" fmla="*/ 178 h 181"/>
                <a:gd name="T2" fmla="*/ 41 w 229"/>
                <a:gd name="T3" fmla="*/ 106 h 181"/>
                <a:gd name="T4" fmla="*/ 88 w 229"/>
                <a:gd name="T5" fmla="*/ 131 h 181"/>
                <a:gd name="T6" fmla="*/ 130 w 229"/>
                <a:gd name="T7" fmla="*/ 52 h 181"/>
                <a:gd name="T8" fmla="*/ 188 w 229"/>
                <a:gd name="T9" fmla="*/ 80 h 181"/>
                <a:gd name="T10" fmla="*/ 210 w 229"/>
                <a:gd name="T11" fmla="*/ 33 h 181"/>
                <a:gd name="T12" fmla="*/ 193 w 229"/>
                <a:gd name="T13" fmla="*/ 32 h 181"/>
                <a:gd name="T14" fmla="*/ 229 w 229"/>
                <a:gd name="T15" fmla="*/ 0 h 181"/>
                <a:gd name="T16" fmla="*/ 227 w 229"/>
                <a:gd name="T17" fmla="*/ 48 h 181"/>
                <a:gd name="T18" fmla="*/ 215 w 229"/>
                <a:gd name="T19" fmla="*/ 35 h 181"/>
                <a:gd name="T20" fmla="*/ 190 w 229"/>
                <a:gd name="T21" fmla="*/ 87 h 181"/>
                <a:gd name="T22" fmla="*/ 132 w 229"/>
                <a:gd name="T23" fmla="*/ 59 h 181"/>
                <a:gd name="T24" fmla="*/ 91 w 229"/>
                <a:gd name="T25" fmla="*/ 138 h 181"/>
                <a:gd name="T26" fmla="*/ 43 w 229"/>
                <a:gd name="T27" fmla="*/ 113 h 181"/>
                <a:gd name="T28" fmla="*/ 5 w 229"/>
                <a:gd name="T29" fmla="*/ 181 h 181"/>
                <a:gd name="T30" fmla="*/ 0 w 229"/>
                <a:gd name="T31" fmla="*/ 178 h 181"/>
                <a:gd name="T32" fmla="*/ 0 w 229"/>
                <a:gd name="T33" fmla="*/ 17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9" h="181">
                  <a:moveTo>
                    <a:pt x="0" y="178"/>
                  </a:moveTo>
                  <a:lnTo>
                    <a:pt x="41" y="106"/>
                  </a:lnTo>
                  <a:lnTo>
                    <a:pt x="88" y="131"/>
                  </a:lnTo>
                  <a:lnTo>
                    <a:pt x="130" y="52"/>
                  </a:lnTo>
                  <a:lnTo>
                    <a:pt x="188" y="80"/>
                  </a:lnTo>
                  <a:lnTo>
                    <a:pt x="210" y="33"/>
                  </a:lnTo>
                  <a:lnTo>
                    <a:pt x="193" y="32"/>
                  </a:lnTo>
                  <a:lnTo>
                    <a:pt x="229" y="0"/>
                  </a:lnTo>
                  <a:lnTo>
                    <a:pt x="227" y="48"/>
                  </a:lnTo>
                  <a:lnTo>
                    <a:pt x="215" y="35"/>
                  </a:lnTo>
                  <a:lnTo>
                    <a:pt x="190" y="87"/>
                  </a:lnTo>
                  <a:lnTo>
                    <a:pt x="132" y="59"/>
                  </a:lnTo>
                  <a:lnTo>
                    <a:pt x="91" y="138"/>
                  </a:lnTo>
                  <a:lnTo>
                    <a:pt x="43" y="113"/>
                  </a:lnTo>
                  <a:lnTo>
                    <a:pt x="5" y="181"/>
                  </a:lnTo>
                  <a:lnTo>
                    <a:pt x="0" y="178"/>
                  </a:lnTo>
                  <a:lnTo>
                    <a:pt x="0" y="178"/>
                  </a:lnTo>
                  <a:close/>
                </a:path>
              </a:pathLst>
            </a:custGeom>
            <a:solidFill>
              <a:schemeClr val="bg1">
                <a:lumMod val="65000"/>
              </a:schemeClr>
            </a:solidFill>
            <a:ln w="9525">
              <a:solidFill>
                <a:schemeClr val="tx1">
                  <a:lumMod val="75000"/>
                  <a:lumOff val="25000"/>
                </a:schemeClr>
              </a:solidFill>
              <a:round/>
              <a:headEnd/>
              <a:tailEnd/>
            </a:ln>
          </p:spPr>
          <p:txBody>
            <a:bodyPr anchor="ctr"/>
            <a:lstStyle/>
            <a:p>
              <a:pPr algn="ctr"/>
              <a:endParaRPr>
                <a:cs typeface="+mn-ea"/>
                <a:sym typeface="+mn-lt"/>
              </a:endParaRPr>
            </a:p>
          </p:txBody>
        </p:sp>
        <p:sp>
          <p:nvSpPr>
            <p:cNvPr id="12" name="íṧľiḍé">
              <a:extLst>
                <a:ext uri="{FF2B5EF4-FFF2-40B4-BE49-F238E27FC236}">
                  <a16:creationId xmlns:a16="http://schemas.microsoft.com/office/drawing/2014/main" id="{3BFF12A5-5F52-48C5-BB9B-A17B154D56F1}"/>
                </a:ext>
              </a:extLst>
            </p:cNvPr>
            <p:cNvSpPr/>
            <p:nvPr/>
          </p:nvSpPr>
          <p:spPr bwMode="auto">
            <a:xfrm>
              <a:off x="18396778" y="5279589"/>
              <a:ext cx="503642" cy="521891"/>
            </a:xfrm>
            <a:custGeom>
              <a:avLst/>
              <a:gdLst>
                <a:gd name="T0" fmla="*/ 49 w 354"/>
                <a:gd name="T1" fmla="*/ 306 h 366"/>
                <a:gd name="T2" fmla="*/ 62 w 354"/>
                <a:gd name="T3" fmla="*/ 224 h 366"/>
                <a:gd name="T4" fmla="*/ 103 w 354"/>
                <a:gd name="T5" fmla="*/ 229 h 366"/>
                <a:gd name="T6" fmla="*/ 90 w 354"/>
                <a:gd name="T7" fmla="*/ 311 h 366"/>
                <a:gd name="T8" fmla="*/ 0 w 354"/>
                <a:gd name="T9" fmla="*/ 346 h 366"/>
                <a:gd name="T10" fmla="*/ 49 w 354"/>
                <a:gd name="T11" fmla="*/ 307 h 366"/>
                <a:gd name="T12" fmla="*/ 89 w 354"/>
                <a:gd name="T13" fmla="*/ 314 h 366"/>
                <a:gd name="T14" fmla="*/ 120 w 354"/>
                <a:gd name="T15" fmla="*/ 366 h 366"/>
                <a:gd name="T16" fmla="*/ 0 w 354"/>
                <a:gd name="T17" fmla="*/ 346 h 366"/>
                <a:gd name="T18" fmla="*/ 204 w 354"/>
                <a:gd name="T19" fmla="*/ 171 h 366"/>
                <a:gd name="T20" fmla="*/ 318 w 354"/>
                <a:gd name="T21" fmla="*/ 40 h 366"/>
                <a:gd name="T22" fmla="*/ 243 w 354"/>
                <a:gd name="T23" fmla="*/ 28 h 366"/>
                <a:gd name="T24" fmla="*/ 247 w 354"/>
                <a:gd name="T25" fmla="*/ 0 h 366"/>
                <a:gd name="T26" fmla="*/ 354 w 354"/>
                <a:gd name="T27" fmla="*/ 17 h 366"/>
                <a:gd name="T28" fmla="*/ 350 w 354"/>
                <a:gd name="T29" fmla="*/ 32 h 366"/>
                <a:gd name="T30" fmla="*/ 311 w 354"/>
                <a:gd name="T31" fmla="*/ 122 h 366"/>
                <a:gd name="T32" fmla="*/ 176 w 354"/>
                <a:gd name="T33" fmla="*/ 20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4" h="366">
                  <a:moveTo>
                    <a:pt x="49" y="306"/>
                  </a:moveTo>
                  <a:cubicBezTo>
                    <a:pt x="54" y="277"/>
                    <a:pt x="59" y="245"/>
                    <a:pt x="62" y="224"/>
                  </a:cubicBezTo>
                  <a:moveTo>
                    <a:pt x="103" y="229"/>
                  </a:moveTo>
                  <a:cubicBezTo>
                    <a:pt x="100" y="250"/>
                    <a:pt x="94" y="282"/>
                    <a:pt x="90" y="311"/>
                  </a:cubicBezTo>
                  <a:moveTo>
                    <a:pt x="0" y="346"/>
                  </a:moveTo>
                  <a:cubicBezTo>
                    <a:pt x="49" y="307"/>
                    <a:pt x="49" y="307"/>
                    <a:pt x="49" y="307"/>
                  </a:cubicBezTo>
                  <a:cubicBezTo>
                    <a:pt x="89" y="314"/>
                    <a:pt x="89" y="314"/>
                    <a:pt x="89" y="314"/>
                  </a:cubicBezTo>
                  <a:cubicBezTo>
                    <a:pt x="120" y="366"/>
                    <a:pt x="120" y="366"/>
                    <a:pt x="120" y="366"/>
                  </a:cubicBezTo>
                  <a:cubicBezTo>
                    <a:pt x="0" y="346"/>
                    <a:pt x="0" y="346"/>
                    <a:pt x="0" y="346"/>
                  </a:cubicBezTo>
                  <a:close/>
                  <a:moveTo>
                    <a:pt x="204" y="171"/>
                  </a:moveTo>
                  <a:cubicBezTo>
                    <a:pt x="270" y="162"/>
                    <a:pt x="306" y="76"/>
                    <a:pt x="318" y="40"/>
                  </a:cubicBezTo>
                  <a:cubicBezTo>
                    <a:pt x="318" y="40"/>
                    <a:pt x="265" y="31"/>
                    <a:pt x="243" y="28"/>
                  </a:cubicBezTo>
                  <a:moveTo>
                    <a:pt x="247" y="0"/>
                  </a:moveTo>
                  <a:cubicBezTo>
                    <a:pt x="287" y="6"/>
                    <a:pt x="354" y="17"/>
                    <a:pt x="354" y="17"/>
                  </a:cubicBezTo>
                  <a:cubicBezTo>
                    <a:pt x="350" y="32"/>
                    <a:pt x="350" y="32"/>
                    <a:pt x="350" y="32"/>
                  </a:cubicBezTo>
                  <a:cubicBezTo>
                    <a:pt x="350" y="34"/>
                    <a:pt x="338" y="79"/>
                    <a:pt x="311" y="122"/>
                  </a:cubicBezTo>
                  <a:cubicBezTo>
                    <a:pt x="275" y="180"/>
                    <a:pt x="228" y="207"/>
                    <a:pt x="176" y="200"/>
                  </a:cubicBezTo>
                </a:path>
              </a:pathLst>
            </a:custGeom>
            <a:noFill/>
            <a:ln w="7938"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13" name="i$ļiďè">
              <a:extLst>
                <a:ext uri="{FF2B5EF4-FFF2-40B4-BE49-F238E27FC236}">
                  <a16:creationId xmlns:a16="http://schemas.microsoft.com/office/drawing/2014/main" id="{89CE6865-C553-4CFE-9FD1-BC5DA55FA64B}"/>
                </a:ext>
              </a:extLst>
            </p:cNvPr>
            <p:cNvSpPr/>
            <p:nvPr/>
          </p:nvSpPr>
          <p:spPr bwMode="auto">
            <a:xfrm>
              <a:off x="18228897" y="5184700"/>
              <a:ext cx="175180" cy="350359"/>
            </a:xfrm>
            <a:custGeom>
              <a:avLst/>
              <a:gdLst>
                <a:gd name="T0" fmla="*/ 116 w 123"/>
                <a:gd name="T1" fmla="*/ 229 h 245"/>
                <a:gd name="T2" fmla="*/ 59 w 123"/>
                <a:gd name="T3" fmla="*/ 193 h 245"/>
                <a:gd name="T4" fmla="*/ 24 w 123"/>
                <a:gd name="T5" fmla="*/ 119 h 245"/>
                <a:gd name="T6" fmla="*/ 16 w 123"/>
                <a:gd name="T7" fmla="*/ 41 h 245"/>
                <a:gd name="T8" fmla="*/ 16 w 123"/>
                <a:gd name="T9" fmla="*/ 24 h 245"/>
                <a:gd name="T10" fmla="*/ 16 w 123"/>
                <a:gd name="T11" fmla="*/ 24 h 245"/>
                <a:gd name="T12" fmla="*/ 17 w 123"/>
                <a:gd name="T13" fmla="*/ 9 h 245"/>
                <a:gd name="T14" fmla="*/ 10 w 123"/>
                <a:gd name="T15" fmla="*/ 8 h 245"/>
                <a:gd name="T16" fmla="*/ 8 w 123"/>
                <a:gd name="T17" fmla="*/ 16 h 245"/>
                <a:gd name="T18" fmla="*/ 113 w 123"/>
                <a:gd name="T19" fmla="*/ 33 h 245"/>
                <a:gd name="T20" fmla="*/ 122 w 123"/>
                <a:gd name="T21" fmla="*/ 27 h 245"/>
                <a:gd name="T22" fmla="*/ 116 w 123"/>
                <a:gd name="T23" fmla="*/ 18 h 245"/>
                <a:gd name="T24" fmla="*/ 48 w 123"/>
                <a:gd name="T25" fmla="*/ 7 h 245"/>
                <a:gd name="T26" fmla="*/ 22 w 123"/>
                <a:gd name="T27" fmla="*/ 2 h 245"/>
                <a:gd name="T28" fmla="*/ 11 w 123"/>
                <a:gd name="T29" fmla="*/ 0 h 245"/>
                <a:gd name="T30" fmla="*/ 5 w 123"/>
                <a:gd name="T31" fmla="*/ 2 h 245"/>
                <a:gd name="T32" fmla="*/ 2 w 123"/>
                <a:gd name="T33" fmla="*/ 7 h 245"/>
                <a:gd name="T34" fmla="*/ 1 w 123"/>
                <a:gd name="T35" fmla="*/ 23 h 245"/>
                <a:gd name="T36" fmla="*/ 1 w 123"/>
                <a:gd name="T37" fmla="*/ 23 h 245"/>
                <a:gd name="T38" fmla="*/ 0 w 123"/>
                <a:gd name="T39" fmla="*/ 41 h 245"/>
                <a:gd name="T40" fmla="*/ 9 w 123"/>
                <a:gd name="T41" fmla="*/ 122 h 245"/>
                <a:gd name="T42" fmla="*/ 47 w 123"/>
                <a:gd name="T43" fmla="*/ 203 h 245"/>
                <a:gd name="T44" fmla="*/ 112 w 123"/>
                <a:gd name="T45" fmla="*/ 244 h 245"/>
                <a:gd name="T46" fmla="*/ 121 w 123"/>
                <a:gd name="T47" fmla="*/ 238 h 245"/>
                <a:gd name="T48" fmla="*/ 116 w 123"/>
                <a:gd name="T49" fmla="*/ 229 h 245"/>
                <a:gd name="T50" fmla="*/ 116 w 123"/>
                <a:gd name="T51" fmla="*/ 229 h 245"/>
                <a:gd name="T52" fmla="*/ 113 w 123"/>
                <a:gd name="T53" fmla="*/ 46 h 245"/>
                <a:gd name="T54" fmla="*/ 38 w 123"/>
                <a:gd name="T55" fmla="*/ 34 h 245"/>
                <a:gd name="T56" fmla="*/ 31 w 123"/>
                <a:gd name="T57" fmla="*/ 35 h 245"/>
                <a:gd name="T58" fmla="*/ 29 w 123"/>
                <a:gd name="T59" fmla="*/ 41 h 245"/>
                <a:gd name="T60" fmla="*/ 40 w 123"/>
                <a:gd name="T61" fmla="*/ 128 h 245"/>
                <a:gd name="T62" fmla="*/ 62 w 123"/>
                <a:gd name="T63" fmla="*/ 176 h 245"/>
                <a:gd name="T64" fmla="*/ 102 w 123"/>
                <a:gd name="T65" fmla="*/ 211 h 245"/>
                <a:gd name="T66" fmla="*/ 113 w 123"/>
                <a:gd name="T67" fmla="*/ 207 h 245"/>
                <a:gd name="T68" fmla="*/ 109 w 123"/>
                <a:gd name="T69" fmla="*/ 197 h 245"/>
                <a:gd name="T70" fmla="*/ 75 w 123"/>
                <a:gd name="T71" fmla="*/ 167 h 245"/>
                <a:gd name="T72" fmla="*/ 50 w 123"/>
                <a:gd name="T73" fmla="*/ 100 h 245"/>
                <a:gd name="T74" fmla="*/ 44 w 123"/>
                <a:gd name="T75" fmla="*/ 41 h 245"/>
                <a:gd name="T76" fmla="*/ 36 w 123"/>
                <a:gd name="T77" fmla="*/ 41 h 245"/>
                <a:gd name="T78" fmla="*/ 35 w 123"/>
                <a:gd name="T79" fmla="*/ 49 h 245"/>
                <a:gd name="T80" fmla="*/ 44 w 123"/>
                <a:gd name="T81" fmla="*/ 50 h 245"/>
                <a:gd name="T82" fmla="*/ 110 w 123"/>
                <a:gd name="T83" fmla="*/ 61 h 245"/>
                <a:gd name="T84" fmla="*/ 119 w 123"/>
                <a:gd name="T85" fmla="*/ 55 h 245"/>
                <a:gd name="T86" fmla="*/ 113 w 123"/>
                <a:gd name="T87" fmla="*/ 46 h 245"/>
                <a:gd name="T88" fmla="*/ 113 w 123"/>
                <a:gd name="T89" fmla="*/ 4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3" h="245">
                  <a:moveTo>
                    <a:pt x="116" y="229"/>
                  </a:moveTo>
                  <a:cubicBezTo>
                    <a:pt x="93" y="223"/>
                    <a:pt x="74" y="212"/>
                    <a:pt x="59" y="193"/>
                  </a:cubicBezTo>
                  <a:cubicBezTo>
                    <a:pt x="44" y="175"/>
                    <a:pt x="32" y="150"/>
                    <a:pt x="24" y="119"/>
                  </a:cubicBezTo>
                  <a:cubicBezTo>
                    <a:pt x="17" y="88"/>
                    <a:pt x="16" y="58"/>
                    <a:pt x="16" y="41"/>
                  </a:cubicBezTo>
                  <a:cubicBezTo>
                    <a:pt x="16" y="31"/>
                    <a:pt x="16" y="25"/>
                    <a:pt x="16" y="24"/>
                  </a:cubicBezTo>
                  <a:cubicBezTo>
                    <a:pt x="16" y="24"/>
                    <a:pt x="16" y="24"/>
                    <a:pt x="16" y="24"/>
                  </a:cubicBezTo>
                  <a:cubicBezTo>
                    <a:pt x="17" y="9"/>
                    <a:pt x="17" y="9"/>
                    <a:pt x="17" y="9"/>
                  </a:cubicBezTo>
                  <a:cubicBezTo>
                    <a:pt x="10" y="8"/>
                    <a:pt x="10" y="8"/>
                    <a:pt x="10" y="8"/>
                  </a:cubicBezTo>
                  <a:cubicBezTo>
                    <a:pt x="8" y="16"/>
                    <a:pt x="8" y="16"/>
                    <a:pt x="8" y="16"/>
                  </a:cubicBezTo>
                  <a:cubicBezTo>
                    <a:pt x="8" y="16"/>
                    <a:pt x="74" y="26"/>
                    <a:pt x="113" y="33"/>
                  </a:cubicBezTo>
                  <a:cubicBezTo>
                    <a:pt x="117" y="34"/>
                    <a:pt x="121" y="31"/>
                    <a:pt x="122" y="27"/>
                  </a:cubicBezTo>
                  <a:cubicBezTo>
                    <a:pt x="123" y="22"/>
                    <a:pt x="120" y="18"/>
                    <a:pt x="116" y="18"/>
                  </a:cubicBezTo>
                  <a:cubicBezTo>
                    <a:pt x="96" y="14"/>
                    <a:pt x="70" y="10"/>
                    <a:pt x="48" y="7"/>
                  </a:cubicBezTo>
                  <a:cubicBezTo>
                    <a:pt x="38" y="5"/>
                    <a:pt x="28" y="3"/>
                    <a:pt x="22" y="2"/>
                  </a:cubicBezTo>
                  <a:cubicBezTo>
                    <a:pt x="15" y="1"/>
                    <a:pt x="11" y="0"/>
                    <a:pt x="11" y="0"/>
                  </a:cubicBezTo>
                  <a:cubicBezTo>
                    <a:pt x="9" y="0"/>
                    <a:pt x="7" y="1"/>
                    <a:pt x="5" y="2"/>
                  </a:cubicBezTo>
                  <a:cubicBezTo>
                    <a:pt x="3" y="3"/>
                    <a:pt x="2" y="5"/>
                    <a:pt x="2" y="7"/>
                  </a:cubicBezTo>
                  <a:cubicBezTo>
                    <a:pt x="1" y="23"/>
                    <a:pt x="1" y="23"/>
                    <a:pt x="1" y="23"/>
                  </a:cubicBezTo>
                  <a:cubicBezTo>
                    <a:pt x="1" y="23"/>
                    <a:pt x="1" y="23"/>
                    <a:pt x="1" y="23"/>
                  </a:cubicBezTo>
                  <a:cubicBezTo>
                    <a:pt x="1" y="24"/>
                    <a:pt x="0" y="30"/>
                    <a:pt x="0" y="41"/>
                  </a:cubicBezTo>
                  <a:cubicBezTo>
                    <a:pt x="0" y="59"/>
                    <a:pt x="2" y="90"/>
                    <a:pt x="9" y="122"/>
                  </a:cubicBezTo>
                  <a:cubicBezTo>
                    <a:pt x="17" y="155"/>
                    <a:pt x="30" y="183"/>
                    <a:pt x="47" y="203"/>
                  </a:cubicBezTo>
                  <a:cubicBezTo>
                    <a:pt x="64" y="224"/>
                    <a:pt x="86" y="238"/>
                    <a:pt x="112" y="244"/>
                  </a:cubicBezTo>
                  <a:cubicBezTo>
                    <a:pt x="116" y="245"/>
                    <a:pt x="120" y="243"/>
                    <a:pt x="121" y="238"/>
                  </a:cubicBezTo>
                  <a:cubicBezTo>
                    <a:pt x="122" y="234"/>
                    <a:pt x="120" y="230"/>
                    <a:pt x="116" y="229"/>
                  </a:cubicBezTo>
                  <a:cubicBezTo>
                    <a:pt x="116" y="229"/>
                    <a:pt x="116" y="229"/>
                    <a:pt x="116" y="229"/>
                  </a:cubicBezTo>
                  <a:moveTo>
                    <a:pt x="113" y="46"/>
                  </a:moveTo>
                  <a:cubicBezTo>
                    <a:pt x="91" y="42"/>
                    <a:pt x="38" y="34"/>
                    <a:pt x="38" y="34"/>
                  </a:cubicBezTo>
                  <a:cubicBezTo>
                    <a:pt x="36" y="33"/>
                    <a:pt x="33" y="34"/>
                    <a:pt x="31" y="35"/>
                  </a:cubicBezTo>
                  <a:cubicBezTo>
                    <a:pt x="30" y="37"/>
                    <a:pt x="29" y="39"/>
                    <a:pt x="29" y="41"/>
                  </a:cubicBezTo>
                  <a:cubicBezTo>
                    <a:pt x="29" y="61"/>
                    <a:pt x="31" y="95"/>
                    <a:pt x="40" y="128"/>
                  </a:cubicBezTo>
                  <a:cubicBezTo>
                    <a:pt x="45" y="145"/>
                    <a:pt x="52" y="162"/>
                    <a:pt x="62" y="176"/>
                  </a:cubicBezTo>
                  <a:cubicBezTo>
                    <a:pt x="72" y="191"/>
                    <a:pt x="85" y="203"/>
                    <a:pt x="102" y="211"/>
                  </a:cubicBezTo>
                  <a:cubicBezTo>
                    <a:pt x="106" y="213"/>
                    <a:pt x="111" y="211"/>
                    <a:pt x="113" y="207"/>
                  </a:cubicBezTo>
                  <a:cubicBezTo>
                    <a:pt x="115" y="203"/>
                    <a:pt x="113" y="199"/>
                    <a:pt x="109" y="197"/>
                  </a:cubicBezTo>
                  <a:cubicBezTo>
                    <a:pt x="95" y="190"/>
                    <a:pt x="84" y="180"/>
                    <a:pt x="75" y="167"/>
                  </a:cubicBezTo>
                  <a:cubicBezTo>
                    <a:pt x="62" y="148"/>
                    <a:pt x="54" y="124"/>
                    <a:pt x="50" y="100"/>
                  </a:cubicBezTo>
                  <a:cubicBezTo>
                    <a:pt x="45" y="77"/>
                    <a:pt x="44" y="55"/>
                    <a:pt x="44" y="41"/>
                  </a:cubicBezTo>
                  <a:cubicBezTo>
                    <a:pt x="36" y="41"/>
                    <a:pt x="36" y="41"/>
                    <a:pt x="36" y="41"/>
                  </a:cubicBezTo>
                  <a:cubicBezTo>
                    <a:pt x="35" y="49"/>
                    <a:pt x="35" y="49"/>
                    <a:pt x="35" y="49"/>
                  </a:cubicBezTo>
                  <a:cubicBezTo>
                    <a:pt x="35" y="49"/>
                    <a:pt x="39" y="49"/>
                    <a:pt x="44" y="50"/>
                  </a:cubicBezTo>
                  <a:cubicBezTo>
                    <a:pt x="60" y="53"/>
                    <a:pt x="94" y="59"/>
                    <a:pt x="110" y="61"/>
                  </a:cubicBezTo>
                  <a:cubicBezTo>
                    <a:pt x="114" y="62"/>
                    <a:pt x="118" y="59"/>
                    <a:pt x="119" y="55"/>
                  </a:cubicBezTo>
                  <a:cubicBezTo>
                    <a:pt x="120" y="51"/>
                    <a:pt x="117" y="47"/>
                    <a:pt x="113" y="46"/>
                  </a:cubicBezTo>
                  <a:cubicBezTo>
                    <a:pt x="113" y="46"/>
                    <a:pt x="113" y="46"/>
                    <a:pt x="113" y="46"/>
                  </a:cubicBezTo>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14" name="ïš1îḑe">
              <a:extLst>
                <a:ext uri="{FF2B5EF4-FFF2-40B4-BE49-F238E27FC236}">
                  <a16:creationId xmlns:a16="http://schemas.microsoft.com/office/drawing/2014/main" id="{51696782-DE2F-4007-930F-32D2904EDDAE}"/>
                </a:ext>
              </a:extLst>
            </p:cNvPr>
            <p:cNvSpPr/>
            <p:nvPr/>
          </p:nvSpPr>
          <p:spPr bwMode="auto">
            <a:xfrm>
              <a:off x="18363931" y="5162803"/>
              <a:ext cx="401454" cy="448899"/>
            </a:xfrm>
            <a:custGeom>
              <a:avLst/>
              <a:gdLst>
                <a:gd name="T0" fmla="*/ 22 w 283"/>
                <a:gd name="T1" fmla="*/ 7 h 318"/>
                <a:gd name="T2" fmla="*/ 8 w 283"/>
                <a:gd name="T3" fmla="*/ 92 h 318"/>
                <a:gd name="T4" fmla="*/ 2 w 283"/>
                <a:gd name="T5" fmla="*/ 140 h 318"/>
                <a:gd name="T6" fmla="*/ 0 w 283"/>
                <a:gd name="T7" fmla="*/ 180 h 318"/>
                <a:gd name="T8" fmla="*/ 1 w 283"/>
                <a:gd name="T9" fmla="*/ 192 h 318"/>
                <a:gd name="T10" fmla="*/ 34 w 283"/>
                <a:gd name="T11" fmla="*/ 278 h 318"/>
                <a:gd name="T12" fmla="*/ 99 w 283"/>
                <a:gd name="T13" fmla="*/ 315 h 318"/>
                <a:gd name="T14" fmla="*/ 104 w 283"/>
                <a:gd name="T15" fmla="*/ 315 h 318"/>
                <a:gd name="T16" fmla="*/ 109 w 283"/>
                <a:gd name="T17" fmla="*/ 316 h 318"/>
                <a:gd name="T18" fmla="*/ 128 w 283"/>
                <a:gd name="T19" fmla="*/ 318 h 318"/>
                <a:gd name="T20" fmla="*/ 191 w 283"/>
                <a:gd name="T21" fmla="*/ 297 h 318"/>
                <a:gd name="T22" fmla="*/ 241 w 283"/>
                <a:gd name="T23" fmla="*/ 232 h 318"/>
                <a:gd name="T24" fmla="*/ 248 w 283"/>
                <a:gd name="T25" fmla="*/ 216 h 318"/>
                <a:gd name="T26" fmla="*/ 268 w 283"/>
                <a:gd name="T27" fmla="*/ 129 h 318"/>
                <a:gd name="T28" fmla="*/ 283 w 283"/>
                <a:gd name="T29" fmla="*/ 47 h 318"/>
                <a:gd name="T30" fmla="*/ 276 w 283"/>
                <a:gd name="T31" fmla="*/ 38 h 318"/>
                <a:gd name="T32" fmla="*/ 267 w 283"/>
                <a:gd name="T33" fmla="*/ 44 h 318"/>
                <a:gd name="T34" fmla="*/ 250 w 283"/>
                <a:gd name="T35" fmla="*/ 139 h 318"/>
                <a:gd name="T36" fmla="*/ 239 w 283"/>
                <a:gd name="T37" fmla="*/ 191 h 318"/>
                <a:gd name="T38" fmla="*/ 233 w 283"/>
                <a:gd name="T39" fmla="*/ 211 h 318"/>
                <a:gd name="T40" fmla="*/ 227 w 283"/>
                <a:gd name="T41" fmla="*/ 226 h 318"/>
                <a:gd name="T42" fmla="*/ 182 w 283"/>
                <a:gd name="T43" fmla="*/ 284 h 318"/>
                <a:gd name="T44" fmla="*/ 128 w 283"/>
                <a:gd name="T45" fmla="*/ 302 h 318"/>
                <a:gd name="T46" fmla="*/ 111 w 283"/>
                <a:gd name="T47" fmla="*/ 301 h 318"/>
                <a:gd name="T48" fmla="*/ 106 w 283"/>
                <a:gd name="T49" fmla="*/ 300 h 318"/>
                <a:gd name="T50" fmla="*/ 102 w 283"/>
                <a:gd name="T51" fmla="*/ 299 h 318"/>
                <a:gd name="T52" fmla="*/ 45 w 283"/>
                <a:gd name="T53" fmla="*/ 268 h 318"/>
                <a:gd name="T54" fmla="*/ 16 w 283"/>
                <a:gd name="T55" fmla="*/ 191 h 318"/>
                <a:gd name="T56" fmla="*/ 16 w 283"/>
                <a:gd name="T57" fmla="*/ 180 h 318"/>
                <a:gd name="T58" fmla="*/ 18 w 283"/>
                <a:gd name="T59" fmla="*/ 142 h 318"/>
                <a:gd name="T60" fmla="*/ 37 w 283"/>
                <a:gd name="T61" fmla="*/ 9 h 318"/>
                <a:gd name="T62" fmla="*/ 31 w 283"/>
                <a:gd name="T63" fmla="*/ 1 h 318"/>
                <a:gd name="T64" fmla="*/ 22 w 283"/>
                <a:gd name="T65" fmla="*/ 7 h 318"/>
                <a:gd name="T66" fmla="*/ 22 w 283"/>
                <a:gd name="T67" fmla="*/ 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318">
                  <a:moveTo>
                    <a:pt x="22" y="7"/>
                  </a:moveTo>
                  <a:cubicBezTo>
                    <a:pt x="18" y="26"/>
                    <a:pt x="13" y="59"/>
                    <a:pt x="8" y="92"/>
                  </a:cubicBezTo>
                  <a:cubicBezTo>
                    <a:pt x="6" y="108"/>
                    <a:pt x="4" y="125"/>
                    <a:pt x="2" y="140"/>
                  </a:cubicBezTo>
                  <a:cubicBezTo>
                    <a:pt x="1" y="155"/>
                    <a:pt x="0" y="169"/>
                    <a:pt x="0" y="180"/>
                  </a:cubicBezTo>
                  <a:cubicBezTo>
                    <a:pt x="0" y="185"/>
                    <a:pt x="0" y="189"/>
                    <a:pt x="1" y="192"/>
                  </a:cubicBezTo>
                  <a:cubicBezTo>
                    <a:pt x="4" y="229"/>
                    <a:pt x="16" y="258"/>
                    <a:pt x="34" y="278"/>
                  </a:cubicBezTo>
                  <a:cubicBezTo>
                    <a:pt x="51" y="298"/>
                    <a:pt x="74" y="310"/>
                    <a:pt x="99" y="315"/>
                  </a:cubicBezTo>
                  <a:cubicBezTo>
                    <a:pt x="104" y="315"/>
                    <a:pt x="104" y="315"/>
                    <a:pt x="104" y="315"/>
                  </a:cubicBezTo>
                  <a:cubicBezTo>
                    <a:pt x="109" y="316"/>
                    <a:pt x="109" y="316"/>
                    <a:pt x="109" y="316"/>
                  </a:cubicBezTo>
                  <a:cubicBezTo>
                    <a:pt x="115" y="317"/>
                    <a:pt x="121" y="318"/>
                    <a:pt x="128" y="318"/>
                  </a:cubicBezTo>
                  <a:cubicBezTo>
                    <a:pt x="150" y="318"/>
                    <a:pt x="172" y="311"/>
                    <a:pt x="191" y="297"/>
                  </a:cubicBezTo>
                  <a:cubicBezTo>
                    <a:pt x="211" y="283"/>
                    <a:pt x="228" y="262"/>
                    <a:pt x="241" y="232"/>
                  </a:cubicBezTo>
                  <a:cubicBezTo>
                    <a:pt x="244" y="228"/>
                    <a:pt x="246" y="222"/>
                    <a:pt x="248" y="216"/>
                  </a:cubicBezTo>
                  <a:cubicBezTo>
                    <a:pt x="255" y="194"/>
                    <a:pt x="262" y="161"/>
                    <a:pt x="268" y="129"/>
                  </a:cubicBezTo>
                  <a:cubicBezTo>
                    <a:pt x="275" y="96"/>
                    <a:pt x="280" y="65"/>
                    <a:pt x="283" y="47"/>
                  </a:cubicBezTo>
                  <a:cubicBezTo>
                    <a:pt x="283" y="42"/>
                    <a:pt x="281" y="38"/>
                    <a:pt x="276" y="38"/>
                  </a:cubicBezTo>
                  <a:cubicBezTo>
                    <a:pt x="272" y="37"/>
                    <a:pt x="268" y="40"/>
                    <a:pt x="267" y="44"/>
                  </a:cubicBezTo>
                  <a:cubicBezTo>
                    <a:pt x="264" y="65"/>
                    <a:pt x="258" y="103"/>
                    <a:pt x="250" y="139"/>
                  </a:cubicBezTo>
                  <a:cubicBezTo>
                    <a:pt x="247" y="157"/>
                    <a:pt x="243" y="175"/>
                    <a:pt x="239" y="191"/>
                  </a:cubicBezTo>
                  <a:cubicBezTo>
                    <a:pt x="237" y="198"/>
                    <a:pt x="235" y="205"/>
                    <a:pt x="233" y="211"/>
                  </a:cubicBezTo>
                  <a:cubicBezTo>
                    <a:pt x="231" y="217"/>
                    <a:pt x="229" y="222"/>
                    <a:pt x="227" y="226"/>
                  </a:cubicBezTo>
                  <a:cubicBezTo>
                    <a:pt x="215" y="253"/>
                    <a:pt x="199" y="272"/>
                    <a:pt x="182" y="284"/>
                  </a:cubicBezTo>
                  <a:cubicBezTo>
                    <a:pt x="165" y="297"/>
                    <a:pt x="147" y="302"/>
                    <a:pt x="128" y="302"/>
                  </a:cubicBezTo>
                  <a:cubicBezTo>
                    <a:pt x="122" y="302"/>
                    <a:pt x="117" y="302"/>
                    <a:pt x="111" y="301"/>
                  </a:cubicBezTo>
                  <a:cubicBezTo>
                    <a:pt x="106" y="300"/>
                    <a:pt x="106" y="300"/>
                    <a:pt x="106" y="300"/>
                  </a:cubicBezTo>
                  <a:cubicBezTo>
                    <a:pt x="102" y="299"/>
                    <a:pt x="102" y="299"/>
                    <a:pt x="102" y="299"/>
                  </a:cubicBezTo>
                  <a:cubicBezTo>
                    <a:pt x="80" y="296"/>
                    <a:pt x="60" y="285"/>
                    <a:pt x="45" y="268"/>
                  </a:cubicBezTo>
                  <a:cubicBezTo>
                    <a:pt x="30" y="250"/>
                    <a:pt x="20" y="225"/>
                    <a:pt x="16" y="191"/>
                  </a:cubicBezTo>
                  <a:cubicBezTo>
                    <a:pt x="16" y="188"/>
                    <a:pt x="16" y="184"/>
                    <a:pt x="16" y="180"/>
                  </a:cubicBezTo>
                  <a:cubicBezTo>
                    <a:pt x="16" y="170"/>
                    <a:pt x="16" y="157"/>
                    <a:pt x="18" y="142"/>
                  </a:cubicBezTo>
                  <a:cubicBezTo>
                    <a:pt x="22" y="97"/>
                    <a:pt x="32" y="39"/>
                    <a:pt x="37" y="9"/>
                  </a:cubicBezTo>
                  <a:cubicBezTo>
                    <a:pt x="38" y="5"/>
                    <a:pt x="35" y="1"/>
                    <a:pt x="31" y="1"/>
                  </a:cubicBezTo>
                  <a:cubicBezTo>
                    <a:pt x="26" y="0"/>
                    <a:pt x="22" y="3"/>
                    <a:pt x="22" y="7"/>
                  </a:cubicBezTo>
                  <a:cubicBezTo>
                    <a:pt x="22" y="7"/>
                    <a:pt x="22" y="7"/>
                    <a:pt x="22" y="7"/>
                  </a:cubicBezTo>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15" name="ï$ļîḋê">
              <a:extLst>
                <a:ext uri="{FF2B5EF4-FFF2-40B4-BE49-F238E27FC236}">
                  <a16:creationId xmlns:a16="http://schemas.microsoft.com/office/drawing/2014/main" id="{EAEEA29B-D63E-4046-9A4A-36D50655C43B}"/>
                </a:ext>
              </a:extLst>
            </p:cNvPr>
            <p:cNvSpPr/>
            <p:nvPr/>
          </p:nvSpPr>
          <p:spPr bwMode="auto">
            <a:xfrm>
              <a:off x="18261742" y="5768632"/>
              <a:ext cx="368609" cy="299265"/>
            </a:xfrm>
            <a:custGeom>
              <a:avLst/>
              <a:gdLst>
                <a:gd name="T0" fmla="*/ 217 w 260"/>
                <a:gd name="T1" fmla="*/ 23 h 211"/>
                <a:gd name="T2" fmla="*/ 95 w 260"/>
                <a:gd name="T3" fmla="*/ 3 h 211"/>
                <a:gd name="T4" fmla="*/ 58 w 260"/>
                <a:gd name="T5" fmla="*/ 30 h 211"/>
                <a:gd name="T6" fmla="*/ 244 w 260"/>
                <a:gd name="T7" fmla="*/ 61 h 211"/>
                <a:gd name="T8" fmla="*/ 217 w 260"/>
                <a:gd name="T9" fmla="*/ 23 h 211"/>
                <a:gd name="T10" fmla="*/ 242 w 260"/>
                <a:gd name="T11" fmla="*/ 175 h 211"/>
                <a:gd name="T12" fmla="*/ 24 w 260"/>
                <a:gd name="T13" fmla="*/ 139 h 211"/>
                <a:gd name="T14" fmla="*/ 42 w 260"/>
                <a:gd name="T15" fmla="*/ 27 h 211"/>
                <a:gd name="T16" fmla="*/ 260 w 260"/>
                <a:gd name="T17" fmla="*/ 63 h 211"/>
                <a:gd name="T18" fmla="*/ 242 w 260"/>
                <a:gd name="T19" fmla="*/ 175 h 211"/>
                <a:gd name="T20" fmla="*/ 254 w 260"/>
                <a:gd name="T21" fmla="*/ 211 h 211"/>
                <a:gd name="T22" fmla="*/ 0 w 260"/>
                <a:gd name="T23" fmla="*/ 169 h 211"/>
                <a:gd name="T24" fmla="*/ 5 w 260"/>
                <a:gd name="T25" fmla="*/ 136 h 211"/>
                <a:gd name="T26" fmla="*/ 260 w 260"/>
                <a:gd name="T27" fmla="*/ 178 h 211"/>
                <a:gd name="T28" fmla="*/ 254 w 260"/>
                <a:gd name="T29"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211">
                  <a:moveTo>
                    <a:pt x="217" y="23"/>
                  </a:moveTo>
                  <a:cubicBezTo>
                    <a:pt x="95" y="3"/>
                    <a:pt x="95" y="3"/>
                    <a:pt x="95" y="3"/>
                  </a:cubicBezTo>
                  <a:cubicBezTo>
                    <a:pt x="77" y="0"/>
                    <a:pt x="61" y="12"/>
                    <a:pt x="58" y="30"/>
                  </a:cubicBezTo>
                  <a:cubicBezTo>
                    <a:pt x="244" y="61"/>
                    <a:pt x="244" y="61"/>
                    <a:pt x="244" y="61"/>
                  </a:cubicBezTo>
                  <a:cubicBezTo>
                    <a:pt x="247" y="43"/>
                    <a:pt x="235" y="26"/>
                    <a:pt x="217" y="23"/>
                  </a:cubicBezTo>
                  <a:close/>
                  <a:moveTo>
                    <a:pt x="242" y="175"/>
                  </a:moveTo>
                  <a:cubicBezTo>
                    <a:pt x="24" y="139"/>
                    <a:pt x="24" y="139"/>
                    <a:pt x="24" y="139"/>
                  </a:cubicBezTo>
                  <a:cubicBezTo>
                    <a:pt x="42" y="27"/>
                    <a:pt x="42" y="27"/>
                    <a:pt x="42" y="27"/>
                  </a:cubicBezTo>
                  <a:cubicBezTo>
                    <a:pt x="260" y="63"/>
                    <a:pt x="260" y="63"/>
                    <a:pt x="260" y="63"/>
                  </a:cubicBezTo>
                  <a:cubicBezTo>
                    <a:pt x="242" y="175"/>
                    <a:pt x="242" y="175"/>
                    <a:pt x="242" y="175"/>
                  </a:cubicBezTo>
                  <a:close/>
                  <a:moveTo>
                    <a:pt x="254" y="211"/>
                  </a:moveTo>
                  <a:cubicBezTo>
                    <a:pt x="0" y="169"/>
                    <a:pt x="0" y="169"/>
                    <a:pt x="0" y="169"/>
                  </a:cubicBezTo>
                  <a:cubicBezTo>
                    <a:pt x="5" y="136"/>
                    <a:pt x="5" y="136"/>
                    <a:pt x="5" y="136"/>
                  </a:cubicBezTo>
                  <a:cubicBezTo>
                    <a:pt x="260" y="178"/>
                    <a:pt x="260" y="178"/>
                    <a:pt x="260" y="178"/>
                  </a:cubicBezTo>
                  <a:cubicBezTo>
                    <a:pt x="254" y="211"/>
                    <a:pt x="254" y="211"/>
                    <a:pt x="254" y="211"/>
                  </a:cubicBezTo>
                  <a:close/>
                </a:path>
              </a:pathLst>
            </a:custGeom>
            <a:noFill/>
            <a:ln w="7938"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16" name="ïS1îde">
              <a:extLst>
                <a:ext uri="{FF2B5EF4-FFF2-40B4-BE49-F238E27FC236}">
                  <a16:creationId xmlns:a16="http://schemas.microsoft.com/office/drawing/2014/main" id="{5172ABCD-5863-4C78-B61C-21C78D981F71}"/>
                </a:ext>
              </a:extLst>
            </p:cNvPr>
            <p:cNvSpPr/>
            <p:nvPr/>
          </p:nvSpPr>
          <p:spPr bwMode="auto">
            <a:xfrm>
              <a:off x="18378529" y="5104409"/>
              <a:ext cx="423351" cy="131385"/>
            </a:xfrm>
            <a:custGeom>
              <a:avLst/>
              <a:gdLst>
                <a:gd name="T0" fmla="*/ 291 w 299"/>
                <a:gd name="T1" fmla="*/ 70 h 94"/>
                <a:gd name="T2" fmla="*/ 283 w 299"/>
                <a:gd name="T3" fmla="*/ 69 h 94"/>
                <a:gd name="T4" fmla="*/ 279 w 299"/>
                <a:gd name="T5" fmla="*/ 75 h 94"/>
                <a:gd name="T6" fmla="*/ 272 w 299"/>
                <a:gd name="T7" fmla="*/ 78 h 94"/>
                <a:gd name="T8" fmla="*/ 270 w 299"/>
                <a:gd name="T9" fmla="*/ 78 h 94"/>
                <a:gd name="T10" fmla="*/ 270 w 299"/>
                <a:gd name="T11" fmla="*/ 78 h 94"/>
                <a:gd name="T12" fmla="*/ 25 w 299"/>
                <a:gd name="T13" fmla="*/ 37 h 94"/>
                <a:gd name="T14" fmla="*/ 18 w 299"/>
                <a:gd name="T15" fmla="*/ 33 h 94"/>
                <a:gd name="T16" fmla="*/ 15 w 299"/>
                <a:gd name="T17" fmla="*/ 26 h 94"/>
                <a:gd name="T18" fmla="*/ 16 w 299"/>
                <a:gd name="T19" fmla="*/ 24 h 94"/>
                <a:gd name="T20" fmla="*/ 16 w 299"/>
                <a:gd name="T21" fmla="*/ 24 h 94"/>
                <a:gd name="T22" fmla="*/ 19 w 299"/>
                <a:gd name="T23" fmla="*/ 18 h 94"/>
                <a:gd name="T24" fmla="*/ 27 w 299"/>
                <a:gd name="T25" fmla="*/ 15 h 94"/>
                <a:gd name="T26" fmla="*/ 28 w 299"/>
                <a:gd name="T27" fmla="*/ 15 h 94"/>
                <a:gd name="T28" fmla="*/ 28 w 299"/>
                <a:gd name="T29" fmla="*/ 15 h 94"/>
                <a:gd name="T30" fmla="*/ 274 w 299"/>
                <a:gd name="T31" fmla="*/ 56 h 94"/>
                <a:gd name="T32" fmla="*/ 281 w 299"/>
                <a:gd name="T33" fmla="*/ 60 h 94"/>
                <a:gd name="T34" fmla="*/ 283 w 299"/>
                <a:gd name="T35" fmla="*/ 67 h 94"/>
                <a:gd name="T36" fmla="*/ 283 w 299"/>
                <a:gd name="T37" fmla="*/ 69 h 94"/>
                <a:gd name="T38" fmla="*/ 283 w 299"/>
                <a:gd name="T39" fmla="*/ 69 h 94"/>
                <a:gd name="T40" fmla="*/ 291 w 299"/>
                <a:gd name="T41" fmla="*/ 70 h 94"/>
                <a:gd name="T42" fmla="*/ 298 w 299"/>
                <a:gd name="T43" fmla="*/ 71 h 94"/>
                <a:gd name="T44" fmla="*/ 299 w 299"/>
                <a:gd name="T45" fmla="*/ 67 h 94"/>
                <a:gd name="T46" fmla="*/ 292 w 299"/>
                <a:gd name="T47" fmla="*/ 50 h 94"/>
                <a:gd name="T48" fmla="*/ 276 w 299"/>
                <a:gd name="T49" fmla="*/ 41 h 94"/>
                <a:gd name="T50" fmla="*/ 31 w 299"/>
                <a:gd name="T51" fmla="*/ 0 h 94"/>
                <a:gd name="T52" fmla="*/ 31 w 299"/>
                <a:gd name="T53" fmla="*/ 0 h 94"/>
                <a:gd name="T54" fmla="*/ 27 w 299"/>
                <a:gd name="T55" fmla="*/ 0 h 94"/>
                <a:gd name="T56" fmla="*/ 9 w 299"/>
                <a:gd name="T57" fmla="*/ 6 h 94"/>
                <a:gd name="T58" fmla="*/ 0 w 299"/>
                <a:gd name="T59" fmla="*/ 22 h 94"/>
                <a:gd name="T60" fmla="*/ 0 w 299"/>
                <a:gd name="T61" fmla="*/ 22 h 94"/>
                <a:gd name="T62" fmla="*/ 0 w 299"/>
                <a:gd name="T63" fmla="*/ 26 h 94"/>
                <a:gd name="T64" fmla="*/ 6 w 299"/>
                <a:gd name="T65" fmla="*/ 43 h 94"/>
                <a:gd name="T66" fmla="*/ 22 w 299"/>
                <a:gd name="T67" fmla="*/ 52 h 94"/>
                <a:gd name="T68" fmla="*/ 268 w 299"/>
                <a:gd name="T69" fmla="*/ 93 h 94"/>
                <a:gd name="T70" fmla="*/ 268 w 299"/>
                <a:gd name="T71" fmla="*/ 93 h 94"/>
                <a:gd name="T72" fmla="*/ 272 w 299"/>
                <a:gd name="T73" fmla="*/ 94 h 94"/>
                <a:gd name="T74" fmla="*/ 289 w 299"/>
                <a:gd name="T75" fmla="*/ 87 h 94"/>
                <a:gd name="T76" fmla="*/ 298 w 299"/>
                <a:gd name="T77" fmla="*/ 71 h 94"/>
                <a:gd name="T78" fmla="*/ 298 w 299"/>
                <a:gd name="T79" fmla="*/ 71 h 94"/>
                <a:gd name="T80" fmla="*/ 291 w 299"/>
                <a:gd name="T81" fmla="*/ 7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 h="94">
                  <a:moveTo>
                    <a:pt x="291" y="70"/>
                  </a:moveTo>
                  <a:cubicBezTo>
                    <a:pt x="283" y="69"/>
                    <a:pt x="283" y="69"/>
                    <a:pt x="283" y="69"/>
                  </a:cubicBezTo>
                  <a:cubicBezTo>
                    <a:pt x="283" y="71"/>
                    <a:pt x="281" y="74"/>
                    <a:pt x="279" y="75"/>
                  </a:cubicBezTo>
                  <a:cubicBezTo>
                    <a:pt x="277" y="77"/>
                    <a:pt x="275" y="78"/>
                    <a:pt x="272" y="78"/>
                  </a:cubicBezTo>
                  <a:cubicBezTo>
                    <a:pt x="271" y="78"/>
                    <a:pt x="271" y="78"/>
                    <a:pt x="270" y="78"/>
                  </a:cubicBezTo>
                  <a:cubicBezTo>
                    <a:pt x="270" y="78"/>
                    <a:pt x="270" y="78"/>
                    <a:pt x="270" y="78"/>
                  </a:cubicBezTo>
                  <a:cubicBezTo>
                    <a:pt x="25" y="37"/>
                    <a:pt x="25" y="37"/>
                    <a:pt x="25" y="37"/>
                  </a:cubicBezTo>
                  <a:cubicBezTo>
                    <a:pt x="22" y="37"/>
                    <a:pt x="20" y="35"/>
                    <a:pt x="18" y="33"/>
                  </a:cubicBezTo>
                  <a:cubicBezTo>
                    <a:pt x="16" y="31"/>
                    <a:pt x="15" y="29"/>
                    <a:pt x="15" y="26"/>
                  </a:cubicBezTo>
                  <a:cubicBezTo>
                    <a:pt x="15" y="26"/>
                    <a:pt x="16" y="25"/>
                    <a:pt x="16" y="24"/>
                  </a:cubicBezTo>
                  <a:cubicBezTo>
                    <a:pt x="16" y="24"/>
                    <a:pt x="16" y="24"/>
                    <a:pt x="16" y="24"/>
                  </a:cubicBezTo>
                  <a:cubicBezTo>
                    <a:pt x="16" y="22"/>
                    <a:pt x="17" y="19"/>
                    <a:pt x="19" y="18"/>
                  </a:cubicBezTo>
                  <a:cubicBezTo>
                    <a:pt x="21" y="16"/>
                    <a:pt x="24" y="15"/>
                    <a:pt x="27" y="15"/>
                  </a:cubicBezTo>
                  <a:cubicBezTo>
                    <a:pt x="27" y="15"/>
                    <a:pt x="28" y="15"/>
                    <a:pt x="28" y="15"/>
                  </a:cubicBezTo>
                  <a:cubicBezTo>
                    <a:pt x="28" y="15"/>
                    <a:pt x="28" y="15"/>
                    <a:pt x="28" y="15"/>
                  </a:cubicBezTo>
                  <a:cubicBezTo>
                    <a:pt x="274" y="56"/>
                    <a:pt x="274" y="56"/>
                    <a:pt x="274" y="56"/>
                  </a:cubicBezTo>
                  <a:cubicBezTo>
                    <a:pt x="277" y="56"/>
                    <a:pt x="279" y="58"/>
                    <a:pt x="281" y="60"/>
                  </a:cubicBezTo>
                  <a:cubicBezTo>
                    <a:pt x="282" y="62"/>
                    <a:pt x="283" y="64"/>
                    <a:pt x="283" y="67"/>
                  </a:cubicBezTo>
                  <a:cubicBezTo>
                    <a:pt x="283" y="67"/>
                    <a:pt x="283" y="68"/>
                    <a:pt x="283" y="69"/>
                  </a:cubicBezTo>
                  <a:cubicBezTo>
                    <a:pt x="283" y="69"/>
                    <a:pt x="283" y="69"/>
                    <a:pt x="283" y="69"/>
                  </a:cubicBezTo>
                  <a:cubicBezTo>
                    <a:pt x="291" y="70"/>
                    <a:pt x="291" y="70"/>
                    <a:pt x="291" y="70"/>
                  </a:cubicBezTo>
                  <a:cubicBezTo>
                    <a:pt x="298" y="71"/>
                    <a:pt x="298" y="71"/>
                    <a:pt x="298" y="71"/>
                  </a:cubicBezTo>
                  <a:cubicBezTo>
                    <a:pt x="299" y="70"/>
                    <a:pt x="299" y="68"/>
                    <a:pt x="299" y="67"/>
                  </a:cubicBezTo>
                  <a:cubicBezTo>
                    <a:pt x="299" y="60"/>
                    <a:pt x="296" y="54"/>
                    <a:pt x="292" y="50"/>
                  </a:cubicBezTo>
                  <a:cubicBezTo>
                    <a:pt x="289" y="45"/>
                    <a:pt x="283" y="42"/>
                    <a:pt x="276" y="41"/>
                  </a:cubicBezTo>
                  <a:cubicBezTo>
                    <a:pt x="31" y="0"/>
                    <a:pt x="31" y="0"/>
                    <a:pt x="31" y="0"/>
                  </a:cubicBezTo>
                  <a:cubicBezTo>
                    <a:pt x="31" y="0"/>
                    <a:pt x="31" y="0"/>
                    <a:pt x="31" y="0"/>
                  </a:cubicBezTo>
                  <a:cubicBezTo>
                    <a:pt x="30" y="0"/>
                    <a:pt x="28" y="0"/>
                    <a:pt x="27" y="0"/>
                  </a:cubicBezTo>
                  <a:cubicBezTo>
                    <a:pt x="20" y="0"/>
                    <a:pt x="14" y="2"/>
                    <a:pt x="9" y="6"/>
                  </a:cubicBezTo>
                  <a:cubicBezTo>
                    <a:pt x="5" y="10"/>
                    <a:pt x="1" y="15"/>
                    <a:pt x="0" y="22"/>
                  </a:cubicBezTo>
                  <a:cubicBezTo>
                    <a:pt x="0" y="22"/>
                    <a:pt x="0" y="22"/>
                    <a:pt x="0" y="22"/>
                  </a:cubicBezTo>
                  <a:cubicBezTo>
                    <a:pt x="0" y="23"/>
                    <a:pt x="0" y="25"/>
                    <a:pt x="0" y="26"/>
                  </a:cubicBezTo>
                  <a:cubicBezTo>
                    <a:pt x="0" y="33"/>
                    <a:pt x="2" y="39"/>
                    <a:pt x="6" y="43"/>
                  </a:cubicBezTo>
                  <a:cubicBezTo>
                    <a:pt x="10" y="48"/>
                    <a:pt x="16" y="51"/>
                    <a:pt x="22" y="52"/>
                  </a:cubicBezTo>
                  <a:cubicBezTo>
                    <a:pt x="268" y="93"/>
                    <a:pt x="268" y="93"/>
                    <a:pt x="268" y="93"/>
                  </a:cubicBezTo>
                  <a:cubicBezTo>
                    <a:pt x="268" y="93"/>
                    <a:pt x="268" y="93"/>
                    <a:pt x="268" y="93"/>
                  </a:cubicBezTo>
                  <a:cubicBezTo>
                    <a:pt x="269" y="93"/>
                    <a:pt x="271" y="94"/>
                    <a:pt x="272" y="94"/>
                  </a:cubicBezTo>
                  <a:cubicBezTo>
                    <a:pt x="278" y="93"/>
                    <a:pt x="285" y="91"/>
                    <a:pt x="289" y="87"/>
                  </a:cubicBezTo>
                  <a:cubicBezTo>
                    <a:pt x="294" y="83"/>
                    <a:pt x="297" y="78"/>
                    <a:pt x="298" y="71"/>
                  </a:cubicBezTo>
                  <a:cubicBezTo>
                    <a:pt x="298" y="71"/>
                    <a:pt x="298" y="71"/>
                    <a:pt x="298" y="71"/>
                  </a:cubicBezTo>
                  <a:cubicBezTo>
                    <a:pt x="291" y="70"/>
                    <a:pt x="291" y="70"/>
                    <a:pt x="291" y="70"/>
                  </a:cubicBezTo>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17" name="ïŝlîdê">
              <a:extLst>
                <a:ext uri="{FF2B5EF4-FFF2-40B4-BE49-F238E27FC236}">
                  <a16:creationId xmlns:a16="http://schemas.microsoft.com/office/drawing/2014/main" id="{AB0B95A4-EBEC-4BEB-B368-792482BCC160}"/>
                </a:ext>
              </a:extLst>
            </p:cNvPr>
            <p:cNvSpPr/>
            <p:nvPr/>
          </p:nvSpPr>
          <p:spPr bwMode="auto">
            <a:xfrm>
              <a:off x="15039165" y="1516876"/>
              <a:ext cx="937943" cy="1069327"/>
            </a:xfrm>
            <a:custGeom>
              <a:avLst/>
              <a:gdLst>
                <a:gd name="T0" fmla="*/ 41 w 257"/>
                <a:gd name="T1" fmla="*/ 135 h 293"/>
                <a:gd name="T2" fmla="*/ 84 w 257"/>
                <a:gd name="T3" fmla="*/ 60 h 293"/>
                <a:gd name="T4" fmla="*/ 172 w 257"/>
                <a:gd name="T5" fmla="*/ 210 h 293"/>
                <a:gd name="T6" fmla="*/ 41 w 257"/>
                <a:gd name="T7" fmla="*/ 135 h 293"/>
                <a:gd name="T8" fmla="*/ 41 w 257"/>
                <a:gd name="T9" fmla="*/ 135 h 293"/>
                <a:gd name="T10" fmla="*/ 83 w 257"/>
                <a:gd name="T11" fmla="*/ 0 h 293"/>
                <a:gd name="T12" fmla="*/ 0 w 257"/>
                <a:gd name="T13" fmla="*/ 146 h 293"/>
                <a:gd name="T14" fmla="*/ 257 w 257"/>
                <a:gd name="T15" fmla="*/ 293 h 293"/>
                <a:gd name="T16" fmla="*/ 83 w 257"/>
                <a:gd name="T17" fmla="*/ 0 h 293"/>
                <a:gd name="T18" fmla="*/ 83 w 257"/>
                <a:gd name="T19" fmla="*/ 0 h 293"/>
                <a:gd name="T20" fmla="*/ 30 w 257"/>
                <a:gd name="T21" fmla="*/ 146 h 293"/>
                <a:gd name="T22" fmla="*/ 23 w 257"/>
                <a:gd name="T23" fmla="*/ 158 h 293"/>
                <a:gd name="T24" fmla="*/ 53 w 257"/>
                <a:gd name="T25" fmla="*/ 158 h 293"/>
                <a:gd name="T26" fmla="*/ 45 w 257"/>
                <a:gd name="T27" fmla="*/ 170 h 293"/>
                <a:gd name="T28" fmla="*/ 74 w 257"/>
                <a:gd name="T29" fmla="*/ 170 h 293"/>
                <a:gd name="T30" fmla="*/ 66 w 257"/>
                <a:gd name="T31" fmla="*/ 182 h 293"/>
                <a:gd name="T32" fmla="*/ 96 w 257"/>
                <a:gd name="T33" fmla="*/ 182 h 293"/>
                <a:gd name="T34" fmla="*/ 88 w 257"/>
                <a:gd name="T35" fmla="*/ 195 h 293"/>
                <a:gd name="T36" fmla="*/ 118 w 257"/>
                <a:gd name="T37" fmla="*/ 196 h 293"/>
                <a:gd name="T38" fmla="*/ 111 w 257"/>
                <a:gd name="T39" fmla="*/ 209 h 293"/>
                <a:gd name="T40" fmla="*/ 140 w 257"/>
                <a:gd name="T41" fmla="*/ 208 h 293"/>
                <a:gd name="T42" fmla="*/ 133 w 257"/>
                <a:gd name="T43" fmla="*/ 221 h 293"/>
                <a:gd name="T44" fmla="*/ 161 w 257"/>
                <a:gd name="T45" fmla="*/ 220 h 293"/>
                <a:gd name="T46" fmla="*/ 154 w 257"/>
                <a:gd name="T47" fmla="*/ 233 h 293"/>
                <a:gd name="T48" fmla="*/ 183 w 257"/>
                <a:gd name="T49" fmla="*/ 232 h 293"/>
                <a:gd name="T50" fmla="*/ 176 w 257"/>
                <a:gd name="T51" fmla="*/ 245 h 293"/>
                <a:gd name="T52" fmla="*/ 207 w 257"/>
                <a:gd name="T53" fmla="*/ 246 h 293"/>
                <a:gd name="T54" fmla="*/ 199 w 257"/>
                <a:gd name="T55" fmla="*/ 25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93">
                  <a:moveTo>
                    <a:pt x="41" y="135"/>
                  </a:moveTo>
                  <a:lnTo>
                    <a:pt x="84" y="60"/>
                  </a:lnTo>
                  <a:lnTo>
                    <a:pt x="172" y="210"/>
                  </a:lnTo>
                  <a:lnTo>
                    <a:pt x="41" y="135"/>
                  </a:lnTo>
                  <a:lnTo>
                    <a:pt x="41" y="135"/>
                  </a:lnTo>
                  <a:moveTo>
                    <a:pt x="83" y="0"/>
                  </a:moveTo>
                  <a:lnTo>
                    <a:pt x="0" y="146"/>
                  </a:lnTo>
                  <a:lnTo>
                    <a:pt x="257" y="293"/>
                  </a:lnTo>
                  <a:lnTo>
                    <a:pt x="83" y="0"/>
                  </a:lnTo>
                  <a:lnTo>
                    <a:pt x="83" y="0"/>
                  </a:lnTo>
                  <a:moveTo>
                    <a:pt x="30" y="146"/>
                  </a:moveTo>
                  <a:lnTo>
                    <a:pt x="23" y="158"/>
                  </a:lnTo>
                  <a:moveTo>
                    <a:pt x="53" y="158"/>
                  </a:moveTo>
                  <a:lnTo>
                    <a:pt x="45" y="170"/>
                  </a:lnTo>
                  <a:moveTo>
                    <a:pt x="74" y="170"/>
                  </a:moveTo>
                  <a:lnTo>
                    <a:pt x="66" y="182"/>
                  </a:lnTo>
                  <a:moveTo>
                    <a:pt x="96" y="182"/>
                  </a:moveTo>
                  <a:lnTo>
                    <a:pt x="88" y="195"/>
                  </a:lnTo>
                  <a:moveTo>
                    <a:pt x="118" y="196"/>
                  </a:moveTo>
                  <a:lnTo>
                    <a:pt x="111" y="209"/>
                  </a:lnTo>
                  <a:moveTo>
                    <a:pt x="140" y="208"/>
                  </a:moveTo>
                  <a:lnTo>
                    <a:pt x="133" y="221"/>
                  </a:lnTo>
                  <a:moveTo>
                    <a:pt x="161" y="220"/>
                  </a:moveTo>
                  <a:lnTo>
                    <a:pt x="154" y="233"/>
                  </a:lnTo>
                  <a:moveTo>
                    <a:pt x="183" y="232"/>
                  </a:moveTo>
                  <a:lnTo>
                    <a:pt x="176" y="245"/>
                  </a:lnTo>
                  <a:moveTo>
                    <a:pt x="207" y="246"/>
                  </a:moveTo>
                  <a:lnTo>
                    <a:pt x="199" y="258"/>
                  </a:lnTo>
                </a:path>
              </a:pathLst>
            </a:custGeom>
            <a:noFill/>
            <a:ln w="7938"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18" name="ïşḻïḑè">
              <a:extLst>
                <a:ext uri="{FF2B5EF4-FFF2-40B4-BE49-F238E27FC236}">
                  <a16:creationId xmlns:a16="http://schemas.microsoft.com/office/drawing/2014/main" id="{93419C04-96A1-494C-B6BD-7AD889CCCB0C}"/>
                </a:ext>
              </a:extLst>
            </p:cNvPr>
            <p:cNvSpPr/>
            <p:nvPr/>
          </p:nvSpPr>
          <p:spPr bwMode="auto">
            <a:xfrm>
              <a:off x="15918712" y="4356247"/>
              <a:ext cx="317515" cy="386855"/>
            </a:xfrm>
            <a:custGeom>
              <a:avLst/>
              <a:gdLst>
                <a:gd name="T0" fmla="*/ 69 w 221"/>
                <a:gd name="T1" fmla="*/ 27 h 275"/>
                <a:gd name="T2" fmla="*/ 65 w 221"/>
                <a:gd name="T3" fmla="*/ 207 h 275"/>
                <a:gd name="T4" fmla="*/ 26 w 221"/>
                <a:gd name="T5" fmla="*/ 215 h 275"/>
                <a:gd name="T6" fmla="*/ 24 w 221"/>
                <a:gd name="T7" fmla="*/ 266 h 275"/>
                <a:gd name="T8" fmla="*/ 81 w 221"/>
                <a:gd name="T9" fmla="*/ 229 h 275"/>
                <a:gd name="T10" fmla="*/ 85 w 221"/>
                <a:gd name="T11" fmla="*/ 52 h 275"/>
                <a:gd name="T12" fmla="*/ 205 w 221"/>
                <a:gd name="T13" fmla="*/ 33 h 275"/>
                <a:gd name="T14" fmla="*/ 204 w 221"/>
                <a:gd name="T15" fmla="*/ 181 h 275"/>
                <a:gd name="T16" fmla="*/ 165 w 221"/>
                <a:gd name="T17" fmla="*/ 188 h 275"/>
                <a:gd name="T18" fmla="*/ 177 w 221"/>
                <a:gd name="T19" fmla="*/ 245 h 275"/>
                <a:gd name="T20" fmla="*/ 214 w 221"/>
                <a:gd name="T21" fmla="*/ 204 h 275"/>
                <a:gd name="T22" fmla="*/ 221 w 221"/>
                <a:gd name="T23" fmla="*/ 0 h 275"/>
                <a:gd name="T24" fmla="*/ 69 w 221"/>
                <a:gd name="T25" fmla="*/ 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75">
                  <a:moveTo>
                    <a:pt x="69" y="27"/>
                  </a:moveTo>
                  <a:cubicBezTo>
                    <a:pt x="65" y="207"/>
                    <a:pt x="65" y="207"/>
                    <a:pt x="65" y="207"/>
                  </a:cubicBezTo>
                  <a:cubicBezTo>
                    <a:pt x="65" y="207"/>
                    <a:pt x="44" y="202"/>
                    <a:pt x="26" y="215"/>
                  </a:cubicBezTo>
                  <a:cubicBezTo>
                    <a:pt x="0" y="234"/>
                    <a:pt x="8" y="260"/>
                    <a:pt x="24" y="266"/>
                  </a:cubicBezTo>
                  <a:cubicBezTo>
                    <a:pt x="49" y="275"/>
                    <a:pt x="80" y="258"/>
                    <a:pt x="81" y="229"/>
                  </a:cubicBezTo>
                  <a:cubicBezTo>
                    <a:pt x="82" y="185"/>
                    <a:pt x="85" y="52"/>
                    <a:pt x="85" y="52"/>
                  </a:cubicBezTo>
                  <a:cubicBezTo>
                    <a:pt x="205" y="33"/>
                    <a:pt x="205" y="33"/>
                    <a:pt x="205" y="33"/>
                  </a:cubicBezTo>
                  <a:cubicBezTo>
                    <a:pt x="204" y="181"/>
                    <a:pt x="204" y="181"/>
                    <a:pt x="204" y="181"/>
                  </a:cubicBezTo>
                  <a:cubicBezTo>
                    <a:pt x="204" y="181"/>
                    <a:pt x="186" y="176"/>
                    <a:pt x="165" y="188"/>
                  </a:cubicBezTo>
                  <a:cubicBezTo>
                    <a:pt x="133" y="207"/>
                    <a:pt x="147" y="248"/>
                    <a:pt x="177" y="245"/>
                  </a:cubicBezTo>
                  <a:cubicBezTo>
                    <a:pt x="192" y="243"/>
                    <a:pt x="211" y="230"/>
                    <a:pt x="214" y="204"/>
                  </a:cubicBezTo>
                  <a:cubicBezTo>
                    <a:pt x="221" y="153"/>
                    <a:pt x="221" y="0"/>
                    <a:pt x="221" y="0"/>
                  </a:cubicBezTo>
                  <a:cubicBezTo>
                    <a:pt x="69" y="27"/>
                    <a:pt x="69" y="27"/>
                    <a:pt x="69" y="27"/>
                  </a:cubicBezTo>
                  <a:close/>
                </a:path>
              </a:pathLst>
            </a:custGeom>
            <a:solidFill>
              <a:schemeClr val="bg1">
                <a:lumMod val="65000"/>
              </a:schemeClr>
            </a:solidFill>
            <a:ln w="9525">
              <a:solidFill>
                <a:schemeClr val="tx1">
                  <a:lumMod val="75000"/>
                  <a:lumOff val="25000"/>
                </a:schemeClr>
              </a:solidFill>
              <a:round/>
              <a:headEnd/>
              <a:tailEnd/>
            </a:ln>
          </p:spPr>
          <p:txBody>
            <a:bodyPr anchor="ctr"/>
            <a:lstStyle/>
            <a:p>
              <a:pPr algn="ctr"/>
              <a:endParaRPr>
                <a:cs typeface="+mn-ea"/>
                <a:sym typeface="+mn-lt"/>
              </a:endParaRPr>
            </a:p>
          </p:txBody>
        </p:sp>
        <p:sp>
          <p:nvSpPr>
            <p:cNvPr id="19" name="íšliḋé">
              <a:extLst>
                <a:ext uri="{FF2B5EF4-FFF2-40B4-BE49-F238E27FC236}">
                  <a16:creationId xmlns:a16="http://schemas.microsoft.com/office/drawing/2014/main" id="{F5FC04CF-F905-40E1-B5E3-F739DB41F3E0}"/>
                </a:ext>
              </a:extLst>
            </p:cNvPr>
            <p:cNvSpPr/>
            <p:nvPr/>
          </p:nvSpPr>
          <p:spPr bwMode="auto">
            <a:xfrm>
              <a:off x="15203395" y="4947479"/>
              <a:ext cx="1481729" cy="1204360"/>
            </a:xfrm>
            <a:custGeom>
              <a:avLst/>
              <a:gdLst>
                <a:gd name="T0" fmla="*/ 614 w 1044"/>
                <a:gd name="T1" fmla="*/ 699 h 849"/>
                <a:gd name="T2" fmla="*/ 633 w 1044"/>
                <a:gd name="T3" fmla="*/ 662 h 849"/>
                <a:gd name="T4" fmla="*/ 636 w 1044"/>
                <a:gd name="T5" fmla="*/ 660 h 849"/>
                <a:gd name="T6" fmla="*/ 682 w 1044"/>
                <a:gd name="T7" fmla="*/ 675 h 849"/>
                <a:gd name="T8" fmla="*/ 15 w 1044"/>
                <a:gd name="T9" fmla="*/ 405 h 849"/>
                <a:gd name="T10" fmla="*/ 17 w 1044"/>
                <a:gd name="T11" fmla="*/ 363 h 849"/>
                <a:gd name="T12" fmla="*/ 90 w 1044"/>
                <a:gd name="T13" fmla="*/ 329 h 849"/>
                <a:gd name="T14" fmla="*/ 347 w 1044"/>
                <a:gd name="T15" fmla="*/ 186 h 849"/>
                <a:gd name="T16" fmla="*/ 424 w 1044"/>
                <a:gd name="T17" fmla="*/ 212 h 849"/>
                <a:gd name="T18" fmla="*/ 838 w 1044"/>
                <a:gd name="T19" fmla="*/ 25 h 849"/>
                <a:gd name="T20" fmla="*/ 806 w 1044"/>
                <a:gd name="T21" fmla="*/ 0 h 849"/>
                <a:gd name="T22" fmla="*/ 736 w 1044"/>
                <a:gd name="T23" fmla="*/ 46 h 849"/>
                <a:gd name="T24" fmla="*/ 456 w 1044"/>
                <a:gd name="T25" fmla="*/ 135 h 849"/>
                <a:gd name="T26" fmla="*/ 427 w 1044"/>
                <a:gd name="T27" fmla="*/ 208 h 849"/>
                <a:gd name="T28" fmla="*/ 874 w 1044"/>
                <a:gd name="T29" fmla="*/ 35 h 849"/>
                <a:gd name="T30" fmla="*/ 854 w 1044"/>
                <a:gd name="T31" fmla="*/ 19 h 849"/>
                <a:gd name="T32" fmla="*/ 497 w 1044"/>
                <a:gd name="T33" fmla="*/ 217 h 849"/>
                <a:gd name="T34" fmla="*/ 427 w 1044"/>
                <a:gd name="T35" fmla="*/ 213 h 849"/>
                <a:gd name="T36" fmla="*/ 424 w 1044"/>
                <a:gd name="T37" fmla="*/ 214 h 849"/>
                <a:gd name="T38" fmla="*/ 388 w 1044"/>
                <a:gd name="T39" fmla="*/ 268 h 849"/>
                <a:gd name="T40" fmla="*/ 1 w 1044"/>
                <a:gd name="T41" fmla="*/ 412 h 849"/>
                <a:gd name="T42" fmla="*/ 0 w 1044"/>
                <a:gd name="T43" fmla="*/ 437 h 849"/>
                <a:gd name="T44" fmla="*/ 416 w 1044"/>
                <a:gd name="T45" fmla="*/ 284 h 849"/>
                <a:gd name="T46" fmla="*/ 438 w 1044"/>
                <a:gd name="T47" fmla="*/ 248 h 849"/>
                <a:gd name="T48" fmla="*/ 441 w 1044"/>
                <a:gd name="T49" fmla="*/ 247 h 849"/>
                <a:gd name="T50" fmla="*/ 487 w 1044"/>
                <a:gd name="T51" fmla="*/ 256 h 849"/>
                <a:gd name="T52" fmla="*/ 686 w 1044"/>
                <a:gd name="T53" fmla="*/ 682 h 849"/>
                <a:gd name="T54" fmla="*/ 1044 w 1044"/>
                <a:gd name="T55" fmla="*/ 475 h 849"/>
                <a:gd name="T56" fmla="*/ 874 w 1044"/>
                <a:gd name="T57" fmla="*/ 35 h 849"/>
                <a:gd name="T58" fmla="*/ 488 w 1044"/>
                <a:gd name="T59" fmla="*/ 255 h 849"/>
                <a:gd name="T60" fmla="*/ 686 w 1044"/>
                <a:gd name="T61" fmla="*/ 682 h 849"/>
                <a:gd name="T62" fmla="*/ 229 w 1044"/>
                <a:gd name="T63" fmla="*/ 849 h 849"/>
                <a:gd name="T64" fmla="*/ 620 w 1044"/>
                <a:gd name="T65" fmla="*/ 713 h 849"/>
                <a:gd name="T66" fmla="*/ 419 w 1044"/>
                <a:gd name="T67" fmla="*/ 287 h 849"/>
                <a:gd name="T68" fmla="*/ 0 w 1044"/>
                <a:gd name="T69" fmla="*/ 437 h 849"/>
                <a:gd name="T70" fmla="*/ 229 w 1044"/>
                <a:gd name="T71" fmla="*/ 849 h 849"/>
                <a:gd name="T72" fmla="*/ 589 w 1044"/>
                <a:gd name="T73" fmla="*/ 331 h 849"/>
                <a:gd name="T74" fmla="*/ 618 w 1044"/>
                <a:gd name="T75" fmla="*/ 391 h 849"/>
                <a:gd name="T76" fmla="*/ 895 w 1044"/>
                <a:gd name="T77" fmla="*/ 236 h 849"/>
                <a:gd name="T78" fmla="*/ 865 w 1044"/>
                <a:gd name="T79" fmla="*/ 173 h 849"/>
                <a:gd name="T80" fmla="*/ 589 w 1044"/>
                <a:gd name="T81" fmla="*/ 331 h 849"/>
                <a:gd name="T82" fmla="*/ 639 w 1044"/>
                <a:gd name="T83" fmla="*/ 431 h 849"/>
                <a:gd name="T84" fmla="*/ 916 w 1044"/>
                <a:gd name="T85" fmla="*/ 276 h 849"/>
                <a:gd name="T86" fmla="*/ 745 w 1044"/>
                <a:gd name="T87" fmla="*/ 462 h 849"/>
                <a:gd name="T88" fmla="*/ 872 w 1044"/>
                <a:gd name="T89" fmla="*/ 389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44" h="849">
                  <a:moveTo>
                    <a:pt x="614" y="699"/>
                  </a:moveTo>
                  <a:cubicBezTo>
                    <a:pt x="614" y="684"/>
                    <a:pt x="619" y="668"/>
                    <a:pt x="633" y="662"/>
                  </a:cubicBezTo>
                  <a:cubicBezTo>
                    <a:pt x="636" y="660"/>
                    <a:pt x="636" y="660"/>
                    <a:pt x="636" y="660"/>
                  </a:cubicBezTo>
                  <a:cubicBezTo>
                    <a:pt x="652" y="653"/>
                    <a:pt x="671" y="662"/>
                    <a:pt x="682" y="675"/>
                  </a:cubicBezTo>
                  <a:moveTo>
                    <a:pt x="15" y="405"/>
                  </a:moveTo>
                  <a:cubicBezTo>
                    <a:pt x="15" y="392"/>
                    <a:pt x="17" y="363"/>
                    <a:pt x="17" y="363"/>
                  </a:cubicBezTo>
                  <a:cubicBezTo>
                    <a:pt x="17" y="363"/>
                    <a:pt x="64" y="348"/>
                    <a:pt x="90" y="329"/>
                  </a:cubicBezTo>
                  <a:cubicBezTo>
                    <a:pt x="169" y="269"/>
                    <a:pt x="246" y="198"/>
                    <a:pt x="347" y="186"/>
                  </a:cubicBezTo>
                  <a:cubicBezTo>
                    <a:pt x="390" y="180"/>
                    <a:pt x="413" y="200"/>
                    <a:pt x="424" y="212"/>
                  </a:cubicBezTo>
                  <a:moveTo>
                    <a:pt x="838" y="25"/>
                  </a:moveTo>
                  <a:cubicBezTo>
                    <a:pt x="827" y="16"/>
                    <a:pt x="806" y="0"/>
                    <a:pt x="806" y="0"/>
                  </a:cubicBezTo>
                  <a:cubicBezTo>
                    <a:pt x="806" y="0"/>
                    <a:pt x="767" y="38"/>
                    <a:pt x="736" y="46"/>
                  </a:cubicBezTo>
                  <a:cubicBezTo>
                    <a:pt x="639" y="69"/>
                    <a:pt x="530" y="65"/>
                    <a:pt x="456" y="135"/>
                  </a:cubicBezTo>
                  <a:cubicBezTo>
                    <a:pt x="426" y="163"/>
                    <a:pt x="424" y="191"/>
                    <a:pt x="427" y="208"/>
                  </a:cubicBezTo>
                  <a:moveTo>
                    <a:pt x="874" y="35"/>
                  </a:moveTo>
                  <a:cubicBezTo>
                    <a:pt x="854" y="19"/>
                    <a:pt x="854" y="19"/>
                    <a:pt x="854" y="19"/>
                  </a:cubicBezTo>
                  <a:cubicBezTo>
                    <a:pt x="497" y="217"/>
                    <a:pt x="497" y="217"/>
                    <a:pt x="497" y="217"/>
                  </a:cubicBezTo>
                  <a:cubicBezTo>
                    <a:pt x="479" y="199"/>
                    <a:pt x="437" y="208"/>
                    <a:pt x="427" y="213"/>
                  </a:cubicBezTo>
                  <a:cubicBezTo>
                    <a:pt x="424" y="214"/>
                    <a:pt x="424" y="214"/>
                    <a:pt x="424" y="214"/>
                  </a:cubicBezTo>
                  <a:cubicBezTo>
                    <a:pt x="411" y="221"/>
                    <a:pt x="386" y="242"/>
                    <a:pt x="388" y="268"/>
                  </a:cubicBezTo>
                  <a:cubicBezTo>
                    <a:pt x="1" y="412"/>
                    <a:pt x="1" y="412"/>
                    <a:pt x="1" y="412"/>
                  </a:cubicBezTo>
                  <a:cubicBezTo>
                    <a:pt x="0" y="437"/>
                    <a:pt x="0" y="437"/>
                    <a:pt x="0" y="437"/>
                  </a:cubicBezTo>
                  <a:moveTo>
                    <a:pt x="416" y="284"/>
                  </a:moveTo>
                  <a:cubicBezTo>
                    <a:pt x="415" y="269"/>
                    <a:pt x="424" y="255"/>
                    <a:pt x="438" y="248"/>
                  </a:cubicBezTo>
                  <a:cubicBezTo>
                    <a:pt x="441" y="247"/>
                    <a:pt x="441" y="247"/>
                    <a:pt x="441" y="247"/>
                  </a:cubicBezTo>
                  <a:cubicBezTo>
                    <a:pt x="457" y="239"/>
                    <a:pt x="475" y="244"/>
                    <a:pt x="487" y="256"/>
                  </a:cubicBezTo>
                  <a:moveTo>
                    <a:pt x="686" y="682"/>
                  </a:moveTo>
                  <a:cubicBezTo>
                    <a:pt x="1044" y="475"/>
                    <a:pt x="1044" y="475"/>
                    <a:pt x="1044" y="475"/>
                  </a:cubicBezTo>
                  <a:cubicBezTo>
                    <a:pt x="874" y="35"/>
                    <a:pt x="874" y="35"/>
                    <a:pt x="874" y="35"/>
                  </a:cubicBezTo>
                  <a:cubicBezTo>
                    <a:pt x="488" y="255"/>
                    <a:pt x="488" y="255"/>
                    <a:pt x="488" y="255"/>
                  </a:cubicBezTo>
                  <a:cubicBezTo>
                    <a:pt x="686" y="682"/>
                    <a:pt x="686" y="682"/>
                    <a:pt x="686" y="682"/>
                  </a:cubicBezTo>
                  <a:close/>
                  <a:moveTo>
                    <a:pt x="229" y="849"/>
                  </a:moveTo>
                  <a:cubicBezTo>
                    <a:pt x="620" y="713"/>
                    <a:pt x="620" y="713"/>
                    <a:pt x="620" y="713"/>
                  </a:cubicBezTo>
                  <a:cubicBezTo>
                    <a:pt x="419" y="287"/>
                    <a:pt x="419" y="287"/>
                    <a:pt x="419" y="287"/>
                  </a:cubicBezTo>
                  <a:cubicBezTo>
                    <a:pt x="0" y="437"/>
                    <a:pt x="0" y="437"/>
                    <a:pt x="0" y="437"/>
                  </a:cubicBezTo>
                  <a:cubicBezTo>
                    <a:pt x="229" y="849"/>
                    <a:pt x="229" y="849"/>
                    <a:pt x="229" y="849"/>
                  </a:cubicBezTo>
                  <a:close/>
                  <a:moveTo>
                    <a:pt x="589" y="331"/>
                  </a:moveTo>
                  <a:cubicBezTo>
                    <a:pt x="618" y="391"/>
                    <a:pt x="618" y="391"/>
                    <a:pt x="618" y="391"/>
                  </a:cubicBezTo>
                  <a:cubicBezTo>
                    <a:pt x="895" y="236"/>
                    <a:pt x="895" y="236"/>
                    <a:pt x="895" y="236"/>
                  </a:cubicBezTo>
                  <a:cubicBezTo>
                    <a:pt x="865" y="173"/>
                    <a:pt x="865" y="173"/>
                    <a:pt x="865" y="173"/>
                  </a:cubicBezTo>
                  <a:cubicBezTo>
                    <a:pt x="589" y="331"/>
                    <a:pt x="589" y="331"/>
                    <a:pt x="589" y="331"/>
                  </a:cubicBezTo>
                  <a:close/>
                  <a:moveTo>
                    <a:pt x="639" y="431"/>
                  </a:moveTo>
                  <a:cubicBezTo>
                    <a:pt x="916" y="276"/>
                    <a:pt x="916" y="276"/>
                    <a:pt x="916" y="276"/>
                  </a:cubicBezTo>
                  <a:moveTo>
                    <a:pt x="745" y="462"/>
                  </a:moveTo>
                  <a:cubicBezTo>
                    <a:pt x="872" y="389"/>
                    <a:pt x="872" y="389"/>
                    <a:pt x="872" y="389"/>
                  </a:cubicBezTo>
                </a:path>
              </a:pathLst>
            </a:custGeom>
            <a:noFill/>
            <a:ln w="7938"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20" name="íSḷiḍe">
              <a:extLst>
                <a:ext uri="{FF2B5EF4-FFF2-40B4-BE49-F238E27FC236}">
                  <a16:creationId xmlns:a16="http://schemas.microsoft.com/office/drawing/2014/main" id="{058DAF9D-BC76-4455-8C20-25C116295839}"/>
                </a:ext>
              </a:extLst>
            </p:cNvPr>
            <p:cNvSpPr/>
            <p:nvPr/>
          </p:nvSpPr>
          <p:spPr bwMode="auto">
            <a:xfrm>
              <a:off x="16893151" y="1673807"/>
              <a:ext cx="313864" cy="583932"/>
            </a:xfrm>
            <a:custGeom>
              <a:avLst/>
              <a:gdLst>
                <a:gd name="T0" fmla="*/ 123 w 220"/>
                <a:gd name="T1" fmla="*/ 228 h 414"/>
                <a:gd name="T2" fmla="*/ 78 w 220"/>
                <a:gd name="T3" fmla="*/ 372 h 414"/>
                <a:gd name="T4" fmla="*/ 43 w 220"/>
                <a:gd name="T5" fmla="*/ 390 h 414"/>
                <a:gd name="T6" fmla="*/ 25 w 220"/>
                <a:gd name="T7" fmla="*/ 355 h 414"/>
                <a:gd name="T8" fmla="*/ 70 w 220"/>
                <a:gd name="T9" fmla="*/ 211 h 414"/>
                <a:gd name="T10" fmla="*/ 128 w 220"/>
                <a:gd name="T11" fmla="*/ 26 h 414"/>
                <a:gd name="T12" fmla="*/ 181 w 220"/>
                <a:gd name="T13" fmla="*/ 43 h 414"/>
                <a:gd name="T14" fmla="*/ 123 w 220"/>
                <a:gd name="T15" fmla="*/ 228 h 414"/>
                <a:gd name="T16" fmla="*/ 212 w 220"/>
                <a:gd name="T17" fmla="*/ 35 h 414"/>
                <a:gd name="T18" fmla="*/ 108 w 220"/>
                <a:gd name="T19" fmla="*/ 2 h 414"/>
                <a:gd name="T20" fmla="*/ 95 w 220"/>
                <a:gd name="T21" fmla="*/ 8 h 414"/>
                <a:gd name="T22" fmla="*/ 102 w 220"/>
                <a:gd name="T23" fmla="*/ 20 h 414"/>
                <a:gd name="T24" fmla="*/ 110 w 220"/>
                <a:gd name="T25" fmla="*/ 23 h 414"/>
                <a:gd name="T26" fmla="*/ 8 w 220"/>
                <a:gd name="T27" fmla="*/ 350 h 414"/>
                <a:gd name="T28" fmla="*/ 38 w 220"/>
                <a:gd name="T29" fmla="*/ 407 h 414"/>
                <a:gd name="T30" fmla="*/ 95 w 220"/>
                <a:gd name="T31" fmla="*/ 377 h 414"/>
                <a:gd name="T32" fmla="*/ 197 w 220"/>
                <a:gd name="T33" fmla="*/ 50 h 414"/>
                <a:gd name="T34" fmla="*/ 206 w 220"/>
                <a:gd name="T35" fmla="*/ 53 h 414"/>
                <a:gd name="T36" fmla="*/ 218 w 220"/>
                <a:gd name="T37" fmla="*/ 47 h 414"/>
                <a:gd name="T38" fmla="*/ 212 w 220"/>
                <a:gd name="T39" fmla="*/ 3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0" h="414">
                  <a:moveTo>
                    <a:pt x="123" y="228"/>
                  </a:moveTo>
                  <a:cubicBezTo>
                    <a:pt x="78" y="372"/>
                    <a:pt x="78" y="372"/>
                    <a:pt x="78" y="372"/>
                  </a:cubicBezTo>
                  <a:cubicBezTo>
                    <a:pt x="73" y="386"/>
                    <a:pt x="57" y="394"/>
                    <a:pt x="43" y="390"/>
                  </a:cubicBezTo>
                  <a:cubicBezTo>
                    <a:pt x="28" y="385"/>
                    <a:pt x="20" y="370"/>
                    <a:pt x="25" y="355"/>
                  </a:cubicBezTo>
                  <a:cubicBezTo>
                    <a:pt x="70" y="211"/>
                    <a:pt x="70" y="211"/>
                    <a:pt x="70" y="211"/>
                  </a:cubicBezTo>
                  <a:cubicBezTo>
                    <a:pt x="128" y="26"/>
                    <a:pt x="128" y="26"/>
                    <a:pt x="128" y="26"/>
                  </a:cubicBezTo>
                  <a:cubicBezTo>
                    <a:pt x="181" y="43"/>
                    <a:pt x="181" y="43"/>
                    <a:pt x="181" y="43"/>
                  </a:cubicBezTo>
                  <a:cubicBezTo>
                    <a:pt x="123" y="228"/>
                    <a:pt x="123" y="228"/>
                    <a:pt x="123" y="228"/>
                  </a:cubicBezTo>
                  <a:close/>
                  <a:moveTo>
                    <a:pt x="212" y="35"/>
                  </a:moveTo>
                  <a:cubicBezTo>
                    <a:pt x="108" y="2"/>
                    <a:pt x="108" y="2"/>
                    <a:pt x="108" y="2"/>
                  </a:cubicBezTo>
                  <a:cubicBezTo>
                    <a:pt x="102" y="0"/>
                    <a:pt x="97" y="3"/>
                    <a:pt x="95" y="8"/>
                  </a:cubicBezTo>
                  <a:cubicBezTo>
                    <a:pt x="94" y="13"/>
                    <a:pt x="97" y="19"/>
                    <a:pt x="102" y="20"/>
                  </a:cubicBezTo>
                  <a:cubicBezTo>
                    <a:pt x="110" y="23"/>
                    <a:pt x="110" y="23"/>
                    <a:pt x="110" y="23"/>
                  </a:cubicBezTo>
                  <a:cubicBezTo>
                    <a:pt x="8" y="350"/>
                    <a:pt x="8" y="350"/>
                    <a:pt x="8" y="350"/>
                  </a:cubicBezTo>
                  <a:cubicBezTo>
                    <a:pt x="0" y="374"/>
                    <a:pt x="13" y="399"/>
                    <a:pt x="38" y="407"/>
                  </a:cubicBezTo>
                  <a:cubicBezTo>
                    <a:pt x="62" y="414"/>
                    <a:pt x="87" y="401"/>
                    <a:pt x="95" y="377"/>
                  </a:cubicBezTo>
                  <a:cubicBezTo>
                    <a:pt x="197" y="50"/>
                    <a:pt x="197" y="50"/>
                    <a:pt x="197" y="50"/>
                  </a:cubicBezTo>
                  <a:cubicBezTo>
                    <a:pt x="206" y="53"/>
                    <a:pt x="206" y="53"/>
                    <a:pt x="206" y="53"/>
                  </a:cubicBezTo>
                  <a:cubicBezTo>
                    <a:pt x="211" y="55"/>
                    <a:pt x="216" y="52"/>
                    <a:pt x="218" y="47"/>
                  </a:cubicBezTo>
                  <a:cubicBezTo>
                    <a:pt x="220" y="42"/>
                    <a:pt x="217" y="36"/>
                    <a:pt x="212" y="35"/>
                  </a:cubicBezTo>
                  <a:close/>
                </a:path>
              </a:pathLst>
            </a:custGeom>
            <a:solidFill>
              <a:schemeClr val="bg1">
                <a:lumMod val="65000"/>
              </a:schemeClr>
            </a:solidFill>
            <a:ln w="9525">
              <a:solidFill>
                <a:schemeClr val="tx1">
                  <a:lumMod val="75000"/>
                  <a:lumOff val="25000"/>
                </a:schemeClr>
              </a:solidFill>
              <a:round/>
              <a:headEnd/>
              <a:tailEnd/>
            </a:ln>
          </p:spPr>
          <p:txBody>
            <a:bodyPr anchor="ctr"/>
            <a:lstStyle/>
            <a:p>
              <a:pPr algn="ctr"/>
              <a:endParaRPr>
                <a:cs typeface="+mn-ea"/>
                <a:sym typeface="+mn-lt"/>
              </a:endParaRPr>
            </a:p>
          </p:txBody>
        </p:sp>
        <p:sp>
          <p:nvSpPr>
            <p:cNvPr id="21" name="íṧļîḍè">
              <a:extLst>
                <a:ext uri="{FF2B5EF4-FFF2-40B4-BE49-F238E27FC236}">
                  <a16:creationId xmlns:a16="http://schemas.microsoft.com/office/drawing/2014/main" id="{23191A8D-E3BE-41C6-8694-23F9A02ED715}"/>
                </a:ext>
              </a:extLst>
            </p:cNvPr>
            <p:cNvSpPr/>
            <p:nvPr/>
          </p:nvSpPr>
          <p:spPr bwMode="auto">
            <a:xfrm>
              <a:off x="15214345" y="1385489"/>
              <a:ext cx="3200682" cy="2791928"/>
            </a:xfrm>
            <a:custGeom>
              <a:avLst/>
              <a:gdLst>
                <a:gd name="T0" fmla="*/ 209 w 2252"/>
                <a:gd name="T1" fmla="*/ 1727 h 1967"/>
                <a:gd name="T2" fmla="*/ 68 w 2252"/>
                <a:gd name="T3" fmla="*/ 1659 h 1967"/>
                <a:gd name="T4" fmla="*/ 72 w 2252"/>
                <a:gd name="T5" fmla="*/ 1650 h 1967"/>
                <a:gd name="T6" fmla="*/ 65 w 2252"/>
                <a:gd name="T7" fmla="*/ 1630 h 1967"/>
                <a:gd name="T8" fmla="*/ 45 w 2252"/>
                <a:gd name="T9" fmla="*/ 1637 h 1967"/>
                <a:gd name="T10" fmla="*/ 4 w 2252"/>
                <a:gd name="T11" fmla="*/ 1723 h 1967"/>
                <a:gd name="T12" fmla="*/ 11 w 2252"/>
                <a:gd name="T13" fmla="*/ 1743 h 1967"/>
                <a:gd name="T14" fmla="*/ 31 w 2252"/>
                <a:gd name="T15" fmla="*/ 1736 h 1967"/>
                <a:gd name="T16" fmla="*/ 35 w 2252"/>
                <a:gd name="T17" fmla="*/ 1727 h 1967"/>
                <a:gd name="T18" fmla="*/ 176 w 2252"/>
                <a:gd name="T19" fmla="*/ 1795 h 1967"/>
                <a:gd name="T20" fmla="*/ 250 w 2252"/>
                <a:gd name="T21" fmla="*/ 1935 h 1967"/>
                <a:gd name="T22" fmla="*/ 427 w 2252"/>
                <a:gd name="T23" fmla="*/ 1873 h 1967"/>
                <a:gd name="T24" fmla="*/ 364 w 2252"/>
                <a:gd name="T25" fmla="*/ 1696 h 1967"/>
                <a:gd name="T26" fmla="*/ 209 w 2252"/>
                <a:gd name="T27" fmla="*/ 1727 h 1967"/>
                <a:gd name="T28" fmla="*/ 345 w 2252"/>
                <a:gd name="T29" fmla="*/ 1719 h 1967"/>
                <a:gd name="T30" fmla="*/ 276 w 2252"/>
                <a:gd name="T31" fmla="*/ 1731 h 1967"/>
                <a:gd name="T32" fmla="*/ 271 w 2252"/>
                <a:gd name="T33" fmla="*/ 1757 h 1967"/>
                <a:gd name="T34" fmla="*/ 248 w 2252"/>
                <a:gd name="T35" fmla="*/ 1773 h 1967"/>
                <a:gd name="T36" fmla="*/ 247 w 2252"/>
                <a:gd name="T37" fmla="*/ 1795 h 1967"/>
                <a:gd name="T38" fmla="*/ 229 w 2252"/>
                <a:gd name="T39" fmla="*/ 1813 h 1967"/>
                <a:gd name="T40" fmla="*/ 242 w 2252"/>
                <a:gd name="T41" fmla="*/ 1863 h 1967"/>
                <a:gd name="T42" fmla="*/ 256 w 2252"/>
                <a:gd name="T43" fmla="*/ 1911 h 1967"/>
                <a:gd name="T44" fmla="*/ 250 w 2252"/>
                <a:gd name="T45" fmla="*/ 1935 h 1967"/>
                <a:gd name="T46" fmla="*/ 427 w 2252"/>
                <a:gd name="T47" fmla="*/ 1873 h 1967"/>
                <a:gd name="T48" fmla="*/ 364 w 2252"/>
                <a:gd name="T49" fmla="*/ 1696 h 1967"/>
                <a:gd name="T50" fmla="*/ 345 w 2252"/>
                <a:gd name="T51" fmla="*/ 1719 h 1967"/>
                <a:gd name="T52" fmla="*/ 1712 w 2252"/>
                <a:gd name="T53" fmla="*/ 245 h 1967"/>
                <a:gd name="T54" fmla="*/ 1762 w 2252"/>
                <a:gd name="T55" fmla="*/ 334 h 1967"/>
                <a:gd name="T56" fmla="*/ 2022 w 2252"/>
                <a:gd name="T57" fmla="*/ 330 h 1967"/>
                <a:gd name="T58" fmla="*/ 2029 w 2252"/>
                <a:gd name="T59" fmla="*/ 322 h 1967"/>
                <a:gd name="T60" fmla="*/ 2063 w 2252"/>
                <a:gd name="T61" fmla="*/ 264 h 1967"/>
                <a:gd name="T62" fmla="*/ 2018 w 2252"/>
                <a:gd name="T63" fmla="*/ 71 h 1967"/>
                <a:gd name="T64" fmla="*/ 1758 w 2252"/>
                <a:gd name="T65" fmla="*/ 75 h 1967"/>
                <a:gd name="T66" fmla="*/ 1707 w 2252"/>
                <a:gd name="T67" fmla="*/ 185 h 1967"/>
                <a:gd name="T68" fmla="*/ 1739 w 2252"/>
                <a:gd name="T69" fmla="*/ 98 h 1967"/>
                <a:gd name="T70" fmla="*/ 1715 w 2252"/>
                <a:gd name="T71" fmla="*/ 147 h 1967"/>
                <a:gd name="T72" fmla="*/ 1661 w 2252"/>
                <a:gd name="T73" fmla="*/ 157 h 1967"/>
                <a:gd name="T74" fmla="*/ 1707 w 2252"/>
                <a:gd name="T75" fmla="*/ 189 h 1967"/>
                <a:gd name="T76" fmla="*/ 1723 w 2252"/>
                <a:gd name="T77" fmla="*/ 195 h 1967"/>
                <a:gd name="T78" fmla="*/ 1888 w 2252"/>
                <a:gd name="T79" fmla="*/ 241 h 1967"/>
                <a:gd name="T80" fmla="*/ 2024 w 2252"/>
                <a:gd name="T81" fmla="*/ 265 h 1967"/>
                <a:gd name="T82" fmla="*/ 2061 w 2252"/>
                <a:gd name="T83" fmla="*/ 268 h 1967"/>
                <a:gd name="T84" fmla="*/ 2130 w 2252"/>
                <a:gd name="T85" fmla="*/ 259 h 1967"/>
                <a:gd name="T86" fmla="*/ 2072 w 2252"/>
                <a:gd name="T87" fmla="*/ 222 h 1967"/>
                <a:gd name="T88" fmla="*/ 2070 w 2252"/>
                <a:gd name="T89" fmla="*/ 168 h 1967"/>
                <a:gd name="T90" fmla="*/ 2245 w 2252"/>
                <a:gd name="T91" fmla="*/ 284 h 1967"/>
                <a:gd name="T92" fmla="*/ 2034 w 2252"/>
                <a:gd name="T93" fmla="*/ 316 h 1967"/>
                <a:gd name="T94" fmla="*/ 2005 w 2252"/>
                <a:gd name="T95" fmla="*/ 313 h 1967"/>
                <a:gd name="T96" fmla="*/ 1877 w 2252"/>
                <a:gd name="T97" fmla="*/ 291 h 1967"/>
                <a:gd name="T98" fmla="*/ 1719 w 2252"/>
                <a:gd name="T99" fmla="*/ 247 h 1967"/>
                <a:gd name="T100" fmla="*/ 1711 w 2252"/>
                <a:gd name="T101" fmla="*/ 244 h 1967"/>
                <a:gd name="T102" fmla="*/ 1546 w 2252"/>
                <a:gd name="T103" fmla="*/ 132 h 1967"/>
                <a:gd name="T104" fmla="*/ 1739 w 2252"/>
                <a:gd name="T105" fmla="*/ 98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52" h="1967">
                  <a:moveTo>
                    <a:pt x="209" y="1727"/>
                  </a:moveTo>
                  <a:cubicBezTo>
                    <a:pt x="68" y="1659"/>
                    <a:pt x="68" y="1659"/>
                    <a:pt x="68" y="1659"/>
                  </a:cubicBezTo>
                  <a:cubicBezTo>
                    <a:pt x="72" y="1650"/>
                    <a:pt x="72" y="1650"/>
                    <a:pt x="72" y="1650"/>
                  </a:cubicBezTo>
                  <a:cubicBezTo>
                    <a:pt x="75" y="1643"/>
                    <a:pt x="72" y="1634"/>
                    <a:pt x="65" y="1630"/>
                  </a:cubicBezTo>
                  <a:cubicBezTo>
                    <a:pt x="57" y="1627"/>
                    <a:pt x="48" y="1630"/>
                    <a:pt x="45" y="1637"/>
                  </a:cubicBezTo>
                  <a:cubicBezTo>
                    <a:pt x="4" y="1723"/>
                    <a:pt x="4" y="1723"/>
                    <a:pt x="4" y="1723"/>
                  </a:cubicBezTo>
                  <a:cubicBezTo>
                    <a:pt x="0" y="1730"/>
                    <a:pt x="3" y="1739"/>
                    <a:pt x="11" y="1743"/>
                  </a:cubicBezTo>
                  <a:cubicBezTo>
                    <a:pt x="18" y="1746"/>
                    <a:pt x="27" y="1743"/>
                    <a:pt x="31" y="1736"/>
                  </a:cubicBezTo>
                  <a:cubicBezTo>
                    <a:pt x="35" y="1727"/>
                    <a:pt x="35" y="1727"/>
                    <a:pt x="35" y="1727"/>
                  </a:cubicBezTo>
                  <a:cubicBezTo>
                    <a:pt x="176" y="1795"/>
                    <a:pt x="176" y="1795"/>
                    <a:pt x="176" y="1795"/>
                  </a:cubicBezTo>
                  <a:cubicBezTo>
                    <a:pt x="167" y="1851"/>
                    <a:pt x="196" y="1909"/>
                    <a:pt x="250" y="1935"/>
                  </a:cubicBezTo>
                  <a:cubicBezTo>
                    <a:pt x="316" y="1967"/>
                    <a:pt x="395" y="1939"/>
                    <a:pt x="427" y="1873"/>
                  </a:cubicBezTo>
                  <a:cubicBezTo>
                    <a:pt x="458" y="1807"/>
                    <a:pt x="430" y="1728"/>
                    <a:pt x="364" y="1696"/>
                  </a:cubicBezTo>
                  <a:cubicBezTo>
                    <a:pt x="310" y="1670"/>
                    <a:pt x="247" y="1684"/>
                    <a:pt x="209" y="1727"/>
                  </a:cubicBezTo>
                  <a:close/>
                  <a:moveTo>
                    <a:pt x="345" y="1719"/>
                  </a:moveTo>
                  <a:cubicBezTo>
                    <a:pt x="324" y="1699"/>
                    <a:pt x="287" y="1708"/>
                    <a:pt x="276" y="1731"/>
                  </a:cubicBezTo>
                  <a:cubicBezTo>
                    <a:pt x="272" y="1740"/>
                    <a:pt x="270" y="1749"/>
                    <a:pt x="271" y="1757"/>
                  </a:cubicBezTo>
                  <a:cubicBezTo>
                    <a:pt x="261" y="1758"/>
                    <a:pt x="252" y="1764"/>
                    <a:pt x="248" y="1773"/>
                  </a:cubicBezTo>
                  <a:cubicBezTo>
                    <a:pt x="245" y="1780"/>
                    <a:pt x="244" y="1788"/>
                    <a:pt x="247" y="1795"/>
                  </a:cubicBezTo>
                  <a:cubicBezTo>
                    <a:pt x="239" y="1799"/>
                    <a:pt x="233" y="1805"/>
                    <a:pt x="229" y="1813"/>
                  </a:cubicBezTo>
                  <a:cubicBezTo>
                    <a:pt x="220" y="1831"/>
                    <a:pt x="226" y="1852"/>
                    <a:pt x="242" y="1863"/>
                  </a:cubicBezTo>
                  <a:cubicBezTo>
                    <a:pt x="226" y="1878"/>
                    <a:pt x="241" y="1903"/>
                    <a:pt x="256" y="1911"/>
                  </a:cubicBezTo>
                  <a:cubicBezTo>
                    <a:pt x="256" y="1911"/>
                    <a:pt x="243" y="1932"/>
                    <a:pt x="250" y="1935"/>
                  </a:cubicBezTo>
                  <a:cubicBezTo>
                    <a:pt x="316" y="1967"/>
                    <a:pt x="395" y="1939"/>
                    <a:pt x="427" y="1873"/>
                  </a:cubicBezTo>
                  <a:cubicBezTo>
                    <a:pt x="458" y="1807"/>
                    <a:pt x="430" y="1728"/>
                    <a:pt x="364" y="1696"/>
                  </a:cubicBezTo>
                  <a:cubicBezTo>
                    <a:pt x="358" y="1693"/>
                    <a:pt x="345" y="1719"/>
                    <a:pt x="345" y="1719"/>
                  </a:cubicBezTo>
                  <a:close/>
                  <a:moveTo>
                    <a:pt x="1712" y="245"/>
                  </a:moveTo>
                  <a:cubicBezTo>
                    <a:pt x="1719" y="278"/>
                    <a:pt x="1736" y="309"/>
                    <a:pt x="1762" y="334"/>
                  </a:cubicBezTo>
                  <a:cubicBezTo>
                    <a:pt x="1835" y="405"/>
                    <a:pt x="1951" y="403"/>
                    <a:pt x="2022" y="330"/>
                  </a:cubicBezTo>
                  <a:cubicBezTo>
                    <a:pt x="2024" y="328"/>
                    <a:pt x="2027" y="325"/>
                    <a:pt x="2029" y="322"/>
                  </a:cubicBezTo>
                  <a:moveTo>
                    <a:pt x="2063" y="264"/>
                  </a:moveTo>
                  <a:cubicBezTo>
                    <a:pt x="2086" y="198"/>
                    <a:pt x="2071" y="122"/>
                    <a:pt x="2018" y="71"/>
                  </a:cubicBezTo>
                  <a:cubicBezTo>
                    <a:pt x="1945" y="0"/>
                    <a:pt x="1829" y="2"/>
                    <a:pt x="1758" y="75"/>
                  </a:cubicBezTo>
                  <a:cubicBezTo>
                    <a:pt x="1728" y="106"/>
                    <a:pt x="1711" y="145"/>
                    <a:pt x="1707" y="185"/>
                  </a:cubicBezTo>
                  <a:moveTo>
                    <a:pt x="1739" y="98"/>
                  </a:moveTo>
                  <a:cubicBezTo>
                    <a:pt x="1729" y="113"/>
                    <a:pt x="1721" y="130"/>
                    <a:pt x="1715" y="147"/>
                  </a:cubicBezTo>
                  <a:cubicBezTo>
                    <a:pt x="1683" y="146"/>
                    <a:pt x="1662" y="149"/>
                    <a:pt x="1661" y="157"/>
                  </a:cubicBezTo>
                  <a:cubicBezTo>
                    <a:pt x="1659" y="165"/>
                    <a:pt x="1676" y="176"/>
                    <a:pt x="1707" y="189"/>
                  </a:cubicBezTo>
                  <a:cubicBezTo>
                    <a:pt x="1712" y="191"/>
                    <a:pt x="1717" y="193"/>
                    <a:pt x="1723" y="195"/>
                  </a:cubicBezTo>
                  <a:cubicBezTo>
                    <a:pt x="1764" y="210"/>
                    <a:pt x="1823" y="227"/>
                    <a:pt x="1888" y="241"/>
                  </a:cubicBezTo>
                  <a:cubicBezTo>
                    <a:pt x="1938" y="252"/>
                    <a:pt x="1985" y="260"/>
                    <a:pt x="2024" y="265"/>
                  </a:cubicBezTo>
                  <a:cubicBezTo>
                    <a:pt x="2038" y="266"/>
                    <a:pt x="2050" y="267"/>
                    <a:pt x="2061" y="268"/>
                  </a:cubicBezTo>
                  <a:cubicBezTo>
                    <a:pt x="2102" y="271"/>
                    <a:pt x="2128" y="268"/>
                    <a:pt x="2130" y="259"/>
                  </a:cubicBezTo>
                  <a:cubicBezTo>
                    <a:pt x="2132" y="250"/>
                    <a:pt x="2110" y="237"/>
                    <a:pt x="2072" y="222"/>
                  </a:cubicBezTo>
                  <a:cubicBezTo>
                    <a:pt x="2074" y="204"/>
                    <a:pt x="2073" y="186"/>
                    <a:pt x="2070" y="168"/>
                  </a:cubicBezTo>
                  <a:cubicBezTo>
                    <a:pt x="2180" y="206"/>
                    <a:pt x="2252" y="251"/>
                    <a:pt x="2245" y="284"/>
                  </a:cubicBezTo>
                  <a:cubicBezTo>
                    <a:pt x="2238" y="316"/>
                    <a:pt x="2152" y="327"/>
                    <a:pt x="2034" y="316"/>
                  </a:cubicBezTo>
                  <a:cubicBezTo>
                    <a:pt x="2024" y="315"/>
                    <a:pt x="2015" y="314"/>
                    <a:pt x="2005" y="313"/>
                  </a:cubicBezTo>
                  <a:cubicBezTo>
                    <a:pt x="1965" y="308"/>
                    <a:pt x="1922" y="301"/>
                    <a:pt x="1877" y="291"/>
                  </a:cubicBezTo>
                  <a:cubicBezTo>
                    <a:pt x="1820" y="278"/>
                    <a:pt x="1766" y="263"/>
                    <a:pt x="1719" y="247"/>
                  </a:cubicBezTo>
                  <a:cubicBezTo>
                    <a:pt x="1717" y="246"/>
                    <a:pt x="1714" y="245"/>
                    <a:pt x="1711" y="244"/>
                  </a:cubicBezTo>
                  <a:cubicBezTo>
                    <a:pt x="1607" y="207"/>
                    <a:pt x="1539" y="163"/>
                    <a:pt x="1546" y="132"/>
                  </a:cubicBezTo>
                  <a:cubicBezTo>
                    <a:pt x="1553" y="101"/>
                    <a:pt x="1630" y="89"/>
                    <a:pt x="1739" y="98"/>
                  </a:cubicBezTo>
                  <a:close/>
                </a:path>
              </a:pathLst>
            </a:custGeom>
            <a:noFill/>
            <a:ln w="7938"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22" name="îṥ1íḋè">
              <a:extLst>
                <a:ext uri="{FF2B5EF4-FFF2-40B4-BE49-F238E27FC236}">
                  <a16:creationId xmlns:a16="http://schemas.microsoft.com/office/drawing/2014/main" id="{B9029E65-A925-4B90-8772-5179C6EE16E2}"/>
                </a:ext>
              </a:extLst>
            </p:cNvPr>
            <p:cNvSpPr/>
            <p:nvPr/>
          </p:nvSpPr>
          <p:spPr bwMode="auto">
            <a:xfrm>
              <a:off x="18885822" y="4677410"/>
              <a:ext cx="186130" cy="368608"/>
            </a:xfrm>
            <a:custGeom>
              <a:avLst/>
              <a:gdLst>
                <a:gd name="T0" fmla="*/ 120 w 132"/>
                <a:gd name="T1" fmla="*/ 58 h 260"/>
                <a:gd name="T2" fmla="*/ 127 w 132"/>
                <a:gd name="T3" fmla="*/ 55 h 260"/>
                <a:gd name="T4" fmla="*/ 114 w 132"/>
                <a:gd name="T5" fmla="*/ 40 h 260"/>
                <a:gd name="T6" fmla="*/ 87 w 132"/>
                <a:gd name="T7" fmla="*/ 28 h 260"/>
                <a:gd name="T8" fmla="*/ 62 w 132"/>
                <a:gd name="T9" fmla="*/ 21 h 260"/>
                <a:gd name="T10" fmla="*/ 62 w 132"/>
                <a:gd name="T11" fmla="*/ 21 h 260"/>
                <a:gd name="T12" fmla="*/ 38 w 132"/>
                <a:gd name="T13" fmla="*/ 12 h 260"/>
                <a:gd name="T14" fmla="*/ 15 w 132"/>
                <a:gd name="T15" fmla="*/ 1 h 260"/>
                <a:gd name="T16" fmla="*/ 7 w 132"/>
                <a:gd name="T17" fmla="*/ 1 h 260"/>
                <a:gd name="T18" fmla="*/ 3 w 132"/>
                <a:gd name="T19" fmla="*/ 7 h 260"/>
                <a:gd name="T20" fmla="*/ 0 w 132"/>
                <a:gd name="T21" fmla="*/ 47 h 260"/>
                <a:gd name="T22" fmla="*/ 94 w 132"/>
                <a:gd name="T23" fmla="*/ 257 h 260"/>
                <a:gd name="T24" fmla="*/ 102 w 132"/>
                <a:gd name="T25" fmla="*/ 259 h 260"/>
                <a:gd name="T26" fmla="*/ 107 w 132"/>
                <a:gd name="T27" fmla="*/ 252 h 260"/>
                <a:gd name="T28" fmla="*/ 107 w 132"/>
                <a:gd name="T29" fmla="*/ 240 h 260"/>
                <a:gd name="T30" fmla="*/ 105 w 132"/>
                <a:gd name="T31" fmla="*/ 207 h 260"/>
                <a:gd name="T32" fmla="*/ 103 w 132"/>
                <a:gd name="T33" fmla="*/ 181 h 260"/>
                <a:gd name="T34" fmla="*/ 103 w 132"/>
                <a:gd name="T35" fmla="*/ 181 h 260"/>
                <a:gd name="T36" fmla="*/ 103 w 132"/>
                <a:gd name="T37" fmla="*/ 180 h 260"/>
                <a:gd name="T38" fmla="*/ 107 w 132"/>
                <a:gd name="T39" fmla="*/ 157 h 260"/>
                <a:gd name="T40" fmla="*/ 122 w 132"/>
                <a:gd name="T41" fmla="*/ 121 h 260"/>
                <a:gd name="T42" fmla="*/ 132 w 132"/>
                <a:gd name="T43" fmla="*/ 80 h 260"/>
                <a:gd name="T44" fmla="*/ 127 w 132"/>
                <a:gd name="T45" fmla="*/ 55 h 260"/>
                <a:gd name="T46" fmla="*/ 127 w 132"/>
                <a:gd name="T47" fmla="*/ 55 h 260"/>
                <a:gd name="T48" fmla="*/ 120 w 132"/>
                <a:gd name="T49" fmla="*/ 58 h 260"/>
                <a:gd name="T50" fmla="*/ 113 w 132"/>
                <a:gd name="T51" fmla="*/ 61 h 260"/>
                <a:gd name="T52" fmla="*/ 117 w 132"/>
                <a:gd name="T53" fmla="*/ 80 h 260"/>
                <a:gd name="T54" fmla="*/ 113 w 132"/>
                <a:gd name="T55" fmla="*/ 103 h 260"/>
                <a:gd name="T56" fmla="*/ 97 w 132"/>
                <a:gd name="T57" fmla="*/ 140 h 260"/>
                <a:gd name="T58" fmla="*/ 87 w 132"/>
                <a:gd name="T59" fmla="*/ 180 h 260"/>
                <a:gd name="T60" fmla="*/ 87 w 132"/>
                <a:gd name="T61" fmla="*/ 181 h 260"/>
                <a:gd name="T62" fmla="*/ 87 w 132"/>
                <a:gd name="T63" fmla="*/ 181 h 260"/>
                <a:gd name="T64" fmla="*/ 90 w 132"/>
                <a:gd name="T65" fmla="*/ 209 h 260"/>
                <a:gd name="T66" fmla="*/ 92 w 132"/>
                <a:gd name="T67" fmla="*/ 240 h 260"/>
                <a:gd name="T68" fmla="*/ 91 w 132"/>
                <a:gd name="T69" fmla="*/ 251 h 260"/>
                <a:gd name="T70" fmla="*/ 99 w 132"/>
                <a:gd name="T71" fmla="*/ 251 h 260"/>
                <a:gd name="T72" fmla="*/ 104 w 132"/>
                <a:gd name="T73" fmla="*/ 246 h 260"/>
                <a:gd name="T74" fmla="*/ 15 w 132"/>
                <a:gd name="T75" fmla="*/ 47 h 260"/>
                <a:gd name="T76" fmla="*/ 18 w 132"/>
                <a:gd name="T77" fmla="*/ 9 h 260"/>
                <a:gd name="T78" fmla="*/ 10 w 132"/>
                <a:gd name="T79" fmla="*/ 8 h 260"/>
                <a:gd name="T80" fmla="*/ 6 w 132"/>
                <a:gd name="T81" fmla="*/ 14 h 260"/>
                <a:gd name="T82" fmla="*/ 33 w 132"/>
                <a:gd name="T83" fmla="*/ 27 h 260"/>
                <a:gd name="T84" fmla="*/ 56 w 132"/>
                <a:gd name="T85" fmla="*/ 35 h 260"/>
                <a:gd name="T86" fmla="*/ 56 w 132"/>
                <a:gd name="T87" fmla="*/ 35 h 260"/>
                <a:gd name="T88" fmla="*/ 73 w 132"/>
                <a:gd name="T89" fmla="*/ 41 h 260"/>
                <a:gd name="T90" fmla="*/ 99 w 132"/>
                <a:gd name="T91" fmla="*/ 49 h 260"/>
                <a:gd name="T92" fmla="*/ 108 w 132"/>
                <a:gd name="T93" fmla="*/ 55 h 260"/>
                <a:gd name="T94" fmla="*/ 113 w 132"/>
                <a:gd name="T95" fmla="*/ 61 h 260"/>
                <a:gd name="T96" fmla="*/ 113 w 132"/>
                <a:gd name="T97" fmla="*/ 61 h 260"/>
                <a:gd name="T98" fmla="*/ 120 w 132"/>
                <a:gd name="T99" fmla="*/ 5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260">
                  <a:moveTo>
                    <a:pt x="120" y="58"/>
                  </a:moveTo>
                  <a:cubicBezTo>
                    <a:pt x="127" y="55"/>
                    <a:pt x="127" y="55"/>
                    <a:pt x="127" y="55"/>
                  </a:cubicBezTo>
                  <a:cubicBezTo>
                    <a:pt x="125" y="48"/>
                    <a:pt x="120" y="44"/>
                    <a:pt x="114" y="40"/>
                  </a:cubicBezTo>
                  <a:cubicBezTo>
                    <a:pt x="106" y="34"/>
                    <a:pt x="96" y="31"/>
                    <a:pt x="87" y="28"/>
                  </a:cubicBezTo>
                  <a:cubicBezTo>
                    <a:pt x="77" y="26"/>
                    <a:pt x="68" y="23"/>
                    <a:pt x="62" y="21"/>
                  </a:cubicBezTo>
                  <a:cubicBezTo>
                    <a:pt x="62" y="21"/>
                    <a:pt x="62" y="21"/>
                    <a:pt x="62" y="21"/>
                  </a:cubicBezTo>
                  <a:cubicBezTo>
                    <a:pt x="55" y="18"/>
                    <a:pt x="47" y="16"/>
                    <a:pt x="38" y="12"/>
                  </a:cubicBezTo>
                  <a:cubicBezTo>
                    <a:pt x="30" y="9"/>
                    <a:pt x="21" y="6"/>
                    <a:pt x="15" y="1"/>
                  </a:cubicBezTo>
                  <a:cubicBezTo>
                    <a:pt x="12" y="0"/>
                    <a:pt x="10" y="0"/>
                    <a:pt x="7" y="1"/>
                  </a:cubicBezTo>
                  <a:cubicBezTo>
                    <a:pt x="5" y="2"/>
                    <a:pt x="3" y="4"/>
                    <a:pt x="3" y="7"/>
                  </a:cubicBezTo>
                  <a:cubicBezTo>
                    <a:pt x="1" y="20"/>
                    <a:pt x="0" y="34"/>
                    <a:pt x="0" y="47"/>
                  </a:cubicBezTo>
                  <a:cubicBezTo>
                    <a:pt x="0" y="129"/>
                    <a:pt x="35" y="204"/>
                    <a:pt x="94" y="257"/>
                  </a:cubicBezTo>
                  <a:cubicBezTo>
                    <a:pt x="96" y="259"/>
                    <a:pt x="99" y="260"/>
                    <a:pt x="102" y="259"/>
                  </a:cubicBezTo>
                  <a:cubicBezTo>
                    <a:pt x="104" y="258"/>
                    <a:pt x="106" y="255"/>
                    <a:pt x="107" y="252"/>
                  </a:cubicBezTo>
                  <a:cubicBezTo>
                    <a:pt x="107" y="248"/>
                    <a:pt x="107" y="244"/>
                    <a:pt x="107" y="240"/>
                  </a:cubicBezTo>
                  <a:cubicBezTo>
                    <a:pt x="107" y="229"/>
                    <a:pt x="106" y="218"/>
                    <a:pt x="105" y="207"/>
                  </a:cubicBezTo>
                  <a:cubicBezTo>
                    <a:pt x="104" y="197"/>
                    <a:pt x="103" y="188"/>
                    <a:pt x="103" y="181"/>
                  </a:cubicBezTo>
                  <a:cubicBezTo>
                    <a:pt x="103" y="181"/>
                    <a:pt x="103" y="181"/>
                    <a:pt x="103" y="181"/>
                  </a:cubicBezTo>
                  <a:cubicBezTo>
                    <a:pt x="103" y="180"/>
                    <a:pt x="103" y="180"/>
                    <a:pt x="103" y="180"/>
                  </a:cubicBezTo>
                  <a:cubicBezTo>
                    <a:pt x="103" y="173"/>
                    <a:pt x="104" y="165"/>
                    <a:pt x="107" y="157"/>
                  </a:cubicBezTo>
                  <a:cubicBezTo>
                    <a:pt x="111" y="146"/>
                    <a:pt x="117" y="133"/>
                    <a:pt x="122" y="121"/>
                  </a:cubicBezTo>
                  <a:cubicBezTo>
                    <a:pt x="128" y="108"/>
                    <a:pt x="132" y="94"/>
                    <a:pt x="132" y="80"/>
                  </a:cubicBezTo>
                  <a:cubicBezTo>
                    <a:pt x="132" y="72"/>
                    <a:pt x="131" y="63"/>
                    <a:pt x="127" y="55"/>
                  </a:cubicBezTo>
                  <a:cubicBezTo>
                    <a:pt x="127" y="55"/>
                    <a:pt x="127" y="55"/>
                    <a:pt x="127" y="55"/>
                  </a:cubicBezTo>
                  <a:cubicBezTo>
                    <a:pt x="120" y="58"/>
                    <a:pt x="120" y="58"/>
                    <a:pt x="120" y="58"/>
                  </a:cubicBezTo>
                  <a:cubicBezTo>
                    <a:pt x="113" y="61"/>
                    <a:pt x="113" y="61"/>
                    <a:pt x="113" y="61"/>
                  </a:cubicBezTo>
                  <a:cubicBezTo>
                    <a:pt x="116" y="67"/>
                    <a:pt x="117" y="74"/>
                    <a:pt x="117" y="80"/>
                  </a:cubicBezTo>
                  <a:cubicBezTo>
                    <a:pt x="117" y="87"/>
                    <a:pt x="115" y="95"/>
                    <a:pt x="113" y="103"/>
                  </a:cubicBezTo>
                  <a:cubicBezTo>
                    <a:pt x="109" y="114"/>
                    <a:pt x="103" y="127"/>
                    <a:pt x="97" y="140"/>
                  </a:cubicBezTo>
                  <a:cubicBezTo>
                    <a:pt x="92" y="152"/>
                    <a:pt x="87" y="166"/>
                    <a:pt x="87" y="180"/>
                  </a:cubicBezTo>
                  <a:cubicBezTo>
                    <a:pt x="87" y="181"/>
                    <a:pt x="87" y="181"/>
                    <a:pt x="87" y="181"/>
                  </a:cubicBezTo>
                  <a:cubicBezTo>
                    <a:pt x="87" y="181"/>
                    <a:pt x="87" y="181"/>
                    <a:pt x="87" y="181"/>
                  </a:cubicBezTo>
                  <a:cubicBezTo>
                    <a:pt x="87" y="189"/>
                    <a:pt x="88" y="199"/>
                    <a:pt x="90" y="209"/>
                  </a:cubicBezTo>
                  <a:cubicBezTo>
                    <a:pt x="91" y="219"/>
                    <a:pt x="92" y="230"/>
                    <a:pt x="92" y="240"/>
                  </a:cubicBezTo>
                  <a:cubicBezTo>
                    <a:pt x="92" y="243"/>
                    <a:pt x="92" y="247"/>
                    <a:pt x="91" y="251"/>
                  </a:cubicBezTo>
                  <a:cubicBezTo>
                    <a:pt x="99" y="251"/>
                    <a:pt x="99" y="251"/>
                    <a:pt x="99" y="251"/>
                  </a:cubicBezTo>
                  <a:cubicBezTo>
                    <a:pt x="104" y="246"/>
                    <a:pt x="104" y="246"/>
                    <a:pt x="104" y="246"/>
                  </a:cubicBezTo>
                  <a:cubicBezTo>
                    <a:pt x="49" y="195"/>
                    <a:pt x="15" y="124"/>
                    <a:pt x="15" y="47"/>
                  </a:cubicBezTo>
                  <a:cubicBezTo>
                    <a:pt x="15" y="35"/>
                    <a:pt x="16" y="22"/>
                    <a:pt x="18" y="9"/>
                  </a:cubicBezTo>
                  <a:cubicBezTo>
                    <a:pt x="10" y="8"/>
                    <a:pt x="10" y="8"/>
                    <a:pt x="10" y="8"/>
                  </a:cubicBezTo>
                  <a:cubicBezTo>
                    <a:pt x="6" y="14"/>
                    <a:pt x="6" y="14"/>
                    <a:pt x="6" y="14"/>
                  </a:cubicBezTo>
                  <a:cubicBezTo>
                    <a:pt x="15" y="20"/>
                    <a:pt x="24" y="24"/>
                    <a:pt x="33" y="27"/>
                  </a:cubicBezTo>
                  <a:cubicBezTo>
                    <a:pt x="42" y="30"/>
                    <a:pt x="50" y="33"/>
                    <a:pt x="56" y="35"/>
                  </a:cubicBezTo>
                  <a:cubicBezTo>
                    <a:pt x="56" y="35"/>
                    <a:pt x="56" y="35"/>
                    <a:pt x="56" y="35"/>
                  </a:cubicBezTo>
                  <a:cubicBezTo>
                    <a:pt x="61" y="37"/>
                    <a:pt x="67" y="39"/>
                    <a:pt x="73" y="41"/>
                  </a:cubicBezTo>
                  <a:cubicBezTo>
                    <a:pt x="82" y="43"/>
                    <a:pt x="92" y="46"/>
                    <a:pt x="99" y="49"/>
                  </a:cubicBezTo>
                  <a:cubicBezTo>
                    <a:pt x="103" y="51"/>
                    <a:pt x="106" y="53"/>
                    <a:pt x="108" y="55"/>
                  </a:cubicBezTo>
                  <a:cubicBezTo>
                    <a:pt x="111" y="57"/>
                    <a:pt x="112" y="59"/>
                    <a:pt x="113" y="61"/>
                  </a:cubicBezTo>
                  <a:cubicBezTo>
                    <a:pt x="113" y="61"/>
                    <a:pt x="113" y="61"/>
                    <a:pt x="113" y="61"/>
                  </a:cubicBezTo>
                  <a:cubicBezTo>
                    <a:pt x="120" y="58"/>
                    <a:pt x="120" y="58"/>
                    <a:pt x="120" y="58"/>
                  </a:cubicBezTo>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23" name="i$ḷiḑé">
              <a:extLst>
                <a:ext uri="{FF2B5EF4-FFF2-40B4-BE49-F238E27FC236}">
                  <a16:creationId xmlns:a16="http://schemas.microsoft.com/office/drawing/2014/main" id="{9A4D8F90-D5C3-4233-920D-6F75576C8C78}"/>
                </a:ext>
              </a:extLst>
            </p:cNvPr>
            <p:cNvSpPr/>
            <p:nvPr/>
          </p:nvSpPr>
          <p:spPr bwMode="auto">
            <a:xfrm>
              <a:off x="15174198" y="1856286"/>
              <a:ext cx="4689711" cy="3288270"/>
            </a:xfrm>
            <a:custGeom>
              <a:avLst/>
              <a:gdLst>
                <a:gd name="T0" fmla="*/ 3083 w 3299"/>
                <a:gd name="T1" fmla="*/ 2139 h 2320"/>
                <a:gd name="T2" fmla="*/ 3202 w 3299"/>
                <a:gd name="T3" fmla="*/ 2081 h 2320"/>
                <a:gd name="T4" fmla="*/ 2897 w 3299"/>
                <a:gd name="T5" fmla="*/ 1856 h 2320"/>
                <a:gd name="T6" fmla="*/ 2823 w 3299"/>
                <a:gd name="T7" fmla="*/ 1949 h 2320"/>
                <a:gd name="T8" fmla="*/ 2889 w 3299"/>
                <a:gd name="T9" fmla="*/ 2028 h 2320"/>
                <a:gd name="T10" fmla="*/ 2893 w 3299"/>
                <a:gd name="T11" fmla="*/ 2128 h 2320"/>
                <a:gd name="T12" fmla="*/ 2991 w 3299"/>
                <a:gd name="T13" fmla="*/ 2305 h 2320"/>
                <a:gd name="T14" fmla="*/ 3066 w 3299"/>
                <a:gd name="T15" fmla="*/ 2186 h 2320"/>
                <a:gd name="T16" fmla="*/ 3151 w 3299"/>
                <a:gd name="T17" fmla="*/ 2077 h 2320"/>
                <a:gd name="T18" fmla="*/ 2837 w 3299"/>
                <a:gd name="T19" fmla="*/ 1814 h 2320"/>
                <a:gd name="T20" fmla="*/ 2670 w 3299"/>
                <a:gd name="T21" fmla="*/ 1876 h 2320"/>
                <a:gd name="T22" fmla="*/ 2837 w 3299"/>
                <a:gd name="T23" fmla="*/ 1814 h 2320"/>
                <a:gd name="T24" fmla="*/ 2837 w 3299"/>
                <a:gd name="T25" fmla="*/ 1814 h 2320"/>
                <a:gd name="T26" fmla="*/ 2670 w 3299"/>
                <a:gd name="T27" fmla="*/ 1876 h 2320"/>
                <a:gd name="T28" fmla="*/ 2731 w 3299"/>
                <a:gd name="T29" fmla="*/ 2047 h 2320"/>
                <a:gd name="T30" fmla="*/ 2991 w 3299"/>
                <a:gd name="T31" fmla="*/ 2305 h 2320"/>
                <a:gd name="T32" fmla="*/ 2893 w 3299"/>
                <a:gd name="T33" fmla="*/ 2128 h 2320"/>
                <a:gd name="T34" fmla="*/ 2889 w 3299"/>
                <a:gd name="T35" fmla="*/ 2028 h 2320"/>
                <a:gd name="T36" fmla="*/ 2823 w 3299"/>
                <a:gd name="T37" fmla="*/ 1949 h 2320"/>
                <a:gd name="T38" fmla="*/ 2897 w 3299"/>
                <a:gd name="T39" fmla="*/ 1856 h 2320"/>
                <a:gd name="T40" fmla="*/ 874 w 3299"/>
                <a:gd name="T41" fmla="*/ 394 h 2320"/>
                <a:gd name="T42" fmla="*/ 874 w 3299"/>
                <a:gd name="T43" fmla="*/ 394 h 2320"/>
                <a:gd name="T44" fmla="*/ 896 w 3299"/>
                <a:gd name="T45" fmla="*/ 430 h 2320"/>
                <a:gd name="T46" fmla="*/ 975 w 3299"/>
                <a:gd name="T47" fmla="*/ 438 h 2320"/>
                <a:gd name="T48" fmla="*/ 896 w 3299"/>
                <a:gd name="T49" fmla="*/ 430 h 2320"/>
                <a:gd name="T50" fmla="*/ 866 w 3299"/>
                <a:gd name="T51" fmla="*/ 504 h 2320"/>
                <a:gd name="T52" fmla="*/ 1055 w 3299"/>
                <a:gd name="T53" fmla="*/ 757 h 2320"/>
                <a:gd name="T54" fmla="*/ 1007 w 3299"/>
                <a:gd name="T55" fmla="*/ 490 h 2320"/>
                <a:gd name="T56" fmla="*/ 2457 w 3299"/>
                <a:gd name="T57" fmla="*/ 675 h 2320"/>
                <a:gd name="T58" fmla="*/ 2539 w 3299"/>
                <a:gd name="T59" fmla="*/ 269 h 2320"/>
                <a:gd name="T60" fmla="*/ 2505 w 3299"/>
                <a:gd name="T61" fmla="*/ 283 h 2320"/>
                <a:gd name="T62" fmla="*/ 2447 w 3299"/>
                <a:gd name="T63" fmla="*/ 285 h 2320"/>
                <a:gd name="T64" fmla="*/ 2447 w 3299"/>
                <a:gd name="T65" fmla="*/ 285 h 2320"/>
                <a:gd name="T66" fmla="*/ 2544 w 3299"/>
                <a:gd name="T67" fmla="*/ 708 h 2320"/>
                <a:gd name="T68" fmla="*/ 2910 w 3299"/>
                <a:gd name="T69" fmla="*/ 178 h 2320"/>
                <a:gd name="T70" fmla="*/ 2882 w 3299"/>
                <a:gd name="T71" fmla="*/ 370 h 2320"/>
                <a:gd name="T72" fmla="*/ 2882 w 3299"/>
                <a:gd name="T73" fmla="*/ 370 h 2320"/>
                <a:gd name="T74" fmla="*/ 3203 w 3299"/>
                <a:gd name="T75" fmla="*/ 1507 h 2320"/>
                <a:gd name="T76" fmla="*/ 3249 w 3299"/>
                <a:gd name="T77" fmla="*/ 1463 h 2320"/>
                <a:gd name="T78" fmla="*/ 2946 w 3299"/>
                <a:gd name="T79" fmla="*/ 1597 h 2320"/>
                <a:gd name="T80" fmla="*/ 3178 w 3299"/>
                <a:gd name="T81" fmla="*/ 1455 h 2320"/>
                <a:gd name="T82" fmla="*/ 2934 w 3299"/>
                <a:gd name="T83" fmla="*/ 1571 h 2320"/>
                <a:gd name="T84" fmla="*/ 375 w 3299"/>
                <a:gd name="T85" fmla="*/ 600 h 2320"/>
                <a:gd name="T86" fmla="*/ 156 w 3299"/>
                <a:gd name="T87" fmla="*/ 1090 h 2320"/>
                <a:gd name="T88" fmla="*/ 64 w 3299"/>
                <a:gd name="T89" fmla="*/ 706 h 2320"/>
                <a:gd name="T90" fmla="*/ 105 w 3299"/>
                <a:gd name="T91" fmla="*/ 740 h 2320"/>
                <a:gd name="T92" fmla="*/ 107 w 3299"/>
                <a:gd name="T93" fmla="*/ 664 h 2320"/>
                <a:gd name="T94" fmla="*/ 295 w 3299"/>
                <a:gd name="T95" fmla="*/ 648 h 2320"/>
                <a:gd name="T96" fmla="*/ 345 w 3299"/>
                <a:gd name="T97" fmla="*/ 631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9" h="2320">
                  <a:moveTo>
                    <a:pt x="3151" y="2077"/>
                  </a:moveTo>
                  <a:cubicBezTo>
                    <a:pt x="3146" y="2080"/>
                    <a:pt x="3149" y="2083"/>
                    <a:pt x="3147" y="2087"/>
                  </a:cubicBezTo>
                  <a:cubicBezTo>
                    <a:pt x="3142" y="2096"/>
                    <a:pt x="3140" y="2107"/>
                    <a:pt x="3135" y="2116"/>
                  </a:cubicBezTo>
                  <a:cubicBezTo>
                    <a:pt x="3122" y="2140"/>
                    <a:pt x="3109" y="2132"/>
                    <a:pt x="3083" y="2139"/>
                  </a:cubicBezTo>
                  <a:cubicBezTo>
                    <a:pt x="3055" y="2146"/>
                    <a:pt x="3056" y="2163"/>
                    <a:pt x="3066" y="2186"/>
                  </a:cubicBezTo>
                  <a:cubicBezTo>
                    <a:pt x="3075" y="2207"/>
                    <a:pt x="3080" y="2227"/>
                    <a:pt x="3082" y="2249"/>
                  </a:cubicBezTo>
                  <a:cubicBezTo>
                    <a:pt x="3082" y="2252"/>
                    <a:pt x="3083" y="2257"/>
                    <a:pt x="3084" y="2262"/>
                  </a:cubicBezTo>
                  <a:cubicBezTo>
                    <a:pt x="3144" y="2220"/>
                    <a:pt x="3188" y="2156"/>
                    <a:pt x="3202" y="2081"/>
                  </a:cubicBezTo>
                  <a:cubicBezTo>
                    <a:pt x="3185" y="2076"/>
                    <a:pt x="3160" y="2071"/>
                    <a:pt x="3151" y="2077"/>
                  </a:cubicBezTo>
                  <a:close/>
                  <a:moveTo>
                    <a:pt x="3085" y="1801"/>
                  </a:moveTo>
                  <a:cubicBezTo>
                    <a:pt x="3056" y="1807"/>
                    <a:pt x="3027" y="1811"/>
                    <a:pt x="3021" y="1811"/>
                  </a:cubicBezTo>
                  <a:cubicBezTo>
                    <a:pt x="2981" y="1814"/>
                    <a:pt x="2899" y="1799"/>
                    <a:pt x="2897" y="1856"/>
                  </a:cubicBezTo>
                  <a:cubicBezTo>
                    <a:pt x="2896" y="1879"/>
                    <a:pt x="2909" y="1903"/>
                    <a:pt x="2905" y="1925"/>
                  </a:cubicBezTo>
                  <a:cubicBezTo>
                    <a:pt x="2903" y="1938"/>
                    <a:pt x="2899" y="1939"/>
                    <a:pt x="2887" y="1943"/>
                  </a:cubicBezTo>
                  <a:cubicBezTo>
                    <a:pt x="2875" y="1946"/>
                    <a:pt x="2863" y="1947"/>
                    <a:pt x="2851" y="1948"/>
                  </a:cubicBezTo>
                  <a:cubicBezTo>
                    <a:pt x="2846" y="1948"/>
                    <a:pt x="2833" y="1948"/>
                    <a:pt x="2823" y="1949"/>
                  </a:cubicBezTo>
                  <a:cubicBezTo>
                    <a:pt x="2818" y="1950"/>
                    <a:pt x="2813" y="1951"/>
                    <a:pt x="2811" y="1953"/>
                  </a:cubicBezTo>
                  <a:cubicBezTo>
                    <a:pt x="2803" y="1960"/>
                    <a:pt x="2809" y="1978"/>
                    <a:pt x="2814" y="1986"/>
                  </a:cubicBezTo>
                  <a:cubicBezTo>
                    <a:pt x="2826" y="2007"/>
                    <a:pt x="2854" y="2017"/>
                    <a:pt x="2878" y="2025"/>
                  </a:cubicBezTo>
                  <a:cubicBezTo>
                    <a:pt x="2882" y="2026"/>
                    <a:pt x="2885" y="2027"/>
                    <a:pt x="2889" y="2028"/>
                  </a:cubicBezTo>
                  <a:cubicBezTo>
                    <a:pt x="2924" y="2041"/>
                    <a:pt x="2945" y="2049"/>
                    <a:pt x="2938" y="2088"/>
                  </a:cubicBezTo>
                  <a:cubicBezTo>
                    <a:pt x="2937" y="2092"/>
                    <a:pt x="2937" y="2097"/>
                    <a:pt x="2936" y="2102"/>
                  </a:cubicBezTo>
                  <a:cubicBezTo>
                    <a:pt x="2934" y="2107"/>
                    <a:pt x="2932" y="2112"/>
                    <a:pt x="2927" y="2116"/>
                  </a:cubicBezTo>
                  <a:cubicBezTo>
                    <a:pt x="2918" y="2124"/>
                    <a:pt x="2902" y="2121"/>
                    <a:pt x="2893" y="2128"/>
                  </a:cubicBezTo>
                  <a:cubicBezTo>
                    <a:pt x="2867" y="2147"/>
                    <a:pt x="2891" y="2188"/>
                    <a:pt x="2912" y="2200"/>
                  </a:cubicBezTo>
                  <a:cubicBezTo>
                    <a:pt x="2927" y="2208"/>
                    <a:pt x="2944" y="2209"/>
                    <a:pt x="2954" y="2223"/>
                  </a:cubicBezTo>
                  <a:cubicBezTo>
                    <a:pt x="2963" y="2236"/>
                    <a:pt x="2961" y="2252"/>
                    <a:pt x="2965" y="2267"/>
                  </a:cubicBezTo>
                  <a:cubicBezTo>
                    <a:pt x="2969" y="2281"/>
                    <a:pt x="2978" y="2295"/>
                    <a:pt x="2991" y="2305"/>
                  </a:cubicBezTo>
                  <a:cubicBezTo>
                    <a:pt x="3016" y="2298"/>
                    <a:pt x="3041" y="2288"/>
                    <a:pt x="3063" y="2275"/>
                  </a:cubicBezTo>
                  <a:cubicBezTo>
                    <a:pt x="3070" y="2271"/>
                    <a:pt x="3077" y="2266"/>
                    <a:pt x="3084" y="2262"/>
                  </a:cubicBezTo>
                  <a:cubicBezTo>
                    <a:pt x="3083" y="2257"/>
                    <a:pt x="3082" y="2252"/>
                    <a:pt x="3082" y="2249"/>
                  </a:cubicBezTo>
                  <a:cubicBezTo>
                    <a:pt x="3080" y="2227"/>
                    <a:pt x="3075" y="2207"/>
                    <a:pt x="3066" y="2186"/>
                  </a:cubicBezTo>
                  <a:cubicBezTo>
                    <a:pt x="3056" y="2163"/>
                    <a:pt x="3055" y="2146"/>
                    <a:pt x="3083" y="2139"/>
                  </a:cubicBezTo>
                  <a:cubicBezTo>
                    <a:pt x="3109" y="2132"/>
                    <a:pt x="3122" y="2140"/>
                    <a:pt x="3135" y="2116"/>
                  </a:cubicBezTo>
                  <a:cubicBezTo>
                    <a:pt x="3140" y="2107"/>
                    <a:pt x="3142" y="2096"/>
                    <a:pt x="3147" y="2087"/>
                  </a:cubicBezTo>
                  <a:cubicBezTo>
                    <a:pt x="3149" y="2083"/>
                    <a:pt x="3146" y="2080"/>
                    <a:pt x="3151" y="2077"/>
                  </a:cubicBezTo>
                  <a:cubicBezTo>
                    <a:pt x="3160" y="2071"/>
                    <a:pt x="3185" y="2076"/>
                    <a:pt x="3202" y="2081"/>
                  </a:cubicBezTo>
                  <a:cubicBezTo>
                    <a:pt x="3203" y="2080"/>
                    <a:pt x="3203" y="2079"/>
                    <a:pt x="3203" y="2078"/>
                  </a:cubicBezTo>
                  <a:cubicBezTo>
                    <a:pt x="3223" y="1967"/>
                    <a:pt x="3173" y="1861"/>
                    <a:pt x="3085" y="1801"/>
                  </a:cubicBezTo>
                  <a:close/>
                  <a:moveTo>
                    <a:pt x="2837" y="1814"/>
                  </a:moveTo>
                  <a:cubicBezTo>
                    <a:pt x="2839" y="1803"/>
                    <a:pt x="2835" y="1787"/>
                    <a:pt x="2830" y="1777"/>
                  </a:cubicBezTo>
                  <a:cubicBezTo>
                    <a:pt x="2827" y="1773"/>
                    <a:pt x="2825" y="1768"/>
                    <a:pt x="2822" y="1764"/>
                  </a:cubicBezTo>
                  <a:cubicBezTo>
                    <a:pt x="2786" y="1776"/>
                    <a:pt x="2754" y="1794"/>
                    <a:pt x="2725" y="1817"/>
                  </a:cubicBezTo>
                  <a:cubicBezTo>
                    <a:pt x="2704" y="1834"/>
                    <a:pt x="2685" y="1854"/>
                    <a:pt x="2670" y="1876"/>
                  </a:cubicBezTo>
                  <a:cubicBezTo>
                    <a:pt x="2686" y="1870"/>
                    <a:pt x="2704" y="1869"/>
                    <a:pt x="2719" y="1860"/>
                  </a:cubicBezTo>
                  <a:cubicBezTo>
                    <a:pt x="2728" y="1854"/>
                    <a:pt x="2738" y="1851"/>
                    <a:pt x="2748" y="1848"/>
                  </a:cubicBezTo>
                  <a:cubicBezTo>
                    <a:pt x="2755" y="1846"/>
                    <a:pt x="2761" y="1845"/>
                    <a:pt x="2768" y="1843"/>
                  </a:cubicBezTo>
                  <a:cubicBezTo>
                    <a:pt x="2790" y="1839"/>
                    <a:pt x="2830" y="1842"/>
                    <a:pt x="2837" y="1814"/>
                  </a:cubicBezTo>
                  <a:close/>
                  <a:moveTo>
                    <a:pt x="2963" y="1753"/>
                  </a:moveTo>
                  <a:cubicBezTo>
                    <a:pt x="2914" y="1745"/>
                    <a:pt x="2866" y="1750"/>
                    <a:pt x="2822" y="1764"/>
                  </a:cubicBezTo>
                  <a:cubicBezTo>
                    <a:pt x="2825" y="1768"/>
                    <a:pt x="2827" y="1773"/>
                    <a:pt x="2830" y="1777"/>
                  </a:cubicBezTo>
                  <a:cubicBezTo>
                    <a:pt x="2835" y="1787"/>
                    <a:pt x="2839" y="1803"/>
                    <a:pt x="2837" y="1814"/>
                  </a:cubicBezTo>
                  <a:cubicBezTo>
                    <a:pt x="2830" y="1842"/>
                    <a:pt x="2790" y="1839"/>
                    <a:pt x="2768" y="1843"/>
                  </a:cubicBezTo>
                  <a:cubicBezTo>
                    <a:pt x="2761" y="1845"/>
                    <a:pt x="2755" y="1846"/>
                    <a:pt x="2748" y="1848"/>
                  </a:cubicBezTo>
                  <a:cubicBezTo>
                    <a:pt x="2738" y="1851"/>
                    <a:pt x="2728" y="1854"/>
                    <a:pt x="2719" y="1860"/>
                  </a:cubicBezTo>
                  <a:cubicBezTo>
                    <a:pt x="2704" y="1869"/>
                    <a:pt x="2686" y="1870"/>
                    <a:pt x="2670" y="1876"/>
                  </a:cubicBezTo>
                  <a:cubicBezTo>
                    <a:pt x="2647" y="1908"/>
                    <a:pt x="2630" y="1946"/>
                    <a:pt x="2623" y="1988"/>
                  </a:cubicBezTo>
                  <a:cubicBezTo>
                    <a:pt x="2622" y="1991"/>
                    <a:pt x="2622" y="1994"/>
                    <a:pt x="2621" y="1997"/>
                  </a:cubicBezTo>
                  <a:cubicBezTo>
                    <a:pt x="2637" y="2006"/>
                    <a:pt x="2657" y="2012"/>
                    <a:pt x="2670" y="2017"/>
                  </a:cubicBezTo>
                  <a:cubicBezTo>
                    <a:pt x="2689" y="2024"/>
                    <a:pt x="2723" y="2028"/>
                    <a:pt x="2731" y="2047"/>
                  </a:cubicBezTo>
                  <a:cubicBezTo>
                    <a:pt x="2750" y="2090"/>
                    <a:pt x="2705" y="2128"/>
                    <a:pt x="2706" y="2170"/>
                  </a:cubicBezTo>
                  <a:cubicBezTo>
                    <a:pt x="2706" y="2188"/>
                    <a:pt x="2712" y="2217"/>
                    <a:pt x="2710" y="2240"/>
                  </a:cubicBezTo>
                  <a:cubicBezTo>
                    <a:pt x="2751" y="2277"/>
                    <a:pt x="2803" y="2303"/>
                    <a:pt x="2863" y="2313"/>
                  </a:cubicBezTo>
                  <a:cubicBezTo>
                    <a:pt x="2907" y="2320"/>
                    <a:pt x="2950" y="2316"/>
                    <a:pt x="2991" y="2305"/>
                  </a:cubicBezTo>
                  <a:cubicBezTo>
                    <a:pt x="2978" y="2295"/>
                    <a:pt x="2969" y="2281"/>
                    <a:pt x="2965" y="2267"/>
                  </a:cubicBezTo>
                  <a:cubicBezTo>
                    <a:pt x="2961" y="2252"/>
                    <a:pt x="2963" y="2236"/>
                    <a:pt x="2954" y="2223"/>
                  </a:cubicBezTo>
                  <a:cubicBezTo>
                    <a:pt x="2944" y="2209"/>
                    <a:pt x="2927" y="2208"/>
                    <a:pt x="2912" y="2200"/>
                  </a:cubicBezTo>
                  <a:cubicBezTo>
                    <a:pt x="2891" y="2188"/>
                    <a:pt x="2867" y="2147"/>
                    <a:pt x="2893" y="2128"/>
                  </a:cubicBezTo>
                  <a:cubicBezTo>
                    <a:pt x="2902" y="2121"/>
                    <a:pt x="2918" y="2124"/>
                    <a:pt x="2927" y="2116"/>
                  </a:cubicBezTo>
                  <a:cubicBezTo>
                    <a:pt x="2932" y="2112"/>
                    <a:pt x="2934" y="2107"/>
                    <a:pt x="2936" y="2102"/>
                  </a:cubicBezTo>
                  <a:cubicBezTo>
                    <a:pt x="2937" y="2097"/>
                    <a:pt x="2937" y="2092"/>
                    <a:pt x="2938" y="2088"/>
                  </a:cubicBezTo>
                  <a:cubicBezTo>
                    <a:pt x="2945" y="2049"/>
                    <a:pt x="2924" y="2041"/>
                    <a:pt x="2889" y="2028"/>
                  </a:cubicBezTo>
                  <a:cubicBezTo>
                    <a:pt x="2885" y="2027"/>
                    <a:pt x="2882" y="2026"/>
                    <a:pt x="2878" y="2025"/>
                  </a:cubicBezTo>
                  <a:cubicBezTo>
                    <a:pt x="2854" y="2017"/>
                    <a:pt x="2826" y="2007"/>
                    <a:pt x="2814" y="1986"/>
                  </a:cubicBezTo>
                  <a:cubicBezTo>
                    <a:pt x="2809" y="1978"/>
                    <a:pt x="2803" y="1960"/>
                    <a:pt x="2811" y="1953"/>
                  </a:cubicBezTo>
                  <a:cubicBezTo>
                    <a:pt x="2813" y="1951"/>
                    <a:pt x="2818" y="1950"/>
                    <a:pt x="2823" y="1949"/>
                  </a:cubicBezTo>
                  <a:cubicBezTo>
                    <a:pt x="2833" y="1948"/>
                    <a:pt x="2846" y="1948"/>
                    <a:pt x="2851" y="1948"/>
                  </a:cubicBezTo>
                  <a:cubicBezTo>
                    <a:pt x="2863" y="1947"/>
                    <a:pt x="2875" y="1946"/>
                    <a:pt x="2887" y="1943"/>
                  </a:cubicBezTo>
                  <a:cubicBezTo>
                    <a:pt x="2899" y="1939"/>
                    <a:pt x="2903" y="1938"/>
                    <a:pt x="2905" y="1925"/>
                  </a:cubicBezTo>
                  <a:cubicBezTo>
                    <a:pt x="2909" y="1903"/>
                    <a:pt x="2896" y="1879"/>
                    <a:pt x="2897" y="1856"/>
                  </a:cubicBezTo>
                  <a:cubicBezTo>
                    <a:pt x="2899" y="1799"/>
                    <a:pt x="2981" y="1814"/>
                    <a:pt x="3021" y="1811"/>
                  </a:cubicBezTo>
                  <a:cubicBezTo>
                    <a:pt x="3027" y="1811"/>
                    <a:pt x="3056" y="1807"/>
                    <a:pt x="3085" y="1801"/>
                  </a:cubicBezTo>
                  <a:cubicBezTo>
                    <a:pt x="3050" y="1777"/>
                    <a:pt x="3008" y="1760"/>
                    <a:pt x="2963" y="1753"/>
                  </a:cubicBezTo>
                  <a:close/>
                  <a:moveTo>
                    <a:pt x="874" y="394"/>
                  </a:moveTo>
                  <a:cubicBezTo>
                    <a:pt x="793" y="443"/>
                    <a:pt x="687" y="417"/>
                    <a:pt x="638" y="336"/>
                  </a:cubicBezTo>
                  <a:cubicBezTo>
                    <a:pt x="589" y="255"/>
                    <a:pt x="615" y="149"/>
                    <a:pt x="696" y="100"/>
                  </a:cubicBezTo>
                  <a:cubicBezTo>
                    <a:pt x="777" y="51"/>
                    <a:pt x="883" y="77"/>
                    <a:pt x="932" y="158"/>
                  </a:cubicBezTo>
                  <a:cubicBezTo>
                    <a:pt x="981" y="239"/>
                    <a:pt x="955" y="345"/>
                    <a:pt x="874" y="394"/>
                  </a:cubicBezTo>
                  <a:close/>
                  <a:moveTo>
                    <a:pt x="673" y="62"/>
                  </a:moveTo>
                  <a:cubicBezTo>
                    <a:pt x="571" y="124"/>
                    <a:pt x="538" y="257"/>
                    <a:pt x="600" y="359"/>
                  </a:cubicBezTo>
                  <a:cubicBezTo>
                    <a:pt x="657" y="453"/>
                    <a:pt x="774" y="488"/>
                    <a:pt x="872" y="445"/>
                  </a:cubicBezTo>
                  <a:cubicBezTo>
                    <a:pt x="896" y="430"/>
                    <a:pt x="896" y="430"/>
                    <a:pt x="896" y="430"/>
                  </a:cubicBezTo>
                  <a:cubicBezTo>
                    <a:pt x="920" y="416"/>
                    <a:pt x="920" y="416"/>
                    <a:pt x="920" y="416"/>
                  </a:cubicBezTo>
                  <a:cubicBezTo>
                    <a:pt x="1004" y="349"/>
                    <a:pt x="1027" y="229"/>
                    <a:pt x="970" y="135"/>
                  </a:cubicBezTo>
                  <a:cubicBezTo>
                    <a:pt x="908" y="33"/>
                    <a:pt x="775" y="0"/>
                    <a:pt x="673" y="62"/>
                  </a:cubicBezTo>
                  <a:close/>
                  <a:moveTo>
                    <a:pt x="975" y="438"/>
                  </a:moveTo>
                  <a:cubicBezTo>
                    <a:pt x="967" y="423"/>
                    <a:pt x="967" y="423"/>
                    <a:pt x="967" y="423"/>
                  </a:cubicBezTo>
                  <a:cubicBezTo>
                    <a:pt x="958" y="409"/>
                    <a:pt x="939" y="404"/>
                    <a:pt x="925" y="413"/>
                  </a:cubicBezTo>
                  <a:cubicBezTo>
                    <a:pt x="920" y="416"/>
                    <a:pt x="920" y="416"/>
                    <a:pt x="920" y="416"/>
                  </a:cubicBezTo>
                  <a:cubicBezTo>
                    <a:pt x="896" y="430"/>
                    <a:pt x="896" y="430"/>
                    <a:pt x="896" y="430"/>
                  </a:cubicBezTo>
                  <a:cubicBezTo>
                    <a:pt x="872" y="445"/>
                    <a:pt x="872" y="445"/>
                    <a:pt x="872" y="445"/>
                  </a:cubicBezTo>
                  <a:cubicBezTo>
                    <a:pt x="867" y="448"/>
                    <a:pt x="867" y="448"/>
                    <a:pt x="867" y="448"/>
                  </a:cubicBezTo>
                  <a:cubicBezTo>
                    <a:pt x="853" y="456"/>
                    <a:pt x="848" y="475"/>
                    <a:pt x="857" y="490"/>
                  </a:cubicBezTo>
                  <a:cubicBezTo>
                    <a:pt x="866" y="504"/>
                    <a:pt x="866" y="504"/>
                    <a:pt x="866" y="504"/>
                  </a:cubicBezTo>
                  <a:cubicBezTo>
                    <a:pt x="875" y="519"/>
                    <a:pt x="893" y="523"/>
                    <a:pt x="908" y="515"/>
                  </a:cubicBezTo>
                  <a:cubicBezTo>
                    <a:pt x="893" y="523"/>
                    <a:pt x="889" y="542"/>
                    <a:pt x="897" y="556"/>
                  </a:cubicBezTo>
                  <a:cubicBezTo>
                    <a:pt x="1013" y="747"/>
                    <a:pt x="1013" y="747"/>
                    <a:pt x="1013" y="747"/>
                  </a:cubicBezTo>
                  <a:cubicBezTo>
                    <a:pt x="1021" y="761"/>
                    <a:pt x="1040" y="766"/>
                    <a:pt x="1055" y="757"/>
                  </a:cubicBezTo>
                  <a:cubicBezTo>
                    <a:pt x="1083" y="740"/>
                    <a:pt x="1083" y="740"/>
                    <a:pt x="1083" y="740"/>
                  </a:cubicBezTo>
                  <a:cubicBezTo>
                    <a:pt x="1112" y="723"/>
                    <a:pt x="1112" y="723"/>
                    <a:pt x="1112" y="723"/>
                  </a:cubicBezTo>
                  <a:cubicBezTo>
                    <a:pt x="1126" y="714"/>
                    <a:pt x="1131" y="695"/>
                    <a:pt x="1122" y="681"/>
                  </a:cubicBezTo>
                  <a:cubicBezTo>
                    <a:pt x="1007" y="490"/>
                    <a:pt x="1007" y="490"/>
                    <a:pt x="1007" y="490"/>
                  </a:cubicBezTo>
                  <a:cubicBezTo>
                    <a:pt x="998" y="476"/>
                    <a:pt x="980" y="471"/>
                    <a:pt x="965" y="480"/>
                  </a:cubicBezTo>
                  <a:cubicBezTo>
                    <a:pt x="980" y="471"/>
                    <a:pt x="984" y="452"/>
                    <a:pt x="975" y="438"/>
                  </a:cubicBezTo>
                  <a:close/>
                  <a:moveTo>
                    <a:pt x="2464" y="349"/>
                  </a:moveTo>
                  <a:cubicBezTo>
                    <a:pt x="2463" y="400"/>
                    <a:pt x="2459" y="582"/>
                    <a:pt x="2457" y="675"/>
                  </a:cubicBezTo>
                  <a:moveTo>
                    <a:pt x="2488" y="686"/>
                  </a:moveTo>
                  <a:cubicBezTo>
                    <a:pt x="2490" y="603"/>
                    <a:pt x="2494" y="424"/>
                    <a:pt x="2495" y="360"/>
                  </a:cubicBezTo>
                  <a:moveTo>
                    <a:pt x="2856" y="134"/>
                  </a:moveTo>
                  <a:cubicBezTo>
                    <a:pt x="2786" y="164"/>
                    <a:pt x="2599" y="243"/>
                    <a:pt x="2539" y="269"/>
                  </a:cubicBezTo>
                  <a:moveTo>
                    <a:pt x="2550" y="298"/>
                  </a:moveTo>
                  <a:cubicBezTo>
                    <a:pt x="2608" y="273"/>
                    <a:pt x="2799" y="192"/>
                    <a:pt x="2869" y="163"/>
                  </a:cubicBezTo>
                  <a:moveTo>
                    <a:pt x="2475" y="296"/>
                  </a:moveTo>
                  <a:cubicBezTo>
                    <a:pt x="2479" y="284"/>
                    <a:pt x="2493" y="278"/>
                    <a:pt x="2505" y="283"/>
                  </a:cubicBezTo>
                  <a:cubicBezTo>
                    <a:pt x="2517" y="287"/>
                    <a:pt x="2523" y="301"/>
                    <a:pt x="2518" y="313"/>
                  </a:cubicBezTo>
                  <a:cubicBezTo>
                    <a:pt x="2514" y="325"/>
                    <a:pt x="2500" y="331"/>
                    <a:pt x="2488" y="326"/>
                  </a:cubicBezTo>
                  <a:cubicBezTo>
                    <a:pt x="2476" y="321"/>
                    <a:pt x="2470" y="308"/>
                    <a:pt x="2475" y="296"/>
                  </a:cubicBezTo>
                  <a:close/>
                  <a:moveTo>
                    <a:pt x="2447" y="285"/>
                  </a:moveTo>
                  <a:cubicBezTo>
                    <a:pt x="2436" y="313"/>
                    <a:pt x="2450" y="344"/>
                    <a:pt x="2478" y="354"/>
                  </a:cubicBezTo>
                  <a:cubicBezTo>
                    <a:pt x="2505" y="364"/>
                    <a:pt x="2536" y="351"/>
                    <a:pt x="2546" y="323"/>
                  </a:cubicBezTo>
                  <a:cubicBezTo>
                    <a:pt x="2557" y="296"/>
                    <a:pt x="2543" y="265"/>
                    <a:pt x="2515" y="255"/>
                  </a:cubicBezTo>
                  <a:cubicBezTo>
                    <a:pt x="2488" y="244"/>
                    <a:pt x="2457" y="258"/>
                    <a:pt x="2447" y="285"/>
                  </a:cubicBezTo>
                  <a:close/>
                  <a:moveTo>
                    <a:pt x="2348" y="708"/>
                  </a:moveTo>
                  <a:cubicBezTo>
                    <a:pt x="2358" y="682"/>
                    <a:pt x="2358" y="682"/>
                    <a:pt x="2358" y="682"/>
                  </a:cubicBezTo>
                  <a:cubicBezTo>
                    <a:pt x="2366" y="660"/>
                    <a:pt x="2390" y="650"/>
                    <a:pt x="2411" y="658"/>
                  </a:cubicBezTo>
                  <a:cubicBezTo>
                    <a:pt x="2544" y="708"/>
                    <a:pt x="2544" y="708"/>
                    <a:pt x="2544" y="708"/>
                  </a:cubicBezTo>
                  <a:cubicBezTo>
                    <a:pt x="2566" y="717"/>
                    <a:pt x="2577" y="741"/>
                    <a:pt x="2568" y="762"/>
                  </a:cubicBezTo>
                  <a:cubicBezTo>
                    <a:pt x="2559" y="788"/>
                    <a:pt x="2559" y="788"/>
                    <a:pt x="2559" y="788"/>
                  </a:cubicBezTo>
                  <a:cubicBezTo>
                    <a:pt x="2348" y="708"/>
                    <a:pt x="2348" y="708"/>
                    <a:pt x="2348" y="708"/>
                  </a:cubicBezTo>
                  <a:close/>
                  <a:moveTo>
                    <a:pt x="2910" y="178"/>
                  </a:moveTo>
                  <a:cubicBezTo>
                    <a:pt x="2899" y="153"/>
                    <a:pt x="2871" y="90"/>
                    <a:pt x="2871" y="90"/>
                  </a:cubicBezTo>
                  <a:cubicBezTo>
                    <a:pt x="2845" y="102"/>
                    <a:pt x="2845" y="102"/>
                    <a:pt x="2845" y="102"/>
                  </a:cubicBezTo>
                  <a:cubicBezTo>
                    <a:pt x="2845" y="102"/>
                    <a:pt x="2872" y="165"/>
                    <a:pt x="2883" y="190"/>
                  </a:cubicBezTo>
                  <a:moveTo>
                    <a:pt x="2882" y="370"/>
                  </a:moveTo>
                  <a:cubicBezTo>
                    <a:pt x="3042" y="306"/>
                    <a:pt x="3042" y="306"/>
                    <a:pt x="3042" y="306"/>
                  </a:cubicBezTo>
                  <a:cubicBezTo>
                    <a:pt x="2944" y="171"/>
                    <a:pt x="2944" y="171"/>
                    <a:pt x="2944" y="171"/>
                  </a:cubicBezTo>
                  <a:cubicBezTo>
                    <a:pt x="2859" y="208"/>
                    <a:pt x="2859" y="208"/>
                    <a:pt x="2859" y="208"/>
                  </a:cubicBezTo>
                  <a:cubicBezTo>
                    <a:pt x="2882" y="370"/>
                    <a:pt x="2882" y="370"/>
                    <a:pt x="2882" y="370"/>
                  </a:cubicBezTo>
                  <a:close/>
                  <a:moveTo>
                    <a:pt x="3250" y="1464"/>
                  </a:moveTo>
                  <a:cubicBezTo>
                    <a:pt x="3228" y="1420"/>
                    <a:pt x="3228" y="1420"/>
                    <a:pt x="3228" y="1420"/>
                  </a:cubicBezTo>
                  <a:cubicBezTo>
                    <a:pt x="3166" y="1429"/>
                    <a:pt x="3166" y="1429"/>
                    <a:pt x="3166" y="1429"/>
                  </a:cubicBezTo>
                  <a:cubicBezTo>
                    <a:pt x="3203" y="1507"/>
                    <a:pt x="3203" y="1507"/>
                    <a:pt x="3203" y="1507"/>
                  </a:cubicBezTo>
                  <a:cubicBezTo>
                    <a:pt x="3250" y="1464"/>
                    <a:pt x="3250" y="1464"/>
                    <a:pt x="3250" y="1464"/>
                  </a:cubicBezTo>
                  <a:close/>
                  <a:moveTo>
                    <a:pt x="3299" y="1415"/>
                  </a:moveTo>
                  <a:cubicBezTo>
                    <a:pt x="3229" y="1420"/>
                    <a:pt x="3229" y="1420"/>
                    <a:pt x="3229" y="1420"/>
                  </a:cubicBezTo>
                  <a:cubicBezTo>
                    <a:pt x="3249" y="1463"/>
                    <a:pt x="3249" y="1463"/>
                    <a:pt x="3249" y="1463"/>
                  </a:cubicBezTo>
                  <a:cubicBezTo>
                    <a:pt x="3299" y="1415"/>
                    <a:pt x="3299" y="1415"/>
                    <a:pt x="3299" y="1415"/>
                  </a:cubicBezTo>
                  <a:close/>
                  <a:moveTo>
                    <a:pt x="2934" y="1571"/>
                  </a:moveTo>
                  <a:cubicBezTo>
                    <a:pt x="2934" y="1571"/>
                    <a:pt x="2934" y="1571"/>
                    <a:pt x="2934" y="1571"/>
                  </a:cubicBezTo>
                  <a:cubicBezTo>
                    <a:pt x="2946" y="1597"/>
                    <a:pt x="2946" y="1597"/>
                    <a:pt x="2946" y="1597"/>
                  </a:cubicBezTo>
                  <a:cubicBezTo>
                    <a:pt x="2958" y="1623"/>
                    <a:pt x="2958" y="1623"/>
                    <a:pt x="2958" y="1623"/>
                  </a:cubicBezTo>
                  <a:cubicBezTo>
                    <a:pt x="3203" y="1507"/>
                    <a:pt x="3203" y="1507"/>
                    <a:pt x="3203" y="1507"/>
                  </a:cubicBezTo>
                  <a:cubicBezTo>
                    <a:pt x="3190" y="1481"/>
                    <a:pt x="3190" y="1481"/>
                    <a:pt x="3190" y="1481"/>
                  </a:cubicBezTo>
                  <a:cubicBezTo>
                    <a:pt x="3178" y="1455"/>
                    <a:pt x="3178" y="1455"/>
                    <a:pt x="3178" y="1455"/>
                  </a:cubicBezTo>
                  <a:cubicBezTo>
                    <a:pt x="3178" y="1455"/>
                    <a:pt x="3178" y="1455"/>
                    <a:pt x="3178" y="1455"/>
                  </a:cubicBezTo>
                  <a:cubicBezTo>
                    <a:pt x="3166" y="1429"/>
                    <a:pt x="3166" y="1429"/>
                    <a:pt x="3166" y="1429"/>
                  </a:cubicBezTo>
                  <a:cubicBezTo>
                    <a:pt x="2921" y="1545"/>
                    <a:pt x="2921" y="1545"/>
                    <a:pt x="2921" y="1545"/>
                  </a:cubicBezTo>
                  <a:cubicBezTo>
                    <a:pt x="2934" y="1571"/>
                    <a:pt x="2934" y="1571"/>
                    <a:pt x="2934" y="1571"/>
                  </a:cubicBezTo>
                  <a:close/>
                  <a:moveTo>
                    <a:pt x="3179" y="1472"/>
                  </a:moveTo>
                  <a:cubicBezTo>
                    <a:pt x="2945" y="1584"/>
                    <a:pt x="2945" y="1584"/>
                    <a:pt x="2945" y="1584"/>
                  </a:cubicBezTo>
                  <a:moveTo>
                    <a:pt x="338" y="612"/>
                  </a:moveTo>
                  <a:cubicBezTo>
                    <a:pt x="361" y="605"/>
                    <a:pt x="375" y="600"/>
                    <a:pt x="375" y="600"/>
                  </a:cubicBezTo>
                  <a:cubicBezTo>
                    <a:pt x="394" y="593"/>
                    <a:pt x="415" y="604"/>
                    <a:pt x="422" y="623"/>
                  </a:cubicBezTo>
                  <a:cubicBezTo>
                    <a:pt x="525" y="925"/>
                    <a:pt x="525" y="925"/>
                    <a:pt x="525" y="925"/>
                  </a:cubicBezTo>
                  <a:cubicBezTo>
                    <a:pt x="531" y="944"/>
                    <a:pt x="521" y="965"/>
                    <a:pt x="502" y="972"/>
                  </a:cubicBezTo>
                  <a:cubicBezTo>
                    <a:pt x="156" y="1090"/>
                    <a:pt x="156" y="1090"/>
                    <a:pt x="156" y="1090"/>
                  </a:cubicBezTo>
                  <a:cubicBezTo>
                    <a:pt x="137" y="1097"/>
                    <a:pt x="116" y="1086"/>
                    <a:pt x="109" y="1067"/>
                  </a:cubicBezTo>
                  <a:cubicBezTo>
                    <a:pt x="6" y="765"/>
                    <a:pt x="6" y="765"/>
                    <a:pt x="6" y="765"/>
                  </a:cubicBezTo>
                  <a:cubicBezTo>
                    <a:pt x="0" y="746"/>
                    <a:pt x="10" y="724"/>
                    <a:pt x="29" y="718"/>
                  </a:cubicBezTo>
                  <a:cubicBezTo>
                    <a:pt x="29" y="718"/>
                    <a:pt x="43" y="713"/>
                    <a:pt x="64" y="706"/>
                  </a:cubicBezTo>
                  <a:moveTo>
                    <a:pt x="118" y="688"/>
                  </a:moveTo>
                  <a:cubicBezTo>
                    <a:pt x="170" y="670"/>
                    <a:pt x="236" y="647"/>
                    <a:pt x="288" y="630"/>
                  </a:cubicBezTo>
                  <a:moveTo>
                    <a:pt x="121" y="707"/>
                  </a:moveTo>
                  <a:cubicBezTo>
                    <a:pt x="126" y="721"/>
                    <a:pt x="119" y="736"/>
                    <a:pt x="105" y="740"/>
                  </a:cubicBezTo>
                  <a:cubicBezTo>
                    <a:pt x="91" y="745"/>
                    <a:pt x="77" y="738"/>
                    <a:pt x="72" y="724"/>
                  </a:cubicBezTo>
                  <a:cubicBezTo>
                    <a:pt x="57" y="681"/>
                    <a:pt x="57" y="681"/>
                    <a:pt x="57" y="681"/>
                  </a:cubicBezTo>
                  <a:cubicBezTo>
                    <a:pt x="52" y="667"/>
                    <a:pt x="60" y="652"/>
                    <a:pt x="73" y="647"/>
                  </a:cubicBezTo>
                  <a:cubicBezTo>
                    <a:pt x="87" y="643"/>
                    <a:pt x="102" y="650"/>
                    <a:pt x="107" y="664"/>
                  </a:cubicBezTo>
                  <a:cubicBezTo>
                    <a:pt x="121" y="707"/>
                    <a:pt x="121" y="707"/>
                    <a:pt x="121" y="707"/>
                  </a:cubicBezTo>
                  <a:close/>
                  <a:moveTo>
                    <a:pt x="345" y="631"/>
                  </a:moveTo>
                  <a:cubicBezTo>
                    <a:pt x="349" y="645"/>
                    <a:pt x="342" y="659"/>
                    <a:pt x="328" y="664"/>
                  </a:cubicBezTo>
                  <a:cubicBezTo>
                    <a:pt x="315" y="669"/>
                    <a:pt x="300" y="661"/>
                    <a:pt x="295" y="648"/>
                  </a:cubicBezTo>
                  <a:cubicBezTo>
                    <a:pt x="280" y="604"/>
                    <a:pt x="280" y="604"/>
                    <a:pt x="280" y="604"/>
                  </a:cubicBezTo>
                  <a:cubicBezTo>
                    <a:pt x="276" y="591"/>
                    <a:pt x="283" y="576"/>
                    <a:pt x="297" y="571"/>
                  </a:cubicBezTo>
                  <a:cubicBezTo>
                    <a:pt x="310" y="566"/>
                    <a:pt x="325" y="574"/>
                    <a:pt x="330" y="587"/>
                  </a:cubicBezTo>
                  <a:cubicBezTo>
                    <a:pt x="345" y="631"/>
                    <a:pt x="345" y="631"/>
                    <a:pt x="345" y="631"/>
                  </a:cubicBezTo>
                  <a:close/>
                </a:path>
              </a:pathLst>
            </a:custGeom>
            <a:noFill/>
            <a:ln w="7938"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24" name="işļidè">
              <a:extLst>
                <a:ext uri="{FF2B5EF4-FFF2-40B4-BE49-F238E27FC236}">
                  <a16:creationId xmlns:a16="http://schemas.microsoft.com/office/drawing/2014/main" id="{9911DB64-5F26-4788-BE72-1278B875B419}"/>
                </a:ext>
              </a:extLst>
            </p:cNvPr>
            <p:cNvSpPr/>
            <p:nvPr/>
          </p:nvSpPr>
          <p:spPr bwMode="auto">
            <a:xfrm>
              <a:off x="15371276" y="2994954"/>
              <a:ext cx="211676" cy="270069"/>
            </a:xfrm>
            <a:custGeom>
              <a:avLst/>
              <a:gdLst>
                <a:gd name="T0" fmla="*/ 32 w 148"/>
                <a:gd name="T1" fmla="*/ 8 h 191"/>
                <a:gd name="T2" fmla="*/ 44 w 148"/>
                <a:gd name="T3" fmla="*/ 3 h 191"/>
                <a:gd name="T4" fmla="*/ 57 w 148"/>
                <a:gd name="T5" fmla="*/ 0 h 191"/>
                <a:gd name="T6" fmla="*/ 101 w 148"/>
                <a:gd name="T7" fmla="*/ 129 h 191"/>
                <a:gd name="T8" fmla="*/ 107 w 148"/>
                <a:gd name="T9" fmla="*/ 146 h 191"/>
                <a:gd name="T10" fmla="*/ 122 w 148"/>
                <a:gd name="T11" fmla="*/ 141 h 191"/>
                <a:gd name="T12" fmla="*/ 140 w 148"/>
                <a:gd name="T13" fmla="*/ 134 h 191"/>
                <a:gd name="T14" fmla="*/ 145 w 148"/>
                <a:gd name="T15" fmla="*/ 146 h 191"/>
                <a:gd name="T16" fmla="*/ 148 w 148"/>
                <a:gd name="T17" fmla="*/ 157 h 191"/>
                <a:gd name="T18" fmla="*/ 50 w 148"/>
                <a:gd name="T19" fmla="*/ 191 h 191"/>
                <a:gd name="T20" fmla="*/ 45 w 148"/>
                <a:gd name="T21" fmla="*/ 180 h 191"/>
                <a:gd name="T22" fmla="*/ 42 w 148"/>
                <a:gd name="T23" fmla="*/ 168 h 191"/>
                <a:gd name="T24" fmla="*/ 66 w 148"/>
                <a:gd name="T25" fmla="*/ 160 h 191"/>
                <a:gd name="T26" fmla="*/ 81 w 148"/>
                <a:gd name="T27" fmla="*/ 155 h 191"/>
                <a:gd name="T28" fmla="*/ 75 w 148"/>
                <a:gd name="T29" fmla="*/ 138 h 191"/>
                <a:gd name="T30" fmla="*/ 54 w 148"/>
                <a:gd name="T31" fmla="*/ 78 h 191"/>
                <a:gd name="T32" fmla="*/ 45 w 148"/>
                <a:gd name="T33" fmla="*/ 46 h 191"/>
                <a:gd name="T34" fmla="*/ 17 w 148"/>
                <a:gd name="T35" fmla="*/ 87 h 191"/>
                <a:gd name="T36" fmla="*/ 0 w 148"/>
                <a:gd name="T37" fmla="*/ 75 h 191"/>
                <a:gd name="T38" fmla="*/ 32 w 148"/>
                <a:gd name="T39" fmla="*/ 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191">
                  <a:moveTo>
                    <a:pt x="32" y="8"/>
                  </a:moveTo>
                  <a:cubicBezTo>
                    <a:pt x="36" y="6"/>
                    <a:pt x="40" y="4"/>
                    <a:pt x="44" y="3"/>
                  </a:cubicBezTo>
                  <a:cubicBezTo>
                    <a:pt x="48" y="1"/>
                    <a:pt x="52" y="0"/>
                    <a:pt x="57" y="0"/>
                  </a:cubicBezTo>
                  <a:cubicBezTo>
                    <a:pt x="101" y="129"/>
                    <a:pt x="101" y="129"/>
                    <a:pt x="101" y="129"/>
                  </a:cubicBezTo>
                  <a:cubicBezTo>
                    <a:pt x="103" y="135"/>
                    <a:pt x="105" y="140"/>
                    <a:pt x="107" y="146"/>
                  </a:cubicBezTo>
                  <a:cubicBezTo>
                    <a:pt x="111" y="145"/>
                    <a:pt x="119" y="142"/>
                    <a:pt x="122" y="141"/>
                  </a:cubicBezTo>
                  <a:cubicBezTo>
                    <a:pt x="140" y="134"/>
                    <a:pt x="140" y="134"/>
                    <a:pt x="140" y="134"/>
                  </a:cubicBezTo>
                  <a:cubicBezTo>
                    <a:pt x="142" y="138"/>
                    <a:pt x="144" y="142"/>
                    <a:pt x="145" y="146"/>
                  </a:cubicBezTo>
                  <a:cubicBezTo>
                    <a:pt x="146" y="149"/>
                    <a:pt x="147" y="153"/>
                    <a:pt x="148" y="157"/>
                  </a:cubicBezTo>
                  <a:cubicBezTo>
                    <a:pt x="50" y="191"/>
                    <a:pt x="50" y="191"/>
                    <a:pt x="50" y="191"/>
                  </a:cubicBezTo>
                  <a:cubicBezTo>
                    <a:pt x="48" y="187"/>
                    <a:pt x="46" y="183"/>
                    <a:pt x="45" y="180"/>
                  </a:cubicBezTo>
                  <a:cubicBezTo>
                    <a:pt x="43" y="176"/>
                    <a:pt x="42" y="172"/>
                    <a:pt x="42" y="168"/>
                  </a:cubicBezTo>
                  <a:cubicBezTo>
                    <a:pt x="66" y="160"/>
                    <a:pt x="66" y="160"/>
                    <a:pt x="66" y="160"/>
                  </a:cubicBezTo>
                  <a:cubicBezTo>
                    <a:pt x="69" y="159"/>
                    <a:pt x="77" y="156"/>
                    <a:pt x="81" y="155"/>
                  </a:cubicBezTo>
                  <a:cubicBezTo>
                    <a:pt x="79" y="149"/>
                    <a:pt x="77" y="144"/>
                    <a:pt x="75" y="138"/>
                  </a:cubicBezTo>
                  <a:cubicBezTo>
                    <a:pt x="54" y="78"/>
                    <a:pt x="54" y="78"/>
                    <a:pt x="54" y="78"/>
                  </a:cubicBezTo>
                  <a:cubicBezTo>
                    <a:pt x="52" y="72"/>
                    <a:pt x="48" y="57"/>
                    <a:pt x="45" y="46"/>
                  </a:cubicBezTo>
                  <a:cubicBezTo>
                    <a:pt x="39" y="62"/>
                    <a:pt x="28" y="77"/>
                    <a:pt x="17" y="87"/>
                  </a:cubicBezTo>
                  <a:cubicBezTo>
                    <a:pt x="10" y="86"/>
                    <a:pt x="4" y="81"/>
                    <a:pt x="0" y="75"/>
                  </a:cubicBezTo>
                  <a:cubicBezTo>
                    <a:pt x="20" y="51"/>
                    <a:pt x="30" y="27"/>
                    <a:pt x="32" y="8"/>
                  </a:cubicBezTo>
                  <a:close/>
                </a:path>
              </a:pathLst>
            </a:custGeom>
            <a:solidFill>
              <a:schemeClr val="bg1">
                <a:lumMod val="65000"/>
              </a:schemeClr>
            </a:solidFill>
            <a:ln w="9525">
              <a:solidFill>
                <a:schemeClr val="tx1">
                  <a:lumMod val="75000"/>
                  <a:lumOff val="25000"/>
                </a:schemeClr>
              </a:solidFill>
              <a:round/>
              <a:headEnd/>
              <a:tailEnd/>
            </a:ln>
          </p:spPr>
          <p:txBody>
            <a:bodyPr anchor="ctr"/>
            <a:lstStyle/>
            <a:p>
              <a:pPr algn="ctr"/>
              <a:endParaRPr>
                <a:cs typeface="+mn-ea"/>
                <a:sym typeface="+mn-lt"/>
              </a:endParaRPr>
            </a:p>
          </p:txBody>
        </p:sp>
        <p:sp>
          <p:nvSpPr>
            <p:cNvPr id="25" name="íṣḷíḍe">
              <a:extLst>
                <a:ext uri="{FF2B5EF4-FFF2-40B4-BE49-F238E27FC236}">
                  <a16:creationId xmlns:a16="http://schemas.microsoft.com/office/drawing/2014/main" id="{484E6DDA-2CAF-48D0-9421-D1896FE1BF00}"/>
                </a:ext>
              </a:extLst>
            </p:cNvPr>
            <p:cNvSpPr/>
            <p:nvPr/>
          </p:nvSpPr>
          <p:spPr bwMode="auto">
            <a:xfrm>
              <a:off x="15557405" y="2914663"/>
              <a:ext cx="215326" cy="281019"/>
            </a:xfrm>
            <a:custGeom>
              <a:avLst/>
              <a:gdLst>
                <a:gd name="T0" fmla="*/ 96 w 151"/>
                <a:gd name="T1" fmla="*/ 11 h 197"/>
                <a:gd name="T2" fmla="*/ 88 w 151"/>
                <a:gd name="T3" fmla="*/ 27 h 197"/>
                <a:gd name="T4" fmla="*/ 43 w 151"/>
                <a:gd name="T5" fmla="*/ 42 h 197"/>
                <a:gd name="T6" fmla="*/ 33 w 151"/>
                <a:gd name="T7" fmla="*/ 45 h 197"/>
                <a:gd name="T8" fmla="*/ 37 w 151"/>
                <a:gd name="T9" fmla="*/ 58 h 197"/>
                <a:gd name="T10" fmla="*/ 42 w 151"/>
                <a:gd name="T11" fmla="*/ 77 h 197"/>
                <a:gd name="T12" fmla="*/ 44 w 151"/>
                <a:gd name="T13" fmla="*/ 84 h 197"/>
                <a:gd name="T14" fmla="*/ 65 w 151"/>
                <a:gd name="T15" fmla="*/ 72 h 197"/>
                <a:gd name="T16" fmla="*/ 137 w 151"/>
                <a:gd name="T17" fmla="*/ 108 h 197"/>
                <a:gd name="T18" fmla="*/ 98 w 151"/>
                <a:gd name="T19" fmla="*/ 190 h 197"/>
                <a:gd name="T20" fmla="*/ 43 w 151"/>
                <a:gd name="T21" fmla="*/ 190 h 197"/>
                <a:gd name="T22" fmla="*/ 49 w 151"/>
                <a:gd name="T23" fmla="*/ 168 h 197"/>
                <a:gd name="T24" fmla="*/ 89 w 151"/>
                <a:gd name="T25" fmla="*/ 168 h 197"/>
                <a:gd name="T26" fmla="*/ 109 w 151"/>
                <a:gd name="T27" fmla="*/ 119 h 197"/>
                <a:gd name="T28" fmla="*/ 65 w 151"/>
                <a:gd name="T29" fmla="*/ 96 h 197"/>
                <a:gd name="T30" fmla="*/ 40 w 151"/>
                <a:gd name="T31" fmla="*/ 117 h 197"/>
                <a:gd name="T32" fmla="*/ 24 w 151"/>
                <a:gd name="T33" fmla="*/ 112 h 197"/>
                <a:gd name="T34" fmla="*/ 0 w 151"/>
                <a:gd name="T35" fmla="*/ 33 h 197"/>
                <a:gd name="T36" fmla="*/ 2 w 151"/>
                <a:gd name="T37" fmla="*/ 30 h 197"/>
                <a:gd name="T38" fmla="*/ 90 w 151"/>
                <a:gd name="T39" fmla="*/ 0 h 197"/>
                <a:gd name="T40" fmla="*/ 96 w 151"/>
                <a:gd name="T41" fmla="*/ 1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1" h="197">
                  <a:moveTo>
                    <a:pt x="96" y="11"/>
                  </a:moveTo>
                  <a:cubicBezTo>
                    <a:pt x="98" y="18"/>
                    <a:pt x="96" y="24"/>
                    <a:pt x="88" y="27"/>
                  </a:cubicBezTo>
                  <a:cubicBezTo>
                    <a:pt x="43" y="42"/>
                    <a:pt x="43" y="42"/>
                    <a:pt x="43" y="42"/>
                  </a:cubicBezTo>
                  <a:cubicBezTo>
                    <a:pt x="33" y="45"/>
                    <a:pt x="33" y="45"/>
                    <a:pt x="33" y="45"/>
                  </a:cubicBezTo>
                  <a:cubicBezTo>
                    <a:pt x="37" y="58"/>
                    <a:pt x="37" y="58"/>
                    <a:pt x="37" y="58"/>
                  </a:cubicBezTo>
                  <a:cubicBezTo>
                    <a:pt x="42" y="77"/>
                    <a:pt x="42" y="77"/>
                    <a:pt x="42" y="77"/>
                  </a:cubicBezTo>
                  <a:cubicBezTo>
                    <a:pt x="44" y="84"/>
                    <a:pt x="44" y="84"/>
                    <a:pt x="44" y="84"/>
                  </a:cubicBezTo>
                  <a:cubicBezTo>
                    <a:pt x="50" y="79"/>
                    <a:pt x="57" y="74"/>
                    <a:pt x="65" y="72"/>
                  </a:cubicBezTo>
                  <a:cubicBezTo>
                    <a:pt x="97" y="61"/>
                    <a:pt x="125" y="74"/>
                    <a:pt x="137" y="108"/>
                  </a:cubicBezTo>
                  <a:cubicBezTo>
                    <a:pt x="151" y="150"/>
                    <a:pt x="128" y="179"/>
                    <a:pt x="98" y="190"/>
                  </a:cubicBezTo>
                  <a:cubicBezTo>
                    <a:pt x="77" y="197"/>
                    <a:pt x="58" y="195"/>
                    <a:pt x="43" y="190"/>
                  </a:cubicBezTo>
                  <a:cubicBezTo>
                    <a:pt x="42" y="184"/>
                    <a:pt x="44" y="174"/>
                    <a:pt x="49" y="168"/>
                  </a:cubicBezTo>
                  <a:cubicBezTo>
                    <a:pt x="62" y="171"/>
                    <a:pt x="74" y="173"/>
                    <a:pt x="89" y="168"/>
                  </a:cubicBezTo>
                  <a:cubicBezTo>
                    <a:pt x="106" y="162"/>
                    <a:pt x="118" y="145"/>
                    <a:pt x="109" y="119"/>
                  </a:cubicBezTo>
                  <a:cubicBezTo>
                    <a:pt x="100" y="93"/>
                    <a:pt x="80" y="91"/>
                    <a:pt x="65" y="96"/>
                  </a:cubicBezTo>
                  <a:cubicBezTo>
                    <a:pt x="55" y="99"/>
                    <a:pt x="46" y="107"/>
                    <a:pt x="40" y="117"/>
                  </a:cubicBezTo>
                  <a:cubicBezTo>
                    <a:pt x="34" y="118"/>
                    <a:pt x="27" y="115"/>
                    <a:pt x="24" y="112"/>
                  </a:cubicBezTo>
                  <a:cubicBezTo>
                    <a:pt x="0" y="33"/>
                    <a:pt x="0" y="33"/>
                    <a:pt x="0" y="33"/>
                  </a:cubicBezTo>
                  <a:cubicBezTo>
                    <a:pt x="2" y="30"/>
                    <a:pt x="2" y="30"/>
                    <a:pt x="2" y="30"/>
                  </a:cubicBezTo>
                  <a:cubicBezTo>
                    <a:pt x="90" y="0"/>
                    <a:pt x="90" y="0"/>
                    <a:pt x="90" y="0"/>
                  </a:cubicBezTo>
                  <a:cubicBezTo>
                    <a:pt x="93" y="3"/>
                    <a:pt x="95" y="8"/>
                    <a:pt x="96" y="11"/>
                  </a:cubicBezTo>
                  <a:close/>
                </a:path>
              </a:pathLst>
            </a:custGeom>
            <a:solidFill>
              <a:schemeClr val="bg1">
                <a:lumMod val="65000"/>
              </a:schemeClr>
            </a:solidFill>
            <a:ln w="9525">
              <a:solidFill>
                <a:schemeClr val="tx1">
                  <a:lumMod val="75000"/>
                  <a:lumOff val="25000"/>
                </a:schemeClr>
              </a:solidFill>
              <a:round/>
              <a:headEnd/>
              <a:tailEnd/>
            </a:ln>
          </p:spPr>
          <p:txBody>
            <a:bodyPr anchor="ctr"/>
            <a:lstStyle/>
            <a:p>
              <a:pPr algn="ctr"/>
              <a:endParaRPr>
                <a:cs typeface="+mn-ea"/>
                <a:sym typeface="+mn-lt"/>
              </a:endParaRPr>
            </a:p>
          </p:txBody>
        </p:sp>
        <p:sp>
          <p:nvSpPr>
            <p:cNvPr id="26" name="íşlíḍè">
              <a:extLst>
                <a:ext uri="{FF2B5EF4-FFF2-40B4-BE49-F238E27FC236}">
                  <a16:creationId xmlns:a16="http://schemas.microsoft.com/office/drawing/2014/main" id="{89822BF8-AD91-45C4-91EB-3D971E60DF06}"/>
                </a:ext>
              </a:extLst>
            </p:cNvPr>
            <p:cNvSpPr/>
            <p:nvPr/>
          </p:nvSpPr>
          <p:spPr bwMode="auto">
            <a:xfrm>
              <a:off x="19141292" y="5396376"/>
              <a:ext cx="237224" cy="233573"/>
            </a:xfrm>
            <a:custGeom>
              <a:avLst/>
              <a:gdLst>
                <a:gd name="T0" fmla="*/ 158 w 165"/>
                <a:gd name="T1" fmla="*/ 90 h 165"/>
                <a:gd name="T2" fmla="*/ 142 w 165"/>
                <a:gd name="T3" fmla="*/ 130 h 165"/>
                <a:gd name="T4" fmla="*/ 74 w 165"/>
                <a:gd name="T5" fmla="*/ 158 h 165"/>
                <a:gd name="T6" fmla="*/ 34 w 165"/>
                <a:gd name="T7" fmla="*/ 142 h 165"/>
                <a:gd name="T8" fmla="*/ 6 w 165"/>
                <a:gd name="T9" fmla="*/ 74 h 165"/>
                <a:gd name="T10" fmla="*/ 23 w 165"/>
                <a:gd name="T11" fmla="*/ 34 h 165"/>
                <a:gd name="T12" fmla="*/ 90 w 165"/>
                <a:gd name="T13" fmla="*/ 6 h 165"/>
                <a:gd name="T14" fmla="*/ 130 w 165"/>
                <a:gd name="T15" fmla="*/ 23 h 165"/>
                <a:gd name="T16" fmla="*/ 158 w 165"/>
                <a:gd name="T17" fmla="*/ 9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65">
                  <a:moveTo>
                    <a:pt x="158" y="90"/>
                  </a:moveTo>
                  <a:cubicBezTo>
                    <a:pt x="165" y="106"/>
                    <a:pt x="157" y="124"/>
                    <a:pt x="142" y="130"/>
                  </a:cubicBezTo>
                  <a:cubicBezTo>
                    <a:pt x="74" y="158"/>
                    <a:pt x="74" y="158"/>
                    <a:pt x="74" y="158"/>
                  </a:cubicBezTo>
                  <a:cubicBezTo>
                    <a:pt x="58" y="165"/>
                    <a:pt x="41" y="157"/>
                    <a:pt x="34" y="142"/>
                  </a:cubicBezTo>
                  <a:cubicBezTo>
                    <a:pt x="6" y="74"/>
                    <a:pt x="6" y="74"/>
                    <a:pt x="6" y="74"/>
                  </a:cubicBezTo>
                  <a:cubicBezTo>
                    <a:pt x="0" y="58"/>
                    <a:pt x="7" y="41"/>
                    <a:pt x="23" y="34"/>
                  </a:cubicBezTo>
                  <a:cubicBezTo>
                    <a:pt x="90" y="6"/>
                    <a:pt x="90" y="6"/>
                    <a:pt x="90" y="6"/>
                  </a:cubicBezTo>
                  <a:cubicBezTo>
                    <a:pt x="106" y="0"/>
                    <a:pt x="124" y="7"/>
                    <a:pt x="130" y="23"/>
                  </a:cubicBezTo>
                  <a:cubicBezTo>
                    <a:pt x="158" y="90"/>
                    <a:pt x="158" y="90"/>
                    <a:pt x="158" y="90"/>
                  </a:cubicBezTo>
                  <a:close/>
                </a:path>
              </a:pathLst>
            </a:custGeom>
            <a:noFill/>
            <a:ln w="635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27" name="í$ļîḋe">
              <a:extLst>
                <a:ext uri="{FF2B5EF4-FFF2-40B4-BE49-F238E27FC236}">
                  <a16:creationId xmlns:a16="http://schemas.microsoft.com/office/drawing/2014/main" id="{F7E64A50-5033-4BBE-8496-D832DCFB0BDE}"/>
                </a:ext>
              </a:extLst>
            </p:cNvPr>
            <p:cNvSpPr/>
            <p:nvPr/>
          </p:nvSpPr>
          <p:spPr bwMode="auto">
            <a:xfrm>
              <a:off x="19210633" y="5462068"/>
              <a:ext cx="98540" cy="102188"/>
            </a:xfrm>
            <a:custGeom>
              <a:avLst/>
              <a:gdLst>
                <a:gd name="T0" fmla="*/ 14 w 70"/>
                <a:gd name="T1" fmla="*/ 6 h 72"/>
                <a:gd name="T2" fmla="*/ 21 w 70"/>
                <a:gd name="T3" fmla="*/ 2 h 72"/>
                <a:gd name="T4" fmla="*/ 29 w 70"/>
                <a:gd name="T5" fmla="*/ 0 h 72"/>
                <a:gd name="T6" fmla="*/ 37 w 70"/>
                <a:gd name="T7" fmla="*/ 19 h 72"/>
                <a:gd name="T8" fmla="*/ 40 w 70"/>
                <a:gd name="T9" fmla="*/ 27 h 72"/>
                <a:gd name="T10" fmla="*/ 47 w 70"/>
                <a:gd name="T11" fmla="*/ 23 h 72"/>
                <a:gd name="T12" fmla="*/ 65 w 70"/>
                <a:gd name="T13" fmla="*/ 16 h 72"/>
                <a:gd name="T14" fmla="*/ 68 w 70"/>
                <a:gd name="T15" fmla="*/ 23 h 72"/>
                <a:gd name="T16" fmla="*/ 70 w 70"/>
                <a:gd name="T17" fmla="*/ 30 h 72"/>
                <a:gd name="T18" fmla="*/ 53 w 70"/>
                <a:gd name="T19" fmla="*/ 37 h 72"/>
                <a:gd name="T20" fmla="*/ 45 w 70"/>
                <a:gd name="T21" fmla="*/ 40 h 72"/>
                <a:gd name="T22" fmla="*/ 48 w 70"/>
                <a:gd name="T23" fmla="*/ 47 h 72"/>
                <a:gd name="T24" fmla="*/ 56 w 70"/>
                <a:gd name="T25" fmla="*/ 66 h 72"/>
                <a:gd name="T26" fmla="*/ 49 w 70"/>
                <a:gd name="T27" fmla="*/ 70 h 72"/>
                <a:gd name="T28" fmla="*/ 42 w 70"/>
                <a:gd name="T29" fmla="*/ 72 h 72"/>
                <a:gd name="T30" fmla="*/ 34 w 70"/>
                <a:gd name="T31" fmla="*/ 53 h 72"/>
                <a:gd name="T32" fmla="*/ 31 w 70"/>
                <a:gd name="T33" fmla="*/ 46 h 72"/>
                <a:gd name="T34" fmla="*/ 23 w 70"/>
                <a:gd name="T35" fmla="*/ 49 h 72"/>
                <a:gd name="T36" fmla="*/ 6 w 70"/>
                <a:gd name="T37" fmla="*/ 56 h 72"/>
                <a:gd name="T38" fmla="*/ 2 w 70"/>
                <a:gd name="T39" fmla="*/ 50 h 72"/>
                <a:gd name="T40" fmla="*/ 0 w 70"/>
                <a:gd name="T41" fmla="*/ 43 h 72"/>
                <a:gd name="T42" fmla="*/ 18 w 70"/>
                <a:gd name="T43" fmla="*/ 35 h 72"/>
                <a:gd name="T44" fmla="*/ 25 w 70"/>
                <a:gd name="T45" fmla="*/ 32 h 72"/>
                <a:gd name="T46" fmla="*/ 22 w 70"/>
                <a:gd name="T47" fmla="*/ 25 h 72"/>
                <a:gd name="T48" fmla="*/ 14 w 70"/>
                <a:gd name="T49" fmla="*/ 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 h="72">
                  <a:moveTo>
                    <a:pt x="14" y="6"/>
                  </a:moveTo>
                  <a:cubicBezTo>
                    <a:pt x="16" y="5"/>
                    <a:pt x="19" y="3"/>
                    <a:pt x="21" y="2"/>
                  </a:cubicBezTo>
                  <a:cubicBezTo>
                    <a:pt x="24" y="1"/>
                    <a:pt x="26" y="0"/>
                    <a:pt x="29" y="0"/>
                  </a:cubicBezTo>
                  <a:cubicBezTo>
                    <a:pt x="37" y="19"/>
                    <a:pt x="37" y="19"/>
                    <a:pt x="37" y="19"/>
                  </a:cubicBezTo>
                  <a:cubicBezTo>
                    <a:pt x="38" y="21"/>
                    <a:pt x="38" y="24"/>
                    <a:pt x="40" y="27"/>
                  </a:cubicBezTo>
                  <a:cubicBezTo>
                    <a:pt x="42" y="26"/>
                    <a:pt x="45" y="24"/>
                    <a:pt x="47" y="23"/>
                  </a:cubicBezTo>
                  <a:cubicBezTo>
                    <a:pt x="65" y="16"/>
                    <a:pt x="65" y="16"/>
                    <a:pt x="65" y="16"/>
                  </a:cubicBezTo>
                  <a:cubicBezTo>
                    <a:pt x="66" y="18"/>
                    <a:pt x="67" y="20"/>
                    <a:pt x="68" y="23"/>
                  </a:cubicBezTo>
                  <a:cubicBezTo>
                    <a:pt x="69" y="25"/>
                    <a:pt x="70" y="28"/>
                    <a:pt x="70" y="30"/>
                  </a:cubicBezTo>
                  <a:cubicBezTo>
                    <a:pt x="53" y="37"/>
                    <a:pt x="53" y="37"/>
                    <a:pt x="53" y="37"/>
                  </a:cubicBezTo>
                  <a:cubicBezTo>
                    <a:pt x="50" y="38"/>
                    <a:pt x="47" y="39"/>
                    <a:pt x="45" y="40"/>
                  </a:cubicBezTo>
                  <a:cubicBezTo>
                    <a:pt x="46" y="42"/>
                    <a:pt x="47" y="45"/>
                    <a:pt x="48" y="47"/>
                  </a:cubicBezTo>
                  <a:cubicBezTo>
                    <a:pt x="56" y="66"/>
                    <a:pt x="56" y="66"/>
                    <a:pt x="56" y="66"/>
                  </a:cubicBezTo>
                  <a:cubicBezTo>
                    <a:pt x="54" y="68"/>
                    <a:pt x="52" y="69"/>
                    <a:pt x="49" y="70"/>
                  </a:cubicBezTo>
                  <a:cubicBezTo>
                    <a:pt x="47" y="71"/>
                    <a:pt x="44" y="72"/>
                    <a:pt x="42" y="72"/>
                  </a:cubicBezTo>
                  <a:cubicBezTo>
                    <a:pt x="34" y="53"/>
                    <a:pt x="34" y="53"/>
                    <a:pt x="34" y="53"/>
                  </a:cubicBezTo>
                  <a:cubicBezTo>
                    <a:pt x="33" y="51"/>
                    <a:pt x="32" y="48"/>
                    <a:pt x="31" y="46"/>
                  </a:cubicBezTo>
                  <a:cubicBezTo>
                    <a:pt x="28" y="47"/>
                    <a:pt x="26" y="48"/>
                    <a:pt x="23" y="49"/>
                  </a:cubicBezTo>
                  <a:cubicBezTo>
                    <a:pt x="6" y="56"/>
                    <a:pt x="6" y="56"/>
                    <a:pt x="6" y="56"/>
                  </a:cubicBezTo>
                  <a:cubicBezTo>
                    <a:pt x="5" y="55"/>
                    <a:pt x="3" y="52"/>
                    <a:pt x="2" y="50"/>
                  </a:cubicBezTo>
                  <a:cubicBezTo>
                    <a:pt x="1" y="47"/>
                    <a:pt x="1" y="45"/>
                    <a:pt x="0" y="43"/>
                  </a:cubicBezTo>
                  <a:cubicBezTo>
                    <a:pt x="18" y="35"/>
                    <a:pt x="18" y="35"/>
                    <a:pt x="18" y="35"/>
                  </a:cubicBezTo>
                  <a:cubicBezTo>
                    <a:pt x="20" y="34"/>
                    <a:pt x="23" y="33"/>
                    <a:pt x="25" y="32"/>
                  </a:cubicBezTo>
                  <a:cubicBezTo>
                    <a:pt x="24" y="30"/>
                    <a:pt x="23" y="27"/>
                    <a:pt x="22" y="25"/>
                  </a:cubicBezTo>
                  <a:cubicBezTo>
                    <a:pt x="14" y="6"/>
                    <a:pt x="14" y="6"/>
                    <a:pt x="14" y="6"/>
                  </a:cubicBezTo>
                  <a:close/>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28" name="iSļide">
              <a:extLst>
                <a:ext uri="{FF2B5EF4-FFF2-40B4-BE49-F238E27FC236}">
                  <a16:creationId xmlns:a16="http://schemas.microsoft.com/office/drawing/2014/main" id="{88A3BB46-9E1E-4437-88F8-64DB5392671F}"/>
                </a:ext>
              </a:extLst>
            </p:cNvPr>
            <p:cNvSpPr/>
            <p:nvPr/>
          </p:nvSpPr>
          <p:spPr bwMode="auto">
            <a:xfrm>
              <a:off x="19363915" y="5305137"/>
              <a:ext cx="233573" cy="233573"/>
            </a:xfrm>
            <a:custGeom>
              <a:avLst/>
              <a:gdLst>
                <a:gd name="T0" fmla="*/ 158 w 165"/>
                <a:gd name="T1" fmla="*/ 90 h 165"/>
                <a:gd name="T2" fmla="*/ 142 w 165"/>
                <a:gd name="T3" fmla="*/ 130 h 165"/>
                <a:gd name="T4" fmla="*/ 74 w 165"/>
                <a:gd name="T5" fmla="*/ 158 h 165"/>
                <a:gd name="T6" fmla="*/ 34 w 165"/>
                <a:gd name="T7" fmla="*/ 142 h 165"/>
                <a:gd name="T8" fmla="*/ 6 w 165"/>
                <a:gd name="T9" fmla="*/ 74 h 165"/>
                <a:gd name="T10" fmla="*/ 23 w 165"/>
                <a:gd name="T11" fmla="*/ 34 h 165"/>
                <a:gd name="T12" fmla="*/ 90 w 165"/>
                <a:gd name="T13" fmla="*/ 6 h 165"/>
                <a:gd name="T14" fmla="*/ 130 w 165"/>
                <a:gd name="T15" fmla="*/ 22 h 165"/>
                <a:gd name="T16" fmla="*/ 158 w 165"/>
                <a:gd name="T17" fmla="*/ 9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65">
                  <a:moveTo>
                    <a:pt x="158" y="90"/>
                  </a:moveTo>
                  <a:cubicBezTo>
                    <a:pt x="165" y="106"/>
                    <a:pt x="157" y="124"/>
                    <a:pt x="142" y="130"/>
                  </a:cubicBezTo>
                  <a:cubicBezTo>
                    <a:pt x="74" y="158"/>
                    <a:pt x="74" y="158"/>
                    <a:pt x="74" y="158"/>
                  </a:cubicBezTo>
                  <a:cubicBezTo>
                    <a:pt x="58" y="165"/>
                    <a:pt x="41" y="157"/>
                    <a:pt x="34" y="142"/>
                  </a:cubicBezTo>
                  <a:cubicBezTo>
                    <a:pt x="6" y="74"/>
                    <a:pt x="6" y="74"/>
                    <a:pt x="6" y="74"/>
                  </a:cubicBezTo>
                  <a:cubicBezTo>
                    <a:pt x="0" y="58"/>
                    <a:pt x="7" y="40"/>
                    <a:pt x="23" y="34"/>
                  </a:cubicBezTo>
                  <a:cubicBezTo>
                    <a:pt x="90" y="6"/>
                    <a:pt x="90" y="6"/>
                    <a:pt x="90" y="6"/>
                  </a:cubicBezTo>
                  <a:cubicBezTo>
                    <a:pt x="106" y="0"/>
                    <a:pt x="124" y="7"/>
                    <a:pt x="130" y="22"/>
                  </a:cubicBezTo>
                  <a:cubicBezTo>
                    <a:pt x="158" y="90"/>
                    <a:pt x="158" y="90"/>
                    <a:pt x="158" y="90"/>
                  </a:cubicBezTo>
                  <a:close/>
                </a:path>
              </a:pathLst>
            </a:custGeom>
            <a:noFill/>
            <a:ln w="635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29" name="ï$ľiḓè">
              <a:extLst>
                <a:ext uri="{FF2B5EF4-FFF2-40B4-BE49-F238E27FC236}">
                  <a16:creationId xmlns:a16="http://schemas.microsoft.com/office/drawing/2014/main" id="{88ACCC72-D123-4284-A126-DB9D0161B70B}"/>
                </a:ext>
              </a:extLst>
            </p:cNvPr>
            <p:cNvSpPr/>
            <p:nvPr/>
          </p:nvSpPr>
          <p:spPr bwMode="auto">
            <a:xfrm>
              <a:off x="19447857" y="5400026"/>
              <a:ext cx="62044" cy="43795"/>
            </a:xfrm>
            <a:custGeom>
              <a:avLst/>
              <a:gdLst>
                <a:gd name="T0" fmla="*/ 6 w 44"/>
                <a:gd name="T1" fmla="*/ 30 h 30"/>
                <a:gd name="T2" fmla="*/ 2 w 44"/>
                <a:gd name="T3" fmla="*/ 23 h 30"/>
                <a:gd name="T4" fmla="*/ 0 w 44"/>
                <a:gd name="T5" fmla="*/ 16 h 30"/>
                <a:gd name="T6" fmla="*/ 38 w 44"/>
                <a:gd name="T7" fmla="*/ 0 h 30"/>
                <a:gd name="T8" fmla="*/ 42 w 44"/>
                <a:gd name="T9" fmla="*/ 7 h 30"/>
                <a:gd name="T10" fmla="*/ 44 w 44"/>
                <a:gd name="T11" fmla="*/ 14 h 30"/>
                <a:gd name="T12" fmla="*/ 6 w 44"/>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44" h="30">
                  <a:moveTo>
                    <a:pt x="6" y="30"/>
                  </a:moveTo>
                  <a:cubicBezTo>
                    <a:pt x="4" y="28"/>
                    <a:pt x="3" y="25"/>
                    <a:pt x="2" y="23"/>
                  </a:cubicBezTo>
                  <a:cubicBezTo>
                    <a:pt x="1" y="21"/>
                    <a:pt x="1" y="19"/>
                    <a:pt x="0" y="16"/>
                  </a:cubicBezTo>
                  <a:cubicBezTo>
                    <a:pt x="38" y="0"/>
                    <a:pt x="38" y="0"/>
                    <a:pt x="38" y="0"/>
                  </a:cubicBezTo>
                  <a:cubicBezTo>
                    <a:pt x="40" y="2"/>
                    <a:pt x="41" y="5"/>
                    <a:pt x="42" y="7"/>
                  </a:cubicBezTo>
                  <a:cubicBezTo>
                    <a:pt x="43" y="9"/>
                    <a:pt x="44" y="12"/>
                    <a:pt x="44" y="14"/>
                  </a:cubicBezTo>
                  <a:cubicBezTo>
                    <a:pt x="6" y="30"/>
                    <a:pt x="6" y="30"/>
                    <a:pt x="6" y="30"/>
                  </a:cubicBezTo>
                  <a:close/>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30" name="íSļiḋê">
              <a:extLst>
                <a:ext uri="{FF2B5EF4-FFF2-40B4-BE49-F238E27FC236}">
                  <a16:creationId xmlns:a16="http://schemas.microsoft.com/office/drawing/2014/main" id="{D07952D6-6FE3-4B23-9503-634C95400CB9}"/>
                </a:ext>
              </a:extLst>
            </p:cNvPr>
            <p:cNvSpPr/>
            <p:nvPr/>
          </p:nvSpPr>
          <p:spPr bwMode="auto">
            <a:xfrm>
              <a:off x="19228882" y="5516813"/>
              <a:ext cx="456199" cy="324814"/>
            </a:xfrm>
            <a:custGeom>
              <a:avLst/>
              <a:gdLst>
                <a:gd name="T0" fmla="*/ 159 w 320"/>
                <a:gd name="T1" fmla="*/ 155 h 229"/>
                <a:gd name="T2" fmla="*/ 142 w 320"/>
                <a:gd name="T3" fmla="*/ 195 h 229"/>
                <a:gd name="T4" fmla="*/ 74 w 320"/>
                <a:gd name="T5" fmla="*/ 223 h 229"/>
                <a:gd name="T6" fmla="*/ 35 w 320"/>
                <a:gd name="T7" fmla="*/ 206 h 229"/>
                <a:gd name="T8" fmla="*/ 7 w 320"/>
                <a:gd name="T9" fmla="*/ 139 h 229"/>
                <a:gd name="T10" fmla="*/ 23 w 320"/>
                <a:gd name="T11" fmla="*/ 99 h 229"/>
                <a:gd name="T12" fmla="*/ 91 w 320"/>
                <a:gd name="T13" fmla="*/ 71 h 229"/>
                <a:gd name="T14" fmla="*/ 131 w 320"/>
                <a:gd name="T15" fmla="*/ 87 h 229"/>
                <a:gd name="T16" fmla="*/ 159 w 320"/>
                <a:gd name="T17" fmla="*/ 155 h 229"/>
                <a:gd name="T18" fmla="*/ 314 w 320"/>
                <a:gd name="T19" fmla="*/ 91 h 229"/>
                <a:gd name="T20" fmla="*/ 297 w 320"/>
                <a:gd name="T21" fmla="*/ 131 h 229"/>
                <a:gd name="T22" fmla="*/ 229 w 320"/>
                <a:gd name="T23" fmla="*/ 159 h 229"/>
                <a:gd name="T24" fmla="*/ 190 w 320"/>
                <a:gd name="T25" fmla="*/ 142 h 229"/>
                <a:gd name="T26" fmla="*/ 162 w 320"/>
                <a:gd name="T27" fmla="*/ 75 h 229"/>
                <a:gd name="T28" fmla="*/ 178 w 320"/>
                <a:gd name="T29" fmla="*/ 35 h 229"/>
                <a:gd name="T30" fmla="*/ 246 w 320"/>
                <a:gd name="T31" fmla="*/ 7 h 229"/>
                <a:gd name="T32" fmla="*/ 286 w 320"/>
                <a:gd name="T33" fmla="*/ 23 h 229"/>
                <a:gd name="T34" fmla="*/ 314 w 320"/>
                <a:gd name="T35" fmla="*/ 9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0" h="229">
                  <a:moveTo>
                    <a:pt x="159" y="155"/>
                  </a:moveTo>
                  <a:cubicBezTo>
                    <a:pt x="165" y="171"/>
                    <a:pt x="158" y="189"/>
                    <a:pt x="142" y="195"/>
                  </a:cubicBezTo>
                  <a:cubicBezTo>
                    <a:pt x="74" y="223"/>
                    <a:pt x="74" y="223"/>
                    <a:pt x="74" y="223"/>
                  </a:cubicBezTo>
                  <a:cubicBezTo>
                    <a:pt x="59" y="229"/>
                    <a:pt x="41" y="222"/>
                    <a:pt x="35" y="206"/>
                  </a:cubicBezTo>
                  <a:cubicBezTo>
                    <a:pt x="7" y="139"/>
                    <a:pt x="7" y="139"/>
                    <a:pt x="7" y="139"/>
                  </a:cubicBezTo>
                  <a:cubicBezTo>
                    <a:pt x="0" y="123"/>
                    <a:pt x="8" y="105"/>
                    <a:pt x="23" y="99"/>
                  </a:cubicBezTo>
                  <a:cubicBezTo>
                    <a:pt x="91" y="71"/>
                    <a:pt x="91" y="71"/>
                    <a:pt x="91" y="71"/>
                  </a:cubicBezTo>
                  <a:cubicBezTo>
                    <a:pt x="106" y="64"/>
                    <a:pt x="124" y="72"/>
                    <a:pt x="131" y="87"/>
                  </a:cubicBezTo>
                  <a:cubicBezTo>
                    <a:pt x="159" y="155"/>
                    <a:pt x="159" y="155"/>
                    <a:pt x="159" y="155"/>
                  </a:cubicBezTo>
                  <a:close/>
                  <a:moveTo>
                    <a:pt x="314" y="91"/>
                  </a:moveTo>
                  <a:cubicBezTo>
                    <a:pt x="320" y="107"/>
                    <a:pt x="313" y="124"/>
                    <a:pt x="297" y="131"/>
                  </a:cubicBezTo>
                  <a:cubicBezTo>
                    <a:pt x="229" y="159"/>
                    <a:pt x="229" y="159"/>
                    <a:pt x="229" y="159"/>
                  </a:cubicBezTo>
                  <a:cubicBezTo>
                    <a:pt x="214" y="165"/>
                    <a:pt x="196" y="158"/>
                    <a:pt x="190" y="142"/>
                  </a:cubicBezTo>
                  <a:cubicBezTo>
                    <a:pt x="162" y="75"/>
                    <a:pt x="162" y="75"/>
                    <a:pt x="162" y="75"/>
                  </a:cubicBezTo>
                  <a:cubicBezTo>
                    <a:pt x="155" y="59"/>
                    <a:pt x="163" y="41"/>
                    <a:pt x="178" y="35"/>
                  </a:cubicBezTo>
                  <a:cubicBezTo>
                    <a:pt x="246" y="7"/>
                    <a:pt x="246" y="7"/>
                    <a:pt x="246" y="7"/>
                  </a:cubicBezTo>
                  <a:cubicBezTo>
                    <a:pt x="262" y="0"/>
                    <a:pt x="279" y="8"/>
                    <a:pt x="286" y="23"/>
                  </a:cubicBezTo>
                  <a:cubicBezTo>
                    <a:pt x="314" y="91"/>
                    <a:pt x="314" y="91"/>
                    <a:pt x="314" y="91"/>
                  </a:cubicBezTo>
                  <a:close/>
                </a:path>
              </a:pathLst>
            </a:custGeom>
            <a:noFill/>
            <a:ln w="635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31" name="îS1idè">
              <a:extLst>
                <a:ext uri="{FF2B5EF4-FFF2-40B4-BE49-F238E27FC236}">
                  <a16:creationId xmlns:a16="http://schemas.microsoft.com/office/drawing/2014/main" id="{CD686E8F-B00F-4815-88F6-1656A7232B7C}"/>
                </a:ext>
              </a:extLst>
            </p:cNvPr>
            <p:cNvSpPr/>
            <p:nvPr/>
          </p:nvSpPr>
          <p:spPr bwMode="auto">
            <a:xfrm>
              <a:off x="19513549" y="5578854"/>
              <a:ext cx="109487" cy="109487"/>
            </a:xfrm>
            <a:custGeom>
              <a:avLst/>
              <a:gdLst>
                <a:gd name="T0" fmla="*/ 30 w 76"/>
                <a:gd name="T1" fmla="*/ 76 h 76"/>
                <a:gd name="T2" fmla="*/ 23 w 76"/>
                <a:gd name="T3" fmla="*/ 74 h 76"/>
                <a:gd name="T4" fmla="*/ 16 w 76"/>
                <a:gd name="T5" fmla="*/ 70 h 76"/>
                <a:gd name="T6" fmla="*/ 25 w 76"/>
                <a:gd name="T7" fmla="*/ 48 h 76"/>
                <a:gd name="T8" fmla="*/ 28 w 76"/>
                <a:gd name="T9" fmla="*/ 42 h 76"/>
                <a:gd name="T10" fmla="*/ 21 w 76"/>
                <a:gd name="T11" fmla="*/ 39 h 76"/>
                <a:gd name="T12" fmla="*/ 0 w 76"/>
                <a:gd name="T13" fmla="*/ 30 h 76"/>
                <a:gd name="T14" fmla="*/ 1 w 76"/>
                <a:gd name="T15" fmla="*/ 23 h 76"/>
                <a:gd name="T16" fmla="*/ 6 w 76"/>
                <a:gd name="T17" fmla="*/ 16 h 76"/>
                <a:gd name="T18" fmla="*/ 27 w 76"/>
                <a:gd name="T19" fmla="*/ 25 h 76"/>
                <a:gd name="T20" fmla="*/ 34 w 76"/>
                <a:gd name="T21" fmla="*/ 28 h 76"/>
                <a:gd name="T22" fmla="*/ 36 w 76"/>
                <a:gd name="T23" fmla="*/ 21 h 76"/>
                <a:gd name="T24" fmla="*/ 45 w 76"/>
                <a:gd name="T25" fmla="*/ 0 h 76"/>
                <a:gd name="T26" fmla="*/ 53 w 76"/>
                <a:gd name="T27" fmla="*/ 1 h 76"/>
                <a:gd name="T28" fmla="*/ 59 w 76"/>
                <a:gd name="T29" fmla="*/ 6 h 76"/>
                <a:gd name="T30" fmla="*/ 50 w 76"/>
                <a:gd name="T31" fmla="*/ 27 h 76"/>
                <a:gd name="T32" fmla="*/ 47 w 76"/>
                <a:gd name="T33" fmla="*/ 34 h 76"/>
                <a:gd name="T34" fmla="*/ 54 w 76"/>
                <a:gd name="T35" fmla="*/ 36 h 76"/>
                <a:gd name="T36" fmla="*/ 76 w 76"/>
                <a:gd name="T37" fmla="*/ 45 h 76"/>
                <a:gd name="T38" fmla="*/ 74 w 76"/>
                <a:gd name="T39" fmla="*/ 53 h 76"/>
                <a:gd name="T40" fmla="*/ 70 w 76"/>
                <a:gd name="T41" fmla="*/ 59 h 76"/>
                <a:gd name="T42" fmla="*/ 48 w 76"/>
                <a:gd name="T43" fmla="*/ 50 h 76"/>
                <a:gd name="T44" fmla="*/ 42 w 76"/>
                <a:gd name="T45" fmla="*/ 48 h 76"/>
                <a:gd name="T46" fmla="*/ 39 w 76"/>
                <a:gd name="T47" fmla="*/ 54 h 76"/>
                <a:gd name="T48" fmla="*/ 30 w 76"/>
                <a:gd name="T4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76">
                  <a:moveTo>
                    <a:pt x="30" y="76"/>
                  </a:moveTo>
                  <a:cubicBezTo>
                    <a:pt x="27" y="76"/>
                    <a:pt x="25" y="75"/>
                    <a:pt x="23" y="74"/>
                  </a:cubicBezTo>
                  <a:cubicBezTo>
                    <a:pt x="20" y="73"/>
                    <a:pt x="18" y="72"/>
                    <a:pt x="16" y="70"/>
                  </a:cubicBezTo>
                  <a:cubicBezTo>
                    <a:pt x="25" y="48"/>
                    <a:pt x="25" y="48"/>
                    <a:pt x="25" y="48"/>
                  </a:cubicBezTo>
                  <a:cubicBezTo>
                    <a:pt x="26" y="46"/>
                    <a:pt x="27" y="44"/>
                    <a:pt x="28" y="42"/>
                  </a:cubicBezTo>
                  <a:cubicBezTo>
                    <a:pt x="21" y="39"/>
                    <a:pt x="21" y="39"/>
                    <a:pt x="21" y="39"/>
                  </a:cubicBezTo>
                  <a:cubicBezTo>
                    <a:pt x="0" y="30"/>
                    <a:pt x="0" y="30"/>
                    <a:pt x="0" y="30"/>
                  </a:cubicBezTo>
                  <a:cubicBezTo>
                    <a:pt x="0" y="28"/>
                    <a:pt x="0" y="25"/>
                    <a:pt x="1" y="23"/>
                  </a:cubicBezTo>
                  <a:cubicBezTo>
                    <a:pt x="2" y="20"/>
                    <a:pt x="4" y="18"/>
                    <a:pt x="6" y="16"/>
                  </a:cubicBezTo>
                  <a:cubicBezTo>
                    <a:pt x="27" y="25"/>
                    <a:pt x="27" y="25"/>
                    <a:pt x="27" y="25"/>
                  </a:cubicBezTo>
                  <a:cubicBezTo>
                    <a:pt x="29" y="26"/>
                    <a:pt x="31" y="27"/>
                    <a:pt x="34" y="28"/>
                  </a:cubicBezTo>
                  <a:cubicBezTo>
                    <a:pt x="35" y="26"/>
                    <a:pt x="36" y="23"/>
                    <a:pt x="36" y="21"/>
                  </a:cubicBezTo>
                  <a:cubicBezTo>
                    <a:pt x="45" y="0"/>
                    <a:pt x="45" y="0"/>
                    <a:pt x="45" y="0"/>
                  </a:cubicBezTo>
                  <a:cubicBezTo>
                    <a:pt x="48" y="0"/>
                    <a:pt x="50" y="0"/>
                    <a:pt x="53" y="1"/>
                  </a:cubicBezTo>
                  <a:cubicBezTo>
                    <a:pt x="55" y="2"/>
                    <a:pt x="57" y="4"/>
                    <a:pt x="59" y="6"/>
                  </a:cubicBezTo>
                  <a:cubicBezTo>
                    <a:pt x="50" y="27"/>
                    <a:pt x="50" y="27"/>
                    <a:pt x="50" y="27"/>
                  </a:cubicBezTo>
                  <a:cubicBezTo>
                    <a:pt x="49" y="29"/>
                    <a:pt x="48" y="32"/>
                    <a:pt x="47" y="34"/>
                  </a:cubicBezTo>
                  <a:cubicBezTo>
                    <a:pt x="49" y="35"/>
                    <a:pt x="52" y="36"/>
                    <a:pt x="54" y="36"/>
                  </a:cubicBezTo>
                  <a:cubicBezTo>
                    <a:pt x="76" y="45"/>
                    <a:pt x="76" y="45"/>
                    <a:pt x="76" y="45"/>
                  </a:cubicBezTo>
                  <a:cubicBezTo>
                    <a:pt x="75" y="48"/>
                    <a:pt x="75" y="50"/>
                    <a:pt x="74" y="53"/>
                  </a:cubicBezTo>
                  <a:cubicBezTo>
                    <a:pt x="73" y="55"/>
                    <a:pt x="71" y="58"/>
                    <a:pt x="70" y="59"/>
                  </a:cubicBezTo>
                  <a:cubicBezTo>
                    <a:pt x="48" y="50"/>
                    <a:pt x="48" y="50"/>
                    <a:pt x="48" y="50"/>
                  </a:cubicBezTo>
                  <a:cubicBezTo>
                    <a:pt x="42" y="48"/>
                    <a:pt x="42" y="48"/>
                    <a:pt x="42" y="48"/>
                  </a:cubicBezTo>
                  <a:cubicBezTo>
                    <a:pt x="39" y="54"/>
                    <a:pt x="39" y="54"/>
                    <a:pt x="39" y="54"/>
                  </a:cubicBezTo>
                  <a:cubicBezTo>
                    <a:pt x="30" y="76"/>
                    <a:pt x="30" y="76"/>
                    <a:pt x="30" y="76"/>
                  </a:cubicBezTo>
                  <a:close/>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32" name="ïšḷíḑè">
              <a:extLst>
                <a:ext uri="{FF2B5EF4-FFF2-40B4-BE49-F238E27FC236}">
                  <a16:creationId xmlns:a16="http://schemas.microsoft.com/office/drawing/2014/main" id="{61DB7938-556F-46DB-A2BC-F686C3480BF8}"/>
                </a:ext>
              </a:extLst>
            </p:cNvPr>
            <p:cNvSpPr/>
            <p:nvPr/>
          </p:nvSpPr>
          <p:spPr bwMode="auto">
            <a:xfrm>
              <a:off x="19298223" y="5670095"/>
              <a:ext cx="98540" cy="105839"/>
            </a:xfrm>
            <a:custGeom>
              <a:avLst/>
              <a:gdLst>
                <a:gd name="T0" fmla="*/ 35 w 70"/>
                <a:gd name="T1" fmla="*/ 62 h 76"/>
                <a:gd name="T2" fmla="*/ 43 w 70"/>
                <a:gd name="T3" fmla="*/ 57 h 76"/>
                <a:gd name="T4" fmla="*/ 51 w 70"/>
                <a:gd name="T5" fmla="*/ 55 h 76"/>
                <a:gd name="T6" fmla="*/ 55 w 70"/>
                <a:gd name="T7" fmla="*/ 61 h 76"/>
                <a:gd name="T8" fmla="*/ 57 w 70"/>
                <a:gd name="T9" fmla="*/ 69 h 76"/>
                <a:gd name="T10" fmla="*/ 50 w 70"/>
                <a:gd name="T11" fmla="*/ 74 h 76"/>
                <a:gd name="T12" fmla="*/ 41 w 70"/>
                <a:gd name="T13" fmla="*/ 75 h 76"/>
                <a:gd name="T14" fmla="*/ 37 w 70"/>
                <a:gd name="T15" fmla="*/ 69 h 76"/>
                <a:gd name="T16" fmla="*/ 35 w 70"/>
                <a:gd name="T17" fmla="*/ 62 h 76"/>
                <a:gd name="T18" fmla="*/ 13 w 70"/>
                <a:gd name="T19" fmla="*/ 7 h 76"/>
                <a:gd name="T20" fmla="*/ 20 w 70"/>
                <a:gd name="T21" fmla="*/ 2 h 76"/>
                <a:gd name="T22" fmla="*/ 29 w 70"/>
                <a:gd name="T23" fmla="*/ 1 h 76"/>
                <a:gd name="T24" fmla="*/ 33 w 70"/>
                <a:gd name="T25" fmla="*/ 7 h 76"/>
                <a:gd name="T26" fmla="*/ 34 w 70"/>
                <a:gd name="T27" fmla="*/ 14 h 76"/>
                <a:gd name="T28" fmla="*/ 27 w 70"/>
                <a:gd name="T29" fmla="*/ 19 h 76"/>
                <a:gd name="T30" fmla="*/ 18 w 70"/>
                <a:gd name="T31" fmla="*/ 20 h 76"/>
                <a:gd name="T32" fmla="*/ 14 w 70"/>
                <a:gd name="T33" fmla="*/ 14 h 76"/>
                <a:gd name="T34" fmla="*/ 13 w 70"/>
                <a:gd name="T35" fmla="*/ 7 h 76"/>
                <a:gd name="T36" fmla="*/ 5 w 70"/>
                <a:gd name="T37" fmla="*/ 58 h 76"/>
                <a:gd name="T38" fmla="*/ 2 w 70"/>
                <a:gd name="T39" fmla="*/ 51 h 76"/>
                <a:gd name="T40" fmla="*/ 0 w 70"/>
                <a:gd name="T41" fmla="*/ 44 h 76"/>
                <a:gd name="T42" fmla="*/ 64 w 70"/>
                <a:gd name="T43" fmla="*/ 17 h 76"/>
                <a:gd name="T44" fmla="*/ 67 w 70"/>
                <a:gd name="T45" fmla="*/ 24 h 76"/>
                <a:gd name="T46" fmla="*/ 70 w 70"/>
                <a:gd name="T47" fmla="*/ 31 h 76"/>
                <a:gd name="T48" fmla="*/ 5 w 70"/>
                <a:gd name="T4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 h="76">
                  <a:moveTo>
                    <a:pt x="35" y="62"/>
                  </a:moveTo>
                  <a:cubicBezTo>
                    <a:pt x="37" y="60"/>
                    <a:pt x="40" y="58"/>
                    <a:pt x="43" y="57"/>
                  </a:cubicBezTo>
                  <a:cubicBezTo>
                    <a:pt x="45" y="56"/>
                    <a:pt x="49" y="55"/>
                    <a:pt x="51" y="55"/>
                  </a:cubicBezTo>
                  <a:cubicBezTo>
                    <a:pt x="53" y="57"/>
                    <a:pt x="55" y="59"/>
                    <a:pt x="55" y="61"/>
                  </a:cubicBezTo>
                  <a:cubicBezTo>
                    <a:pt x="56" y="64"/>
                    <a:pt x="57" y="67"/>
                    <a:pt x="57" y="69"/>
                  </a:cubicBezTo>
                  <a:cubicBezTo>
                    <a:pt x="56" y="70"/>
                    <a:pt x="52" y="73"/>
                    <a:pt x="50" y="74"/>
                  </a:cubicBezTo>
                  <a:cubicBezTo>
                    <a:pt x="47" y="75"/>
                    <a:pt x="43" y="76"/>
                    <a:pt x="41" y="75"/>
                  </a:cubicBezTo>
                  <a:cubicBezTo>
                    <a:pt x="39" y="74"/>
                    <a:pt x="38" y="71"/>
                    <a:pt x="37" y="69"/>
                  </a:cubicBezTo>
                  <a:cubicBezTo>
                    <a:pt x="36" y="67"/>
                    <a:pt x="35" y="64"/>
                    <a:pt x="35" y="62"/>
                  </a:cubicBezTo>
                  <a:close/>
                  <a:moveTo>
                    <a:pt x="13" y="7"/>
                  </a:moveTo>
                  <a:cubicBezTo>
                    <a:pt x="14" y="5"/>
                    <a:pt x="17" y="3"/>
                    <a:pt x="20" y="2"/>
                  </a:cubicBezTo>
                  <a:cubicBezTo>
                    <a:pt x="23" y="1"/>
                    <a:pt x="26" y="0"/>
                    <a:pt x="29" y="1"/>
                  </a:cubicBezTo>
                  <a:cubicBezTo>
                    <a:pt x="30" y="2"/>
                    <a:pt x="32" y="4"/>
                    <a:pt x="33" y="7"/>
                  </a:cubicBezTo>
                  <a:cubicBezTo>
                    <a:pt x="34" y="9"/>
                    <a:pt x="34" y="12"/>
                    <a:pt x="34" y="14"/>
                  </a:cubicBezTo>
                  <a:cubicBezTo>
                    <a:pt x="33" y="15"/>
                    <a:pt x="30" y="18"/>
                    <a:pt x="27" y="19"/>
                  </a:cubicBezTo>
                  <a:cubicBezTo>
                    <a:pt x="24" y="20"/>
                    <a:pt x="20" y="21"/>
                    <a:pt x="18" y="20"/>
                  </a:cubicBezTo>
                  <a:cubicBezTo>
                    <a:pt x="17" y="19"/>
                    <a:pt x="15" y="16"/>
                    <a:pt x="14" y="14"/>
                  </a:cubicBezTo>
                  <a:cubicBezTo>
                    <a:pt x="13" y="12"/>
                    <a:pt x="13" y="9"/>
                    <a:pt x="13" y="7"/>
                  </a:cubicBezTo>
                  <a:close/>
                  <a:moveTo>
                    <a:pt x="5" y="58"/>
                  </a:moveTo>
                  <a:cubicBezTo>
                    <a:pt x="4" y="56"/>
                    <a:pt x="3" y="53"/>
                    <a:pt x="2" y="51"/>
                  </a:cubicBezTo>
                  <a:cubicBezTo>
                    <a:pt x="1" y="49"/>
                    <a:pt x="0" y="47"/>
                    <a:pt x="0" y="44"/>
                  </a:cubicBezTo>
                  <a:cubicBezTo>
                    <a:pt x="64" y="17"/>
                    <a:pt x="64" y="17"/>
                    <a:pt x="64" y="17"/>
                  </a:cubicBezTo>
                  <a:cubicBezTo>
                    <a:pt x="65" y="20"/>
                    <a:pt x="67" y="22"/>
                    <a:pt x="67" y="24"/>
                  </a:cubicBezTo>
                  <a:cubicBezTo>
                    <a:pt x="68" y="26"/>
                    <a:pt x="69" y="29"/>
                    <a:pt x="70" y="31"/>
                  </a:cubicBezTo>
                  <a:cubicBezTo>
                    <a:pt x="5" y="58"/>
                    <a:pt x="5" y="58"/>
                    <a:pt x="5" y="58"/>
                  </a:cubicBezTo>
                  <a:close/>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33" name="iṣḷíde">
              <a:extLst>
                <a:ext uri="{FF2B5EF4-FFF2-40B4-BE49-F238E27FC236}">
                  <a16:creationId xmlns:a16="http://schemas.microsoft.com/office/drawing/2014/main" id="{E1529ED4-F275-4A34-81A3-820F8944BE8C}"/>
                </a:ext>
              </a:extLst>
            </p:cNvPr>
            <p:cNvSpPr/>
            <p:nvPr/>
          </p:nvSpPr>
          <p:spPr bwMode="auto">
            <a:xfrm>
              <a:off x="15940610" y="3334366"/>
              <a:ext cx="598531" cy="598531"/>
            </a:xfrm>
            <a:custGeom>
              <a:avLst/>
              <a:gdLst>
                <a:gd name="T0" fmla="*/ 408 w 423"/>
                <a:gd name="T1" fmla="*/ 157 h 422"/>
                <a:gd name="T2" fmla="*/ 400 w 423"/>
                <a:gd name="T3" fmla="*/ 159 h 422"/>
                <a:gd name="T4" fmla="*/ 407 w 423"/>
                <a:gd name="T5" fmla="*/ 211 h 422"/>
                <a:gd name="T6" fmla="*/ 368 w 423"/>
                <a:gd name="T7" fmla="*/ 329 h 422"/>
                <a:gd name="T8" fmla="*/ 263 w 423"/>
                <a:gd name="T9" fmla="*/ 400 h 422"/>
                <a:gd name="T10" fmla="*/ 211 w 423"/>
                <a:gd name="T11" fmla="*/ 407 h 422"/>
                <a:gd name="T12" fmla="*/ 94 w 423"/>
                <a:gd name="T13" fmla="*/ 367 h 422"/>
                <a:gd name="T14" fmla="*/ 23 w 423"/>
                <a:gd name="T15" fmla="*/ 263 h 422"/>
                <a:gd name="T16" fmla="*/ 16 w 423"/>
                <a:gd name="T17" fmla="*/ 211 h 422"/>
                <a:gd name="T18" fmla="*/ 55 w 423"/>
                <a:gd name="T19" fmla="*/ 93 h 422"/>
                <a:gd name="T20" fmla="*/ 160 w 423"/>
                <a:gd name="T21" fmla="*/ 22 h 422"/>
                <a:gd name="T22" fmla="*/ 211 w 423"/>
                <a:gd name="T23" fmla="*/ 15 h 422"/>
                <a:gd name="T24" fmla="*/ 329 w 423"/>
                <a:gd name="T25" fmla="*/ 55 h 422"/>
                <a:gd name="T26" fmla="*/ 400 w 423"/>
                <a:gd name="T27" fmla="*/ 159 h 422"/>
                <a:gd name="T28" fmla="*/ 408 w 423"/>
                <a:gd name="T29" fmla="*/ 157 h 422"/>
                <a:gd name="T30" fmla="*/ 415 w 423"/>
                <a:gd name="T31" fmla="*/ 155 h 422"/>
                <a:gd name="T32" fmla="*/ 338 w 423"/>
                <a:gd name="T33" fmla="*/ 42 h 422"/>
                <a:gd name="T34" fmla="*/ 211 w 423"/>
                <a:gd name="T35" fmla="*/ 0 h 422"/>
                <a:gd name="T36" fmla="*/ 156 w 423"/>
                <a:gd name="T37" fmla="*/ 7 h 422"/>
                <a:gd name="T38" fmla="*/ 43 w 423"/>
                <a:gd name="T39" fmla="*/ 84 h 422"/>
                <a:gd name="T40" fmla="*/ 0 w 423"/>
                <a:gd name="T41" fmla="*/ 211 h 422"/>
                <a:gd name="T42" fmla="*/ 8 w 423"/>
                <a:gd name="T43" fmla="*/ 267 h 422"/>
                <a:gd name="T44" fmla="*/ 84 w 423"/>
                <a:gd name="T45" fmla="*/ 380 h 422"/>
                <a:gd name="T46" fmla="*/ 211 w 423"/>
                <a:gd name="T47" fmla="*/ 422 h 422"/>
                <a:gd name="T48" fmla="*/ 267 w 423"/>
                <a:gd name="T49" fmla="*/ 415 h 422"/>
                <a:gd name="T50" fmla="*/ 380 w 423"/>
                <a:gd name="T51" fmla="*/ 338 h 422"/>
                <a:gd name="T52" fmla="*/ 423 w 423"/>
                <a:gd name="T53" fmla="*/ 211 h 422"/>
                <a:gd name="T54" fmla="*/ 415 w 423"/>
                <a:gd name="T55" fmla="*/ 155 h 422"/>
                <a:gd name="T56" fmla="*/ 408 w 423"/>
                <a:gd name="T57" fmla="*/ 157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3" h="422">
                  <a:moveTo>
                    <a:pt x="408" y="157"/>
                  </a:moveTo>
                  <a:cubicBezTo>
                    <a:pt x="400" y="159"/>
                    <a:pt x="400" y="159"/>
                    <a:pt x="400" y="159"/>
                  </a:cubicBezTo>
                  <a:cubicBezTo>
                    <a:pt x="405" y="177"/>
                    <a:pt x="407" y="194"/>
                    <a:pt x="407" y="211"/>
                  </a:cubicBezTo>
                  <a:cubicBezTo>
                    <a:pt x="407" y="254"/>
                    <a:pt x="393" y="295"/>
                    <a:pt x="368" y="329"/>
                  </a:cubicBezTo>
                  <a:cubicBezTo>
                    <a:pt x="343" y="362"/>
                    <a:pt x="307" y="388"/>
                    <a:pt x="263" y="400"/>
                  </a:cubicBezTo>
                  <a:cubicBezTo>
                    <a:pt x="246" y="405"/>
                    <a:pt x="228" y="407"/>
                    <a:pt x="211" y="407"/>
                  </a:cubicBezTo>
                  <a:cubicBezTo>
                    <a:pt x="168" y="407"/>
                    <a:pt x="127" y="393"/>
                    <a:pt x="94" y="367"/>
                  </a:cubicBezTo>
                  <a:cubicBezTo>
                    <a:pt x="60" y="342"/>
                    <a:pt x="34" y="306"/>
                    <a:pt x="23" y="263"/>
                  </a:cubicBezTo>
                  <a:cubicBezTo>
                    <a:pt x="18" y="245"/>
                    <a:pt x="16" y="228"/>
                    <a:pt x="16" y="211"/>
                  </a:cubicBezTo>
                  <a:cubicBezTo>
                    <a:pt x="16" y="168"/>
                    <a:pt x="30" y="127"/>
                    <a:pt x="55" y="93"/>
                  </a:cubicBezTo>
                  <a:cubicBezTo>
                    <a:pt x="80" y="60"/>
                    <a:pt x="116" y="34"/>
                    <a:pt x="160" y="22"/>
                  </a:cubicBezTo>
                  <a:cubicBezTo>
                    <a:pt x="177" y="17"/>
                    <a:pt x="194" y="15"/>
                    <a:pt x="211" y="15"/>
                  </a:cubicBezTo>
                  <a:cubicBezTo>
                    <a:pt x="254" y="15"/>
                    <a:pt x="296" y="30"/>
                    <a:pt x="329" y="55"/>
                  </a:cubicBezTo>
                  <a:cubicBezTo>
                    <a:pt x="363" y="80"/>
                    <a:pt x="388" y="116"/>
                    <a:pt x="400" y="159"/>
                  </a:cubicBezTo>
                  <a:cubicBezTo>
                    <a:pt x="408" y="157"/>
                    <a:pt x="408" y="157"/>
                    <a:pt x="408" y="157"/>
                  </a:cubicBezTo>
                  <a:cubicBezTo>
                    <a:pt x="415" y="155"/>
                    <a:pt x="415" y="155"/>
                    <a:pt x="415" y="155"/>
                  </a:cubicBezTo>
                  <a:cubicBezTo>
                    <a:pt x="402" y="108"/>
                    <a:pt x="375" y="69"/>
                    <a:pt x="338" y="42"/>
                  </a:cubicBezTo>
                  <a:cubicBezTo>
                    <a:pt x="302" y="15"/>
                    <a:pt x="258" y="0"/>
                    <a:pt x="211" y="0"/>
                  </a:cubicBezTo>
                  <a:cubicBezTo>
                    <a:pt x="193" y="0"/>
                    <a:pt x="174" y="2"/>
                    <a:pt x="156" y="7"/>
                  </a:cubicBezTo>
                  <a:cubicBezTo>
                    <a:pt x="109" y="20"/>
                    <a:pt x="70" y="48"/>
                    <a:pt x="43" y="84"/>
                  </a:cubicBezTo>
                  <a:cubicBezTo>
                    <a:pt x="15" y="120"/>
                    <a:pt x="0" y="164"/>
                    <a:pt x="0" y="211"/>
                  </a:cubicBezTo>
                  <a:cubicBezTo>
                    <a:pt x="0" y="229"/>
                    <a:pt x="3" y="248"/>
                    <a:pt x="8" y="267"/>
                  </a:cubicBezTo>
                  <a:cubicBezTo>
                    <a:pt x="20" y="314"/>
                    <a:pt x="48" y="353"/>
                    <a:pt x="84" y="380"/>
                  </a:cubicBezTo>
                  <a:cubicBezTo>
                    <a:pt x="120" y="407"/>
                    <a:pt x="165" y="422"/>
                    <a:pt x="211" y="422"/>
                  </a:cubicBezTo>
                  <a:cubicBezTo>
                    <a:pt x="230" y="422"/>
                    <a:pt x="249" y="420"/>
                    <a:pt x="267" y="415"/>
                  </a:cubicBezTo>
                  <a:cubicBezTo>
                    <a:pt x="314" y="402"/>
                    <a:pt x="353" y="374"/>
                    <a:pt x="380" y="338"/>
                  </a:cubicBezTo>
                  <a:cubicBezTo>
                    <a:pt x="407" y="302"/>
                    <a:pt x="423" y="258"/>
                    <a:pt x="423" y="211"/>
                  </a:cubicBezTo>
                  <a:cubicBezTo>
                    <a:pt x="423" y="193"/>
                    <a:pt x="420" y="174"/>
                    <a:pt x="415" y="155"/>
                  </a:cubicBezTo>
                  <a:cubicBezTo>
                    <a:pt x="408" y="157"/>
                    <a:pt x="408" y="157"/>
                    <a:pt x="408" y="157"/>
                  </a:cubicBezTo>
                </a:path>
              </a:pathLst>
            </a:custGeom>
            <a:solidFill>
              <a:schemeClr val="bg1">
                <a:lumMod val="65000"/>
              </a:schemeClr>
            </a:solidFill>
            <a:ln w="9525">
              <a:solidFill>
                <a:srgbClr val="000000"/>
              </a:solidFill>
              <a:round/>
              <a:headEnd/>
              <a:tailEnd/>
            </a:ln>
          </p:spPr>
          <p:txBody>
            <a:bodyPr anchor="ctr"/>
            <a:lstStyle/>
            <a:p>
              <a:pPr algn="ctr"/>
              <a:endParaRPr>
                <a:cs typeface="+mn-ea"/>
                <a:sym typeface="+mn-lt"/>
              </a:endParaRPr>
            </a:p>
          </p:txBody>
        </p:sp>
        <p:sp>
          <p:nvSpPr>
            <p:cNvPr id="34" name="îṩļïḑè">
              <a:extLst>
                <a:ext uri="{FF2B5EF4-FFF2-40B4-BE49-F238E27FC236}">
                  <a16:creationId xmlns:a16="http://schemas.microsoft.com/office/drawing/2014/main" id="{460E00C3-DD5D-4105-9691-0D676796A10F}"/>
                </a:ext>
              </a:extLst>
            </p:cNvPr>
            <p:cNvSpPr/>
            <p:nvPr/>
          </p:nvSpPr>
          <p:spPr bwMode="auto">
            <a:xfrm>
              <a:off x="16028200" y="3666476"/>
              <a:ext cx="36496" cy="40146"/>
            </a:xfrm>
            <a:custGeom>
              <a:avLst/>
              <a:gdLst>
                <a:gd name="T0" fmla="*/ 24 w 26"/>
                <a:gd name="T1" fmla="*/ 10 h 27"/>
                <a:gd name="T2" fmla="*/ 16 w 26"/>
                <a:gd name="T3" fmla="*/ 25 h 27"/>
                <a:gd name="T4" fmla="*/ 1 w 26"/>
                <a:gd name="T5" fmla="*/ 17 h 27"/>
                <a:gd name="T6" fmla="*/ 10 w 26"/>
                <a:gd name="T7" fmla="*/ 2 h 27"/>
                <a:gd name="T8" fmla="*/ 24 w 26"/>
                <a:gd name="T9" fmla="*/ 10 h 27"/>
              </a:gdLst>
              <a:ahLst/>
              <a:cxnLst>
                <a:cxn ang="0">
                  <a:pos x="T0" y="T1"/>
                </a:cxn>
                <a:cxn ang="0">
                  <a:pos x="T2" y="T3"/>
                </a:cxn>
                <a:cxn ang="0">
                  <a:pos x="T4" y="T5"/>
                </a:cxn>
                <a:cxn ang="0">
                  <a:pos x="T6" y="T7"/>
                </a:cxn>
                <a:cxn ang="0">
                  <a:pos x="T8" y="T9"/>
                </a:cxn>
              </a:cxnLst>
              <a:rect l="0" t="0" r="r" b="b"/>
              <a:pathLst>
                <a:path w="26" h="27">
                  <a:moveTo>
                    <a:pt x="24" y="10"/>
                  </a:moveTo>
                  <a:cubicBezTo>
                    <a:pt x="26" y="17"/>
                    <a:pt x="22" y="23"/>
                    <a:pt x="16" y="25"/>
                  </a:cubicBezTo>
                  <a:cubicBezTo>
                    <a:pt x="10" y="27"/>
                    <a:pt x="3" y="23"/>
                    <a:pt x="1" y="17"/>
                  </a:cubicBezTo>
                  <a:cubicBezTo>
                    <a:pt x="0" y="10"/>
                    <a:pt x="3" y="4"/>
                    <a:pt x="10" y="2"/>
                  </a:cubicBezTo>
                  <a:cubicBezTo>
                    <a:pt x="16" y="0"/>
                    <a:pt x="23" y="4"/>
                    <a:pt x="24" y="10"/>
                  </a:cubicBezTo>
                  <a:close/>
                </a:path>
              </a:pathLst>
            </a:custGeom>
            <a:solidFill>
              <a:schemeClr val="bg1">
                <a:lumMod val="65000"/>
              </a:schemeClr>
            </a:solidFill>
            <a:ln w="9525">
              <a:solidFill>
                <a:srgbClr val="000000"/>
              </a:solidFill>
              <a:round/>
              <a:headEnd/>
              <a:tailEnd/>
            </a:ln>
          </p:spPr>
          <p:txBody>
            <a:bodyPr anchor="ctr"/>
            <a:lstStyle/>
            <a:p>
              <a:pPr algn="ctr"/>
              <a:endParaRPr>
                <a:cs typeface="+mn-ea"/>
                <a:sym typeface="+mn-lt"/>
              </a:endParaRPr>
            </a:p>
          </p:txBody>
        </p:sp>
        <p:sp>
          <p:nvSpPr>
            <p:cNvPr id="35" name="ïs1ïḓè">
              <a:extLst>
                <a:ext uri="{FF2B5EF4-FFF2-40B4-BE49-F238E27FC236}">
                  <a16:creationId xmlns:a16="http://schemas.microsoft.com/office/drawing/2014/main" id="{B5090AEA-F1AE-47C9-B73D-3F255DEC5944}"/>
                </a:ext>
              </a:extLst>
            </p:cNvPr>
            <p:cNvSpPr/>
            <p:nvPr/>
          </p:nvSpPr>
          <p:spPr bwMode="auto">
            <a:xfrm>
              <a:off x="16415055" y="3564288"/>
              <a:ext cx="36496" cy="36496"/>
            </a:xfrm>
            <a:custGeom>
              <a:avLst/>
              <a:gdLst>
                <a:gd name="T0" fmla="*/ 24 w 26"/>
                <a:gd name="T1" fmla="*/ 10 h 26"/>
                <a:gd name="T2" fmla="*/ 16 w 26"/>
                <a:gd name="T3" fmla="*/ 24 h 26"/>
                <a:gd name="T4" fmla="*/ 1 w 26"/>
                <a:gd name="T5" fmla="*/ 16 h 26"/>
                <a:gd name="T6" fmla="*/ 10 w 26"/>
                <a:gd name="T7" fmla="*/ 1 h 26"/>
                <a:gd name="T8" fmla="*/ 24 w 26"/>
                <a:gd name="T9" fmla="*/ 10 h 26"/>
              </a:gdLst>
              <a:ahLst/>
              <a:cxnLst>
                <a:cxn ang="0">
                  <a:pos x="T0" y="T1"/>
                </a:cxn>
                <a:cxn ang="0">
                  <a:pos x="T2" y="T3"/>
                </a:cxn>
                <a:cxn ang="0">
                  <a:pos x="T4" y="T5"/>
                </a:cxn>
                <a:cxn ang="0">
                  <a:pos x="T6" y="T7"/>
                </a:cxn>
                <a:cxn ang="0">
                  <a:pos x="T8" y="T9"/>
                </a:cxn>
              </a:cxnLst>
              <a:rect l="0" t="0" r="r" b="b"/>
              <a:pathLst>
                <a:path w="26" h="26">
                  <a:moveTo>
                    <a:pt x="24" y="10"/>
                  </a:moveTo>
                  <a:cubicBezTo>
                    <a:pt x="26" y="16"/>
                    <a:pt x="22" y="22"/>
                    <a:pt x="16" y="24"/>
                  </a:cubicBezTo>
                  <a:cubicBezTo>
                    <a:pt x="10" y="26"/>
                    <a:pt x="3" y="22"/>
                    <a:pt x="1" y="16"/>
                  </a:cubicBezTo>
                  <a:cubicBezTo>
                    <a:pt x="0" y="9"/>
                    <a:pt x="3" y="3"/>
                    <a:pt x="10" y="1"/>
                  </a:cubicBezTo>
                  <a:cubicBezTo>
                    <a:pt x="16" y="0"/>
                    <a:pt x="23" y="3"/>
                    <a:pt x="24" y="10"/>
                  </a:cubicBezTo>
                </a:path>
              </a:pathLst>
            </a:custGeom>
            <a:solidFill>
              <a:schemeClr val="bg1">
                <a:lumMod val="65000"/>
              </a:schemeClr>
            </a:solidFill>
            <a:ln w="9525">
              <a:solidFill>
                <a:srgbClr val="000000"/>
              </a:solidFill>
              <a:round/>
              <a:headEnd/>
              <a:tailEnd/>
            </a:ln>
          </p:spPr>
          <p:txBody>
            <a:bodyPr anchor="ctr"/>
            <a:lstStyle/>
            <a:p>
              <a:pPr algn="ctr"/>
              <a:endParaRPr>
                <a:cs typeface="+mn-ea"/>
                <a:sym typeface="+mn-lt"/>
              </a:endParaRPr>
            </a:p>
          </p:txBody>
        </p:sp>
        <p:sp>
          <p:nvSpPr>
            <p:cNvPr id="36" name="î$1îde">
              <a:extLst>
                <a:ext uri="{FF2B5EF4-FFF2-40B4-BE49-F238E27FC236}">
                  <a16:creationId xmlns:a16="http://schemas.microsoft.com/office/drawing/2014/main" id="{CFF2693E-D02B-43DB-934A-CCD847682296}"/>
                </a:ext>
              </a:extLst>
            </p:cNvPr>
            <p:cNvSpPr/>
            <p:nvPr/>
          </p:nvSpPr>
          <p:spPr bwMode="auto">
            <a:xfrm>
              <a:off x="16166884" y="3421955"/>
              <a:ext cx="36496" cy="36496"/>
            </a:xfrm>
            <a:custGeom>
              <a:avLst/>
              <a:gdLst>
                <a:gd name="T0" fmla="*/ 16 w 26"/>
                <a:gd name="T1" fmla="*/ 25 h 27"/>
                <a:gd name="T2" fmla="*/ 2 w 26"/>
                <a:gd name="T3" fmla="*/ 17 h 27"/>
                <a:gd name="T4" fmla="*/ 10 w 26"/>
                <a:gd name="T5" fmla="*/ 2 h 27"/>
                <a:gd name="T6" fmla="*/ 24 w 26"/>
                <a:gd name="T7" fmla="*/ 10 h 27"/>
                <a:gd name="T8" fmla="*/ 16 w 26"/>
                <a:gd name="T9" fmla="*/ 25 h 27"/>
              </a:gdLst>
              <a:ahLst/>
              <a:cxnLst>
                <a:cxn ang="0">
                  <a:pos x="T0" y="T1"/>
                </a:cxn>
                <a:cxn ang="0">
                  <a:pos x="T2" y="T3"/>
                </a:cxn>
                <a:cxn ang="0">
                  <a:pos x="T4" y="T5"/>
                </a:cxn>
                <a:cxn ang="0">
                  <a:pos x="T6" y="T7"/>
                </a:cxn>
                <a:cxn ang="0">
                  <a:pos x="T8" y="T9"/>
                </a:cxn>
              </a:cxnLst>
              <a:rect l="0" t="0" r="r" b="b"/>
              <a:pathLst>
                <a:path w="26" h="27">
                  <a:moveTo>
                    <a:pt x="16" y="25"/>
                  </a:moveTo>
                  <a:cubicBezTo>
                    <a:pt x="10" y="27"/>
                    <a:pt x="3" y="23"/>
                    <a:pt x="2" y="17"/>
                  </a:cubicBezTo>
                  <a:cubicBezTo>
                    <a:pt x="0" y="10"/>
                    <a:pt x="4" y="4"/>
                    <a:pt x="10" y="2"/>
                  </a:cubicBezTo>
                  <a:cubicBezTo>
                    <a:pt x="16" y="0"/>
                    <a:pt x="23" y="4"/>
                    <a:pt x="24" y="10"/>
                  </a:cubicBezTo>
                  <a:cubicBezTo>
                    <a:pt x="26" y="17"/>
                    <a:pt x="22" y="23"/>
                    <a:pt x="16" y="25"/>
                  </a:cubicBezTo>
                  <a:close/>
                </a:path>
              </a:pathLst>
            </a:custGeom>
            <a:solidFill>
              <a:schemeClr val="bg1">
                <a:lumMod val="65000"/>
              </a:schemeClr>
            </a:solidFill>
            <a:ln w="9525">
              <a:solidFill>
                <a:srgbClr val="000000"/>
              </a:solidFill>
              <a:round/>
              <a:headEnd/>
              <a:tailEnd/>
            </a:ln>
          </p:spPr>
          <p:txBody>
            <a:bodyPr anchor="ctr"/>
            <a:lstStyle/>
            <a:p>
              <a:pPr algn="ctr"/>
              <a:endParaRPr>
                <a:cs typeface="+mn-ea"/>
                <a:sym typeface="+mn-lt"/>
              </a:endParaRPr>
            </a:p>
          </p:txBody>
        </p:sp>
        <p:sp>
          <p:nvSpPr>
            <p:cNvPr id="37" name="i$ḻíde">
              <a:extLst>
                <a:ext uri="{FF2B5EF4-FFF2-40B4-BE49-F238E27FC236}">
                  <a16:creationId xmlns:a16="http://schemas.microsoft.com/office/drawing/2014/main" id="{44B2CFA4-0194-46EF-9586-BC9A088D51AA}"/>
                </a:ext>
              </a:extLst>
            </p:cNvPr>
            <p:cNvSpPr/>
            <p:nvPr/>
          </p:nvSpPr>
          <p:spPr bwMode="auto">
            <a:xfrm>
              <a:off x="16272723" y="3808811"/>
              <a:ext cx="40147" cy="36496"/>
            </a:xfrm>
            <a:custGeom>
              <a:avLst/>
              <a:gdLst>
                <a:gd name="T0" fmla="*/ 16 w 26"/>
                <a:gd name="T1" fmla="*/ 25 h 27"/>
                <a:gd name="T2" fmla="*/ 1 w 26"/>
                <a:gd name="T3" fmla="*/ 17 h 27"/>
                <a:gd name="T4" fmla="*/ 10 w 26"/>
                <a:gd name="T5" fmla="*/ 2 h 27"/>
                <a:gd name="T6" fmla="*/ 24 w 26"/>
                <a:gd name="T7" fmla="*/ 10 h 27"/>
                <a:gd name="T8" fmla="*/ 16 w 26"/>
                <a:gd name="T9" fmla="*/ 25 h 27"/>
              </a:gdLst>
              <a:ahLst/>
              <a:cxnLst>
                <a:cxn ang="0">
                  <a:pos x="T0" y="T1"/>
                </a:cxn>
                <a:cxn ang="0">
                  <a:pos x="T2" y="T3"/>
                </a:cxn>
                <a:cxn ang="0">
                  <a:pos x="T4" y="T5"/>
                </a:cxn>
                <a:cxn ang="0">
                  <a:pos x="T6" y="T7"/>
                </a:cxn>
                <a:cxn ang="0">
                  <a:pos x="T8" y="T9"/>
                </a:cxn>
              </a:cxnLst>
              <a:rect l="0" t="0" r="r" b="b"/>
              <a:pathLst>
                <a:path w="26" h="27">
                  <a:moveTo>
                    <a:pt x="16" y="25"/>
                  </a:moveTo>
                  <a:cubicBezTo>
                    <a:pt x="10" y="27"/>
                    <a:pt x="3" y="23"/>
                    <a:pt x="1" y="17"/>
                  </a:cubicBezTo>
                  <a:cubicBezTo>
                    <a:pt x="0" y="10"/>
                    <a:pt x="3" y="4"/>
                    <a:pt x="10" y="2"/>
                  </a:cubicBezTo>
                  <a:cubicBezTo>
                    <a:pt x="16" y="0"/>
                    <a:pt x="22" y="4"/>
                    <a:pt x="24" y="10"/>
                  </a:cubicBezTo>
                  <a:cubicBezTo>
                    <a:pt x="26" y="17"/>
                    <a:pt x="22" y="23"/>
                    <a:pt x="16" y="25"/>
                  </a:cubicBezTo>
                  <a:close/>
                </a:path>
              </a:pathLst>
            </a:custGeom>
            <a:solidFill>
              <a:schemeClr val="bg1">
                <a:lumMod val="65000"/>
              </a:schemeClr>
            </a:solidFill>
            <a:ln w="9525">
              <a:solidFill>
                <a:schemeClr val="tx1">
                  <a:lumMod val="75000"/>
                  <a:lumOff val="25000"/>
                </a:schemeClr>
              </a:solidFill>
              <a:round/>
              <a:headEnd/>
              <a:tailEnd/>
            </a:ln>
          </p:spPr>
          <p:txBody>
            <a:bodyPr anchor="ctr"/>
            <a:lstStyle/>
            <a:p>
              <a:pPr algn="ctr"/>
              <a:endParaRPr>
                <a:cs typeface="+mn-ea"/>
                <a:sym typeface="+mn-lt"/>
              </a:endParaRPr>
            </a:p>
          </p:txBody>
        </p:sp>
        <p:sp>
          <p:nvSpPr>
            <p:cNvPr id="38" name="iṩļïde">
              <a:extLst>
                <a:ext uri="{FF2B5EF4-FFF2-40B4-BE49-F238E27FC236}">
                  <a16:creationId xmlns:a16="http://schemas.microsoft.com/office/drawing/2014/main" id="{16CD423F-B67B-415A-BF31-7A8726F5A1C2}"/>
                </a:ext>
              </a:extLst>
            </p:cNvPr>
            <p:cNvSpPr/>
            <p:nvPr/>
          </p:nvSpPr>
          <p:spPr bwMode="auto">
            <a:xfrm>
              <a:off x="16104842" y="3454800"/>
              <a:ext cx="259121" cy="197077"/>
            </a:xfrm>
            <a:custGeom>
              <a:avLst/>
              <a:gdLst>
                <a:gd name="T0" fmla="*/ 180 w 181"/>
                <a:gd name="T1" fmla="*/ 8 h 140"/>
                <a:gd name="T2" fmla="*/ 176 w 181"/>
                <a:gd name="T3" fmla="*/ 2 h 140"/>
                <a:gd name="T4" fmla="*/ 171 w 181"/>
                <a:gd name="T5" fmla="*/ 0 h 140"/>
                <a:gd name="T6" fmla="*/ 162 w 181"/>
                <a:gd name="T7" fmla="*/ 5 h 140"/>
                <a:gd name="T8" fmla="*/ 92 w 181"/>
                <a:gd name="T9" fmla="*/ 118 h 140"/>
                <a:gd name="T10" fmla="*/ 14 w 181"/>
                <a:gd name="T11" fmla="*/ 90 h 140"/>
                <a:gd name="T12" fmla="*/ 11 w 181"/>
                <a:gd name="T13" fmla="*/ 90 h 140"/>
                <a:gd name="T14" fmla="*/ 1 w 181"/>
                <a:gd name="T15" fmla="*/ 96 h 140"/>
                <a:gd name="T16" fmla="*/ 2 w 181"/>
                <a:gd name="T17" fmla="*/ 104 h 140"/>
                <a:gd name="T18" fmla="*/ 7 w 181"/>
                <a:gd name="T19" fmla="*/ 109 h 140"/>
                <a:gd name="T20" fmla="*/ 92 w 181"/>
                <a:gd name="T21" fmla="*/ 139 h 140"/>
                <a:gd name="T22" fmla="*/ 96 w 181"/>
                <a:gd name="T23" fmla="*/ 140 h 140"/>
                <a:gd name="T24" fmla="*/ 97 w 181"/>
                <a:gd name="T25" fmla="*/ 140 h 140"/>
                <a:gd name="T26" fmla="*/ 97 w 181"/>
                <a:gd name="T27" fmla="*/ 140 h 140"/>
                <a:gd name="T28" fmla="*/ 99 w 181"/>
                <a:gd name="T29" fmla="*/ 139 h 140"/>
                <a:gd name="T30" fmla="*/ 100 w 181"/>
                <a:gd name="T31" fmla="*/ 139 h 140"/>
                <a:gd name="T32" fmla="*/ 101 w 181"/>
                <a:gd name="T33" fmla="*/ 139 h 140"/>
                <a:gd name="T34" fmla="*/ 105 w 181"/>
                <a:gd name="T35" fmla="*/ 134 h 140"/>
                <a:gd name="T36" fmla="*/ 179 w 181"/>
                <a:gd name="T37" fmla="*/ 15 h 140"/>
                <a:gd name="T38" fmla="*/ 180 w 181"/>
                <a:gd name="T39" fmla="*/ 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1" h="140">
                  <a:moveTo>
                    <a:pt x="180" y="8"/>
                  </a:moveTo>
                  <a:cubicBezTo>
                    <a:pt x="180" y="5"/>
                    <a:pt x="178" y="3"/>
                    <a:pt x="176" y="2"/>
                  </a:cubicBezTo>
                  <a:cubicBezTo>
                    <a:pt x="174" y="1"/>
                    <a:pt x="173" y="0"/>
                    <a:pt x="171" y="0"/>
                  </a:cubicBezTo>
                  <a:cubicBezTo>
                    <a:pt x="167" y="0"/>
                    <a:pt x="164" y="2"/>
                    <a:pt x="162" y="5"/>
                  </a:cubicBezTo>
                  <a:cubicBezTo>
                    <a:pt x="92" y="118"/>
                    <a:pt x="92" y="118"/>
                    <a:pt x="92" y="118"/>
                  </a:cubicBezTo>
                  <a:cubicBezTo>
                    <a:pt x="14" y="90"/>
                    <a:pt x="14" y="90"/>
                    <a:pt x="14" y="90"/>
                  </a:cubicBezTo>
                  <a:cubicBezTo>
                    <a:pt x="13" y="90"/>
                    <a:pt x="12" y="90"/>
                    <a:pt x="11" y="90"/>
                  </a:cubicBezTo>
                  <a:cubicBezTo>
                    <a:pt x="7" y="90"/>
                    <a:pt x="3" y="92"/>
                    <a:pt x="1" y="96"/>
                  </a:cubicBezTo>
                  <a:cubicBezTo>
                    <a:pt x="0" y="99"/>
                    <a:pt x="1" y="101"/>
                    <a:pt x="2" y="104"/>
                  </a:cubicBezTo>
                  <a:cubicBezTo>
                    <a:pt x="3" y="106"/>
                    <a:pt x="5" y="108"/>
                    <a:pt x="7" y="109"/>
                  </a:cubicBezTo>
                  <a:cubicBezTo>
                    <a:pt x="92" y="139"/>
                    <a:pt x="92" y="139"/>
                    <a:pt x="92" y="139"/>
                  </a:cubicBezTo>
                  <a:cubicBezTo>
                    <a:pt x="93" y="140"/>
                    <a:pt x="94" y="140"/>
                    <a:pt x="96" y="140"/>
                  </a:cubicBezTo>
                  <a:cubicBezTo>
                    <a:pt x="96" y="140"/>
                    <a:pt x="97" y="140"/>
                    <a:pt x="97" y="140"/>
                  </a:cubicBezTo>
                  <a:cubicBezTo>
                    <a:pt x="97" y="140"/>
                    <a:pt x="97" y="140"/>
                    <a:pt x="97" y="140"/>
                  </a:cubicBezTo>
                  <a:cubicBezTo>
                    <a:pt x="98" y="140"/>
                    <a:pt x="98" y="140"/>
                    <a:pt x="99" y="139"/>
                  </a:cubicBezTo>
                  <a:cubicBezTo>
                    <a:pt x="99" y="139"/>
                    <a:pt x="100" y="139"/>
                    <a:pt x="100" y="139"/>
                  </a:cubicBezTo>
                  <a:cubicBezTo>
                    <a:pt x="101" y="139"/>
                    <a:pt x="101" y="139"/>
                    <a:pt x="101" y="139"/>
                  </a:cubicBezTo>
                  <a:cubicBezTo>
                    <a:pt x="102" y="138"/>
                    <a:pt x="104" y="136"/>
                    <a:pt x="105" y="134"/>
                  </a:cubicBezTo>
                  <a:cubicBezTo>
                    <a:pt x="179" y="15"/>
                    <a:pt x="179" y="15"/>
                    <a:pt x="179" y="15"/>
                  </a:cubicBezTo>
                  <a:cubicBezTo>
                    <a:pt x="181" y="13"/>
                    <a:pt x="181" y="10"/>
                    <a:pt x="180" y="8"/>
                  </a:cubicBezTo>
                  <a:close/>
                </a:path>
              </a:pathLst>
            </a:custGeom>
            <a:solidFill>
              <a:schemeClr val="bg1">
                <a:lumMod val="65000"/>
              </a:schemeClr>
            </a:solidFill>
            <a:ln w="9525">
              <a:solidFill>
                <a:srgbClr val="000000"/>
              </a:solidFill>
              <a:round/>
              <a:headEnd/>
              <a:tailEnd/>
            </a:ln>
          </p:spPr>
          <p:txBody>
            <a:bodyPr anchor="ctr"/>
            <a:lstStyle/>
            <a:p>
              <a:pPr algn="ctr"/>
              <a:endParaRPr>
                <a:cs typeface="+mn-ea"/>
                <a:sym typeface="+mn-lt"/>
              </a:endParaRPr>
            </a:p>
          </p:txBody>
        </p:sp>
        <p:sp>
          <p:nvSpPr>
            <p:cNvPr id="39" name="îş1îḑê">
              <a:extLst>
                <a:ext uri="{FF2B5EF4-FFF2-40B4-BE49-F238E27FC236}">
                  <a16:creationId xmlns:a16="http://schemas.microsoft.com/office/drawing/2014/main" id="{DD1E567E-59E1-4409-9D05-A17AE1D849C3}"/>
                </a:ext>
              </a:extLst>
            </p:cNvPr>
            <p:cNvSpPr/>
            <p:nvPr/>
          </p:nvSpPr>
          <p:spPr bwMode="auto">
            <a:xfrm>
              <a:off x="15090259" y="1411037"/>
              <a:ext cx="4583872" cy="4828392"/>
            </a:xfrm>
            <a:custGeom>
              <a:avLst/>
              <a:gdLst>
                <a:gd name="T0" fmla="*/ 74 w 3225"/>
                <a:gd name="T1" fmla="*/ 2443 h 3403"/>
                <a:gd name="T2" fmla="*/ 77 w 3225"/>
                <a:gd name="T3" fmla="*/ 2510 h 3403"/>
                <a:gd name="T4" fmla="*/ 136 w 3225"/>
                <a:gd name="T5" fmla="*/ 2534 h 3403"/>
                <a:gd name="T6" fmla="*/ 233 w 3225"/>
                <a:gd name="T7" fmla="*/ 2521 h 3403"/>
                <a:gd name="T8" fmla="*/ 300 w 3225"/>
                <a:gd name="T9" fmla="*/ 2462 h 3403"/>
                <a:gd name="T10" fmla="*/ 299 w 3225"/>
                <a:gd name="T11" fmla="*/ 2360 h 3403"/>
                <a:gd name="T12" fmla="*/ 232 w 3225"/>
                <a:gd name="T13" fmla="*/ 2300 h 3403"/>
                <a:gd name="T14" fmla="*/ 135 w 3225"/>
                <a:gd name="T15" fmla="*/ 2287 h 3403"/>
                <a:gd name="T16" fmla="*/ 76 w 3225"/>
                <a:gd name="T17" fmla="*/ 2312 h 3403"/>
                <a:gd name="T18" fmla="*/ 17 w 3225"/>
                <a:gd name="T19" fmla="*/ 2390 h 3403"/>
                <a:gd name="T20" fmla="*/ 329 w 3225"/>
                <a:gd name="T21" fmla="*/ 2191 h 3403"/>
                <a:gd name="T22" fmla="*/ 273 w 3225"/>
                <a:gd name="T23" fmla="*/ 2183 h 3403"/>
                <a:gd name="T24" fmla="*/ 302 w 3225"/>
                <a:gd name="T25" fmla="*/ 2248 h 3403"/>
                <a:gd name="T26" fmla="*/ 369 w 3225"/>
                <a:gd name="T27" fmla="*/ 2288 h 3403"/>
                <a:gd name="T28" fmla="*/ 419 w 3225"/>
                <a:gd name="T29" fmla="*/ 2289 h 3403"/>
                <a:gd name="T30" fmla="*/ 488 w 3225"/>
                <a:gd name="T31" fmla="*/ 2252 h 3403"/>
                <a:gd name="T32" fmla="*/ 520 w 3225"/>
                <a:gd name="T33" fmla="*/ 2189 h 3403"/>
                <a:gd name="T34" fmla="*/ 491 w 3225"/>
                <a:gd name="T35" fmla="*/ 2113 h 3403"/>
                <a:gd name="T36" fmla="*/ 424 w 3225"/>
                <a:gd name="T37" fmla="*/ 2088 h 3403"/>
                <a:gd name="T38" fmla="*/ 349 w 3225"/>
                <a:gd name="T39" fmla="*/ 2106 h 3403"/>
                <a:gd name="T40" fmla="*/ 312 w 3225"/>
                <a:gd name="T41" fmla="*/ 2141 h 3403"/>
                <a:gd name="T42" fmla="*/ 1185 w 3225"/>
                <a:gd name="T43" fmla="*/ 249 h 3403"/>
                <a:gd name="T44" fmla="*/ 1116 w 3225"/>
                <a:gd name="T45" fmla="*/ 292 h 3403"/>
                <a:gd name="T46" fmla="*/ 1102 w 3225"/>
                <a:gd name="T47" fmla="*/ 310 h 3403"/>
                <a:gd name="T48" fmla="*/ 1191 w 3225"/>
                <a:gd name="T49" fmla="*/ 345 h 3403"/>
                <a:gd name="T50" fmla="*/ 1205 w 3225"/>
                <a:gd name="T51" fmla="*/ 327 h 3403"/>
                <a:gd name="T52" fmla="*/ 1142 w 3225"/>
                <a:gd name="T53" fmla="*/ 285 h 3403"/>
                <a:gd name="T54" fmla="*/ 1175 w 3225"/>
                <a:gd name="T55" fmla="*/ 107 h 3403"/>
                <a:gd name="T56" fmla="*/ 3183 w 3225"/>
                <a:gd name="T57" fmla="*/ 1080 h 3403"/>
                <a:gd name="T58" fmla="*/ 2872 w 3225"/>
                <a:gd name="T59" fmla="*/ 1128 h 3403"/>
                <a:gd name="T60" fmla="*/ 3099 w 3225"/>
                <a:gd name="T61" fmla="*/ 1028 h 3403"/>
                <a:gd name="T62" fmla="*/ 3004 w 3225"/>
                <a:gd name="T63" fmla="*/ 1028 h 3403"/>
                <a:gd name="T64" fmla="*/ 2909 w 3225"/>
                <a:gd name="T65" fmla="*/ 1028 h 3403"/>
                <a:gd name="T66" fmla="*/ 2751 w 3225"/>
                <a:gd name="T67" fmla="*/ 127 h 3403"/>
                <a:gd name="T68" fmla="*/ 2636 w 3225"/>
                <a:gd name="T69" fmla="*/ 344 h 3403"/>
                <a:gd name="T70" fmla="*/ 1477 w 3225"/>
                <a:gd name="T71" fmla="*/ 3019 h 3403"/>
                <a:gd name="T72" fmla="*/ 1271 w 3225"/>
                <a:gd name="T73" fmla="*/ 3163 h 3403"/>
                <a:gd name="T74" fmla="*/ 1477 w 3225"/>
                <a:gd name="T75" fmla="*/ 3019 h 3403"/>
                <a:gd name="T76" fmla="*/ 2985 w 3225"/>
                <a:gd name="T77" fmla="*/ 1562 h 3403"/>
                <a:gd name="T78" fmla="*/ 3107 w 3225"/>
                <a:gd name="T79" fmla="*/ 1349 h 3403"/>
                <a:gd name="T80" fmla="*/ 2092 w 3225"/>
                <a:gd name="T81" fmla="*/ 3148 h 3403"/>
                <a:gd name="T82" fmla="*/ 2006 w 3225"/>
                <a:gd name="T83" fmla="*/ 3231 h 3403"/>
                <a:gd name="T84" fmla="*/ 1838 w 3225"/>
                <a:gd name="T85" fmla="*/ 3393 h 3403"/>
                <a:gd name="T86" fmla="*/ 1949 w 3225"/>
                <a:gd name="T87" fmla="*/ 3000 h 3403"/>
                <a:gd name="T88" fmla="*/ 2063 w 3225"/>
                <a:gd name="T89" fmla="*/ 3030 h 3403"/>
                <a:gd name="T90" fmla="*/ 1885 w 3225"/>
                <a:gd name="T91" fmla="*/ 3201 h 3403"/>
                <a:gd name="T92" fmla="*/ 1803 w 3225"/>
                <a:gd name="T93" fmla="*/ 3281 h 3403"/>
                <a:gd name="T94" fmla="*/ 1863 w 3225"/>
                <a:gd name="T95" fmla="*/ 3083 h 3403"/>
                <a:gd name="T96" fmla="*/ 1695 w 3225"/>
                <a:gd name="T97" fmla="*/ 3245 h 3403"/>
                <a:gd name="T98" fmla="*/ 1830 w 3225"/>
                <a:gd name="T99" fmla="*/ 3290 h 3403"/>
                <a:gd name="T100" fmla="*/ 2056 w 3225"/>
                <a:gd name="T101" fmla="*/ 3005 h 3403"/>
                <a:gd name="T102" fmla="*/ 2091 w 3225"/>
                <a:gd name="T103" fmla="*/ 3149 h 3403"/>
                <a:gd name="T104" fmla="*/ 1635 w 3225"/>
                <a:gd name="T105" fmla="*/ 523 h 3403"/>
                <a:gd name="T106" fmla="*/ 1631 w 3225"/>
                <a:gd name="T107" fmla="*/ 524 h 3403"/>
                <a:gd name="T108" fmla="*/ 1602 w 3225"/>
                <a:gd name="T109" fmla="*/ 803 h 3403"/>
                <a:gd name="T110" fmla="*/ 1635 w 3225"/>
                <a:gd name="T111" fmla="*/ 523 h 3403"/>
                <a:gd name="T112" fmla="*/ 1763 w 3225"/>
                <a:gd name="T113" fmla="*/ 353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25" h="3403">
                  <a:moveTo>
                    <a:pt x="74" y="2443"/>
                  </a:moveTo>
                  <a:cubicBezTo>
                    <a:pt x="56" y="2400"/>
                    <a:pt x="76" y="2351"/>
                    <a:pt x="119" y="2333"/>
                  </a:cubicBezTo>
                  <a:cubicBezTo>
                    <a:pt x="163" y="2315"/>
                    <a:pt x="212" y="2335"/>
                    <a:pt x="230" y="2378"/>
                  </a:cubicBezTo>
                  <a:cubicBezTo>
                    <a:pt x="248" y="2421"/>
                    <a:pt x="228" y="2471"/>
                    <a:pt x="184" y="2489"/>
                  </a:cubicBezTo>
                  <a:cubicBezTo>
                    <a:pt x="141" y="2507"/>
                    <a:pt x="92" y="2487"/>
                    <a:pt x="74" y="2443"/>
                  </a:cubicBezTo>
                  <a:close/>
                  <a:moveTo>
                    <a:pt x="5" y="2462"/>
                  </a:moveTo>
                  <a:cubicBezTo>
                    <a:pt x="12" y="2479"/>
                    <a:pt x="12" y="2479"/>
                    <a:pt x="12" y="2479"/>
                  </a:cubicBezTo>
                  <a:cubicBezTo>
                    <a:pt x="17" y="2491"/>
                    <a:pt x="30" y="2496"/>
                    <a:pt x="41" y="2492"/>
                  </a:cubicBezTo>
                  <a:cubicBezTo>
                    <a:pt x="53" y="2487"/>
                    <a:pt x="53" y="2487"/>
                    <a:pt x="53" y="2487"/>
                  </a:cubicBezTo>
                  <a:cubicBezTo>
                    <a:pt x="60" y="2496"/>
                    <a:pt x="68" y="2503"/>
                    <a:pt x="77" y="2510"/>
                  </a:cubicBezTo>
                  <a:cubicBezTo>
                    <a:pt x="72" y="2522"/>
                    <a:pt x="72" y="2522"/>
                    <a:pt x="72" y="2522"/>
                  </a:cubicBezTo>
                  <a:cubicBezTo>
                    <a:pt x="67" y="2533"/>
                    <a:pt x="72" y="2547"/>
                    <a:pt x="84" y="2551"/>
                  </a:cubicBezTo>
                  <a:cubicBezTo>
                    <a:pt x="101" y="2558"/>
                    <a:pt x="101" y="2558"/>
                    <a:pt x="101" y="2558"/>
                  </a:cubicBezTo>
                  <a:cubicBezTo>
                    <a:pt x="113" y="2563"/>
                    <a:pt x="126" y="2558"/>
                    <a:pt x="131" y="2546"/>
                  </a:cubicBezTo>
                  <a:cubicBezTo>
                    <a:pt x="136" y="2534"/>
                    <a:pt x="136" y="2534"/>
                    <a:pt x="136" y="2534"/>
                  </a:cubicBezTo>
                  <a:cubicBezTo>
                    <a:pt x="147" y="2536"/>
                    <a:pt x="158" y="2536"/>
                    <a:pt x="169" y="2534"/>
                  </a:cubicBezTo>
                  <a:cubicBezTo>
                    <a:pt x="174" y="2546"/>
                    <a:pt x="174" y="2546"/>
                    <a:pt x="174" y="2546"/>
                  </a:cubicBezTo>
                  <a:cubicBezTo>
                    <a:pt x="178" y="2558"/>
                    <a:pt x="192" y="2563"/>
                    <a:pt x="203" y="2558"/>
                  </a:cubicBezTo>
                  <a:cubicBezTo>
                    <a:pt x="220" y="2551"/>
                    <a:pt x="220" y="2551"/>
                    <a:pt x="220" y="2551"/>
                  </a:cubicBezTo>
                  <a:cubicBezTo>
                    <a:pt x="232" y="2546"/>
                    <a:pt x="237" y="2533"/>
                    <a:pt x="233" y="2521"/>
                  </a:cubicBezTo>
                  <a:cubicBezTo>
                    <a:pt x="228" y="2510"/>
                    <a:pt x="228" y="2510"/>
                    <a:pt x="228" y="2510"/>
                  </a:cubicBezTo>
                  <a:cubicBezTo>
                    <a:pt x="237" y="2503"/>
                    <a:pt x="244" y="2495"/>
                    <a:pt x="251" y="2486"/>
                  </a:cubicBezTo>
                  <a:cubicBezTo>
                    <a:pt x="263" y="2491"/>
                    <a:pt x="263" y="2491"/>
                    <a:pt x="263" y="2491"/>
                  </a:cubicBezTo>
                  <a:cubicBezTo>
                    <a:pt x="274" y="2496"/>
                    <a:pt x="288" y="2490"/>
                    <a:pt x="292" y="2479"/>
                  </a:cubicBezTo>
                  <a:cubicBezTo>
                    <a:pt x="300" y="2462"/>
                    <a:pt x="300" y="2462"/>
                    <a:pt x="300" y="2462"/>
                  </a:cubicBezTo>
                  <a:cubicBezTo>
                    <a:pt x="304" y="2450"/>
                    <a:pt x="299" y="2437"/>
                    <a:pt x="287" y="2432"/>
                  </a:cubicBezTo>
                  <a:cubicBezTo>
                    <a:pt x="275" y="2427"/>
                    <a:pt x="275" y="2427"/>
                    <a:pt x="275" y="2427"/>
                  </a:cubicBezTo>
                  <a:cubicBezTo>
                    <a:pt x="277" y="2416"/>
                    <a:pt x="277" y="2405"/>
                    <a:pt x="275" y="2394"/>
                  </a:cubicBezTo>
                  <a:cubicBezTo>
                    <a:pt x="287" y="2389"/>
                    <a:pt x="287" y="2389"/>
                    <a:pt x="287" y="2389"/>
                  </a:cubicBezTo>
                  <a:cubicBezTo>
                    <a:pt x="299" y="2384"/>
                    <a:pt x="304" y="2371"/>
                    <a:pt x="299" y="2360"/>
                  </a:cubicBezTo>
                  <a:cubicBezTo>
                    <a:pt x="292" y="2342"/>
                    <a:pt x="292" y="2342"/>
                    <a:pt x="292" y="2342"/>
                  </a:cubicBezTo>
                  <a:cubicBezTo>
                    <a:pt x="287" y="2331"/>
                    <a:pt x="274" y="2325"/>
                    <a:pt x="263" y="2330"/>
                  </a:cubicBezTo>
                  <a:cubicBezTo>
                    <a:pt x="251" y="2335"/>
                    <a:pt x="251" y="2335"/>
                    <a:pt x="251" y="2335"/>
                  </a:cubicBezTo>
                  <a:cubicBezTo>
                    <a:pt x="244" y="2326"/>
                    <a:pt x="236" y="2318"/>
                    <a:pt x="227" y="2312"/>
                  </a:cubicBezTo>
                  <a:cubicBezTo>
                    <a:pt x="232" y="2300"/>
                    <a:pt x="232" y="2300"/>
                    <a:pt x="232" y="2300"/>
                  </a:cubicBezTo>
                  <a:cubicBezTo>
                    <a:pt x="237" y="2288"/>
                    <a:pt x="231" y="2275"/>
                    <a:pt x="220" y="2270"/>
                  </a:cubicBezTo>
                  <a:cubicBezTo>
                    <a:pt x="203" y="2263"/>
                    <a:pt x="203" y="2263"/>
                    <a:pt x="203" y="2263"/>
                  </a:cubicBezTo>
                  <a:cubicBezTo>
                    <a:pt x="191" y="2259"/>
                    <a:pt x="178" y="2264"/>
                    <a:pt x="173" y="2276"/>
                  </a:cubicBezTo>
                  <a:cubicBezTo>
                    <a:pt x="168" y="2287"/>
                    <a:pt x="168" y="2287"/>
                    <a:pt x="168" y="2287"/>
                  </a:cubicBezTo>
                  <a:cubicBezTo>
                    <a:pt x="157" y="2286"/>
                    <a:pt x="146" y="2286"/>
                    <a:pt x="135" y="2287"/>
                  </a:cubicBezTo>
                  <a:cubicBezTo>
                    <a:pt x="130" y="2276"/>
                    <a:pt x="130" y="2276"/>
                    <a:pt x="130" y="2276"/>
                  </a:cubicBezTo>
                  <a:cubicBezTo>
                    <a:pt x="125" y="2264"/>
                    <a:pt x="112" y="2259"/>
                    <a:pt x="101" y="2263"/>
                  </a:cubicBezTo>
                  <a:cubicBezTo>
                    <a:pt x="83" y="2271"/>
                    <a:pt x="83" y="2271"/>
                    <a:pt x="83" y="2271"/>
                  </a:cubicBezTo>
                  <a:cubicBezTo>
                    <a:pt x="72" y="2275"/>
                    <a:pt x="66" y="2289"/>
                    <a:pt x="71" y="2300"/>
                  </a:cubicBezTo>
                  <a:cubicBezTo>
                    <a:pt x="76" y="2312"/>
                    <a:pt x="76" y="2312"/>
                    <a:pt x="76" y="2312"/>
                  </a:cubicBezTo>
                  <a:cubicBezTo>
                    <a:pt x="67" y="2319"/>
                    <a:pt x="59" y="2327"/>
                    <a:pt x="53" y="2336"/>
                  </a:cubicBezTo>
                  <a:cubicBezTo>
                    <a:pt x="41" y="2331"/>
                    <a:pt x="41" y="2331"/>
                    <a:pt x="41" y="2331"/>
                  </a:cubicBezTo>
                  <a:cubicBezTo>
                    <a:pt x="29" y="2326"/>
                    <a:pt x="16" y="2331"/>
                    <a:pt x="11" y="2343"/>
                  </a:cubicBezTo>
                  <a:cubicBezTo>
                    <a:pt x="4" y="2360"/>
                    <a:pt x="4" y="2360"/>
                    <a:pt x="4" y="2360"/>
                  </a:cubicBezTo>
                  <a:cubicBezTo>
                    <a:pt x="0" y="2372"/>
                    <a:pt x="5" y="2385"/>
                    <a:pt x="17" y="2390"/>
                  </a:cubicBezTo>
                  <a:cubicBezTo>
                    <a:pt x="28" y="2395"/>
                    <a:pt x="28" y="2395"/>
                    <a:pt x="28" y="2395"/>
                  </a:cubicBezTo>
                  <a:cubicBezTo>
                    <a:pt x="27" y="2405"/>
                    <a:pt x="27" y="2417"/>
                    <a:pt x="29" y="2428"/>
                  </a:cubicBezTo>
                  <a:cubicBezTo>
                    <a:pt x="17" y="2433"/>
                    <a:pt x="17" y="2433"/>
                    <a:pt x="17" y="2433"/>
                  </a:cubicBezTo>
                  <a:cubicBezTo>
                    <a:pt x="5" y="2437"/>
                    <a:pt x="0" y="2451"/>
                    <a:pt x="5" y="2462"/>
                  </a:cubicBezTo>
                  <a:close/>
                  <a:moveTo>
                    <a:pt x="329" y="2191"/>
                  </a:moveTo>
                  <a:cubicBezTo>
                    <a:pt x="330" y="2154"/>
                    <a:pt x="361" y="2125"/>
                    <a:pt x="398" y="2126"/>
                  </a:cubicBezTo>
                  <a:cubicBezTo>
                    <a:pt x="435" y="2127"/>
                    <a:pt x="464" y="2158"/>
                    <a:pt x="463" y="2195"/>
                  </a:cubicBezTo>
                  <a:cubicBezTo>
                    <a:pt x="463" y="2232"/>
                    <a:pt x="432" y="2261"/>
                    <a:pt x="395" y="2260"/>
                  </a:cubicBezTo>
                  <a:cubicBezTo>
                    <a:pt x="358" y="2259"/>
                    <a:pt x="328" y="2228"/>
                    <a:pt x="329" y="2191"/>
                  </a:cubicBezTo>
                  <a:close/>
                  <a:moveTo>
                    <a:pt x="273" y="2183"/>
                  </a:moveTo>
                  <a:cubicBezTo>
                    <a:pt x="273" y="2197"/>
                    <a:pt x="273" y="2197"/>
                    <a:pt x="273" y="2197"/>
                  </a:cubicBezTo>
                  <a:cubicBezTo>
                    <a:pt x="272" y="2207"/>
                    <a:pt x="280" y="2216"/>
                    <a:pt x="290" y="2216"/>
                  </a:cubicBezTo>
                  <a:cubicBezTo>
                    <a:pt x="300" y="2216"/>
                    <a:pt x="300" y="2216"/>
                    <a:pt x="300" y="2216"/>
                  </a:cubicBezTo>
                  <a:cubicBezTo>
                    <a:pt x="302" y="2225"/>
                    <a:pt x="306" y="2233"/>
                    <a:pt x="310" y="2241"/>
                  </a:cubicBezTo>
                  <a:cubicBezTo>
                    <a:pt x="302" y="2248"/>
                    <a:pt x="302" y="2248"/>
                    <a:pt x="302" y="2248"/>
                  </a:cubicBezTo>
                  <a:cubicBezTo>
                    <a:pt x="295" y="2254"/>
                    <a:pt x="295" y="2266"/>
                    <a:pt x="302" y="2273"/>
                  </a:cubicBezTo>
                  <a:cubicBezTo>
                    <a:pt x="312" y="2284"/>
                    <a:pt x="312" y="2284"/>
                    <a:pt x="312" y="2284"/>
                  </a:cubicBezTo>
                  <a:cubicBezTo>
                    <a:pt x="319" y="2291"/>
                    <a:pt x="330" y="2291"/>
                    <a:pt x="337" y="2284"/>
                  </a:cubicBezTo>
                  <a:cubicBezTo>
                    <a:pt x="345" y="2277"/>
                    <a:pt x="345" y="2277"/>
                    <a:pt x="345" y="2277"/>
                  </a:cubicBezTo>
                  <a:cubicBezTo>
                    <a:pt x="352" y="2282"/>
                    <a:pt x="360" y="2285"/>
                    <a:pt x="369" y="2288"/>
                  </a:cubicBezTo>
                  <a:cubicBezTo>
                    <a:pt x="369" y="2298"/>
                    <a:pt x="369" y="2298"/>
                    <a:pt x="369" y="2298"/>
                  </a:cubicBezTo>
                  <a:cubicBezTo>
                    <a:pt x="368" y="2308"/>
                    <a:pt x="376" y="2316"/>
                    <a:pt x="386" y="2316"/>
                  </a:cubicBezTo>
                  <a:cubicBezTo>
                    <a:pt x="401" y="2317"/>
                    <a:pt x="401" y="2317"/>
                    <a:pt x="401" y="2317"/>
                  </a:cubicBezTo>
                  <a:cubicBezTo>
                    <a:pt x="411" y="2317"/>
                    <a:pt x="419" y="2309"/>
                    <a:pt x="419" y="2299"/>
                  </a:cubicBezTo>
                  <a:cubicBezTo>
                    <a:pt x="419" y="2289"/>
                    <a:pt x="419" y="2289"/>
                    <a:pt x="419" y="2289"/>
                  </a:cubicBezTo>
                  <a:cubicBezTo>
                    <a:pt x="428" y="2287"/>
                    <a:pt x="436" y="2284"/>
                    <a:pt x="444" y="2280"/>
                  </a:cubicBezTo>
                  <a:cubicBezTo>
                    <a:pt x="451" y="2287"/>
                    <a:pt x="451" y="2287"/>
                    <a:pt x="451" y="2287"/>
                  </a:cubicBezTo>
                  <a:cubicBezTo>
                    <a:pt x="458" y="2294"/>
                    <a:pt x="469" y="2294"/>
                    <a:pt x="476" y="2288"/>
                  </a:cubicBezTo>
                  <a:cubicBezTo>
                    <a:pt x="487" y="2277"/>
                    <a:pt x="487" y="2277"/>
                    <a:pt x="487" y="2277"/>
                  </a:cubicBezTo>
                  <a:cubicBezTo>
                    <a:pt x="494" y="2271"/>
                    <a:pt x="494" y="2259"/>
                    <a:pt x="488" y="2252"/>
                  </a:cubicBezTo>
                  <a:cubicBezTo>
                    <a:pt x="481" y="2245"/>
                    <a:pt x="481" y="2245"/>
                    <a:pt x="481" y="2245"/>
                  </a:cubicBezTo>
                  <a:cubicBezTo>
                    <a:pt x="485" y="2237"/>
                    <a:pt x="489" y="2229"/>
                    <a:pt x="491" y="2221"/>
                  </a:cubicBezTo>
                  <a:cubicBezTo>
                    <a:pt x="501" y="2221"/>
                    <a:pt x="501" y="2221"/>
                    <a:pt x="501" y="2221"/>
                  </a:cubicBezTo>
                  <a:cubicBezTo>
                    <a:pt x="511" y="2221"/>
                    <a:pt x="520" y="2213"/>
                    <a:pt x="520" y="2203"/>
                  </a:cubicBezTo>
                  <a:cubicBezTo>
                    <a:pt x="520" y="2189"/>
                    <a:pt x="520" y="2189"/>
                    <a:pt x="520" y="2189"/>
                  </a:cubicBezTo>
                  <a:cubicBezTo>
                    <a:pt x="520" y="2179"/>
                    <a:pt x="513" y="2170"/>
                    <a:pt x="503" y="2170"/>
                  </a:cubicBezTo>
                  <a:cubicBezTo>
                    <a:pt x="492" y="2170"/>
                    <a:pt x="492" y="2170"/>
                    <a:pt x="492" y="2170"/>
                  </a:cubicBezTo>
                  <a:cubicBezTo>
                    <a:pt x="490" y="2161"/>
                    <a:pt x="487" y="2153"/>
                    <a:pt x="483" y="2146"/>
                  </a:cubicBezTo>
                  <a:cubicBezTo>
                    <a:pt x="490" y="2139"/>
                    <a:pt x="490" y="2139"/>
                    <a:pt x="490" y="2139"/>
                  </a:cubicBezTo>
                  <a:cubicBezTo>
                    <a:pt x="498" y="2132"/>
                    <a:pt x="498" y="2120"/>
                    <a:pt x="491" y="2113"/>
                  </a:cubicBezTo>
                  <a:cubicBezTo>
                    <a:pt x="481" y="2102"/>
                    <a:pt x="481" y="2102"/>
                    <a:pt x="481" y="2102"/>
                  </a:cubicBezTo>
                  <a:cubicBezTo>
                    <a:pt x="474" y="2095"/>
                    <a:pt x="463" y="2095"/>
                    <a:pt x="455" y="2102"/>
                  </a:cubicBezTo>
                  <a:cubicBezTo>
                    <a:pt x="448" y="2109"/>
                    <a:pt x="448" y="2109"/>
                    <a:pt x="448" y="2109"/>
                  </a:cubicBezTo>
                  <a:cubicBezTo>
                    <a:pt x="441" y="2104"/>
                    <a:pt x="433" y="2101"/>
                    <a:pt x="424" y="2098"/>
                  </a:cubicBezTo>
                  <a:cubicBezTo>
                    <a:pt x="424" y="2088"/>
                    <a:pt x="424" y="2088"/>
                    <a:pt x="424" y="2088"/>
                  </a:cubicBezTo>
                  <a:cubicBezTo>
                    <a:pt x="425" y="2078"/>
                    <a:pt x="417" y="2070"/>
                    <a:pt x="407" y="2070"/>
                  </a:cubicBezTo>
                  <a:cubicBezTo>
                    <a:pt x="392" y="2069"/>
                    <a:pt x="392" y="2069"/>
                    <a:pt x="392" y="2069"/>
                  </a:cubicBezTo>
                  <a:cubicBezTo>
                    <a:pt x="382" y="2069"/>
                    <a:pt x="374" y="2077"/>
                    <a:pt x="374" y="2087"/>
                  </a:cubicBezTo>
                  <a:cubicBezTo>
                    <a:pt x="373" y="2097"/>
                    <a:pt x="373" y="2097"/>
                    <a:pt x="373" y="2097"/>
                  </a:cubicBezTo>
                  <a:cubicBezTo>
                    <a:pt x="365" y="2099"/>
                    <a:pt x="357" y="2102"/>
                    <a:pt x="349" y="2106"/>
                  </a:cubicBezTo>
                  <a:cubicBezTo>
                    <a:pt x="342" y="2099"/>
                    <a:pt x="342" y="2099"/>
                    <a:pt x="342" y="2099"/>
                  </a:cubicBezTo>
                  <a:cubicBezTo>
                    <a:pt x="335" y="2092"/>
                    <a:pt x="324" y="2092"/>
                    <a:pt x="317" y="2098"/>
                  </a:cubicBezTo>
                  <a:cubicBezTo>
                    <a:pt x="306" y="2109"/>
                    <a:pt x="306" y="2109"/>
                    <a:pt x="306" y="2109"/>
                  </a:cubicBezTo>
                  <a:cubicBezTo>
                    <a:pt x="299" y="2115"/>
                    <a:pt x="298" y="2127"/>
                    <a:pt x="305" y="2134"/>
                  </a:cubicBezTo>
                  <a:cubicBezTo>
                    <a:pt x="312" y="2141"/>
                    <a:pt x="312" y="2141"/>
                    <a:pt x="312" y="2141"/>
                  </a:cubicBezTo>
                  <a:cubicBezTo>
                    <a:pt x="308" y="2149"/>
                    <a:pt x="304" y="2157"/>
                    <a:pt x="302" y="2165"/>
                  </a:cubicBezTo>
                  <a:cubicBezTo>
                    <a:pt x="291" y="2165"/>
                    <a:pt x="291" y="2165"/>
                    <a:pt x="291" y="2165"/>
                  </a:cubicBezTo>
                  <a:cubicBezTo>
                    <a:pt x="282" y="2165"/>
                    <a:pt x="273" y="2173"/>
                    <a:pt x="273" y="2183"/>
                  </a:cubicBezTo>
                  <a:close/>
                  <a:moveTo>
                    <a:pt x="1184" y="282"/>
                  </a:moveTo>
                  <a:cubicBezTo>
                    <a:pt x="1184" y="282"/>
                    <a:pt x="1181" y="262"/>
                    <a:pt x="1185" y="249"/>
                  </a:cubicBezTo>
                  <a:cubicBezTo>
                    <a:pt x="1194" y="222"/>
                    <a:pt x="1247" y="185"/>
                    <a:pt x="1245" y="134"/>
                  </a:cubicBezTo>
                  <a:cubicBezTo>
                    <a:pt x="1244" y="82"/>
                    <a:pt x="1212" y="0"/>
                    <a:pt x="1111" y="15"/>
                  </a:cubicBezTo>
                  <a:cubicBezTo>
                    <a:pt x="1016" y="29"/>
                    <a:pt x="994" y="117"/>
                    <a:pt x="1011" y="166"/>
                  </a:cubicBezTo>
                  <a:cubicBezTo>
                    <a:pt x="1033" y="227"/>
                    <a:pt x="1084" y="225"/>
                    <a:pt x="1105" y="255"/>
                  </a:cubicBezTo>
                  <a:cubicBezTo>
                    <a:pt x="1109" y="260"/>
                    <a:pt x="1116" y="292"/>
                    <a:pt x="1116" y="292"/>
                  </a:cubicBezTo>
                  <a:cubicBezTo>
                    <a:pt x="1184" y="282"/>
                    <a:pt x="1184" y="282"/>
                    <a:pt x="1184" y="282"/>
                  </a:cubicBezTo>
                  <a:close/>
                  <a:moveTo>
                    <a:pt x="1200" y="295"/>
                  </a:moveTo>
                  <a:cubicBezTo>
                    <a:pt x="1201" y="304"/>
                    <a:pt x="1195" y="312"/>
                    <a:pt x="1187" y="314"/>
                  </a:cubicBezTo>
                  <a:cubicBezTo>
                    <a:pt x="1120" y="324"/>
                    <a:pt x="1120" y="324"/>
                    <a:pt x="1120" y="324"/>
                  </a:cubicBezTo>
                  <a:cubicBezTo>
                    <a:pt x="1112" y="325"/>
                    <a:pt x="1103" y="319"/>
                    <a:pt x="1102" y="310"/>
                  </a:cubicBezTo>
                  <a:cubicBezTo>
                    <a:pt x="1101" y="302"/>
                    <a:pt x="1107" y="293"/>
                    <a:pt x="1116" y="292"/>
                  </a:cubicBezTo>
                  <a:cubicBezTo>
                    <a:pt x="1182" y="282"/>
                    <a:pt x="1182" y="282"/>
                    <a:pt x="1182" y="282"/>
                  </a:cubicBezTo>
                  <a:cubicBezTo>
                    <a:pt x="1191" y="281"/>
                    <a:pt x="1199" y="287"/>
                    <a:pt x="1200" y="295"/>
                  </a:cubicBezTo>
                  <a:close/>
                  <a:moveTo>
                    <a:pt x="1205" y="327"/>
                  </a:moveTo>
                  <a:cubicBezTo>
                    <a:pt x="1206" y="336"/>
                    <a:pt x="1200" y="344"/>
                    <a:pt x="1191" y="345"/>
                  </a:cubicBezTo>
                  <a:cubicBezTo>
                    <a:pt x="1125" y="355"/>
                    <a:pt x="1125" y="355"/>
                    <a:pt x="1125" y="355"/>
                  </a:cubicBezTo>
                  <a:cubicBezTo>
                    <a:pt x="1116" y="357"/>
                    <a:pt x="1108" y="351"/>
                    <a:pt x="1107" y="342"/>
                  </a:cubicBezTo>
                  <a:cubicBezTo>
                    <a:pt x="1106" y="333"/>
                    <a:pt x="1112" y="325"/>
                    <a:pt x="1120" y="324"/>
                  </a:cubicBezTo>
                  <a:cubicBezTo>
                    <a:pt x="1187" y="314"/>
                    <a:pt x="1187" y="314"/>
                    <a:pt x="1187" y="314"/>
                  </a:cubicBezTo>
                  <a:cubicBezTo>
                    <a:pt x="1195" y="312"/>
                    <a:pt x="1204" y="318"/>
                    <a:pt x="1205" y="327"/>
                  </a:cubicBezTo>
                  <a:close/>
                  <a:moveTo>
                    <a:pt x="1162" y="375"/>
                  </a:moveTo>
                  <a:cubicBezTo>
                    <a:pt x="1180" y="373"/>
                    <a:pt x="1192" y="359"/>
                    <a:pt x="1190" y="345"/>
                  </a:cubicBezTo>
                  <a:cubicBezTo>
                    <a:pt x="1127" y="355"/>
                    <a:pt x="1127" y="355"/>
                    <a:pt x="1127" y="355"/>
                  </a:cubicBezTo>
                  <a:cubicBezTo>
                    <a:pt x="1129" y="369"/>
                    <a:pt x="1145" y="378"/>
                    <a:pt x="1162" y="375"/>
                  </a:cubicBezTo>
                  <a:close/>
                  <a:moveTo>
                    <a:pt x="1142" y="285"/>
                  </a:moveTo>
                  <a:cubicBezTo>
                    <a:pt x="1076" y="127"/>
                    <a:pt x="1076" y="127"/>
                    <a:pt x="1076" y="127"/>
                  </a:cubicBezTo>
                  <a:cubicBezTo>
                    <a:pt x="1114" y="142"/>
                    <a:pt x="1114" y="142"/>
                    <a:pt x="1114" y="142"/>
                  </a:cubicBezTo>
                  <a:cubicBezTo>
                    <a:pt x="1123" y="104"/>
                    <a:pt x="1123" y="104"/>
                    <a:pt x="1123" y="104"/>
                  </a:cubicBezTo>
                  <a:cubicBezTo>
                    <a:pt x="1141" y="136"/>
                    <a:pt x="1141" y="136"/>
                    <a:pt x="1141" y="136"/>
                  </a:cubicBezTo>
                  <a:cubicBezTo>
                    <a:pt x="1175" y="107"/>
                    <a:pt x="1175" y="107"/>
                    <a:pt x="1175" y="107"/>
                  </a:cubicBezTo>
                  <a:cubicBezTo>
                    <a:pt x="1159" y="285"/>
                    <a:pt x="1159" y="285"/>
                    <a:pt x="1159" y="285"/>
                  </a:cubicBezTo>
                  <a:moveTo>
                    <a:pt x="2872" y="863"/>
                  </a:moveTo>
                  <a:cubicBezTo>
                    <a:pt x="3136" y="863"/>
                    <a:pt x="3136" y="863"/>
                    <a:pt x="3136" y="863"/>
                  </a:cubicBezTo>
                  <a:cubicBezTo>
                    <a:pt x="3162" y="863"/>
                    <a:pt x="3183" y="884"/>
                    <a:pt x="3183" y="911"/>
                  </a:cubicBezTo>
                  <a:cubicBezTo>
                    <a:pt x="3183" y="1080"/>
                    <a:pt x="3183" y="1080"/>
                    <a:pt x="3183" y="1080"/>
                  </a:cubicBezTo>
                  <a:cubicBezTo>
                    <a:pt x="3183" y="1106"/>
                    <a:pt x="3162" y="1128"/>
                    <a:pt x="3136" y="1128"/>
                  </a:cubicBezTo>
                  <a:cubicBezTo>
                    <a:pt x="2973" y="1128"/>
                    <a:pt x="2973" y="1128"/>
                    <a:pt x="2973" y="1128"/>
                  </a:cubicBezTo>
                  <a:cubicBezTo>
                    <a:pt x="2895" y="1206"/>
                    <a:pt x="2895" y="1206"/>
                    <a:pt x="2895" y="1206"/>
                  </a:cubicBezTo>
                  <a:cubicBezTo>
                    <a:pt x="2895" y="1128"/>
                    <a:pt x="2895" y="1128"/>
                    <a:pt x="2895" y="1128"/>
                  </a:cubicBezTo>
                  <a:cubicBezTo>
                    <a:pt x="2872" y="1128"/>
                    <a:pt x="2872" y="1128"/>
                    <a:pt x="2872" y="1128"/>
                  </a:cubicBezTo>
                  <a:cubicBezTo>
                    <a:pt x="2845" y="1128"/>
                    <a:pt x="2824" y="1106"/>
                    <a:pt x="2824" y="1080"/>
                  </a:cubicBezTo>
                  <a:cubicBezTo>
                    <a:pt x="2824" y="911"/>
                    <a:pt x="2824" y="911"/>
                    <a:pt x="2824" y="911"/>
                  </a:cubicBezTo>
                  <a:cubicBezTo>
                    <a:pt x="2824" y="884"/>
                    <a:pt x="2845" y="863"/>
                    <a:pt x="2872" y="863"/>
                  </a:cubicBezTo>
                  <a:close/>
                  <a:moveTo>
                    <a:pt x="3069" y="998"/>
                  </a:moveTo>
                  <a:cubicBezTo>
                    <a:pt x="3069" y="1015"/>
                    <a:pt x="3082" y="1028"/>
                    <a:pt x="3099" y="1028"/>
                  </a:cubicBezTo>
                  <a:cubicBezTo>
                    <a:pt x="3115" y="1028"/>
                    <a:pt x="3128" y="1015"/>
                    <a:pt x="3128" y="998"/>
                  </a:cubicBezTo>
                  <a:cubicBezTo>
                    <a:pt x="3128" y="982"/>
                    <a:pt x="3115" y="969"/>
                    <a:pt x="3099" y="969"/>
                  </a:cubicBezTo>
                  <a:cubicBezTo>
                    <a:pt x="3082" y="969"/>
                    <a:pt x="3069" y="982"/>
                    <a:pt x="3069" y="998"/>
                  </a:cubicBezTo>
                  <a:close/>
                  <a:moveTo>
                    <a:pt x="2974" y="998"/>
                  </a:moveTo>
                  <a:cubicBezTo>
                    <a:pt x="2974" y="1015"/>
                    <a:pt x="2988" y="1028"/>
                    <a:pt x="3004" y="1028"/>
                  </a:cubicBezTo>
                  <a:cubicBezTo>
                    <a:pt x="3020" y="1028"/>
                    <a:pt x="3033" y="1015"/>
                    <a:pt x="3033" y="998"/>
                  </a:cubicBezTo>
                  <a:cubicBezTo>
                    <a:pt x="3033" y="982"/>
                    <a:pt x="3020" y="969"/>
                    <a:pt x="3004" y="969"/>
                  </a:cubicBezTo>
                  <a:cubicBezTo>
                    <a:pt x="2988" y="969"/>
                    <a:pt x="2974" y="982"/>
                    <a:pt x="2974" y="998"/>
                  </a:cubicBezTo>
                  <a:close/>
                  <a:moveTo>
                    <a:pt x="2880" y="998"/>
                  </a:moveTo>
                  <a:cubicBezTo>
                    <a:pt x="2880" y="1015"/>
                    <a:pt x="2893" y="1028"/>
                    <a:pt x="2909" y="1028"/>
                  </a:cubicBezTo>
                  <a:cubicBezTo>
                    <a:pt x="2925" y="1028"/>
                    <a:pt x="2938" y="1015"/>
                    <a:pt x="2938" y="998"/>
                  </a:cubicBezTo>
                  <a:cubicBezTo>
                    <a:pt x="2938" y="982"/>
                    <a:pt x="2925" y="969"/>
                    <a:pt x="2909" y="969"/>
                  </a:cubicBezTo>
                  <a:cubicBezTo>
                    <a:pt x="2893" y="969"/>
                    <a:pt x="2880" y="982"/>
                    <a:pt x="2880" y="998"/>
                  </a:cubicBezTo>
                  <a:close/>
                  <a:moveTo>
                    <a:pt x="2685" y="29"/>
                  </a:moveTo>
                  <a:cubicBezTo>
                    <a:pt x="2751" y="127"/>
                    <a:pt x="2751" y="127"/>
                    <a:pt x="2751" y="127"/>
                  </a:cubicBezTo>
                  <a:cubicBezTo>
                    <a:pt x="2860" y="110"/>
                    <a:pt x="2860" y="110"/>
                    <a:pt x="2860" y="110"/>
                  </a:cubicBezTo>
                  <a:cubicBezTo>
                    <a:pt x="2794" y="207"/>
                    <a:pt x="2794" y="207"/>
                    <a:pt x="2794" y="207"/>
                  </a:cubicBezTo>
                  <a:cubicBezTo>
                    <a:pt x="2830" y="313"/>
                    <a:pt x="2830" y="313"/>
                    <a:pt x="2830" y="313"/>
                  </a:cubicBezTo>
                  <a:cubicBezTo>
                    <a:pt x="2725" y="277"/>
                    <a:pt x="2725" y="277"/>
                    <a:pt x="2725" y="277"/>
                  </a:cubicBezTo>
                  <a:cubicBezTo>
                    <a:pt x="2636" y="344"/>
                    <a:pt x="2636" y="344"/>
                    <a:pt x="2636" y="344"/>
                  </a:cubicBezTo>
                  <a:cubicBezTo>
                    <a:pt x="2637" y="232"/>
                    <a:pt x="2637" y="232"/>
                    <a:pt x="2637" y="232"/>
                  </a:cubicBezTo>
                  <a:cubicBezTo>
                    <a:pt x="2545" y="160"/>
                    <a:pt x="2545" y="160"/>
                    <a:pt x="2545" y="160"/>
                  </a:cubicBezTo>
                  <a:cubicBezTo>
                    <a:pt x="2654" y="143"/>
                    <a:pt x="2654" y="143"/>
                    <a:pt x="2654" y="143"/>
                  </a:cubicBezTo>
                  <a:cubicBezTo>
                    <a:pt x="2685" y="29"/>
                    <a:pt x="2685" y="29"/>
                    <a:pt x="2685" y="29"/>
                  </a:cubicBezTo>
                  <a:close/>
                  <a:moveTo>
                    <a:pt x="1477" y="3019"/>
                  </a:moveTo>
                  <a:cubicBezTo>
                    <a:pt x="1416" y="3121"/>
                    <a:pt x="1416" y="3121"/>
                    <a:pt x="1416" y="3121"/>
                  </a:cubicBezTo>
                  <a:cubicBezTo>
                    <a:pt x="1479" y="3211"/>
                    <a:pt x="1479" y="3211"/>
                    <a:pt x="1479" y="3211"/>
                  </a:cubicBezTo>
                  <a:cubicBezTo>
                    <a:pt x="1364" y="3195"/>
                    <a:pt x="1364" y="3195"/>
                    <a:pt x="1364" y="3195"/>
                  </a:cubicBezTo>
                  <a:cubicBezTo>
                    <a:pt x="1284" y="3273"/>
                    <a:pt x="1284" y="3273"/>
                    <a:pt x="1284" y="3273"/>
                  </a:cubicBezTo>
                  <a:cubicBezTo>
                    <a:pt x="1271" y="3163"/>
                    <a:pt x="1271" y="3163"/>
                    <a:pt x="1271" y="3163"/>
                  </a:cubicBezTo>
                  <a:cubicBezTo>
                    <a:pt x="1172" y="3111"/>
                    <a:pt x="1172" y="3111"/>
                    <a:pt x="1172" y="3111"/>
                  </a:cubicBezTo>
                  <a:cubicBezTo>
                    <a:pt x="1273" y="3064"/>
                    <a:pt x="1273" y="3064"/>
                    <a:pt x="1273" y="3064"/>
                  </a:cubicBezTo>
                  <a:cubicBezTo>
                    <a:pt x="1297" y="2950"/>
                    <a:pt x="1297" y="2950"/>
                    <a:pt x="1297" y="2950"/>
                  </a:cubicBezTo>
                  <a:cubicBezTo>
                    <a:pt x="1360" y="3040"/>
                    <a:pt x="1360" y="3040"/>
                    <a:pt x="1360" y="3040"/>
                  </a:cubicBezTo>
                  <a:cubicBezTo>
                    <a:pt x="1477" y="3019"/>
                    <a:pt x="1477" y="3019"/>
                    <a:pt x="1477" y="3019"/>
                  </a:cubicBezTo>
                  <a:close/>
                  <a:moveTo>
                    <a:pt x="3225" y="1352"/>
                  </a:moveTo>
                  <a:cubicBezTo>
                    <a:pt x="3145" y="1440"/>
                    <a:pt x="3145" y="1440"/>
                    <a:pt x="3145" y="1440"/>
                  </a:cubicBezTo>
                  <a:cubicBezTo>
                    <a:pt x="3188" y="1541"/>
                    <a:pt x="3188" y="1541"/>
                    <a:pt x="3188" y="1541"/>
                  </a:cubicBezTo>
                  <a:cubicBezTo>
                    <a:pt x="3078" y="1502"/>
                    <a:pt x="3078" y="1502"/>
                    <a:pt x="3078" y="1502"/>
                  </a:cubicBezTo>
                  <a:cubicBezTo>
                    <a:pt x="2985" y="1562"/>
                    <a:pt x="2985" y="1562"/>
                    <a:pt x="2985" y="1562"/>
                  </a:cubicBezTo>
                  <a:cubicBezTo>
                    <a:pt x="2994" y="1451"/>
                    <a:pt x="2994" y="1451"/>
                    <a:pt x="2994" y="1451"/>
                  </a:cubicBezTo>
                  <a:cubicBezTo>
                    <a:pt x="2908" y="1381"/>
                    <a:pt x="2908" y="1381"/>
                    <a:pt x="2908" y="1381"/>
                  </a:cubicBezTo>
                  <a:cubicBezTo>
                    <a:pt x="3016" y="1355"/>
                    <a:pt x="3016" y="1355"/>
                    <a:pt x="3016" y="1355"/>
                  </a:cubicBezTo>
                  <a:cubicBezTo>
                    <a:pt x="3064" y="1248"/>
                    <a:pt x="3064" y="1248"/>
                    <a:pt x="3064" y="1248"/>
                  </a:cubicBezTo>
                  <a:cubicBezTo>
                    <a:pt x="3107" y="1349"/>
                    <a:pt x="3107" y="1349"/>
                    <a:pt x="3107" y="1349"/>
                  </a:cubicBezTo>
                  <a:cubicBezTo>
                    <a:pt x="3225" y="1352"/>
                    <a:pt x="3225" y="1352"/>
                    <a:pt x="3225" y="1352"/>
                  </a:cubicBezTo>
                  <a:close/>
                  <a:moveTo>
                    <a:pt x="2092" y="3112"/>
                  </a:moveTo>
                  <a:cubicBezTo>
                    <a:pt x="2103" y="3102"/>
                    <a:pt x="2119" y="3102"/>
                    <a:pt x="2129" y="3112"/>
                  </a:cubicBezTo>
                  <a:cubicBezTo>
                    <a:pt x="2139" y="3123"/>
                    <a:pt x="2139" y="3139"/>
                    <a:pt x="2128" y="3149"/>
                  </a:cubicBezTo>
                  <a:cubicBezTo>
                    <a:pt x="2118" y="3159"/>
                    <a:pt x="2101" y="3159"/>
                    <a:pt x="2092" y="3148"/>
                  </a:cubicBezTo>
                  <a:cubicBezTo>
                    <a:pt x="2082" y="3138"/>
                    <a:pt x="2082" y="3122"/>
                    <a:pt x="2092" y="3112"/>
                  </a:cubicBezTo>
                  <a:close/>
                  <a:moveTo>
                    <a:pt x="2006" y="3194"/>
                  </a:moveTo>
                  <a:cubicBezTo>
                    <a:pt x="2017" y="3184"/>
                    <a:pt x="2033" y="3185"/>
                    <a:pt x="2043" y="3195"/>
                  </a:cubicBezTo>
                  <a:cubicBezTo>
                    <a:pt x="2053" y="3205"/>
                    <a:pt x="2053" y="3222"/>
                    <a:pt x="2042" y="3232"/>
                  </a:cubicBezTo>
                  <a:cubicBezTo>
                    <a:pt x="2032" y="3242"/>
                    <a:pt x="2016" y="3241"/>
                    <a:pt x="2006" y="3231"/>
                  </a:cubicBezTo>
                  <a:cubicBezTo>
                    <a:pt x="1996" y="3221"/>
                    <a:pt x="1996" y="3204"/>
                    <a:pt x="2006" y="3194"/>
                  </a:cubicBezTo>
                  <a:close/>
                  <a:moveTo>
                    <a:pt x="1839" y="3356"/>
                  </a:moveTo>
                  <a:cubicBezTo>
                    <a:pt x="1849" y="3346"/>
                    <a:pt x="1865" y="3346"/>
                    <a:pt x="1875" y="3357"/>
                  </a:cubicBezTo>
                  <a:cubicBezTo>
                    <a:pt x="1885" y="3367"/>
                    <a:pt x="1885" y="3383"/>
                    <a:pt x="1875" y="3393"/>
                  </a:cubicBezTo>
                  <a:cubicBezTo>
                    <a:pt x="1864" y="3403"/>
                    <a:pt x="1848" y="3403"/>
                    <a:pt x="1838" y="3393"/>
                  </a:cubicBezTo>
                  <a:cubicBezTo>
                    <a:pt x="1828" y="3382"/>
                    <a:pt x="1828" y="3366"/>
                    <a:pt x="1839" y="3356"/>
                  </a:cubicBezTo>
                  <a:close/>
                  <a:moveTo>
                    <a:pt x="1950" y="2964"/>
                  </a:moveTo>
                  <a:cubicBezTo>
                    <a:pt x="1960" y="2954"/>
                    <a:pt x="1977" y="2954"/>
                    <a:pt x="1987" y="2964"/>
                  </a:cubicBezTo>
                  <a:cubicBezTo>
                    <a:pt x="1996" y="2975"/>
                    <a:pt x="1996" y="2991"/>
                    <a:pt x="1986" y="3001"/>
                  </a:cubicBezTo>
                  <a:cubicBezTo>
                    <a:pt x="1975" y="3011"/>
                    <a:pt x="1959" y="3011"/>
                    <a:pt x="1949" y="3000"/>
                  </a:cubicBezTo>
                  <a:cubicBezTo>
                    <a:pt x="1939" y="2990"/>
                    <a:pt x="1939" y="2974"/>
                    <a:pt x="1950" y="2964"/>
                  </a:cubicBezTo>
                  <a:close/>
                  <a:moveTo>
                    <a:pt x="2064" y="2993"/>
                  </a:moveTo>
                  <a:cubicBezTo>
                    <a:pt x="2074" y="2983"/>
                    <a:pt x="2091" y="2984"/>
                    <a:pt x="2101" y="2994"/>
                  </a:cubicBezTo>
                  <a:cubicBezTo>
                    <a:pt x="2111" y="3004"/>
                    <a:pt x="2111" y="3021"/>
                    <a:pt x="2100" y="3031"/>
                  </a:cubicBezTo>
                  <a:cubicBezTo>
                    <a:pt x="2090" y="3041"/>
                    <a:pt x="2073" y="3040"/>
                    <a:pt x="2063" y="3030"/>
                  </a:cubicBezTo>
                  <a:cubicBezTo>
                    <a:pt x="2054" y="3020"/>
                    <a:pt x="2054" y="3003"/>
                    <a:pt x="2064" y="2993"/>
                  </a:cubicBezTo>
                  <a:close/>
                  <a:moveTo>
                    <a:pt x="1886" y="3165"/>
                  </a:moveTo>
                  <a:cubicBezTo>
                    <a:pt x="1896" y="3155"/>
                    <a:pt x="1913" y="3155"/>
                    <a:pt x="1923" y="3165"/>
                  </a:cubicBezTo>
                  <a:cubicBezTo>
                    <a:pt x="1933" y="3176"/>
                    <a:pt x="1933" y="3192"/>
                    <a:pt x="1922" y="3202"/>
                  </a:cubicBezTo>
                  <a:cubicBezTo>
                    <a:pt x="1912" y="3212"/>
                    <a:pt x="1895" y="3212"/>
                    <a:pt x="1885" y="3201"/>
                  </a:cubicBezTo>
                  <a:cubicBezTo>
                    <a:pt x="1876" y="3191"/>
                    <a:pt x="1876" y="3175"/>
                    <a:pt x="1886" y="3165"/>
                  </a:cubicBezTo>
                  <a:close/>
                  <a:moveTo>
                    <a:pt x="1803" y="3244"/>
                  </a:moveTo>
                  <a:cubicBezTo>
                    <a:pt x="1814" y="3234"/>
                    <a:pt x="1830" y="3235"/>
                    <a:pt x="1840" y="3245"/>
                  </a:cubicBezTo>
                  <a:cubicBezTo>
                    <a:pt x="1850" y="3255"/>
                    <a:pt x="1850" y="3272"/>
                    <a:pt x="1839" y="3282"/>
                  </a:cubicBezTo>
                  <a:cubicBezTo>
                    <a:pt x="1829" y="3292"/>
                    <a:pt x="1813" y="3291"/>
                    <a:pt x="1803" y="3281"/>
                  </a:cubicBezTo>
                  <a:cubicBezTo>
                    <a:pt x="1793" y="3271"/>
                    <a:pt x="1793" y="3254"/>
                    <a:pt x="1803" y="3244"/>
                  </a:cubicBezTo>
                  <a:close/>
                  <a:moveTo>
                    <a:pt x="1864" y="3046"/>
                  </a:moveTo>
                  <a:cubicBezTo>
                    <a:pt x="1874" y="3036"/>
                    <a:pt x="1891" y="3037"/>
                    <a:pt x="1901" y="3047"/>
                  </a:cubicBezTo>
                  <a:cubicBezTo>
                    <a:pt x="1911" y="3057"/>
                    <a:pt x="1910" y="3074"/>
                    <a:pt x="1900" y="3084"/>
                  </a:cubicBezTo>
                  <a:cubicBezTo>
                    <a:pt x="1890" y="3094"/>
                    <a:pt x="1873" y="3093"/>
                    <a:pt x="1863" y="3083"/>
                  </a:cubicBezTo>
                  <a:cubicBezTo>
                    <a:pt x="1853" y="3073"/>
                    <a:pt x="1854" y="3056"/>
                    <a:pt x="1864" y="3046"/>
                  </a:cubicBezTo>
                  <a:close/>
                  <a:moveTo>
                    <a:pt x="1696" y="3208"/>
                  </a:moveTo>
                  <a:cubicBezTo>
                    <a:pt x="1706" y="3198"/>
                    <a:pt x="1723" y="3198"/>
                    <a:pt x="1733" y="3209"/>
                  </a:cubicBezTo>
                  <a:cubicBezTo>
                    <a:pt x="1743" y="3219"/>
                    <a:pt x="1742" y="3235"/>
                    <a:pt x="1732" y="3245"/>
                  </a:cubicBezTo>
                  <a:cubicBezTo>
                    <a:pt x="1722" y="3255"/>
                    <a:pt x="1705" y="3255"/>
                    <a:pt x="1695" y="3245"/>
                  </a:cubicBezTo>
                  <a:cubicBezTo>
                    <a:pt x="1686" y="3234"/>
                    <a:pt x="1686" y="3218"/>
                    <a:pt x="1696" y="3208"/>
                  </a:cubicBezTo>
                  <a:close/>
                  <a:moveTo>
                    <a:pt x="1794" y="3255"/>
                  </a:moveTo>
                  <a:cubicBezTo>
                    <a:pt x="1769" y="3248"/>
                    <a:pt x="1737" y="3238"/>
                    <a:pt x="1737" y="3238"/>
                  </a:cubicBezTo>
                  <a:moveTo>
                    <a:pt x="1849" y="3350"/>
                  </a:moveTo>
                  <a:cubicBezTo>
                    <a:pt x="1849" y="3350"/>
                    <a:pt x="1838" y="3315"/>
                    <a:pt x="1830" y="3290"/>
                  </a:cubicBezTo>
                  <a:moveTo>
                    <a:pt x="1889" y="3091"/>
                  </a:moveTo>
                  <a:cubicBezTo>
                    <a:pt x="1894" y="3111"/>
                    <a:pt x="1901" y="3139"/>
                    <a:pt x="1906" y="3158"/>
                  </a:cubicBezTo>
                  <a:moveTo>
                    <a:pt x="1949" y="3000"/>
                  </a:moveTo>
                  <a:cubicBezTo>
                    <a:pt x="1935" y="3014"/>
                    <a:pt x="1917" y="3031"/>
                    <a:pt x="1903" y="3045"/>
                  </a:cubicBezTo>
                  <a:moveTo>
                    <a:pt x="2056" y="3005"/>
                  </a:moveTo>
                  <a:cubicBezTo>
                    <a:pt x="2037" y="3000"/>
                    <a:pt x="2013" y="2994"/>
                    <a:pt x="1994" y="2989"/>
                  </a:cubicBezTo>
                  <a:moveTo>
                    <a:pt x="2104" y="3103"/>
                  </a:moveTo>
                  <a:cubicBezTo>
                    <a:pt x="2099" y="3083"/>
                    <a:pt x="2093" y="3057"/>
                    <a:pt x="2088" y="3038"/>
                  </a:cubicBezTo>
                  <a:moveTo>
                    <a:pt x="2045" y="3193"/>
                  </a:moveTo>
                  <a:cubicBezTo>
                    <a:pt x="2059" y="3179"/>
                    <a:pt x="2078" y="3162"/>
                    <a:pt x="2091" y="3149"/>
                  </a:cubicBezTo>
                  <a:moveTo>
                    <a:pt x="1932" y="3186"/>
                  </a:moveTo>
                  <a:cubicBezTo>
                    <a:pt x="1951" y="3191"/>
                    <a:pt x="1978" y="3199"/>
                    <a:pt x="1998" y="3205"/>
                  </a:cubicBezTo>
                  <a:moveTo>
                    <a:pt x="1840" y="3245"/>
                  </a:moveTo>
                  <a:cubicBezTo>
                    <a:pt x="1885" y="3201"/>
                    <a:pt x="1885" y="3201"/>
                    <a:pt x="1885" y="3201"/>
                  </a:cubicBezTo>
                  <a:moveTo>
                    <a:pt x="1635" y="523"/>
                  </a:moveTo>
                  <a:cubicBezTo>
                    <a:pt x="1635" y="523"/>
                    <a:pt x="1635" y="523"/>
                    <a:pt x="1635" y="523"/>
                  </a:cubicBezTo>
                  <a:cubicBezTo>
                    <a:pt x="1635" y="523"/>
                    <a:pt x="1635" y="523"/>
                    <a:pt x="1635" y="523"/>
                  </a:cubicBezTo>
                  <a:close/>
                  <a:moveTo>
                    <a:pt x="1631" y="524"/>
                  </a:moveTo>
                  <a:cubicBezTo>
                    <a:pt x="1631" y="524"/>
                    <a:pt x="1631" y="524"/>
                    <a:pt x="1631" y="524"/>
                  </a:cubicBezTo>
                  <a:cubicBezTo>
                    <a:pt x="1631" y="524"/>
                    <a:pt x="1631" y="524"/>
                    <a:pt x="1631" y="524"/>
                  </a:cubicBezTo>
                  <a:close/>
                  <a:moveTo>
                    <a:pt x="1681" y="513"/>
                  </a:moveTo>
                  <a:cubicBezTo>
                    <a:pt x="1653" y="522"/>
                    <a:pt x="1631" y="525"/>
                    <a:pt x="1631" y="525"/>
                  </a:cubicBezTo>
                  <a:cubicBezTo>
                    <a:pt x="1625" y="525"/>
                    <a:pt x="1612" y="524"/>
                    <a:pt x="1584" y="519"/>
                  </a:cubicBezTo>
                  <a:cubicBezTo>
                    <a:pt x="1539" y="511"/>
                    <a:pt x="1476" y="554"/>
                    <a:pt x="1481" y="638"/>
                  </a:cubicBezTo>
                  <a:cubicBezTo>
                    <a:pt x="1484" y="703"/>
                    <a:pt x="1552" y="806"/>
                    <a:pt x="1602" y="803"/>
                  </a:cubicBezTo>
                  <a:cubicBezTo>
                    <a:pt x="1614" y="802"/>
                    <a:pt x="1639" y="788"/>
                    <a:pt x="1649" y="787"/>
                  </a:cubicBezTo>
                  <a:cubicBezTo>
                    <a:pt x="1658" y="787"/>
                    <a:pt x="1685" y="798"/>
                    <a:pt x="1696" y="797"/>
                  </a:cubicBezTo>
                  <a:cubicBezTo>
                    <a:pt x="1747" y="794"/>
                    <a:pt x="1802" y="683"/>
                    <a:pt x="1798" y="619"/>
                  </a:cubicBezTo>
                  <a:cubicBezTo>
                    <a:pt x="1792" y="535"/>
                    <a:pt x="1725" y="500"/>
                    <a:pt x="1681" y="513"/>
                  </a:cubicBezTo>
                  <a:close/>
                  <a:moveTo>
                    <a:pt x="1635" y="523"/>
                  </a:moveTo>
                  <a:cubicBezTo>
                    <a:pt x="1635" y="523"/>
                    <a:pt x="1651" y="459"/>
                    <a:pt x="1601" y="413"/>
                  </a:cubicBezTo>
                  <a:moveTo>
                    <a:pt x="1635" y="468"/>
                  </a:moveTo>
                  <a:cubicBezTo>
                    <a:pt x="1672" y="437"/>
                    <a:pt x="1672" y="437"/>
                    <a:pt x="1672" y="437"/>
                  </a:cubicBezTo>
                  <a:cubicBezTo>
                    <a:pt x="1672" y="437"/>
                    <a:pt x="1662" y="412"/>
                    <a:pt x="1678" y="387"/>
                  </a:cubicBezTo>
                  <a:cubicBezTo>
                    <a:pt x="1700" y="352"/>
                    <a:pt x="1763" y="353"/>
                    <a:pt x="1763" y="353"/>
                  </a:cubicBezTo>
                  <a:cubicBezTo>
                    <a:pt x="1763" y="353"/>
                    <a:pt x="1768" y="416"/>
                    <a:pt x="1725" y="436"/>
                  </a:cubicBezTo>
                  <a:cubicBezTo>
                    <a:pt x="1699" y="447"/>
                    <a:pt x="1672" y="437"/>
                    <a:pt x="1672" y="437"/>
                  </a:cubicBezTo>
                </a:path>
              </a:pathLst>
            </a:custGeom>
            <a:noFill/>
            <a:ln w="7938"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40" name="iŝľïḋe">
              <a:extLst>
                <a:ext uri="{FF2B5EF4-FFF2-40B4-BE49-F238E27FC236}">
                  <a16:creationId xmlns:a16="http://schemas.microsoft.com/office/drawing/2014/main" id="{EA3B6516-B23B-44E4-8F31-F9EEA9C724E3}"/>
                </a:ext>
              </a:extLst>
            </p:cNvPr>
            <p:cNvSpPr/>
            <p:nvPr/>
          </p:nvSpPr>
          <p:spPr bwMode="auto">
            <a:xfrm>
              <a:off x="16353014" y="3885451"/>
              <a:ext cx="2135005" cy="718968"/>
            </a:xfrm>
            <a:custGeom>
              <a:avLst/>
              <a:gdLst>
                <a:gd name="T0" fmla="*/ 1501 w 1502"/>
                <a:gd name="T1" fmla="*/ 0 h 507"/>
                <a:gd name="T2" fmla="*/ 761 w 1502"/>
                <a:gd name="T3" fmla="*/ 314 h 507"/>
                <a:gd name="T4" fmla="*/ 0 w 1502"/>
                <a:gd name="T5" fmla="*/ 0 h 507"/>
                <a:gd name="T6" fmla="*/ 0 w 1502"/>
                <a:gd name="T7" fmla="*/ 228 h 507"/>
                <a:gd name="T8" fmla="*/ 761 w 1502"/>
                <a:gd name="T9" fmla="*/ 507 h 507"/>
                <a:gd name="T10" fmla="*/ 1501 w 1502"/>
                <a:gd name="T11" fmla="*/ 228 h 507"/>
                <a:gd name="T12" fmla="*/ 1501 w 1502"/>
                <a:gd name="T13" fmla="*/ 0 h 507"/>
              </a:gdLst>
              <a:ahLst/>
              <a:cxnLst>
                <a:cxn ang="0">
                  <a:pos x="T0" y="T1"/>
                </a:cxn>
                <a:cxn ang="0">
                  <a:pos x="T2" y="T3"/>
                </a:cxn>
                <a:cxn ang="0">
                  <a:pos x="T4" y="T5"/>
                </a:cxn>
                <a:cxn ang="0">
                  <a:pos x="T6" y="T7"/>
                </a:cxn>
                <a:cxn ang="0">
                  <a:pos x="T8" y="T9"/>
                </a:cxn>
                <a:cxn ang="0">
                  <a:pos x="T10" y="T11"/>
                </a:cxn>
                <a:cxn ang="0">
                  <a:pos x="T12" y="T13"/>
                </a:cxn>
              </a:cxnLst>
              <a:rect l="0" t="0" r="r" b="b"/>
              <a:pathLst>
                <a:path w="1502" h="507">
                  <a:moveTo>
                    <a:pt x="1501" y="0"/>
                  </a:moveTo>
                  <a:cubicBezTo>
                    <a:pt x="1502" y="48"/>
                    <a:pt x="1133" y="311"/>
                    <a:pt x="761" y="314"/>
                  </a:cubicBezTo>
                  <a:cubicBezTo>
                    <a:pt x="382" y="317"/>
                    <a:pt x="0" y="60"/>
                    <a:pt x="0" y="0"/>
                  </a:cubicBezTo>
                  <a:cubicBezTo>
                    <a:pt x="0" y="228"/>
                    <a:pt x="0" y="228"/>
                    <a:pt x="0" y="228"/>
                  </a:cubicBezTo>
                  <a:cubicBezTo>
                    <a:pt x="0" y="289"/>
                    <a:pt x="253" y="507"/>
                    <a:pt x="761" y="507"/>
                  </a:cubicBezTo>
                  <a:cubicBezTo>
                    <a:pt x="1244" y="507"/>
                    <a:pt x="1502" y="277"/>
                    <a:pt x="1501" y="228"/>
                  </a:cubicBezTo>
                  <a:cubicBezTo>
                    <a:pt x="1501" y="0"/>
                    <a:pt x="1501" y="0"/>
                    <a:pt x="1501" y="0"/>
                  </a:cubicBezTo>
                </a:path>
              </a:pathLst>
            </a:custGeom>
            <a:solidFill>
              <a:srgbClr val="30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41" name="is1íḑè">
              <a:extLst>
                <a:ext uri="{FF2B5EF4-FFF2-40B4-BE49-F238E27FC236}">
                  <a16:creationId xmlns:a16="http://schemas.microsoft.com/office/drawing/2014/main" id="{55C8C9D4-4695-4CD8-9F44-57F50E4236FD}"/>
                </a:ext>
              </a:extLst>
            </p:cNvPr>
            <p:cNvSpPr/>
            <p:nvPr/>
          </p:nvSpPr>
          <p:spPr bwMode="auto">
            <a:xfrm>
              <a:off x="18484368" y="3885451"/>
              <a:ext cx="3651" cy="3651"/>
            </a:xfrm>
            <a:prstGeom prst="rect">
              <a:avLst/>
            </a:prstGeom>
            <a:solidFill>
              <a:srgbClr val="30454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cs typeface="+mn-ea"/>
                <a:sym typeface="+mn-lt"/>
              </a:endParaRPr>
            </a:p>
          </p:txBody>
        </p:sp>
        <p:sp>
          <p:nvSpPr>
            <p:cNvPr id="42" name="íṡļíḍê">
              <a:extLst>
                <a:ext uri="{FF2B5EF4-FFF2-40B4-BE49-F238E27FC236}">
                  <a16:creationId xmlns:a16="http://schemas.microsoft.com/office/drawing/2014/main" id="{4B479241-C7ED-456F-AD14-9AEBDAEBF110}"/>
                </a:ext>
              </a:extLst>
            </p:cNvPr>
            <p:cNvSpPr/>
            <p:nvPr/>
          </p:nvSpPr>
          <p:spPr bwMode="auto">
            <a:xfrm>
              <a:off x="16353014" y="3491296"/>
              <a:ext cx="2131354" cy="839403"/>
            </a:xfrm>
            <a:custGeom>
              <a:avLst/>
              <a:gdLst>
                <a:gd name="T0" fmla="*/ 1500 w 1501"/>
                <a:gd name="T1" fmla="*/ 268 h 590"/>
                <a:gd name="T2" fmla="*/ 751 w 1501"/>
                <a:gd name="T3" fmla="*/ 0 h 590"/>
                <a:gd name="T4" fmla="*/ 1 w 1501"/>
                <a:gd name="T5" fmla="*/ 269 h 590"/>
                <a:gd name="T6" fmla="*/ 0 w 1501"/>
                <a:gd name="T7" fmla="*/ 277 h 590"/>
                <a:gd name="T8" fmla="*/ 741 w 1501"/>
                <a:gd name="T9" fmla="*/ 590 h 590"/>
                <a:gd name="T10" fmla="*/ 751 w 1501"/>
                <a:gd name="T11" fmla="*/ 590 h 590"/>
                <a:gd name="T12" fmla="*/ 752 w 1501"/>
                <a:gd name="T13" fmla="*/ 590 h 590"/>
                <a:gd name="T14" fmla="*/ 761 w 1501"/>
                <a:gd name="T15" fmla="*/ 590 h 590"/>
                <a:gd name="T16" fmla="*/ 766 w 1501"/>
                <a:gd name="T17" fmla="*/ 590 h 590"/>
                <a:gd name="T18" fmla="*/ 1501 w 1501"/>
                <a:gd name="T19" fmla="*/ 277 h 590"/>
                <a:gd name="T20" fmla="*/ 1501 w 1501"/>
                <a:gd name="T21" fmla="*/ 277 h 590"/>
                <a:gd name="T22" fmla="*/ 1500 w 1501"/>
                <a:gd name="T23" fmla="*/ 26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590">
                  <a:moveTo>
                    <a:pt x="1500" y="268"/>
                  </a:moveTo>
                  <a:cubicBezTo>
                    <a:pt x="1488" y="119"/>
                    <a:pt x="1157" y="0"/>
                    <a:pt x="751" y="0"/>
                  </a:cubicBezTo>
                  <a:cubicBezTo>
                    <a:pt x="344" y="0"/>
                    <a:pt x="13" y="120"/>
                    <a:pt x="1" y="269"/>
                  </a:cubicBezTo>
                  <a:cubicBezTo>
                    <a:pt x="1" y="271"/>
                    <a:pt x="0" y="274"/>
                    <a:pt x="0" y="277"/>
                  </a:cubicBezTo>
                  <a:cubicBezTo>
                    <a:pt x="0" y="429"/>
                    <a:pt x="331" y="588"/>
                    <a:pt x="741" y="590"/>
                  </a:cubicBezTo>
                  <a:cubicBezTo>
                    <a:pt x="744" y="590"/>
                    <a:pt x="747" y="590"/>
                    <a:pt x="751" y="590"/>
                  </a:cubicBezTo>
                  <a:cubicBezTo>
                    <a:pt x="751" y="590"/>
                    <a:pt x="751" y="590"/>
                    <a:pt x="752" y="590"/>
                  </a:cubicBezTo>
                  <a:cubicBezTo>
                    <a:pt x="755" y="590"/>
                    <a:pt x="758" y="590"/>
                    <a:pt x="761" y="590"/>
                  </a:cubicBezTo>
                  <a:cubicBezTo>
                    <a:pt x="763" y="590"/>
                    <a:pt x="765" y="590"/>
                    <a:pt x="766" y="590"/>
                  </a:cubicBezTo>
                  <a:cubicBezTo>
                    <a:pt x="1173" y="587"/>
                    <a:pt x="1500" y="428"/>
                    <a:pt x="1501" y="277"/>
                  </a:cubicBezTo>
                  <a:cubicBezTo>
                    <a:pt x="1501" y="277"/>
                    <a:pt x="1501" y="277"/>
                    <a:pt x="1501" y="277"/>
                  </a:cubicBezTo>
                  <a:cubicBezTo>
                    <a:pt x="1501" y="274"/>
                    <a:pt x="1501" y="271"/>
                    <a:pt x="1500" y="268"/>
                  </a:cubicBezTo>
                </a:path>
              </a:pathLst>
            </a:custGeom>
            <a:solidFill>
              <a:srgbClr val="4D67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43" name="iśľíḑe">
              <a:extLst>
                <a:ext uri="{FF2B5EF4-FFF2-40B4-BE49-F238E27FC236}">
                  <a16:creationId xmlns:a16="http://schemas.microsoft.com/office/drawing/2014/main" id="{6B72463E-53F3-4306-97A2-4AFE43838AE1}"/>
                </a:ext>
              </a:extLst>
            </p:cNvPr>
            <p:cNvSpPr/>
            <p:nvPr/>
          </p:nvSpPr>
          <p:spPr bwMode="auto">
            <a:xfrm>
              <a:off x="16407756" y="2984006"/>
              <a:ext cx="2021867" cy="1266404"/>
            </a:xfrm>
            <a:custGeom>
              <a:avLst/>
              <a:gdLst>
                <a:gd name="T0" fmla="*/ 1422 w 1422"/>
                <a:gd name="T1" fmla="*/ 0 h 894"/>
                <a:gd name="T2" fmla="*/ 711 w 1422"/>
                <a:gd name="T3" fmla="*/ 388 h 894"/>
                <a:gd name="T4" fmla="*/ 0 w 1422"/>
                <a:gd name="T5" fmla="*/ 0 h 894"/>
                <a:gd name="T6" fmla="*/ 1 w 1422"/>
                <a:gd name="T7" fmla="*/ 624 h 894"/>
                <a:gd name="T8" fmla="*/ 720 w 1422"/>
                <a:gd name="T9" fmla="*/ 894 h 894"/>
                <a:gd name="T10" fmla="*/ 1420 w 1422"/>
                <a:gd name="T11" fmla="*/ 624 h 894"/>
                <a:gd name="T12" fmla="*/ 1422 w 1422"/>
                <a:gd name="T13" fmla="*/ 0 h 894"/>
              </a:gdLst>
              <a:ahLst/>
              <a:cxnLst>
                <a:cxn ang="0">
                  <a:pos x="T0" y="T1"/>
                </a:cxn>
                <a:cxn ang="0">
                  <a:pos x="T2" y="T3"/>
                </a:cxn>
                <a:cxn ang="0">
                  <a:pos x="T4" y="T5"/>
                </a:cxn>
                <a:cxn ang="0">
                  <a:pos x="T6" y="T7"/>
                </a:cxn>
                <a:cxn ang="0">
                  <a:pos x="T8" y="T9"/>
                </a:cxn>
                <a:cxn ang="0">
                  <a:pos x="T10" y="T11"/>
                </a:cxn>
                <a:cxn ang="0">
                  <a:pos x="T12" y="T13"/>
                </a:cxn>
              </a:cxnLst>
              <a:rect l="0" t="0" r="r" b="b"/>
              <a:pathLst>
                <a:path w="1422" h="894">
                  <a:moveTo>
                    <a:pt x="1422" y="0"/>
                  </a:moveTo>
                  <a:cubicBezTo>
                    <a:pt x="711" y="388"/>
                    <a:pt x="711" y="388"/>
                    <a:pt x="711" y="388"/>
                  </a:cubicBezTo>
                  <a:cubicBezTo>
                    <a:pt x="0" y="0"/>
                    <a:pt x="0" y="0"/>
                    <a:pt x="0" y="0"/>
                  </a:cubicBezTo>
                  <a:cubicBezTo>
                    <a:pt x="1" y="624"/>
                    <a:pt x="1" y="624"/>
                    <a:pt x="1" y="624"/>
                  </a:cubicBezTo>
                  <a:cubicBezTo>
                    <a:pt x="1" y="682"/>
                    <a:pt x="223" y="894"/>
                    <a:pt x="720" y="894"/>
                  </a:cubicBezTo>
                  <a:cubicBezTo>
                    <a:pt x="1256" y="894"/>
                    <a:pt x="1422" y="670"/>
                    <a:pt x="1420" y="624"/>
                  </a:cubicBezTo>
                  <a:cubicBezTo>
                    <a:pt x="1422" y="0"/>
                    <a:pt x="1422" y="0"/>
                    <a:pt x="1422" y="0"/>
                  </a:cubicBezTo>
                </a:path>
              </a:pathLst>
            </a:custGeom>
            <a:solidFill>
              <a:srgbClr val="30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44" name="îš1ïdê">
              <a:extLst>
                <a:ext uri="{FF2B5EF4-FFF2-40B4-BE49-F238E27FC236}">
                  <a16:creationId xmlns:a16="http://schemas.microsoft.com/office/drawing/2014/main" id="{92D4A7C5-85AB-4F96-82AC-7311D486F230}"/>
                </a:ext>
              </a:extLst>
            </p:cNvPr>
            <p:cNvSpPr/>
            <p:nvPr/>
          </p:nvSpPr>
          <p:spPr bwMode="auto">
            <a:xfrm>
              <a:off x="16407756" y="3447501"/>
              <a:ext cx="1711654" cy="740865"/>
            </a:xfrm>
            <a:custGeom>
              <a:avLst/>
              <a:gdLst>
                <a:gd name="T0" fmla="*/ 1023 w 1203"/>
                <a:gd name="T1" fmla="*/ 523 h 523"/>
                <a:gd name="T2" fmla="*/ 783 w 1203"/>
                <a:gd name="T3" fmla="*/ 439 h 523"/>
                <a:gd name="T4" fmla="*/ 1201 w 1203"/>
                <a:gd name="T5" fmla="*/ 356 h 523"/>
                <a:gd name="T6" fmla="*/ 1203 w 1203"/>
                <a:gd name="T7" fmla="*/ 409 h 523"/>
                <a:gd name="T8" fmla="*/ 1195 w 1203"/>
                <a:gd name="T9" fmla="*/ 416 h 523"/>
                <a:gd name="T10" fmla="*/ 1190 w 1203"/>
                <a:gd name="T11" fmla="*/ 416 h 523"/>
                <a:gd name="T12" fmla="*/ 1115 w 1203"/>
                <a:gd name="T13" fmla="*/ 441 h 523"/>
                <a:gd name="T14" fmla="*/ 1114 w 1203"/>
                <a:gd name="T15" fmla="*/ 441 h 523"/>
                <a:gd name="T16" fmla="*/ 1023 w 1203"/>
                <a:gd name="T17" fmla="*/ 523 h 523"/>
                <a:gd name="T18" fmla="*/ 1 w 1203"/>
                <a:gd name="T19" fmla="*/ 157 h 523"/>
                <a:gd name="T20" fmla="*/ 0 w 1203"/>
                <a:gd name="T21" fmla="*/ 0 h 523"/>
                <a:gd name="T22" fmla="*/ 1 w 1203"/>
                <a:gd name="T23" fmla="*/ 0 h 523"/>
                <a:gd name="T24" fmla="*/ 1 w 1203"/>
                <a:gd name="T25" fmla="*/ 75 h 523"/>
                <a:gd name="T26" fmla="*/ 11 w 1203"/>
                <a:gd name="T27" fmla="*/ 128 h 523"/>
                <a:gd name="T28" fmla="*/ 1 w 1203"/>
                <a:gd name="T29" fmla="*/ 157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3" h="523">
                  <a:moveTo>
                    <a:pt x="1023" y="523"/>
                  </a:moveTo>
                  <a:cubicBezTo>
                    <a:pt x="949" y="516"/>
                    <a:pt x="867" y="484"/>
                    <a:pt x="783" y="439"/>
                  </a:cubicBezTo>
                  <a:cubicBezTo>
                    <a:pt x="953" y="432"/>
                    <a:pt x="1095" y="399"/>
                    <a:pt x="1201" y="356"/>
                  </a:cubicBezTo>
                  <a:cubicBezTo>
                    <a:pt x="1203" y="409"/>
                    <a:pt x="1203" y="409"/>
                    <a:pt x="1203" y="409"/>
                  </a:cubicBezTo>
                  <a:cubicBezTo>
                    <a:pt x="1195" y="416"/>
                    <a:pt x="1195" y="416"/>
                    <a:pt x="1195" y="416"/>
                  </a:cubicBezTo>
                  <a:cubicBezTo>
                    <a:pt x="1194" y="416"/>
                    <a:pt x="1192" y="416"/>
                    <a:pt x="1190" y="416"/>
                  </a:cubicBezTo>
                  <a:cubicBezTo>
                    <a:pt x="1161" y="416"/>
                    <a:pt x="1135" y="424"/>
                    <a:pt x="1115" y="441"/>
                  </a:cubicBezTo>
                  <a:cubicBezTo>
                    <a:pt x="1114" y="441"/>
                    <a:pt x="1114" y="441"/>
                    <a:pt x="1114" y="441"/>
                  </a:cubicBezTo>
                  <a:cubicBezTo>
                    <a:pt x="1023" y="523"/>
                    <a:pt x="1023" y="523"/>
                    <a:pt x="1023" y="523"/>
                  </a:cubicBezTo>
                  <a:moveTo>
                    <a:pt x="1" y="157"/>
                  </a:moveTo>
                  <a:cubicBezTo>
                    <a:pt x="0" y="0"/>
                    <a:pt x="0" y="0"/>
                    <a:pt x="0" y="0"/>
                  </a:cubicBezTo>
                  <a:cubicBezTo>
                    <a:pt x="1" y="0"/>
                    <a:pt x="1" y="0"/>
                    <a:pt x="1" y="0"/>
                  </a:cubicBezTo>
                  <a:cubicBezTo>
                    <a:pt x="1" y="75"/>
                    <a:pt x="1" y="75"/>
                    <a:pt x="1" y="75"/>
                  </a:cubicBezTo>
                  <a:cubicBezTo>
                    <a:pt x="1" y="93"/>
                    <a:pt x="4" y="110"/>
                    <a:pt x="11" y="128"/>
                  </a:cubicBezTo>
                  <a:cubicBezTo>
                    <a:pt x="5" y="136"/>
                    <a:pt x="1" y="146"/>
                    <a:pt x="1" y="157"/>
                  </a:cubicBezTo>
                </a:path>
              </a:pathLst>
            </a:custGeom>
            <a:solidFill>
              <a:srgbClr val="1724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45" name="í$ḷiḍè">
              <a:extLst>
                <a:ext uri="{FF2B5EF4-FFF2-40B4-BE49-F238E27FC236}">
                  <a16:creationId xmlns:a16="http://schemas.microsoft.com/office/drawing/2014/main" id="{ADA76A47-6704-419B-9E62-17DABCF8AB90}"/>
                </a:ext>
              </a:extLst>
            </p:cNvPr>
            <p:cNvSpPr/>
            <p:nvPr/>
          </p:nvSpPr>
          <p:spPr bwMode="auto">
            <a:xfrm>
              <a:off x="16426005" y="3589836"/>
              <a:ext cx="1094874" cy="481744"/>
            </a:xfrm>
            <a:custGeom>
              <a:avLst/>
              <a:gdLst>
                <a:gd name="T0" fmla="*/ 699 w 772"/>
                <a:gd name="T1" fmla="*/ 341 h 341"/>
                <a:gd name="T2" fmla="*/ 325 w 772"/>
                <a:gd name="T3" fmla="*/ 279 h 341"/>
                <a:gd name="T4" fmla="*/ 277 w 772"/>
                <a:gd name="T5" fmla="*/ 261 h 341"/>
                <a:gd name="T6" fmla="*/ 0 w 772"/>
                <a:gd name="T7" fmla="*/ 29 h 341"/>
                <a:gd name="T8" fmla="*/ 78 w 772"/>
                <a:gd name="T9" fmla="*/ 0 h 341"/>
                <a:gd name="T10" fmla="*/ 274 w 772"/>
                <a:gd name="T11" fmla="*/ 53 h 341"/>
                <a:gd name="T12" fmla="*/ 772 w 772"/>
                <a:gd name="T13" fmla="*/ 340 h 341"/>
                <a:gd name="T14" fmla="*/ 699 w 772"/>
                <a:gd name="T15" fmla="*/ 341 h 3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2" h="341">
                  <a:moveTo>
                    <a:pt x="699" y="341"/>
                  </a:moveTo>
                  <a:cubicBezTo>
                    <a:pt x="561" y="341"/>
                    <a:pt x="433" y="318"/>
                    <a:pt x="325" y="279"/>
                  </a:cubicBezTo>
                  <a:cubicBezTo>
                    <a:pt x="277" y="261"/>
                    <a:pt x="277" y="261"/>
                    <a:pt x="277" y="261"/>
                  </a:cubicBezTo>
                  <a:cubicBezTo>
                    <a:pt x="132" y="201"/>
                    <a:pt x="30" y="115"/>
                    <a:pt x="0" y="29"/>
                  </a:cubicBezTo>
                  <a:cubicBezTo>
                    <a:pt x="13" y="10"/>
                    <a:pt x="41" y="0"/>
                    <a:pt x="78" y="0"/>
                  </a:cubicBezTo>
                  <a:cubicBezTo>
                    <a:pt x="128" y="0"/>
                    <a:pt x="196" y="18"/>
                    <a:pt x="274" y="53"/>
                  </a:cubicBezTo>
                  <a:cubicBezTo>
                    <a:pt x="435" y="125"/>
                    <a:pt x="609" y="254"/>
                    <a:pt x="772" y="340"/>
                  </a:cubicBezTo>
                  <a:cubicBezTo>
                    <a:pt x="748" y="341"/>
                    <a:pt x="724" y="341"/>
                    <a:pt x="699" y="341"/>
                  </a:cubicBezTo>
                </a:path>
              </a:pathLst>
            </a:custGeom>
            <a:solidFill>
              <a:srgbClr val="30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46" name="ïśḻïdê">
              <a:extLst>
                <a:ext uri="{FF2B5EF4-FFF2-40B4-BE49-F238E27FC236}">
                  <a16:creationId xmlns:a16="http://schemas.microsoft.com/office/drawing/2014/main" id="{6050001B-08B7-4CF8-AEA0-5B06AD2C5BCA}"/>
                </a:ext>
              </a:extLst>
            </p:cNvPr>
            <p:cNvSpPr/>
            <p:nvPr/>
          </p:nvSpPr>
          <p:spPr bwMode="auto">
            <a:xfrm>
              <a:off x="16411407" y="3447501"/>
              <a:ext cx="1704355" cy="624079"/>
            </a:xfrm>
            <a:custGeom>
              <a:avLst/>
              <a:gdLst>
                <a:gd name="T0" fmla="*/ 782 w 1200"/>
                <a:gd name="T1" fmla="*/ 439 h 439"/>
                <a:gd name="T2" fmla="*/ 284 w 1200"/>
                <a:gd name="T3" fmla="*/ 152 h 439"/>
                <a:gd name="T4" fmla="*/ 88 w 1200"/>
                <a:gd name="T5" fmla="*/ 99 h 439"/>
                <a:gd name="T6" fmla="*/ 10 w 1200"/>
                <a:gd name="T7" fmla="*/ 128 h 439"/>
                <a:gd name="T8" fmla="*/ 0 w 1200"/>
                <a:gd name="T9" fmla="*/ 75 h 439"/>
                <a:gd name="T10" fmla="*/ 0 w 1200"/>
                <a:gd name="T11" fmla="*/ 0 h 439"/>
                <a:gd name="T12" fmla="*/ 709 w 1200"/>
                <a:gd name="T13" fmla="*/ 315 h 439"/>
                <a:gd name="T14" fmla="*/ 1193 w 1200"/>
                <a:gd name="T15" fmla="*/ 103 h 439"/>
                <a:gd name="T16" fmla="*/ 1200 w 1200"/>
                <a:gd name="T17" fmla="*/ 356 h 439"/>
                <a:gd name="T18" fmla="*/ 782 w 1200"/>
                <a:gd name="T19"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0" h="439">
                  <a:moveTo>
                    <a:pt x="782" y="439"/>
                  </a:moveTo>
                  <a:cubicBezTo>
                    <a:pt x="619" y="353"/>
                    <a:pt x="445" y="224"/>
                    <a:pt x="284" y="152"/>
                  </a:cubicBezTo>
                  <a:cubicBezTo>
                    <a:pt x="206" y="117"/>
                    <a:pt x="138" y="99"/>
                    <a:pt x="88" y="99"/>
                  </a:cubicBezTo>
                  <a:cubicBezTo>
                    <a:pt x="51" y="99"/>
                    <a:pt x="23" y="109"/>
                    <a:pt x="10" y="128"/>
                  </a:cubicBezTo>
                  <a:cubicBezTo>
                    <a:pt x="3" y="110"/>
                    <a:pt x="0" y="93"/>
                    <a:pt x="0" y="75"/>
                  </a:cubicBezTo>
                  <a:cubicBezTo>
                    <a:pt x="0" y="0"/>
                    <a:pt x="0" y="0"/>
                    <a:pt x="0" y="0"/>
                  </a:cubicBezTo>
                  <a:cubicBezTo>
                    <a:pt x="709" y="315"/>
                    <a:pt x="709" y="315"/>
                    <a:pt x="709" y="315"/>
                  </a:cubicBezTo>
                  <a:cubicBezTo>
                    <a:pt x="1193" y="103"/>
                    <a:pt x="1193" y="103"/>
                    <a:pt x="1193" y="103"/>
                  </a:cubicBezTo>
                  <a:cubicBezTo>
                    <a:pt x="1200" y="356"/>
                    <a:pt x="1200" y="356"/>
                    <a:pt x="1200" y="356"/>
                  </a:cubicBezTo>
                  <a:cubicBezTo>
                    <a:pt x="1094" y="399"/>
                    <a:pt x="952" y="432"/>
                    <a:pt x="782" y="439"/>
                  </a:cubicBezTo>
                </a:path>
              </a:pathLst>
            </a:custGeom>
            <a:solidFill>
              <a:srgbClr val="1724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47" name="iṧḷiḍé">
              <a:extLst>
                <a:ext uri="{FF2B5EF4-FFF2-40B4-BE49-F238E27FC236}">
                  <a16:creationId xmlns:a16="http://schemas.microsoft.com/office/drawing/2014/main" id="{503B7525-2E01-46C8-9CAB-2EFDA6C2728C}"/>
                </a:ext>
              </a:extLst>
            </p:cNvPr>
            <p:cNvSpPr/>
            <p:nvPr/>
          </p:nvSpPr>
          <p:spPr bwMode="auto">
            <a:xfrm>
              <a:off x="15805577" y="2476714"/>
              <a:ext cx="3240827" cy="1419687"/>
            </a:xfrm>
            <a:custGeom>
              <a:avLst/>
              <a:gdLst>
                <a:gd name="T0" fmla="*/ 743 w 888"/>
                <a:gd name="T1" fmla="*/ 136 h 389"/>
                <a:gd name="T2" fmla="*/ 442 w 888"/>
                <a:gd name="T3" fmla="*/ 0 h 389"/>
                <a:gd name="T4" fmla="*/ 143 w 888"/>
                <a:gd name="T5" fmla="*/ 136 h 389"/>
                <a:gd name="T6" fmla="*/ 0 w 888"/>
                <a:gd name="T7" fmla="*/ 164 h 389"/>
                <a:gd name="T8" fmla="*/ 0 w 888"/>
                <a:gd name="T9" fmla="*/ 193 h 389"/>
                <a:gd name="T10" fmla="*/ 0 w 888"/>
                <a:gd name="T11" fmla="*/ 193 h 389"/>
                <a:gd name="T12" fmla="*/ 442 w 888"/>
                <a:gd name="T13" fmla="*/ 389 h 389"/>
                <a:gd name="T14" fmla="*/ 888 w 888"/>
                <a:gd name="T15" fmla="*/ 193 h 389"/>
                <a:gd name="T16" fmla="*/ 888 w 888"/>
                <a:gd name="T17" fmla="*/ 193 h 389"/>
                <a:gd name="T18" fmla="*/ 888 w 888"/>
                <a:gd name="T19" fmla="*/ 164 h 389"/>
                <a:gd name="T20" fmla="*/ 743 w 888"/>
                <a:gd name="T21" fmla="*/ 13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8" h="389">
                  <a:moveTo>
                    <a:pt x="743" y="136"/>
                  </a:moveTo>
                  <a:lnTo>
                    <a:pt x="442" y="0"/>
                  </a:lnTo>
                  <a:lnTo>
                    <a:pt x="143" y="136"/>
                  </a:lnTo>
                  <a:lnTo>
                    <a:pt x="0" y="164"/>
                  </a:lnTo>
                  <a:lnTo>
                    <a:pt x="0" y="193"/>
                  </a:lnTo>
                  <a:lnTo>
                    <a:pt x="0" y="193"/>
                  </a:lnTo>
                  <a:lnTo>
                    <a:pt x="442" y="389"/>
                  </a:lnTo>
                  <a:lnTo>
                    <a:pt x="888" y="193"/>
                  </a:lnTo>
                  <a:lnTo>
                    <a:pt x="888" y="193"/>
                  </a:lnTo>
                  <a:lnTo>
                    <a:pt x="888" y="164"/>
                  </a:lnTo>
                  <a:lnTo>
                    <a:pt x="743" y="136"/>
                  </a:lnTo>
                  <a:close/>
                </a:path>
              </a:pathLst>
            </a:custGeom>
            <a:solidFill>
              <a:srgbClr val="30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48" name="î$ľíḋe">
              <a:extLst>
                <a:ext uri="{FF2B5EF4-FFF2-40B4-BE49-F238E27FC236}">
                  <a16:creationId xmlns:a16="http://schemas.microsoft.com/office/drawing/2014/main" id="{0849F988-550A-49FD-8207-136E80A7EECF}"/>
                </a:ext>
              </a:extLst>
            </p:cNvPr>
            <p:cNvSpPr/>
            <p:nvPr/>
          </p:nvSpPr>
          <p:spPr bwMode="auto">
            <a:xfrm>
              <a:off x="15805577" y="2476714"/>
              <a:ext cx="3240827" cy="1419687"/>
            </a:xfrm>
            <a:custGeom>
              <a:avLst/>
              <a:gdLst>
                <a:gd name="T0" fmla="*/ 743 w 888"/>
                <a:gd name="T1" fmla="*/ 136 h 389"/>
                <a:gd name="T2" fmla="*/ 442 w 888"/>
                <a:gd name="T3" fmla="*/ 0 h 389"/>
                <a:gd name="T4" fmla="*/ 143 w 888"/>
                <a:gd name="T5" fmla="*/ 136 h 389"/>
                <a:gd name="T6" fmla="*/ 0 w 888"/>
                <a:gd name="T7" fmla="*/ 164 h 389"/>
                <a:gd name="T8" fmla="*/ 0 w 888"/>
                <a:gd name="T9" fmla="*/ 193 h 389"/>
                <a:gd name="T10" fmla="*/ 0 w 888"/>
                <a:gd name="T11" fmla="*/ 193 h 389"/>
                <a:gd name="T12" fmla="*/ 442 w 888"/>
                <a:gd name="T13" fmla="*/ 389 h 389"/>
                <a:gd name="T14" fmla="*/ 888 w 888"/>
                <a:gd name="T15" fmla="*/ 193 h 389"/>
                <a:gd name="T16" fmla="*/ 888 w 888"/>
                <a:gd name="T17" fmla="*/ 193 h 389"/>
                <a:gd name="T18" fmla="*/ 888 w 888"/>
                <a:gd name="T19" fmla="*/ 164 h 389"/>
                <a:gd name="T20" fmla="*/ 743 w 888"/>
                <a:gd name="T21" fmla="*/ 13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8" h="389">
                  <a:moveTo>
                    <a:pt x="743" y="136"/>
                  </a:moveTo>
                  <a:lnTo>
                    <a:pt x="442" y="0"/>
                  </a:lnTo>
                  <a:lnTo>
                    <a:pt x="143" y="136"/>
                  </a:lnTo>
                  <a:lnTo>
                    <a:pt x="0" y="164"/>
                  </a:lnTo>
                  <a:lnTo>
                    <a:pt x="0" y="193"/>
                  </a:lnTo>
                  <a:lnTo>
                    <a:pt x="0" y="193"/>
                  </a:lnTo>
                  <a:lnTo>
                    <a:pt x="442" y="389"/>
                  </a:lnTo>
                  <a:lnTo>
                    <a:pt x="888" y="193"/>
                  </a:lnTo>
                  <a:lnTo>
                    <a:pt x="888" y="193"/>
                  </a:lnTo>
                  <a:lnTo>
                    <a:pt x="888" y="164"/>
                  </a:lnTo>
                  <a:lnTo>
                    <a:pt x="743" y="136"/>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49" name="íṧ1idè">
              <a:extLst>
                <a:ext uri="{FF2B5EF4-FFF2-40B4-BE49-F238E27FC236}">
                  <a16:creationId xmlns:a16="http://schemas.microsoft.com/office/drawing/2014/main" id="{0B4ED929-447F-4C3D-8108-A8852E4C3CB3}"/>
                </a:ext>
              </a:extLst>
            </p:cNvPr>
            <p:cNvSpPr/>
            <p:nvPr/>
          </p:nvSpPr>
          <p:spPr bwMode="auto">
            <a:xfrm>
              <a:off x="15805577" y="2341681"/>
              <a:ext cx="3240827" cy="1445233"/>
            </a:xfrm>
            <a:custGeom>
              <a:avLst/>
              <a:gdLst>
                <a:gd name="T0" fmla="*/ 442 w 888"/>
                <a:gd name="T1" fmla="*/ 0 h 396"/>
                <a:gd name="T2" fmla="*/ 0 w 888"/>
                <a:gd name="T3" fmla="*/ 201 h 396"/>
                <a:gd name="T4" fmla="*/ 442 w 888"/>
                <a:gd name="T5" fmla="*/ 396 h 396"/>
                <a:gd name="T6" fmla="*/ 888 w 888"/>
                <a:gd name="T7" fmla="*/ 201 h 396"/>
                <a:gd name="T8" fmla="*/ 442 w 888"/>
                <a:gd name="T9" fmla="*/ 0 h 396"/>
              </a:gdLst>
              <a:ahLst/>
              <a:cxnLst>
                <a:cxn ang="0">
                  <a:pos x="T0" y="T1"/>
                </a:cxn>
                <a:cxn ang="0">
                  <a:pos x="T2" y="T3"/>
                </a:cxn>
                <a:cxn ang="0">
                  <a:pos x="T4" y="T5"/>
                </a:cxn>
                <a:cxn ang="0">
                  <a:pos x="T6" y="T7"/>
                </a:cxn>
                <a:cxn ang="0">
                  <a:pos x="T8" y="T9"/>
                </a:cxn>
              </a:cxnLst>
              <a:rect l="0" t="0" r="r" b="b"/>
              <a:pathLst>
                <a:path w="888" h="396">
                  <a:moveTo>
                    <a:pt x="442" y="0"/>
                  </a:moveTo>
                  <a:lnTo>
                    <a:pt x="0" y="201"/>
                  </a:lnTo>
                  <a:lnTo>
                    <a:pt x="442" y="396"/>
                  </a:lnTo>
                  <a:lnTo>
                    <a:pt x="888" y="201"/>
                  </a:lnTo>
                  <a:lnTo>
                    <a:pt x="442" y="0"/>
                  </a:lnTo>
                  <a:close/>
                </a:path>
              </a:pathLst>
            </a:custGeom>
            <a:solidFill>
              <a:srgbClr val="4D67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50" name="iś1idè">
              <a:extLst>
                <a:ext uri="{FF2B5EF4-FFF2-40B4-BE49-F238E27FC236}">
                  <a16:creationId xmlns:a16="http://schemas.microsoft.com/office/drawing/2014/main" id="{95D156A0-8763-4FAE-9401-0FE921033F5C}"/>
                </a:ext>
              </a:extLst>
            </p:cNvPr>
            <p:cNvSpPr/>
            <p:nvPr/>
          </p:nvSpPr>
          <p:spPr bwMode="auto">
            <a:xfrm>
              <a:off x="15805577" y="2341681"/>
              <a:ext cx="3240827" cy="1445233"/>
            </a:xfrm>
            <a:custGeom>
              <a:avLst/>
              <a:gdLst>
                <a:gd name="T0" fmla="*/ 442 w 888"/>
                <a:gd name="T1" fmla="*/ 0 h 396"/>
                <a:gd name="T2" fmla="*/ 0 w 888"/>
                <a:gd name="T3" fmla="*/ 201 h 396"/>
                <a:gd name="T4" fmla="*/ 442 w 888"/>
                <a:gd name="T5" fmla="*/ 396 h 396"/>
                <a:gd name="T6" fmla="*/ 888 w 888"/>
                <a:gd name="T7" fmla="*/ 201 h 396"/>
                <a:gd name="T8" fmla="*/ 442 w 888"/>
                <a:gd name="T9" fmla="*/ 0 h 396"/>
              </a:gdLst>
              <a:ahLst/>
              <a:cxnLst>
                <a:cxn ang="0">
                  <a:pos x="T0" y="T1"/>
                </a:cxn>
                <a:cxn ang="0">
                  <a:pos x="T2" y="T3"/>
                </a:cxn>
                <a:cxn ang="0">
                  <a:pos x="T4" y="T5"/>
                </a:cxn>
                <a:cxn ang="0">
                  <a:pos x="T6" y="T7"/>
                </a:cxn>
                <a:cxn ang="0">
                  <a:pos x="T8" y="T9"/>
                </a:cxn>
              </a:cxnLst>
              <a:rect l="0" t="0" r="r" b="b"/>
              <a:pathLst>
                <a:path w="888" h="396">
                  <a:moveTo>
                    <a:pt x="442" y="0"/>
                  </a:moveTo>
                  <a:lnTo>
                    <a:pt x="0" y="201"/>
                  </a:lnTo>
                  <a:lnTo>
                    <a:pt x="442" y="396"/>
                  </a:lnTo>
                  <a:lnTo>
                    <a:pt x="888" y="201"/>
                  </a:lnTo>
                  <a:lnTo>
                    <a:pt x="44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51" name="î$ḻíḑe">
              <a:extLst>
                <a:ext uri="{FF2B5EF4-FFF2-40B4-BE49-F238E27FC236}">
                  <a16:creationId xmlns:a16="http://schemas.microsoft.com/office/drawing/2014/main" id="{2F621A6A-4744-4C27-A302-07B1456BC5D6}"/>
                </a:ext>
              </a:extLst>
            </p:cNvPr>
            <p:cNvSpPr/>
            <p:nvPr/>
          </p:nvSpPr>
          <p:spPr bwMode="auto">
            <a:xfrm>
              <a:off x="16571988" y="3418305"/>
              <a:ext cx="69343" cy="109487"/>
            </a:xfrm>
            <a:custGeom>
              <a:avLst/>
              <a:gdLst>
                <a:gd name="T0" fmla="*/ 45 w 49"/>
                <a:gd name="T1" fmla="*/ 76 h 76"/>
                <a:gd name="T2" fmla="*/ 0 w 49"/>
                <a:gd name="T3" fmla="*/ 50 h 76"/>
                <a:gd name="T4" fmla="*/ 10 w 49"/>
                <a:gd name="T5" fmla="*/ 0 h 76"/>
                <a:gd name="T6" fmla="*/ 49 w 49"/>
                <a:gd name="T7" fmla="*/ 17 h 76"/>
                <a:gd name="T8" fmla="*/ 45 w 49"/>
                <a:gd name="T9" fmla="*/ 76 h 76"/>
              </a:gdLst>
              <a:ahLst/>
              <a:cxnLst>
                <a:cxn ang="0">
                  <a:pos x="T0" y="T1"/>
                </a:cxn>
                <a:cxn ang="0">
                  <a:pos x="T2" y="T3"/>
                </a:cxn>
                <a:cxn ang="0">
                  <a:pos x="T4" y="T5"/>
                </a:cxn>
                <a:cxn ang="0">
                  <a:pos x="T6" y="T7"/>
                </a:cxn>
                <a:cxn ang="0">
                  <a:pos x="T8" y="T9"/>
                </a:cxn>
              </a:cxnLst>
              <a:rect l="0" t="0" r="r" b="b"/>
              <a:pathLst>
                <a:path w="49" h="76">
                  <a:moveTo>
                    <a:pt x="45" y="76"/>
                  </a:moveTo>
                  <a:cubicBezTo>
                    <a:pt x="0" y="50"/>
                    <a:pt x="0" y="50"/>
                    <a:pt x="0" y="50"/>
                  </a:cubicBezTo>
                  <a:cubicBezTo>
                    <a:pt x="3" y="31"/>
                    <a:pt x="6" y="13"/>
                    <a:pt x="10" y="0"/>
                  </a:cubicBezTo>
                  <a:cubicBezTo>
                    <a:pt x="49" y="17"/>
                    <a:pt x="49" y="17"/>
                    <a:pt x="49" y="17"/>
                  </a:cubicBezTo>
                  <a:cubicBezTo>
                    <a:pt x="46" y="40"/>
                    <a:pt x="45" y="76"/>
                    <a:pt x="45" y="76"/>
                  </a:cubicBezTo>
                </a:path>
              </a:pathLst>
            </a:custGeom>
            <a:solidFill>
              <a:schemeClr val="bg1">
                <a:lumMod val="65000"/>
              </a:schemeClr>
            </a:solidFill>
            <a:ln>
              <a:noFill/>
            </a:ln>
          </p:spPr>
          <p:txBody>
            <a:bodyPr anchor="ctr"/>
            <a:lstStyle/>
            <a:p>
              <a:pPr algn="ctr"/>
              <a:endParaRPr>
                <a:cs typeface="+mn-ea"/>
                <a:sym typeface="+mn-lt"/>
              </a:endParaRPr>
            </a:p>
          </p:txBody>
        </p:sp>
        <p:sp>
          <p:nvSpPr>
            <p:cNvPr id="52" name="ïṡlîḍé">
              <a:extLst>
                <a:ext uri="{FF2B5EF4-FFF2-40B4-BE49-F238E27FC236}">
                  <a16:creationId xmlns:a16="http://schemas.microsoft.com/office/drawing/2014/main" id="{A53F0633-7A30-4672-8809-2A2803C70D3D}"/>
                </a:ext>
              </a:extLst>
            </p:cNvPr>
            <p:cNvSpPr/>
            <p:nvPr/>
          </p:nvSpPr>
          <p:spPr bwMode="auto">
            <a:xfrm>
              <a:off x="16586587" y="3024150"/>
              <a:ext cx="770062" cy="419703"/>
            </a:xfrm>
            <a:custGeom>
              <a:avLst/>
              <a:gdLst>
                <a:gd name="T0" fmla="*/ 39 w 543"/>
                <a:gd name="T1" fmla="*/ 295 h 295"/>
                <a:gd name="T2" fmla="*/ 0 w 543"/>
                <a:gd name="T3" fmla="*/ 278 h 295"/>
                <a:gd name="T4" fmla="*/ 7 w 543"/>
                <a:gd name="T5" fmla="*/ 260 h 295"/>
                <a:gd name="T6" fmla="*/ 502 w 543"/>
                <a:gd name="T7" fmla="*/ 0 h 295"/>
                <a:gd name="T8" fmla="*/ 543 w 543"/>
                <a:gd name="T9" fmla="*/ 18 h 295"/>
                <a:gd name="T10" fmla="*/ 43 w 543"/>
                <a:gd name="T11" fmla="*/ 279 h 295"/>
                <a:gd name="T12" fmla="*/ 39 w 543"/>
                <a:gd name="T13" fmla="*/ 295 h 295"/>
              </a:gdLst>
              <a:ahLst/>
              <a:cxnLst>
                <a:cxn ang="0">
                  <a:pos x="T0" y="T1"/>
                </a:cxn>
                <a:cxn ang="0">
                  <a:pos x="T2" y="T3"/>
                </a:cxn>
                <a:cxn ang="0">
                  <a:pos x="T4" y="T5"/>
                </a:cxn>
                <a:cxn ang="0">
                  <a:pos x="T6" y="T7"/>
                </a:cxn>
                <a:cxn ang="0">
                  <a:pos x="T8" y="T9"/>
                </a:cxn>
                <a:cxn ang="0">
                  <a:pos x="T10" y="T11"/>
                </a:cxn>
                <a:cxn ang="0">
                  <a:pos x="T12" y="T13"/>
                </a:cxn>
              </a:cxnLst>
              <a:rect l="0" t="0" r="r" b="b"/>
              <a:pathLst>
                <a:path w="543" h="295">
                  <a:moveTo>
                    <a:pt x="39" y="295"/>
                  </a:moveTo>
                  <a:cubicBezTo>
                    <a:pt x="0" y="278"/>
                    <a:pt x="0" y="278"/>
                    <a:pt x="0" y="278"/>
                  </a:cubicBezTo>
                  <a:cubicBezTo>
                    <a:pt x="2" y="271"/>
                    <a:pt x="5" y="265"/>
                    <a:pt x="7" y="260"/>
                  </a:cubicBezTo>
                  <a:cubicBezTo>
                    <a:pt x="64" y="160"/>
                    <a:pt x="348" y="52"/>
                    <a:pt x="502" y="0"/>
                  </a:cubicBezTo>
                  <a:cubicBezTo>
                    <a:pt x="512" y="8"/>
                    <a:pt x="526" y="14"/>
                    <a:pt x="543" y="18"/>
                  </a:cubicBezTo>
                  <a:cubicBezTo>
                    <a:pt x="386" y="72"/>
                    <a:pt x="100" y="181"/>
                    <a:pt x="43" y="279"/>
                  </a:cubicBezTo>
                  <a:cubicBezTo>
                    <a:pt x="42" y="283"/>
                    <a:pt x="40" y="288"/>
                    <a:pt x="39" y="295"/>
                  </a:cubicBezTo>
                </a:path>
              </a:pathLst>
            </a:custGeom>
            <a:solidFill>
              <a:srgbClr val="2F4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53" name="íṩľíḍê">
              <a:extLst>
                <a:ext uri="{FF2B5EF4-FFF2-40B4-BE49-F238E27FC236}">
                  <a16:creationId xmlns:a16="http://schemas.microsoft.com/office/drawing/2014/main" id="{5E407C3F-021B-4CF2-BD21-C11430BB999E}"/>
                </a:ext>
              </a:extLst>
            </p:cNvPr>
            <p:cNvSpPr/>
            <p:nvPr/>
          </p:nvSpPr>
          <p:spPr bwMode="auto">
            <a:xfrm>
              <a:off x="17280007" y="2921962"/>
              <a:ext cx="288318" cy="138684"/>
            </a:xfrm>
            <a:custGeom>
              <a:avLst/>
              <a:gdLst>
                <a:gd name="T0" fmla="*/ 101 w 202"/>
                <a:gd name="T1" fmla="*/ 97 h 97"/>
                <a:gd name="T2" fmla="*/ 55 w 202"/>
                <a:gd name="T3" fmla="*/ 91 h 97"/>
                <a:gd name="T4" fmla="*/ 158 w 202"/>
                <a:gd name="T5" fmla="*/ 58 h 97"/>
                <a:gd name="T6" fmla="*/ 114 w 202"/>
                <a:gd name="T7" fmla="*/ 41 h 97"/>
                <a:gd name="T8" fmla="*/ 14 w 202"/>
                <a:gd name="T9" fmla="*/ 73 h 97"/>
                <a:gd name="T10" fmla="*/ 0 w 202"/>
                <a:gd name="T11" fmla="*/ 49 h 97"/>
                <a:gd name="T12" fmla="*/ 101 w 202"/>
                <a:gd name="T13" fmla="*/ 0 h 97"/>
                <a:gd name="T14" fmla="*/ 202 w 202"/>
                <a:gd name="T15" fmla="*/ 49 h 97"/>
                <a:gd name="T16" fmla="*/ 101 w 202"/>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97">
                  <a:moveTo>
                    <a:pt x="101" y="97"/>
                  </a:moveTo>
                  <a:cubicBezTo>
                    <a:pt x="84" y="97"/>
                    <a:pt x="69" y="95"/>
                    <a:pt x="55" y="91"/>
                  </a:cubicBezTo>
                  <a:cubicBezTo>
                    <a:pt x="117" y="70"/>
                    <a:pt x="158" y="58"/>
                    <a:pt x="158" y="58"/>
                  </a:cubicBezTo>
                  <a:cubicBezTo>
                    <a:pt x="114" y="41"/>
                    <a:pt x="114" y="41"/>
                    <a:pt x="114" y="41"/>
                  </a:cubicBezTo>
                  <a:cubicBezTo>
                    <a:pt x="114" y="41"/>
                    <a:pt x="74" y="53"/>
                    <a:pt x="14" y="73"/>
                  </a:cubicBezTo>
                  <a:cubicBezTo>
                    <a:pt x="5" y="66"/>
                    <a:pt x="0" y="58"/>
                    <a:pt x="0" y="49"/>
                  </a:cubicBezTo>
                  <a:cubicBezTo>
                    <a:pt x="0" y="22"/>
                    <a:pt x="45" y="0"/>
                    <a:pt x="101" y="0"/>
                  </a:cubicBezTo>
                  <a:cubicBezTo>
                    <a:pt x="157" y="0"/>
                    <a:pt x="202" y="22"/>
                    <a:pt x="202" y="49"/>
                  </a:cubicBezTo>
                  <a:cubicBezTo>
                    <a:pt x="202" y="75"/>
                    <a:pt x="157" y="97"/>
                    <a:pt x="101" y="97"/>
                  </a:cubicBezTo>
                </a:path>
              </a:pathLst>
            </a:custGeom>
            <a:solidFill>
              <a:srgbClr val="2539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54" name="íSḻíďé">
              <a:extLst>
                <a:ext uri="{FF2B5EF4-FFF2-40B4-BE49-F238E27FC236}">
                  <a16:creationId xmlns:a16="http://schemas.microsoft.com/office/drawing/2014/main" id="{FA5564CD-2B5E-4999-9454-B9A806E5F45B}"/>
                </a:ext>
              </a:extLst>
            </p:cNvPr>
            <p:cNvSpPr/>
            <p:nvPr/>
          </p:nvSpPr>
          <p:spPr bwMode="auto">
            <a:xfrm>
              <a:off x="17301904" y="2980355"/>
              <a:ext cx="204376" cy="69343"/>
            </a:xfrm>
            <a:custGeom>
              <a:avLst/>
              <a:gdLst>
                <a:gd name="T0" fmla="*/ 41 w 144"/>
                <a:gd name="T1" fmla="*/ 50 h 50"/>
                <a:gd name="T2" fmla="*/ 0 w 144"/>
                <a:gd name="T3" fmla="*/ 32 h 50"/>
                <a:gd name="T4" fmla="*/ 100 w 144"/>
                <a:gd name="T5" fmla="*/ 0 h 50"/>
                <a:gd name="T6" fmla="*/ 144 w 144"/>
                <a:gd name="T7" fmla="*/ 17 h 50"/>
                <a:gd name="T8" fmla="*/ 41 w 144"/>
                <a:gd name="T9" fmla="*/ 50 h 50"/>
              </a:gdLst>
              <a:ahLst/>
              <a:cxnLst>
                <a:cxn ang="0">
                  <a:pos x="T0" y="T1"/>
                </a:cxn>
                <a:cxn ang="0">
                  <a:pos x="T2" y="T3"/>
                </a:cxn>
                <a:cxn ang="0">
                  <a:pos x="T4" y="T5"/>
                </a:cxn>
                <a:cxn ang="0">
                  <a:pos x="T6" y="T7"/>
                </a:cxn>
                <a:cxn ang="0">
                  <a:pos x="T8" y="T9"/>
                </a:cxn>
              </a:cxnLst>
              <a:rect l="0" t="0" r="r" b="b"/>
              <a:pathLst>
                <a:path w="144" h="50">
                  <a:moveTo>
                    <a:pt x="41" y="50"/>
                  </a:moveTo>
                  <a:cubicBezTo>
                    <a:pt x="24" y="46"/>
                    <a:pt x="10" y="40"/>
                    <a:pt x="0" y="32"/>
                  </a:cubicBezTo>
                  <a:cubicBezTo>
                    <a:pt x="60" y="12"/>
                    <a:pt x="100" y="0"/>
                    <a:pt x="100" y="0"/>
                  </a:cubicBezTo>
                  <a:cubicBezTo>
                    <a:pt x="144" y="17"/>
                    <a:pt x="144" y="17"/>
                    <a:pt x="144" y="17"/>
                  </a:cubicBezTo>
                  <a:cubicBezTo>
                    <a:pt x="144" y="17"/>
                    <a:pt x="103" y="29"/>
                    <a:pt x="41" y="50"/>
                  </a:cubicBezTo>
                </a:path>
              </a:pathLst>
            </a:custGeom>
            <a:solidFill>
              <a:srgbClr val="1627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55" name="iṣ1îḓê">
              <a:extLst>
                <a:ext uri="{FF2B5EF4-FFF2-40B4-BE49-F238E27FC236}">
                  <a16:creationId xmlns:a16="http://schemas.microsoft.com/office/drawing/2014/main" id="{7E4959F8-9E22-40EF-9E43-0A003759BF46}"/>
                </a:ext>
              </a:extLst>
            </p:cNvPr>
            <p:cNvSpPr/>
            <p:nvPr/>
          </p:nvSpPr>
          <p:spPr bwMode="auto">
            <a:xfrm>
              <a:off x="16542792" y="2965757"/>
              <a:ext cx="897797" cy="795608"/>
            </a:xfrm>
            <a:custGeom>
              <a:avLst/>
              <a:gdLst>
                <a:gd name="T0" fmla="*/ 8 w 631"/>
                <a:gd name="T1" fmla="*/ 561 h 561"/>
                <a:gd name="T2" fmla="*/ 28 w 631"/>
                <a:gd name="T3" fmla="*/ 287 h 561"/>
                <a:gd name="T4" fmla="*/ 614 w 631"/>
                <a:gd name="T5" fmla="*/ 0 h 561"/>
                <a:gd name="T6" fmla="*/ 631 w 631"/>
                <a:gd name="T7" fmla="*/ 14 h 561"/>
                <a:gd name="T8" fmla="*/ 50 w 631"/>
                <a:gd name="T9" fmla="*/ 299 h 561"/>
                <a:gd name="T10" fmla="*/ 33 w 631"/>
                <a:gd name="T11" fmla="*/ 558 h 561"/>
                <a:gd name="T12" fmla="*/ 8 w 631"/>
                <a:gd name="T13" fmla="*/ 561 h 561"/>
              </a:gdLst>
              <a:ahLst/>
              <a:cxnLst>
                <a:cxn ang="0">
                  <a:pos x="T0" y="T1"/>
                </a:cxn>
                <a:cxn ang="0">
                  <a:pos x="T2" y="T3"/>
                </a:cxn>
                <a:cxn ang="0">
                  <a:pos x="T4" y="T5"/>
                </a:cxn>
                <a:cxn ang="0">
                  <a:pos x="T6" y="T7"/>
                </a:cxn>
                <a:cxn ang="0">
                  <a:pos x="T8" y="T9"/>
                </a:cxn>
                <a:cxn ang="0">
                  <a:pos x="T10" y="T11"/>
                </a:cxn>
                <a:cxn ang="0">
                  <a:pos x="T12" y="T13"/>
                </a:cxn>
              </a:cxnLst>
              <a:rect l="0" t="0" r="r" b="b"/>
              <a:pathLst>
                <a:path w="631" h="561">
                  <a:moveTo>
                    <a:pt x="8" y="561"/>
                  </a:moveTo>
                  <a:cubicBezTo>
                    <a:pt x="6" y="519"/>
                    <a:pt x="0" y="337"/>
                    <a:pt x="28" y="287"/>
                  </a:cubicBezTo>
                  <a:cubicBezTo>
                    <a:pt x="100" y="159"/>
                    <a:pt x="566" y="15"/>
                    <a:pt x="614" y="0"/>
                  </a:cubicBezTo>
                  <a:cubicBezTo>
                    <a:pt x="631" y="14"/>
                    <a:pt x="631" y="14"/>
                    <a:pt x="631" y="14"/>
                  </a:cubicBezTo>
                  <a:cubicBezTo>
                    <a:pt x="544" y="40"/>
                    <a:pt x="122" y="172"/>
                    <a:pt x="50" y="299"/>
                  </a:cubicBezTo>
                  <a:cubicBezTo>
                    <a:pt x="22" y="348"/>
                    <a:pt x="31" y="519"/>
                    <a:pt x="33" y="558"/>
                  </a:cubicBezTo>
                  <a:cubicBezTo>
                    <a:pt x="8" y="561"/>
                    <a:pt x="8" y="561"/>
                    <a:pt x="8" y="561"/>
                  </a:cubicBezTo>
                  <a:close/>
                </a:path>
              </a:pathLst>
            </a:custGeom>
            <a:solidFill>
              <a:srgbClr val="FCD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56" name="ïšḷíḑè">
              <a:extLst>
                <a:ext uri="{FF2B5EF4-FFF2-40B4-BE49-F238E27FC236}">
                  <a16:creationId xmlns:a16="http://schemas.microsoft.com/office/drawing/2014/main" id="{0B45E3D2-77FC-40B5-A61F-198AB9817FE0}"/>
                </a:ext>
              </a:extLst>
            </p:cNvPr>
            <p:cNvSpPr/>
            <p:nvPr/>
          </p:nvSpPr>
          <p:spPr bwMode="auto">
            <a:xfrm>
              <a:off x="17312852" y="2987655"/>
              <a:ext cx="51094" cy="36496"/>
            </a:xfrm>
            <a:custGeom>
              <a:avLst/>
              <a:gdLst>
                <a:gd name="T0" fmla="*/ 5 w 35"/>
                <a:gd name="T1" fmla="*/ 25 h 25"/>
                <a:gd name="T2" fmla="*/ 35 w 35"/>
                <a:gd name="T3" fmla="*/ 17 h 25"/>
                <a:gd name="T4" fmla="*/ 19 w 35"/>
                <a:gd name="T5" fmla="*/ 1 h 25"/>
                <a:gd name="T6" fmla="*/ 6 w 35"/>
                <a:gd name="T7" fmla="*/ 5 h 25"/>
                <a:gd name="T8" fmla="*/ 0 w 35"/>
                <a:gd name="T9" fmla="*/ 8 h 25"/>
                <a:gd name="T10" fmla="*/ 5 w 35"/>
                <a:gd name="T11" fmla="*/ 25 h 25"/>
              </a:gdLst>
              <a:ahLst/>
              <a:cxnLst>
                <a:cxn ang="0">
                  <a:pos x="T0" y="T1"/>
                </a:cxn>
                <a:cxn ang="0">
                  <a:pos x="T2" y="T3"/>
                </a:cxn>
                <a:cxn ang="0">
                  <a:pos x="T4" y="T5"/>
                </a:cxn>
                <a:cxn ang="0">
                  <a:pos x="T6" y="T7"/>
                </a:cxn>
                <a:cxn ang="0">
                  <a:pos x="T8" y="T9"/>
                </a:cxn>
                <a:cxn ang="0">
                  <a:pos x="T10" y="T11"/>
                </a:cxn>
              </a:cxnLst>
              <a:rect l="0" t="0" r="r" b="b"/>
              <a:pathLst>
                <a:path w="35" h="25">
                  <a:moveTo>
                    <a:pt x="5" y="25"/>
                  </a:moveTo>
                  <a:cubicBezTo>
                    <a:pt x="35" y="17"/>
                    <a:pt x="35" y="17"/>
                    <a:pt x="35" y="17"/>
                  </a:cubicBezTo>
                  <a:cubicBezTo>
                    <a:pt x="35" y="17"/>
                    <a:pt x="21" y="2"/>
                    <a:pt x="19" y="1"/>
                  </a:cubicBezTo>
                  <a:cubicBezTo>
                    <a:pt x="17" y="0"/>
                    <a:pt x="6" y="5"/>
                    <a:pt x="6" y="5"/>
                  </a:cubicBezTo>
                  <a:cubicBezTo>
                    <a:pt x="0" y="8"/>
                    <a:pt x="0" y="8"/>
                    <a:pt x="0" y="8"/>
                  </a:cubicBezTo>
                  <a:cubicBezTo>
                    <a:pt x="6" y="7"/>
                    <a:pt x="12" y="22"/>
                    <a:pt x="5" y="25"/>
                  </a:cubicBezTo>
                  <a:close/>
                </a:path>
              </a:pathLst>
            </a:custGeom>
            <a:solidFill>
              <a:srgbClr val="DD8B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57" name="ï$ļíḍê">
              <a:extLst>
                <a:ext uri="{FF2B5EF4-FFF2-40B4-BE49-F238E27FC236}">
                  <a16:creationId xmlns:a16="http://schemas.microsoft.com/office/drawing/2014/main" id="{E6FEEB7B-FED1-48A3-94AD-52D88176B0A5}"/>
                </a:ext>
              </a:extLst>
            </p:cNvPr>
            <p:cNvSpPr/>
            <p:nvPr/>
          </p:nvSpPr>
          <p:spPr bwMode="auto">
            <a:xfrm>
              <a:off x="17290954" y="2892766"/>
              <a:ext cx="266420" cy="127736"/>
            </a:xfrm>
            <a:prstGeom prst="ellipse">
              <a:avLst/>
            </a:prstGeom>
            <a:solidFill>
              <a:srgbClr val="30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58" name="išľíďé">
              <a:extLst>
                <a:ext uri="{FF2B5EF4-FFF2-40B4-BE49-F238E27FC236}">
                  <a16:creationId xmlns:a16="http://schemas.microsoft.com/office/drawing/2014/main" id="{1D69A954-CC6B-4AC3-A2AF-7B7C8913DCCD}"/>
                </a:ext>
              </a:extLst>
            </p:cNvPr>
            <p:cNvSpPr/>
            <p:nvPr/>
          </p:nvSpPr>
          <p:spPr bwMode="auto">
            <a:xfrm>
              <a:off x="16378559" y="3863553"/>
              <a:ext cx="204376" cy="726267"/>
            </a:xfrm>
            <a:custGeom>
              <a:avLst/>
              <a:gdLst>
                <a:gd name="T0" fmla="*/ 143 w 143"/>
                <a:gd name="T1" fmla="*/ 1 h 510"/>
                <a:gd name="T2" fmla="*/ 131 w 143"/>
                <a:gd name="T3" fmla="*/ 0 h 510"/>
                <a:gd name="T4" fmla="*/ 106 w 143"/>
                <a:gd name="T5" fmla="*/ 16 h 510"/>
                <a:gd name="T6" fmla="*/ 0 w 143"/>
                <a:gd name="T7" fmla="*/ 464 h 510"/>
                <a:gd name="T8" fmla="*/ 33 w 143"/>
                <a:gd name="T9" fmla="*/ 495 h 510"/>
                <a:gd name="T10" fmla="*/ 62 w 143"/>
                <a:gd name="T11" fmla="*/ 505 h 510"/>
                <a:gd name="T12" fmla="*/ 88 w 143"/>
                <a:gd name="T13" fmla="*/ 510 h 510"/>
                <a:gd name="T14" fmla="*/ 126 w 143"/>
                <a:gd name="T15" fmla="*/ 18 h 510"/>
                <a:gd name="T16" fmla="*/ 143 w 143"/>
                <a:gd name="T17" fmla="*/ 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510">
                  <a:moveTo>
                    <a:pt x="143" y="1"/>
                  </a:moveTo>
                  <a:cubicBezTo>
                    <a:pt x="139" y="0"/>
                    <a:pt x="135" y="0"/>
                    <a:pt x="131" y="0"/>
                  </a:cubicBezTo>
                  <a:cubicBezTo>
                    <a:pt x="125" y="4"/>
                    <a:pt x="117" y="9"/>
                    <a:pt x="106" y="16"/>
                  </a:cubicBezTo>
                  <a:cubicBezTo>
                    <a:pt x="23" y="71"/>
                    <a:pt x="1" y="357"/>
                    <a:pt x="0" y="464"/>
                  </a:cubicBezTo>
                  <a:cubicBezTo>
                    <a:pt x="7" y="475"/>
                    <a:pt x="17" y="486"/>
                    <a:pt x="33" y="495"/>
                  </a:cubicBezTo>
                  <a:cubicBezTo>
                    <a:pt x="42" y="500"/>
                    <a:pt x="57" y="504"/>
                    <a:pt x="62" y="505"/>
                  </a:cubicBezTo>
                  <a:cubicBezTo>
                    <a:pt x="70" y="507"/>
                    <a:pt x="79" y="508"/>
                    <a:pt x="88" y="510"/>
                  </a:cubicBezTo>
                  <a:cubicBezTo>
                    <a:pt x="90" y="328"/>
                    <a:pt x="113" y="47"/>
                    <a:pt x="126" y="18"/>
                  </a:cubicBezTo>
                  <a:cubicBezTo>
                    <a:pt x="126" y="18"/>
                    <a:pt x="136" y="9"/>
                    <a:pt x="143" y="1"/>
                  </a:cubicBezTo>
                  <a:close/>
                </a:path>
              </a:pathLst>
            </a:custGeom>
            <a:solidFill>
              <a:srgbClr val="FED4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59" name="iŝḻiḓe">
              <a:extLst>
                <a:ext uri="{FF2B5EF4-FFF2-40B4-BE49-F238E27FC236}">
                  <a16:creationId xmlns:a16="http://schemas.microsoft.com/office/drawing/2014/main" id="{9E1F0F56-B984-45E8-BDD3-33459D5437DB}"/>
                </a:ext>
              </a:extLst>
            </p:cNvPr>
            <p:cNvSpPr/>
            <p:nvPr/>
          </p:nvSpPr>
          <p:spPr bwMode="auto">
            <a:xfrm>
              <a:off x="16488047" y="3863553"/>
              <a:ext cx="273720" cy="689771"/>
            </a:xfrm>
            <a:custGeom>
              <a:avLst/>
              <a:gdLst>
                <a:gd name="T0" fmla="*/ 165 w 191"/>
                <a:gd name="T1" fmla="*/ 484 h 484"/>
                <a:gd name="T2" fmla="*/ 191 w 191"/>
                <a:gd name="T3" fmla="*/ 437 h 484"/>
                <a:gd name="T4" fmla="*/ 53 w 191"/>
                <a:gd name="T5" fmla="*/ 0 h 484"/>
                <a:gd name="T6" fmla="*/ 7 w 191"/>
                <a:gd name="T7" fmla="*/ 21 h 484"/>
                <a:gd name="T8" fmla="*/ 81 w 191"/>
                <a:gd name="T9" fmla="*/ 64 h 484"/>
                <a:gd name="T10" fmla="*/ 165 w 191"/>
                <a:gd name="T11" fmla="*/ 481 h 484"/>
                <a:gd name="T12" fmla="*/ 165 w 191"/>
                <a:gd name="T13" fmla="*/ 484 h 484"/>
              </a:gdLst>
              <a:ahLst/>
              <a:cxnLst>
                <a:cxn ang="0">
                  <a:pos x="T0" y="T1"/>
                </a:cxn>
                <a:cxn ang="0">
                  <a:pos x="T2" y="T3"/>
                </a:cxn>
                <a:cxn ang="0">
                  <a:pos x="T4" y="T5"/>
                </a:cxn>
                <a:cxn ang="0">
                  <a:pos x="T6" y="T7"/>
                </a:cxn>
                <a:cxn ang="0">
                  <a:pos x="T8" y="T9"/>
                </a:cxn>
                <a:cxn ang="0">
                  <a:pos x="T10" y="T11"/>
                </a:cxn>
                <a:cxn ang="0">
                  <a:pos x="T12" y="T13"/>
                </a:cxn>
              </a:cxnLst>
              <a:rect l="0" t="0" r="r" b="b"/>
              <a:pathLst>
                <a:path w="191" h="484">
                  <a:moveTo>
                    <a:pt x="165" y="484"/>
                  </a:moveTo>
                  <a:cubicBezTo>
                    <a:pt x="184" y="470"/>
                    <a:pt x="191" y="452"/>
                    <a:pt x="191" y="437"/>
                  </a:cubicBezTo>
                  <a:cubicBezTo>
                    <a:pt x="191" y="408"/>
                    <a:pt x="179" y="0"/>
                    <a:pt x="53" y="0"/>
                  </a:cubicBezTo>
                  <a:cubicBezTo>
                    <a:pt x="36" y="0"/>
                    <a:pt x="20" y="7"/>
                    <a:pt x="7" y="21"/>
                  </a:cubicBezTo>
                  <a:cubicBezTo>
                    <a:pt x="0" y="31"/>
                    <a:pt x="62" y="35"/>
                    <a:pt x="81" y="64"/>
                  </a:cubicBezTo>
                  <a:cubicBezTo>
                    <a:pt x="127" y="132"/>
                    <a:pt x="165" y="260"/>
                    <a:pt x="165" y="481"/>
                  </a:cubicBezTo>
                  <a:cubicBezTo>
                    <a:pt x="165" y="482"/>
                    <a:pt x="165" y="483"/>
                    <a:pt x="165" y="484"/>
                  </a:cubicBezTo>
                  <a:close/>
                </a:path>
              </a:pathLst>
            </a:custGeom>
            <a:solidFill>
              <a:srgbClr val="DB85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0" name="î$lide">
              <a:extLst>
                <a:ext uri="{FF2B5EF4-FFF2-40B4-BE49-F238E27FC236}">
                  <a16:creationId xmlns:a16="http://schemas.microsoft.com/office/drawing/2014/main" id="{D4FE53CF-0C50-4B3D-B344-827A9D1791CF}"/>
                </a:ext>
              </a:extLst>
            </p:cNvPr>
            <p:cNvSpPr/>
            <p:nvPr/>
          </p:nvSpPr>
          <p:spPr bwMode="auto">
            <a:xfrm>
              <a:off x="18597504" y="4772299"/>
              <a:ext cx="21897" cy="18249"/>
            </a:xfrm>
            <a:custGeom>
              <a:avLst/>
              <a:gdLst>
                <a:gd name="T0" fmla="*/ 0 w 17"/>
                <a:gd name="T1" fmla="*/ 13 h 13"/>
                <a:gd name="T2" fmla="*/ 1 w 17"/>
                <a:gd name="T3" fmla="*/ 6 h 13"/>
                <a:gd name="T4" fmla="*/ 16 w 17"/>
                <a:gd name="T5" fmla="*/ 0 h 13"/>
                <a:gd name="T6" fmla="*/ 16 w 17"/>
                <a:gd name="T7" fmla="*/ 1 h 13"/>
                <a:gd name="T8" fmla="*/ 17 w 17"/>
                <a:gd name="T9" fmla="*/ 8 h 13"/>
                <a:gd name="T10" fmla="*/ 0 w 17"/>
                <a:gd name="T11" fmla="*/ 13 h 13"/>
              </a:gdLst>
              <a:ahLst/>
              <a:cxnLst>
                <a:cxn ang="0">
                  <a:pos x="T0" y="T1"/>
                </a:cxn>
                <a:cxn ang="0">
                  <a:pos x="T2" y="T3"/>
                </a:cxn>
                <a:cxn ang="0">
                  <a:pos x="T4" y="T5"/>
                </a:cxn>
                <a:cxn ang="0">
                  <a:pos x="T6" y="T7"/>
                </a:cxn>
                <a:cxn ang="0">
                  <a:pos x="T8" y="T9"/>
                </a:cxn>
                <a:cxn ang="0">
                  <a:pos x="T10" y="T11"/>
                </a:cxn>
              </a:cxnLst>
              <a:rect l="0" t="0" r="r" b="b"/>
              <a:pathLst>
                <a:path w="17" h="13">
                  <a:moveTo>
                    <a:pt x="0" y="13"/>
                  </a:moveTo>
                  <a:cubicBezTo>
                    <a:pt x="0" y="10"/>
                    <a:pt x="0" y="8"/>
                    <a:pt x="1" y="6"/>
                  </a:cubicBezTo>
                  <a:cubicBezTo>
                    <a:pt x="6" y="4"/>
                    <a:pt x="11" y="2"/>
                    <a:pt x="16" y="0"/>
                  </a:cubicBezTo>
                  <a:cubicBezTo>
                    <a:pt x="16" y="0"/>
                    <a:pt x="16" y="0"/>
                    <a:pt x="16" y="1"/>
                  </a:cubicBezTo>
                  <a:cubicBezTo>
                    <a:pt x="16" y="3"/>
                    <a:pt x="17" y="6"/>
                    <a:pt x="17" y="8"/>
                  </a:cubicBezTo>
                  <a:cubicBezTo>
                    <a:pt x="11" y="10"/>
                    <a:pt x="5" y="11"/>
                    <a:pt x="0" y="13"/>
                  </a:cubicBezTo>
                </a:path>
              </a:pathLst>
            </a:custGeom>
            <a:solidFill>
              <a:srgbClr val="D8DB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1" name="iśļíḑé">
              <a:extLst>
                <a:ext uri="{FF2B5EF4-FFF2-40B4-BE49-F238E27FC236}">
                  <a16:creationId xmlns:a16="http://schemas.microsoft.com/office/drawing/2014/main" id="{8CBB3BAD-8F7A-47F4-8111-1334808144BE}"/>
                </a:ext>
              </a:extLst>
            </p:cNvPr>
            <p:cNvSpPr/>
            <p:nvPr/>
          </p:nvSpPr>
          <p:spPr bwMode="auto">
            <a:xfrm>
              <a:off x="18900420" y="4852590"/>
              <a:ext cx="32847" cy="32847"/>
            </a:xfrm>
            <a:custGeom>
              <a:avLst/>
              <a:gdLst>
                <a:gd name="T0" fmla="*/ 23 w 23"/>
                <a:gd name="T1" fmla="*/ 22 h 22"/>
                <a:gd name="T2" fmla="*/ 2 w 23"/>
                <a:gd name="T3" fmla="*/ 8 h 22"/>
                <a:gd name="T4" fmla="*/ 0 w 23"/>
                <a:gd name="T5" fmla="*/ 0 h 22"/>
                <a:gd name="T6" fmla="*/ 21 w 23"/>
                <a:gd name="T7" fmla="*/ 14 h 22"/>
                <a:gd name="T8" fmla="*/ 23 w 23"/>
                <a:gd name="T9" fmla="*/ 22 h 22"/>
              </a:gdLst>
              <a:ahLst/>
              <a:cxnLst>
                <a:cxn ang="0">
                  <a:pos x="T0" y="T1"/>
                </a:cxn>
                <a:cxn ang="0">
                  <a:pos x="T2" y="T3"/>
                </a:cxn>
                <a:cxn ang="0">
                  <a:pos x="T4" y="T5"/>
                </a:cxn>
                <a:cxn ang="0">
                  <a:pos x="T6" y="T7"/>
                </a:cxn>
                <a:cxn ang="0">
                  <a:pos x="T8" y="T9"/>
                </a:cxn>
              </a:cxnLst>
              <a:rect l="0" t="0" r="r" b="b"/>
              <a:pathLst>
                <a:path w="23" h="22">
                  <a:moveTo>
                    <a:pt x="23" y="22"/>
                  </a:moveTo>
                  <a:cubicBezTo>
                    <a:pt x="17" y="17"/>
                    <a:pt x="10" y="13"/>
                    <a:pt x="2" y="8"/>
                  </a:cubicBezTo>
                  <a:cubicBezTo>
                    <a:pt x="1" y="5"/>
                    <a:pt x="0" y="3"/>
                    <a:pt x="0" y="0"/>
                  </a:cubicBezTo>
                  <a:cubicBezTo>
                    <a:pt x="7" y="5"/>
                    <a:pt x="14" y="10"/>
                    <a:pt x="21" y="14"/>
                  </a:cubicBezTo>
                  <a:cubicBezTo>
                    <a:pt x="21" y="17"/>
                    <a:pt x="22" y="19"/>
                    <a:pt x="23" y="22"/>
                  </a:cubicBezTo>
                </a:path>
              </a:pathLst>
            </a:custGeom>
            <a:solidFill>
              <a:srgbClr val="D8DB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2" name="iSḻiḑe">
              <a:extLst>
                <a:ext uri="{FF2B5EF4-FFF2-40B4-BE49-F238E27FC236}">
                  <a16:creationId xmlns:a16="http://schemas.microsoft.com/office/drawing/2014/main" id="{8A3A854F-547B-45FF-AD73-7FE19F153D50}"/>
                </a:ext>
              </a:extLst>
            </p:cNvPr>
            <p:cNvSpPr/>
            <p:nvPr/>
          </p:nvSpPr>
          <p:spPr bwMode="auto">
            <a:xfrm>
              <a:off x="17725255" y="4159170"/>
              <a:ext cx="642326" cy="751813"/>
            </a:xfrm>
            <a:custGeom>
              <a:avLst/>
              <a:gdLst>
                <a:gd name="T0" fmla="*/ 349 w 454"/>
                <a:gd name="T1" fmla="*/ 173 h 529"/>
                <a:gd name="T2" fmla="*/ 386 w 454"/>
                <a:gd name="T3" fmla="*/ 479 h 529"/>
                <a:gd name="T4" fmla="*/ 105 w 454"/>
                <a:gd name="T5" fmla="*/ 355 h 529"/>
                <a:gd name="T6" fmla="*/ 68 w 454"/>
                <a:gd name="T7" fmla="*/ 50 h 529"/>
                <a:gd name="T8" fmla="*/ 349 w 454"/>
                <a:gd name="T9" fmla="*/ 173 h 529"/>
              </a:gdLst>
              <a:ahLst/>
              <a:cxnLst>
                <a:cxn ang="0">
                  <a:pos x="T0" y="T1"/>
                </a:cxn>
                <a:cxn ang="0">
                  <a:pos x="T2" y="T3"/>
                </a:cxn>
                <a:cxn ang="0">
                  <a:pos x="T4" y="T5"/>
                </a:cxn>
                <a:cxn ang="0">
                  <a:pos x="T6" y="T7"/>
                </a:cxn>
                <a:cxn ang="0">
                  <a:pos x="T8" y="T9"/>
                </a:cxn>
              </a:cxnLst>
              <a:rect l="0" t="0" r="r" b="b"/>
              <a:pathLst>
                <a:path w="454" h="529">
                  <a:moveTo>
                    <a:pt x="349" y="173"/>
                  </a:moveTo>
                  <a:cubicBezTo>
                    <a:pt x="437" y="292"/>
                    <a:pt x="454" y="429"/>
                    <a:pt x="386" y="479"/>
                  </a:cubicBezTo>
                  <a:cubicBezTo>
                    <a:pt x="319" y="529"/>
                    <a:pt x="193" y="473"/>
                    <a:pt x="105" y="355"/>
                  </a:cubicBezTo>
                  <a:cubicBezTo>
                    <a:pt x="17" y="236"/>
                    <a:pt x="0" y="100"/>
                    <a:pt x="68" y="50"/>
                  </a:cubicBezTo>
                  <a:cubicBezTo>
                    <a:pt x="135" y="0"/>
                    <a:pt x="261" y="55"/>
                    <a:pt x="349" y="173"/>
                  </a:cubicBezTo>
                </a:path>
              </a:pathLst>
            </a:custGeom>
            <a:solidFill>
              <a:srgbClr val="B01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3" name="ísļïḍe">
              <a:extLst>
                <a:ext uri="{FF2B5EF4-FFF2-40B4-BE49-F238E27FC236}">
                  <a16:creationId xmlns:a16="http://schemas.microsoft.com/office/drawing/2014/main" id="{E5BFDEDB-303F-4DEA-BBB5-B4CF40958028}"/>
                </a:ext>
              </a:extLst>
            </p:cNvPr>
            <p:cNvSpPr/>
            <p:nvPr/>
          </p:nvSpPr>
          <p:spPr bwMode="auto">
            <a:xfrm>
              <a:off x="17057381" y="3411006"/>
              <a:ext cx="2175149" cy="2065661"/>
            </a:xfrm>
            <a:custGeom>
              <a:avLst/>
              <a:gdLst>
                <a:gd name="T0" fmla="*/ 1172 w 1529"/>
                <a:gd name="T1" fmla="*/ 49 h 1457"/>
                <a:gd name="T2" fmla="*/ 1172 w 1529"/>
                <a:gd name="T3" fmla="*/ 50 h 1457"/>
                <a:gd name="T4" fmla="*/ 1429 w 1529"/>
                <a:gd name="T5" fmla="*/ 135 h 1457"/>
                <a:gd name="T6" fmla="*/ 1483 w 1529"/>
                <a:gd name="T7" fmla="*/ 392 h 1457"/>
                <a:gd name="T8" fmla="*/ 313 w 1529"/>
                <a:gd name="T9" fmla="*/ 1457 h 1457"/>
                <a:gd name="T10" fmla="*/ 0 w 1529"/>
                <a:gd name="T11" fmla="*/ 1112 h 1457"/>
                <a:gd name="T12" fmla="*/ 1172 w 1529"/>
                <a:gd name="T13" fmla="*/ 49 h 1457"/>
              </a:gdLst>
              <a:ahLst/>
              <a:cxnLst>
                <a:cxn ang="0">
                  <a:pos x="T0" y="T1"/>
                </a:cxn>
                <a:cxn ang="0">
                  <a:pos x="T2" y="T3"/>
                </a:cxn>
                <a:cxn ang="0">
                  <a:pos x="T4" y="T5"/>
                </a:cxn>
                <a:cxn ang="0">
                  <a:pos x="T6" y="T7"/>
                </a:cxn>
                <a:cxn ang="0">
                  <a:pos x="T8" y="T9"/>
                </a:cxn>
                <a:cxn ang="0">
                  <a:pos x="T10" y="T11"/>
                </a:cxn>
                <a:cxn ang="0">
                  <a:pos x="T12" y="T13"/>
                </a:cxn>
              </a:cxnLst>
              <a:rect l="0" t="0" r="r" b="b"/>
              <a:pathLst>
                <a:path w="1529" h="1457">
                  <a:moveTo>
                    <a:pt x="1172" y="49"/>
                  </a:moveTo>
                  <a:cubicBezTo>
                    <a:pt x="1172" y="50"/>
                    <a:pt x="1172" y="50"/>
                    <a:pt x="1172" y="50"/>
                  </a:cubicBezTo>
                  <a:cubicBezTo>
                    <a:pt x="1232" y="0"/>
                    <a:pt x="1347" y="38"/>
                    <a:pt x="1429" y="135"/>
                  </a:cubicBezTo>
                  <a:cubicBezTo>
                    <a:pt x="1507" y="226"/>
                    <a:pt x="1529" y="337"/>
                    <a:pt x="1483" y="392"/>
                  </a:cubicBezTo>
                  <a:cubicBezTo>
                    <a:pt x="313" y="1457"/>
                    <a:pt x="313" y="1457"/>
                    <a:pt x="313" y="1457"/>
                  </a:cubicBezTo>
                  <a:cubicBezTo>
                    <a:pt x="0" y="1112"/>
                    <a:pt x="0" y="1112"/>
                    <a:pt x="0" y="1112"/>
                  </a:cubicBezTo>
                  <a:cubicBezTo>
                    <a:pt x="1172" y="49"/>
                    <a:pt x="1172" y="49"/>
                    <a:pt x="1172" y="49"/>
                  </a:cubicBezTo>
                </a:path>
              </a:pathLst>
            </a:custGeom>
            <a:solidFill>
              <a:srgbClr val="D5D2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4" name="íṧḷíḑe">
              <a:extLst>
                <a:ext uri="{FF2B5EF4-FFF2-40B4-BE49-F238E27FC236}">
                  <a16:creationId xmlns:a16="http://schemas.microsoft.com/office/drawing/2014/main" id="{D5C567DA-26B6-4D91-AAFC-9448EA0F4E86}"/>
                </a:ext>
              </a:extLst>
            </p:cNvPr>
            <p:cNvSpPr/>
            <p:nvPr/>
          </p:nvSpPr>
          <p:spPr bwMode="auto">
            <a:xfrm>
              <a:off x="17009938" y="4910983"/>
              <a:ext cx="572985" cy="642326"/>
            </a:xfrm>
            <a:custGeom>
              <a:avLst/>
              <a:gdLst>
                <a:gd name="T0" fmla="*/ 86 w 404"/>
                <a:gd name="T1" fmla="*/ 319 h 454"/>
                <a:gd name="T2" fmla="*/ 4 w 404"/>
                <a:gd name="T3" fmla="*/ 190 h 454"/>
                <a:gd name="T4" fmla="*/ 32 w 404"/>
                <a:gd name="T5" fmla="*/ 138 h 454"/>
                <a:gd name="T6" fmla="*/ 43 w 404"/>
                <a:gd name="T7" fmla="*/ 51 h 454"/>
                <a:gd name="T8" fmla="*/ 301 w 404"/>
                <a:gd name="T9" fmla="*/ 135 h 454"/>
                <a:gd name="T10" fmla="*/ 344 w 404"/>
                <a:gd name="T11" fmla="*/ 403 h 454"/>
                <a:gd name="T12" fmla="*/ 86 w 404"/>
                <a:gd name="T13" fmla="*/ 319 h 454"/>
              </a:gdLst>
              <a:ahLst/>
              <a:cxnLst>
                <a:cxn ang="0">
                  <a:pos x="T0" y="T1"/>
                </a:cxn>
                <a:cxn ang="0">
                  <a:pos x="T2" y="T3"/>
                </a:cxn>
                <a:cxn ang="0">
                  <a:pos x="T4" y="T5"/>
                </a:cxn>
                <a:cxn ang="0">
                  <a:pos x="T6" y="T7"/>
                </a:cxn>
                <a:cxn ang="0">
                  <a:pos x="T8" y="T9"/>
                </a:cxn>
                <a:cxn ang="0">
                  <a:pos x="T10" y="T11"/>
                </a:cxn>
                <a:cxn ang="0">
                  <a:pos x="T12" y="T13"/>
                </a:cxn>
              </a:cxnLst>
              <a:rect l="0" t="0" r="r" b="b"/>
              <a:pathLst>
                <a:path w="404" h="454">
                  <a:moveTo>
                    <a:pt x="86" y="319"/>
                  </a:moveTo>
                  <a:cubicBezTo>
                    <a:pt x="49" y="276"/>
                    <a:pt x="15" y="234"/>
                    <a:pt x="4" y="190"/>
                  </a:cubicBezTo>
                  <a:cubicBezTo>
                    <a:pt x="0" y="173"/>
                    <a:pt x="39" y="153"/>
                    <a:pt x="32" y="138"/>
                  </a:cubicBezTo>
                  <a:cubicBezTo>
                    <a:pt x="18" y="113"/>
                    <a:pt x="20" y="71"/>
                    <a:pt x="43" y="51"/>
                  </a:cubicBezTo>
                  <a:cubicBezTo>
                    <a:pt x="102" y="0"/>
                    <a:pt x="218" y="38"/>
                    <a:pt x="301" y="135"/>
                  </a:cubicBezTo>
                  <a:cubicBezTo>
                    <a:pt x="384" y="232"/>
                    <a:pt x="404" y="353"/>
                    <a:pt x="344" y="403"/>
                  </a:cubicBezTo>
                  <a:cubicBezTo>
                    <a:pt x="284" y="454"/>
                    <a:pt x="169" y="417"/>
                    <a:pt x="86" y="319"/>
                  </a:cubicBezTo>
                </a:path>
              </a:pathLst>
            </a:custGeom>
            <a:solidFill>
              <a:srgbClr val="BFC8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5" name="iŝ1îḓè">
              <a:extLst>
                <a:ext uri="{FF2B5EF4-FFF2-40B4-BE49-F238E27FC236}">
                  <a16:creationId xmlns:a16="http://schemas.microsoft.com/office/drawing/2014/main" id="{BB776881-6282-43E3-991E-364CAD60B8AC}"/>
                </a:ext>
              </a:extLst>
            </p:cNvPr>
            <p:cNvSpPr/>
            <p:nvPr/>
          </p:nvSpPr>
          <p:spPr bwMode="auto">
            <a:xfrm>
              <a:off x="17163220" y="4976675"/>
              <a:ext cx="372257" cy="430650"/>
            </a:xfrm>
            <a:custGeom>
              <a:avLst/>
              <a:gdLst>
                <a:gd name="T0" fmla="*/ 185 w 261"/>
                <a:gd name="T1" fmla="*/ 304 h 304"/>
                <a:gd name="T2" fmla="*/ 147 w 261"/>
                <a:gd name="T3" fmla="*/ 137 h 304"/>
                <a:gd name="T4" fmla="*/ 147 w 261"/>
                <a:gd name="T5" fmla="*/ 137 h 304"/>
                <a:gd name="T6" fmla="*/ 143 w 261"/>
                <a:gd name="T7" fmla="*/ 132 h 304"/>
                <a:gd name="T8" fmla="*/ 51 w 261"/>
                <a:gd name="T9" fmla="*/ 63 h 304"/>
                <a:gd name="T10" fmla="*/ 21 w 261"/>
                <a:gd name="T11" fmla="*/ 74 h 304"/>
                <a:gd name="T12" fmla="*/ 0 w 261"/>
                <a:gd name="T13" fmla="*/ 78 h 304"/>
                <a:gd name="T14" fmla="*/ 82 w 261"/>
                <a:gd name="T15" fmla="*/ 0 h 304"/>
                <a:gd name="T16" fmla="*/ 193 w 261"/>
                <a:gd name="T17" fmla="*/ 87 h 304"/>
                <a:gd name="T18" fmla="*/ 238 w 261"/>
                <a:gd name="T19" fmla="*/ 152 h 304"/>
                <a:gd name="T20" fmla="*/ 261 w 261"/>
                <a:gd name="T21" fmla="*/ 236 h 304"/>
                <a:gd name="T22" fmla="*/ 185 w 261"/>
                <a:gd name="T23" fmla="*/ 304 h 304"/>
                <a:gd name="T24" fmla="*/ 190 w 261"/>
                <a:gd name="T25" fmla="*/ 291 h 304"/>
                <a:gd name="T26" fmla="*/ 194 w 261"/>
                <a:gd name="T27" fmla="*/ 235 h 304"/>
                <a:gd name="T28" fmla="*/ 198 w 261"/>
                <a:gd name="T29" fmla="*/ 260 h 304"/>
                <a:gd name="T30" fmla="*/ 190 w 261"/>
                <a:gd name="T31" fmla="*/ 2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304">
                  <a:moveTo>
                    <a:pt x="185" y="304"/>
                  </a:moveTo>
                  <a:cubicBezTo>
                    <a:pt x="222" y="269"/>
                    <a:pt x="202" y="202"/>
                    <a:pt x="147" y="137"/>
                  </a:cubicBezTo>
                  <a:cubicBezTo>
                    <a:pt x="147" y="137"/>
                    <a:pt x="147" y="137"/>
                    <a:pt x="147" y="137"/>
                  </a:cubicBezTo>
                  <a:cubicBezTo>
                    <a:pt x="146" y="135"/>
                    <a:pt x="145" y="134"/>
                    <a:pt x="143" y="132"/>
                  </a:cubicBezTo>
                  <a:cubicBezTo>
                    <a:pt x="106" y="89"/>
                    <a:pt x="78" y="63"/>
                    <a:pt x="51" y="63"/>
                  </a:cubicBezTo>
                  <a:cubicBezTo>
                    <a:pt x="41" y="63"/>
                    <a:pt x="32" y="67"/>
                    <a:pt x="21" y="74"/>
                  </a:cubicBezTo>
                  <a:cubicBezTo>
                    <a:pt x="8" y="75"/>
                    <a:pt x="0" y="78"/>
                    <a:pt x="0" y="78"/>
                  </a:cubicBezTo>
                  <a:cubicBezTo>
                    <a:pt x="82" y="0"/>
                    <a:pt x="82" y="0"/>
                    <a:pt x="82" y="0"/>
                  </a:cubicBezTo>
                  <a:cubicBezTo>
                    <a:pt x="121" y="18"/>
                    <a:pt x="160" y="48"/>
                    <a:pt x="193" y="87"/>
                  </a:cubicBezTo>
                  <a:cubicBezTo>
                    <a:pt x="211" y="108"/>
                    <a:pt x="226" y="130"/>
                    <a:pt x="238" y="152"/>
                  </a:cubicBezTo>
                  <a:cubicBezTo>
                    <a:pt x="261" y="236"/>
                    <a:pt x="261" y="236"/>
                    <a:pt x="261" y="236"/>
                  </a:cubicBezTo>
                  <a:cubicBezTo>
                    <a:pt x="185" y="304"/>
                    <a:pt x="185" y="304"/>
                    <a:pt x="185" y="304"/>
                  </a:cubicBezTo>
                  <a:moveTo>
                    <a:pt x="190" y="291"/>
                  </a:moveTo>
                  <a:cubicBezTo>
                    <a:pt x="194" y="279"/>
                    <a:pt x="198" y="260"/>
                    <a:pt x="194" y="235"/>
                  </a:cubicBezTo>
                  <a:cubicBezTo>
                    <a:pt x="197" y="244"/>
                    <a:pt x="198" y="252"/>
                    <a:pt x="198" y="260"/>
                  </a:cubicBezTo>
                  <a:cubicBezTo>
                    <a:pt x="199" y="272"/>
                    <a:pt x="195" y="283"/>
                    <a:pt x="190" y="291"/>
                  </a:cubicBezTo>
                </a:path>
              </a:pathLst>
            </a:custGeom>
            <a:solidFill>
              <a:srgbClr val="9CA9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6" name="iṥ1îḋe">
              <a:extLst>
                <a:ext uri="{FF2B5EF4-FFF2-40B4-BE49-F238E27FC236}">
                  <a16:creationId xmlns:a16="http://schemas.microsoft.com/office/drawing/2014/main" id="{C9F31D91-2AB4-4C56-B4F3-0297E715AB4F}"/>
                </a:ext>
              </a:extLst>
            </p:cNvPr>
            <p:cNvSpPr/>
            <p:nvPr/>
          </p:nvSpPr>
          <p:spPr bwMode="auto">
            <a:xfrm>
              <a:off x="17141323" y="5082512"/>
              <a:ext cx="299266" cy="335761"/>
            </a:xfrm>
            <a:custGeom>
              <a:avLst/>
              <a:gdLst>
                <a:gd name="T0" fmla="*/ 193 w 209"/>
                <a:gd name="T1" fmla="*/ 236 h 236"/>
                <a:gd name="T2" fmla="*/ 205 w 209"/>
                <a:gd name="T3" fmla="*/ 217 h 236"/>
                <a:gd name="T4" fmla="*/ 200 w 209"/>
                <a:gd name="T5" fmla="*/ 231 h 236"/>
                <a:gd name="T6" fmla="*/ 200 w 209"/>
                <a:gd name="T7" fmla="*/ 230 h 236"/>
                <a:gd name="T8" fmla="*/ 198 w 209"/>
                <a:gd name="T9" fmla="*/ 232 h 236"/>
                <a:gd name="T10" fmla="*/ 193 w 209"/>
                <a:gd name="T11" fmla="*/ 236 h 236"/>
                <a:gd name="T12" fmla="*/ 209 w 209"/>
                <a:gd name="T13" fmla="*/ 161 h 236"/>
                <a:gd name="T14" fmla="*/ 145 w 209"/>
                <a:gd name="T15" fmla="*/ 51 h 236"/>
                <a:gd name="T16" fmla="*/ 141 w 209"/>
                <a:gd name="T17" fmla="*/ 50 h 236"/>
                <a:gd name="T18" fmla="*/ 98 w 209"/>
                <a:gd name="T19" fmla="*/ 78 h 236"/>
                <a:gd name="T20" fmla="*/ 56 w 209"/>
                <a:gd name="T21" fmla="*/ 106 h 236"/>
                <a:gd name="T22" fmla="*/ 53 w 209"/>
                <a:gd name="T23" fmla="*/ 104 h 236"/>
                <a:gd name="T24" fmla="*/ 32 w 209"/>
                <a:gd name="T25" fmla="*/ 4 h 236"/>
                <a:gd name="T26" fmla="*/ 36 w 209"/>
                <a:gd name="T27" fmla="*/ 0 h 236"/>
                <a:gd name="T28" fmla="*/ 43 w 209"/>
                <a:gd name="T29" fmla="*/ 0 h 236"/>
                <a:gd name="T30" fmla="*/ 158 w 209"/>
                <a:gd name="T31" fmla="*/ 58 h 236"/>
                <a:gd name="T32" fmla="*/ 162 w 209"/>
                <a:gd name="T33" fmla="*/ 63 h 236"/>
                <a:gd name="T34" fmla="*/ 162 w 209"/>
                <a:gd name="T35" fmla="*/ 63 h 236"/>
                <a:gd name="T36" fmla="*/ 209 w 209"/>
                <a:gd name="T37" fmla="*/ 16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9" h="236">
                  <a:moveTo>
                    <a:pt x="193" y="236"/>
                  </a:moveTo>
                  <a:cubicBezTo>
                    <a:pt x="192" y="236"/>
                    <a:pt x="199" y="229"/>
                    <a:pt x="205" y="217"/>
                  </a:cubicBezTo>
                  <a:cubicBezTo>
                    <a:pt x="202" y="226"/>
                    <a:pt x="200" y="231"/>
                    <a:pt x="200" y="231"/>
                  </a:cubicBezTo>
                  <a:cubicBezTo>
                    <a:pt x="200" y="230"/>
                    <a:pt x="200" y="230"/>
                    <a:pt x="200" y="230"/>
                  </a:cubicBezTo>
                  <a:cubicBezTo>
                    <a:pt x="199" y="231"/>
                    <a:pt x="199" y="232"/>
                    <a:pt x="198" y="232"/>
                  </a:cubicBezTo>
                  <a:cubicBezTo>
                    <a:pt x="195" y="235"/>
                    <a:pt x="193" y="236"/>
                    <a:pt x="193" y="236"/>
                  </a:cubicBezTo>
                  <a:moveTo>
                    <a:pt x="209" y="161"/>
                  </a:moveTo>
                  <a:cubicBezTo>
                    <a:pt x="199" y="123"/>
                    <a:pt x="171" y="81"/>
                    <a:pt x="145" y="51"/>
                  </a:cubicBezTo>
                  <a:cubicBezTo>
                    <a:pt x="144" y="50"/>
                    <a:pt x="143" y="50"/>
                    <a:pt x="141" y="50"/>
                  </a:cubicBezTo>
                  <a:cubicBezTo>
                    <a:pt x="133" y="50"/>
                    <a:pt x="115" y="64"/>
                    <a:pt x="98" y="78"/>
                  </a:cubicBezTo>
                  <a:cubicBezTo>
                    <a:pt x="81" y="92"/>
                    <a:pt x="64" y="106"/>
                    <a:pt x="56" y="106"/>
                  </a:cubicBezTo>
                  <a:cubicBezTo>
                    <a:pt x="55" y="106"/>
                    <a:pt x="54" y="105"/>
                    <a:pt x="53" y="104"/>
                  </a:cubicBezTo>
                  <a:cubicBezTo>
                    <a:pt x="15" y="53"/>
                    <a:pt x="0" y="31"/>
                    <a:pt x="32" y="4"/>
                  </a:cubicBezTo>
                  <a:cubicBezTo>
                    <a:pt x="33" y="3"/>
                    <a:pt x="35" y="1"/>
                    <a:pt x="36" y="0"/>
                  </a:cubicBezTo>
                  <a:cubicBezTo>
                    <a:pt x="39" y="0"/>
                    <a:pt x="41" y="0"/>
                    <a:pt x="43" y="0"/>
                  </a:cubicBezTo>
                  <a:cubicBezTo>
                    <a:pt x="71" y="0"/>
                    <a:pt x="115" y="9"/>
                    <a:pt x="158" y="58"/>
                  </a:cubicBezTo>
                  <a:cubicBezTo>
                    <a:pt x="159" y="60"/>
                    <a:pt x="161" y="61"/>
                    <a:pt x="162" y="63"/>
                  </a:cubicBezTo>
                  <a:cubicBezTo>
                    <a:pt x="162" y="63"/>
                    <a:pt x="162" y="63"/>
                    <a:pt x="162" y="63"/>
                  </a:cubicBezTo>
                  <a:cubicBezTo>
                    <a:pt x="193" y="100"/>
                    <a:pt x="206" y="134"/>
                    <a:pt x="209" y="161"/>
                  </a:cubicBezTo>
                </a:path>
              </a:pathLst>
            </a:custGeom>
            <a:solidFill>
              <a:srgbClr val="9CA9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7" name="íŝlïḋê">
              <a:extLst>
                <a:ext uri="{FF2B5EF4-FFF2-40B4-BE49-F238E27FC236}">
                  <a16:creationId xmlns:a16="http://schemas.microsoft.com/office/drawing/2014/main" id="{81F2D68C-CF51-4853-AAE2-99B8A12849A9}"/>
                </a:ext>
              </a:extLst>
            </p:cNvPr>
            <p:cNvSpPr/>
            <p:nvPr/>
          </p:nvSpPr>
          <p:spPr bwMode="auto">
            <a:xfrm>
              <a:off x="17192417" y="5067914"/>
              <a:ext cx="288318" cy="343060"/>
            </a:xfrm>
            <a:custGeom>
              <a:avLst/>
              <a:gdLst>
                <a:gd name="T0" fmla="*/ 164 w 201"/>
                <a:gd name="T1" fmla="*/ 242 h 242"/>
                <a:gd name="T2" fmla="*/ 169 w 201"/>
                <a:gd name="T3" fmla="*/ 228 h 242"/>
                <a:gd name="T4" fmla="*/ 177 w 201"/>
                <a:gd name="T5" fmla="*/ 197 h 242"/>
                <a:gd name="T6" fmla="*/ 173 w 201"/>
                <a:gd name="T7" fmla="*/ 172 h 242"/>
                <a:gd name="T8" fmla="*/ 126 w 201"/>
                <a:gd name="T9" fmla="*/ 74 h 242"/>
                <a:gd name="T10" fmla="*/ 164 w 201"/>
                <a:gd name="T11" fmla="*/ 241 h 242"/>
                <a:gd name="T12" fmla="*/ 164 w 201"/>
                <a:gd name="T13" fmla="*/ 242 h 242"/>
                <a:gd name="T14" fmla="*/ 122 w 201"/>
                <a:gd name="T15" fmla="*/ 69 h 242"/>
                <a:gd name="T16" fmla="*/ 7 w 201"/>
                <a:gd name="T17" fmla="*/ 11 h 242"/>
                <a:gd name="T18" fmla="*/ 0 w 201"/>
                <a:gd name="T19" fmla="*/ 11 h 242"/>
                <a:gd name="T20" fmla="*/ 30 w 201"/>
                <a:gd name="T21" fmla="*/ 0 h 242"/>
                <a:gd name="T22" fmla="*/ 122 w 201"/>
                <a:gd name="T23" fmla="*/ 6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42">
                  <a:moveTo>
                    <a:pt x="164" y="242"/>
                  </a:moveTo>
                  <a:cubicBezTo>
                    <a:pt x="164" y="242"/>
                    <a:pt x="166" y="237"/>
                    <a:pt x="169" y="228"/>
                  </a:cubicBezTo>
                  <a:cubicBezTo>
                    <a:pt x="174" y="220"/>
                    <a:pt x="178" y="209"/>
                    <a:pt x="177" y="197"/>
                  </a:cubicBezTo>
                  <a:cubicBezTo>
                    <a:pt x="177" y="189"/>
                    <a:pt x="176" y="181"/>
                    <a:pt x="173" y="172"/>
                  </a:cubicBezTo>
                  <a:cubicBezTo>
                    <a:pt x="170" y="145"/>
                    <a:pt x="157" y="111"/>
                    <a:pt x="126" y="74"/>
                  </a:cubicBezTo>
                  <a:cubicBezTo>
                    <a:pt x="181" y="139"/>
                    <a:pt x="201" y="206"/>
                    <a:pt x="164" y="241"/>
                  </a:cubicBezTo>
                  <a:cubicBezTo>
                    <a:pt x="164" y="242"/>
                    <a:pt x="164" y="242"/>
                    <a:pt x="164" y="242"/>
                  </a:cubicBezTo>
                  <a:moveTo>
                    <a:pt x="122" y="69"/>
                  </a:moveTo>
                  <a:cubicBezTo>
                    <a:pt x="79" y="20"/>
                    <a:pt x="35" y="11"/>
                    <a:pt x="7" y="11"/>
                  </a:cubicBezTo>
                  <a:cubicBezTo>
                    <a:pt x="5" y="11"/>
                    <a:pt x="3" y="11"/>
                    <a:pt x="0" y="11"/>
                  </a:cubicBezTo>
                  <a:cubicBezTo>
                    <a:pt x="11" y="4"/>
                    <a:pt x="20" y="0"/>
                    <a:pt x="30" y="0"/>
                  </a:cubicBezTo>
                  <a:cubicBezTo>
                    <a:pt x="57" y="0"/>
                    <a:pt x="85" y="26"/>
                    <a:pt x="122" y="69"/>
                  </a:cubicBezTo>
                </a:path>
              </a:pathLst>
            </a:custGeom>
            <a:solidFill>
              <a:srgbClr val="7F909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8" name="ïS1îďé">
              <a:extLst>
                <a:ext uri="{FF2B5EF4-FFF2-40B4-BE49-F238E27FC236}">
                  <a16:creationId xmlns:a16="http://schemas.microsoft.com/office/drawing/2014/main" id="{730BC4A9-5606-4140-AFA8-EF5CCC1A5428}"/>
                </a:ext>
              </a:extLst>
            </p:cNvPr>
            <p:cNvSpPr/>
            <p:nvPr/>
          </p:nvSpPr>
          <p:spPr bwMode="auto">
            <a:xfrm>
              <a:off x="17057381" y="3411006"/>
              <a:ext cx="2175149" cy="2076611"/>
            </a:xfrm>
            <a:custGeom>
              <a:avLst/>
              <a:gdLst>
                <a:gd name="T0" fmla="*/ 267 w 1529"/>
                <a:gd name="T1" fmla="*/ 1191 h 1464"/>
                <a:gd name="T2" fmla="*/ 9 w 1529"/>
                <a:gd name="T3" fmla="*/ 1107 h 1464"/>
                <a:gd name="T4" fmla="*/ 1 w 1529"/>
                <a:gd name="T5" fmla="*/ 1114 h 1464"/>
                <a:gd name="T6" fmla="*/ 0 w 1529"/>
                <a:gd name="T7" fmla="*/ 1112 h 1464"/>
                <a:gd name="T8" fmla="*/ 1172 w 1529"/>
                <a:gd name="T9" fmla="*/ 49 h 1464"/>
                <a:gd name="T10" fmla="*/ 1172 w 1529"/>
                <a:gd name="T11" fmla="*/ 50 h 1464"/>
                <a:gd name="T12" fmla="*/ 1429 w 1529"/>
                <a:gd name="T13" fmla="*/ 135 h 1464"/>
                <a:gd name="T14" fmla="*/ 1483 w 1529"/>
                <a:gd name="T15" fmla="*/ 392 h 1464"/>
                <a:gd name="T16" fmla="*/ 322 w 1529"/>
                <a:gd name="T17" fmla="*/ 1464 h 1464"/>
                <a:gd name="T18" fmla="*/ 313 w 1529"/>
                <a:gd name="T19" fmla="*/ 1457 h 1464"/>
                <a:gd name="T20" fmla="*/ 267 w 1529"/>
                <a:gd name="T21" fmla="*/ 1191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9" h="1464">
                  <a:moveTo>
                    <a:pt x="267" y="1191"/>
                  </a:moveTo>
                  <a:cubicBezTo>
                    <a:pt x="184" y="1094"/>
                    <a:pt x="68" y="1056"/>
                    <a:pt x="9" y="1107"/>
                  </a:cubicBezTo>
                  <a:cubicBezTo>
                    <a:pt x="6" y="1109"/>
                    <a:pt x="4" y="1111"/>
                    <a:pt x="1" y="1114"/>
                  </a:cubicBezTo>
                  <a:cubicBezTo>
                    <a:pt x="0" y="1112"/>
                    <a:pt x="0" y="1112"/>
                    <a:pt x="0" y="1112"/>
                  </a:cubicBezTo>
                  <a:cubicBezTo>
                    <a:pt x="1172" y="49"/>
                    <a:pt x="1172" y="49"/>
                    <a:pt x="1172" y="49"/>
                  </a:cubicBezTo>
                  <a:cubicBezTo>
                    <a:pt x="1172" y="50"/>
                    <a:pt x="1172" y="50"/>
                    <a:pt x="1172" y="50"/>
                  </a:cubicBezTo>
                  <a:cubicBezTo>
                    <a:pt x="1232" y="0"/>
                    <a:pt x="1347" y="38"/>
                    <a:pt x="1429" y="135"/>
                  </a:cubicBezTo>
                  <a:cubicBezTo>
                    <a:pt x="1507" y="226"/>
                    <a:pt x="1529" y="337"/>
                    <a:pt x="1483" y="392"/>
                  </a:cubicBezTo>
                  <a:cubicBezTo>
                    <a:pt x="322" y="1464"/>
                    <a:pt x="322" y="1464"/>
                    <a:pt x="322" y="1464"/>
                  </a:cubicBezTo>
                  <a:cubicBezTo>
                    <a:pt x="313" y="1457"/>
                    <a:pt x="313" y="1457"/>
                    <a:pt x="313" y="1457"/>
                  </a:cubicBezTo>
                  <a:cubicBezTo>
                    <a:pt x="369" y="1405"/>
                    <a:pt x="349" y="1287"/>
                    <a:pt x="267" y="1191"/>
                  </a:cubicBezTo>
                </a:path>
              </a:pathLst>
            </a:custGeom>
            <a:solidFill>
              <a:srgbClr val="FCF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69" name="îŝḷíḓè">
              <a:extLst>
                <a:ext uri="{FF2B5EF4-FFF2-40B4-BE49-F238E27FC236}">
                  <a16:creationId xmlns:a16="http://schemas.microsoft.com/office/drawing/2014/main" id="{229C2EA2-D699-4356-8312-42002947CCFE}"/>
                </a:ext>
              </a:extLst>
            </p:cNvPr>
            <p:cNvSpPr/>
            <p:nvPr/>
          </p:nvSpPr>
          <p:spPr bwMode="auto">
            <a:xfrm>
              <a:off x="17535477" y="5305137"/>
              <a:ext cx="14598" cy="58393"/>
            </a:xfrm>
            <a:custGeom>
              <a:avLst/>
              <a:gdLst>
                <a:gd name="T0" fmla="*/ 10 w 10"/>
                <a:gd name="T1" fmla="*/ 42 h 42"/>
                <a:gd name="T2" fmla="*/ 0 w 10"/>
                <a:gd name="T3" fmla="*/ 6 h 42"/>
                <a:gd name="T4" fmla="*/ 6 w 10"/>
                <a:gd name="T5" fmla="*/ 0 h 42"/>
                <a:gd name="T6" fmla="*/ 10 w 10"/>
                <a:gd name="T7" fmla="*/ 42 h 42"/>
              </a:gdLst>
              <a:ahLst/>
              <a:cxnLst>
                <a:cxn ang="0">
                  <a:pos x="T0" y="T1"/>
                </a:cxn>
                <a:cxn ang="0">
                  <a:pos x="T2" y="T3"/>
                </a:cxn>
                <a:cxn ang="0">
                  <a:pos x="T4" y="T5"/>
                </a:cxn>
                <a:cxn ang="0">
                  <a:pos x="T6" y="T7"/>
                </a:cxn>
              </a:cxnLst>
              <a:rect l="0" t="0" r="r" b="b"/>
              <a:pathLst>
                <a:path w="10" h="42">
                  <a:moveTo>
                    <a:pt x="10" y="42"/>
                  </a:moveTo>
                  <a:cubicBezTo>
                    <a:pt x="0" y="6"/>
                    <a:pt x="0" y="6"/>
                    <a:pt x="0" y="6"/>
                  </a:cubicBezTo>
                  <a:cubicBezTo>
                    <a:pt x="6" y="0"/>
                    <a:pt x="6" y="0"/>
                    <a:pt x="6" y="0"/>
                  </a:cubicBezTo>
                  <a:cubicBezTo>
                    <a:pt x="8" y="15"/>
                    <a:pt x="10" y="29"/>
                    <a:pt x="10" y="42"/>
                  </a:cubicBezTo>
                </a:path>
              </a:pathLst>
            </a:custGeom>
            <a:solidFill>
              <a:srgbClr val="BEC7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70" name="íṣḷíḋê">
              <a:extLst>
                <a:ext uri="{FF2B5EF4-FFF2-40B4-BE49-F238E27FC236}">
                  <a16:creationId xmlns:a16="http://schemas.microsoft.com/office/drawing/2014/main" id="{05CBD2F3-F8E3-444A-B104-482618701729}"/>
                </a:ext>
              </a:extLst>
            </p:cNvPr>
            <p:cNvSpPr/>
            <p:nvPr/>
          </p:nvSpPr>
          <p:spPr bwMode="auto">
            <a:xfrm>
              <a:off x="17502630" y="5191999"/>
              <a:ext cx="40147" cy="120437"/>
            </a:xfrm>
            <a:custGeom>
              <a:avLst/>
              <a:gdLst>
                <a:gd name="T0" fmla="*/ 23 w 29"/>
                <a:gd name="T1" fmla="*/ 84 h 84"/>
                <a:gd name="T2" fmla="*/ 0 w 29"/>
                <a:gd name="T3" fmla="*/ 0 h 84"/>
                <a:gd name="T4" fmla="*/ 29 w 29"/>
                <a:gd name="T5" fmla="*/ 78 h 84"/>
                <a:gd name="T6" fmla="*/ 23 w 29"/>
                <a:gd name="T7" fmla="*/ 84 h 84"/>
              </a:gdLst>
              <a:ahLst/>
              <a:cxnLst>
                <a:cxn ang="0">
                  <a:pos x="T0" y="T1"/>
                </a:cxn>
                <a:cxn ang="0">
                  <a:pos x="T2" y="T3"/>
                </a:cxn>
                <a:cxn ang="0">
                  <a:pos x="T4" y="T5"/>
                </a:cxn>
                <a:cxn ang="0">
                  <a:pos x="T6" y="T7"/>
                </a:cxn>
              </a:cxnLst>
              <a:rect l="0" t="0" r="r" b="b"/>
              <a:pathLst>
                <a:path w="29" h="84">
                  <a:moveTo>
                    <a:pt x="23" y="84"/>
                  </a:moveTo>
                  <a:cubicBezTo>
                    <a:pt x="0" y="0"/>
                    <a:pt x="0" y="0"/>
                    <a:pt x="0" y="0"/>
                  </a:cubicBezTo>
                  <a:cubicBezTo>
                    <a:pt x="14" y="26"/>
                    <a:pt x="24" y="53"/>
                    <a:pt x="29" y="78"/>
                  </a:cubicBezTo>
                  <a:cubicBezTo>
                    <a:pt x="23" y="84"/>
                    <a:pt x="23" y="84"/>
                    <a:pt x="23" y="84"/>
                  </a:cubicBezTo>
                </a:path>
              </a:pathLst>
            </a:custGeom>
            <a:solidFill>
              <a:srgbClr val="AEB9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71" name="íṥľîde">
              <a:extLst>
                <a:ext uri="{FF2B5EF4-FFF2-40B4-BE49-F238E27FC236}">
                  <a16:creationId xmlns:a16="http://schemas.microsoft.com/office/drawing/2014/main" id="{D699C63B-0200-4801-AA2F-B13C7E31289F}"/>
                </a:ext>
              </a:extLst>
            </p:cNvPr>
            <p:cNvSpPr/>
            <p:nvPr/>
          </p:nvSpPr>
          <p:spPr bwMode="auto">
            <a:xfrm>
              <a:off x="17769050" y="4283256"/>
              <a:ext cx="65692" cy="54745"/>
            </a:xfrm>
            <a:custGeom>
              <a:avLst/>
              <a:gdLst>
                <a:gd name="T0" fmla="*/ 5 w 45"/>
                <a:gd name="T1" fmla="*/ 38 h 38"/>
                <a:gd name="T2" fmla="*/ 0 w 45"/>
                <a:gd name="T3" fmla="*/ 33 h 38"/>
                <a:gd name="T4" fmla="*/ 27 w 45"/>
                <a:gd name="T5" fmla="*/ 18 h 38"/>
                <a:gd name="T6" fmla="*/ 17 w 45"/>
                <a:gd name="T7" fmla="*/ 2 h 38"/>
                <a:gd name="T8" fmla="*/ 24 w 45"/>
                <a:gd name="T9" fmla="*/ 0 h 38"/>
                <a:gd name="T10" fmla="*/ 31 w 45"/>
                <a:gd name="T11" fmla="*/ 2 h 38"/>
                <a:gd name="T12" fmla="*/ 39 w 45"/>
                <a:gd name="T13" fmla="*/ 3 h 38"/>
                <a:gd name="T14" fmla="*/ 45 w 45"/>
                <a:gd name="T15" fmla="*/ 2 h 38"/>
                <a:gd name="T16" fmla="*/ 5 w 45"/>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8">
                  <a:moveTo>
                    <a:pt x="5" y="38"/>
                  </a:moveTo>
                  <a:cubicBezTo>
                    <a:pt x="3" y="37"/>
                    <a:pt x="2" y="35"/>
                    <a:pt x="0" y="33"/>
                  </a:cubicBezTo>
                  <a:cubicBezTo>
                    <a:pt x="11" y="27"/>
                    <a:pt x="16" y="24"/>
                    <a:pt x="27" y="18"/>
                  </a:cubicBezTo>
                  <a:cubicBezTo>
                    <a:pt x="23" y="11"/>
                    <a:pt x="21" y="8"/>
                    <a:pt x="17" y="2"/>
                  </a:cubicBezTo>
                  <a:cubicBezTo>
                    <a:pt x="20" y="0"/>
                    <a:pt x="22" y="0"/>
                    <a:pt x="24" y="0"/>
                  </a:cubicBezTo>
                  <a:cubicBezTo>
                    <a:pt x="27" y="0"/>
                    <a:pt x="29" y="1"/>
                    <a:pt x="31" y="2"/>
                  </a:cubicBezTo>
                  <a:cubicBezTo>
                    <a:pt x="33" y="2"/>
                    <a:pt x="36" y="3"/>
                    <a:pt x="39" y="3"/>
                  </a:cubicBezTo>
                  <a:cubicBezTo>
                    <a:pt x="40" y="3"/>
                    <a:pt x="42" y="3"/>
                    <a:pt x="45" y="2"/>
                  </a:cubicBezTo>
                  <a:cubicBezTo>
                    <a:pt x="5" y="38"/>
                    <a:pt x="5" y="38"/>
                    <a:pt x="5" y="38"/>
                  </a:cubicBezTo>
                </a:path>
              </a:pathLst>
            </a:custGeom>
            <a:solidFill>
              <a:srgbClr val="B76C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72" name="iŝḻíḑé">
              <a:extLst>
                <a:ext uri="{FF2B5EF4-FFF2-40B4-BE49-F238E27FC236}">
                  <a16:creationId xmlns:a16="http://schemas.microsoft.com/office/drawing/2014/main" id="{1D7A5040-574C-406D-8F0E-BBED20F86F98}"/>
                </a:ext>
              </a:extLst>
            </p:cNvPr>
            <p:cNvSpPr/>
            <p:nvPr/>
          </p:nvSpPr>
          <p:spPr bwMode="auto">
            <a:xfrm>
              <a:off x="17407741" y="3571587"/>
              <a:ext cx="1791945" cy="1810190"/>
            </a:xfrm>
            <a:custGeom>
              <a:avLst/>
              <a:gdLst>
                <a:gd name="T0" fmla="*/ 103 w 1262"/>
                <a:gd name="T1" fmla="*/ 1276 h 1276"/>
                <a:gd name="T2" fmla="*/ 100 w 1262"/>
                <a:gd name="T3" fmla="*/ 1262 h 1276"/>
                <a:gd name="T4" fmla="*/ 96 w 1262"/>
                <a:gd name="T5" fmla="*/ 1220 h 1276"/>
                <a:gd name="T6" fmla="*/ 67 w 1262"/>
                <a:gd name="T7" fmla="*/ 1142 h 1276"/>
                <a:gd name="T8" fmla="*/ 52 w 1262"/>
                <a:gd name="T9" fmla="*/ 1086 h 1276"/>
                <a:gd name="T10" fmla="*/ 0 w 1262"/>
                <a:gd name="T11" fmla="*/ 1041 h 1276"/>
                <a:gd name="T12" fmla="*/ 370 w 1262"/>
                <a:gd name="T13" fmla="*/ 711 h 1276"/>
                <a:gd name="T14" fmla="*/ 352 w 1262"/>
                <a:gd name="T15" fmla="*/ 717 h 1276"/>
                <a:gd name="T16" fmla="*/ 350 w 1262"/>
                <a:gd name="T17" fmla="*/ 687 h 1276"/>
                <a:gd name="T18" fmla="*/ 315 w 1262"/>
                <a:gd name="T19" fmla="*/ 695 h 1276"/>
                <a:gd name="T20" fmla="*/ 319 w 1262"/>
                <a:gd name="T21" fmla="*/ 666 h 1276"/>
                <a:gd name="T22" fmla="*/ 285 w 1262"/>
                <a:gd name="T23" fmla="*/ 668 h 1276"/>
                <a:gd name="T24" fmla="*/ 294 w 1262"/>
                <a:gd name="T25" fmla="*/ 641 h 1276"/>
                <a:gd name="T26" fmla="*/ 263 w 1262"/>
                <a:gd name="T27" fmla="*/ 639 h 1276"/>
                <a:gd name="T28" fmla="*/ 278 w 1262"/>
                <a:gd name="T29" fmla="*/ 613 h 1276"/>
                <a:gd name="T30" fmla="*/ 251 w 1262"/>
                <a:gd name="T31" fmla="*/ 605 h 1276"/>
                <a:gd name="T32" fmla="*/ 271 w 1262"/>
                <a:gd name="T33" fmla="*/ 583 h 1276"/>
                <a:gd name="T34" fmla="*/ 249 w 1262"/>
                <a:gd name="T35" fmla="*/ 570 h 1276"/>
                <a:gd name="T36" fmla="*/ 273 w 1262"/>
                <a:gd name="T37" fmla="*/ 551 h 1276"/>
                <a:gd name="T38" fmla="*/ 261 w 1262"/>
                <a:gd name="T39" fmla="*/ 539 h 1276"/>
                <a:gd name="T40" fmla="*/ 301 w 1262"/>
                <a:gd name="T41" fmla="*/ 503 h 1276"/>
                <a:gd name="T42" fmla="*/ 308 w 1262"/>
                <a:gd name="T43" fmla="*/ 499 h 1276"/>
                <a:gd name="T44" fmla="*/ 354 w 1262"/>
                <a:gd name="T45" fmla="*/ 485 h 1276"/>
                <a:gd name="T46" fmla="*/ 551 w 1262"/>
                <a:gd name="T47" fmla="*/ 594 h 1276"/>
                <a:gd name="T48" fmla="*/ 631 w 1262"/>
                <a:gd name="T49" fmla="*/ 795 h 1276"/>
                <a:gd name="T50" fmla="*/ 627 w 1262"/>
                <a:gd name="T51" fmla="*/ 799 h 1276"/>
                <a:gd name="T52" fmla="*/ 621 w 1262"/>
                <a:gd name="T53" fmla="*/ 804 h 1276"/>
                <a:gd name="T54" fmla="*/ 446 w 1262"/>
                <a:gd name="T55" fmla="*/ 963 h 1276"/>
                <a:gd name="T56" fmla="*/ 103 w 1262"/>
                <a:gd name="T57" fmla="*/ 1276 h 1276"/>
                <a:gd name="T58" fmla="*/ 797 w 1262"/>
                <a:gd name="T59" fmla="*/ 650 h 1276"/>
                <a:gd name="T60" fmla="*/ 711 w 1262"/>
                <a:gd name="T61" fmla="*/ 454 h 1276"/>
                <a:gd name="T62" fmla="*/ 711 w 1262"/>
                <a:gd name="T63" fmla="*/ 454 h 1276"/>
                <a:gd name="T64" fmla="*/ 711 w 1262"/>
                <a:gd name="T65" fmla="*/ 454 h 1276"/>
                <a:gd name="T66" fmla="*/ 711 w 1262"/>
                <a:gd name="T67" fmla="*/ 454 h 1276"/>
                <a:gd name="T68" fmla="*/ 710 w 1262"/>
                <a:gd name="T69" fmla="*/ 453 h 1276"/>
                <a:gd name="T70" fmla="*/ 710 w 1262"/>
                <a:gd name="T71" fmla="*/ 453 h 1276"/>
                <a:gd name="T72" fmla="*/ 710 w 1262"/>
                <a:gd name="T73" fmla="*/ 452 h 1276"/>
                <a:gd name="T74" fmla="*/ 709 w 1262"/>
                <a:gd name="T75" fmla="*/ 452 h 1276"/>
                <a:gd name="T76" fmla="*/ 709 w 1262"/>
                <a:gd name="T77" fmla="*/ 452 h 1276"/>
                <a:gd name="T78" fmla="*/ 709 w 1262"/>
                <a:gd name="T79" fmla="*/ 452 h 1276"/>
                <a:gd name="T80" fmla="*/ 709 w 1262"/>
                <a:gd name="T81" fmla="*/ 452 h 1276"/>
                <a:gd name="T82" fmla="*/ 709 w 1262"/>
                <a:gd name="T83" fmla="*/ 451 h 1276"/>
                <a:gd name="T84" fmla="*/ 709 w 1262"/>
                <a:gd name="T85" fmla="*/ 451 h 1276"/>
                <a:gd name="T86" fmla="*/ 709 w 1262"/>
                <a:gd name="T87" fmla="*/ 451 h 1276"/>
                <a:gd name="T88" fmla="*/ 708 w 1262"/>
                <a:gd name="T89" fmla="*/ 451 h 1276"/>
                <a:gd name="T90" fmla="*/ 661 w 1262"/>
                <a:gd name="T91" fmla="*/ 403 h 1276"/>
                <a:gd name="T92" fmla="*/ 695 w 1262"/>
                <a:gd name="T93" fmla="*/ 400 h 1276"/>
                <a:gd name="T94" fmla="*/ 688 w 1262"/>
                <a:gd name="T95" fmla="*/ 426 h 1276"/>
                <a:gd name="T96" fmla="*/ 1165 w 1262"/>
                <a:gd name="T97" fmla="*/ 0 h 1276"/>
                <a:gd name="T98" fmla="*/ 1184 w 1262"/>
                <a:gd name="T99" fmla="*/ 21 h 1276"/>
                <a:gd name="T100" fmla="*/ 1261 w 1262"/>
                <a:gd name="T101" fmla="*/ 185 h 1276"/>
                <a:gd name="T102" fmla="*/ 1261 w 1262"/>
                <a:gd name="T103" fmla="*/ 210 h 1276"/>
                <a:gd name="T104" fmla="*/ 1261 w 1262"/>
                <a:gd name="T105" fmla="*/ 210 h 1276"/>
                <a:gd name="T106" fmla="*/ 797 w 1262"/>
                <a:gd name="T107" fmla="*/ 650 h 1276"/>
                <a:gd name="T108" fmla="*/ 654 w 1262"/>
                <a:gd name="T109" fmla="*/ 398 h 1276"/>
                <a:gd name="T110" fmla="*/ 634 w 1262"/>
                <a:gd name="T111" fmla="*/ 382 h 1276"/>
                <a:gd name="T112" fmla="*/ 653 w 1262"/>
                <a:gd name="T113" fmla="*/ 378 h 1276"/>
                <a:gd name="T114" fmla="*/ 654 w 1262"/>
                <a:gd name="T115" fmla="*/ 398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2" h="1276">
                  <a:moveTo>
                    <a:pt x="103" y="1276"/>
                  </a:moveTo>
                  <a:cubicBezTo>
                    <a:pt x="100" y="1262"/>
                    <a:pt x="100" y="1262"/>
                    <a:pt x="100" y="1262"/>
                  </a:cubicBezTo>
                  <a:cubicBezTo>
                    <a:pt x="100" y="1249"/>
                    <a:pt x="98" y="1235"/>
                    <a:pt x="96" y="1220"/>
                  </a:cubicBezTo>
                  <a:cubicBezTo>
                    <a:pt x="91" y="1195"/>
                    <a:pt x="81" y="1168"/>
                    <a:pt x="67" y="1142"/>
                  </a:cubicBezTo>
                  <a:cubicBezTo>
                    <a:pt x="52" y="1086"/>
                    <a:pt x="52" y="1086"/>
                    <a:pt x="52" y="1086"/>
                  </a:cubicBezTo>
                  <a:cubicBezTo>
                    <a:pt x="0" y="1041"/>
                    <a:pt x="0" y="1041"/>
                    <a:pt x="0" y="1041"/>
                  </a:cubicBezTo>
                  <a:cubicBezTo>
                    <a:pt x="370" y="711"/>
                    <a:pt x="370" y="711"/>
                    <a:pt x="370" y="711"/>
                  </a:cubicBezTo>
                  <a:cubicBezTo>
                    <a:pt x="365" y="713"/>
                    <a:pt x="359" y="715"/>
                    <a:pt x="352" y="717"/>
                  </a:cubicBezTo>
                  <a:cubicBezTo>
                    <a:pt x="351" y="705"/>
                    <a:pt x="351" y="699"/>
                    <a:pt x="350" y="687"/>
                  </a:cubicBezTo>
                  <a:cubicBezTo>
                    <a:pt x="336" y="690"/>
                    <a:pt x="329" y="692"/>
                    <a:pt x="315" y="695"/>
                  </a:cubicBezTo>
                  <a:cubicBezTo>
                    <a:pt x="316" y="683"/>
                    <a:pt x="317" y="677"/>
                    <a:pt x="319" y="666"/>
                  </a:cubicBezTo>
                  <a:cubicBezTo>
                    <a:pt x="305" y="667"/>
                    <a:pt x="298" y="668"/>
                    <a:pt x="285" y="668"/>
                  </a:cubicBezTo>
                  <a:cubicBezTo>
                    <a:pt x="288" y="658"/>
                    <a:pt x="290" y="652"/>
                    <a:pt x="294" y="641"/>
                  </a:cubicBezTo>
                  <a:cubicBezTo>
                    <a:pt x="281" y="640"/>
                    <a:pt x="275" y="640"/>
                    <a:pt x="263" y="639"/>
                  </a:cubicBezTo>
                  <a:cubicBezTo>
                    <a:pt x="269" y="629"/>
                    <a:pt x="272" y="623"/>
                    <a:pt x="278" y="613"/>
                  </a:cubicBezTo>
                  <a:cubicBezTo>
                    <a:pt x="267" y="611"/>
                    <a:pt x="261" y="609"/>
                    <a:pt x="251" y="605"/>
                  </a:cubicBezTo>
                  <a:cubicBezTo>
                    <a:pt x="259" y="596"/>
                    <a:pt x="263" y="592"/>
                    <a:pt x="271" y="583"/>
                  </a:cubicBezTo>
                  <a:cubicBezTo>
                    <a:pt x="262" y="578"/>
                    <a:pt x="258" y="575"/>
                    <a:pt x="249" y="570"/>
                  </a:cubicBezTo>
                  <a:cubicBezTo>
                    <a:pt x="259" y="562"/>
                    <a:pt x="263" y="558"/>
                    <a:pt x="273" y="551"/>
                  </a:cubicBezTo>
                  <a:cubicBezTo>
                    <a:pt x="268" y="546"/>
                    <a:pt x="265" y="543"/>
                    <a:pt x="261" y="539"/>
                  </a:cubicBezTo>
                  <a:cubicBezTo>
                    <a:pt x="301" y="503"/>
                    <a:pt x="301" y="503"/>
                    <a:pt x="301" y="503"/>
                  </a:cubicBezTo>
                  <a:cubicBezTo>
                    <a:pt x="303" y="502"/>
                    <a:pt x="305" y="501"/>
                    <a:pt x="308" y="499"/>
                  </a:cubicBezTo>
                  <a:cubicBezTo>
                    <a:pt x="320" y="490"/>
                    <a:pt x="336" y="485"/>
                    <a:pt x="354" y="485"/>
                  </a:cubicBezTo>
                  <a:cubicBezTo>
                    <a:pt x="414" y="485"/>
                    <a:pt x="498" y="531"/>
                    <a:pt x="551" y="594"/>
                  </a:cubicBezTo>
                  <a:cubicBezTo>
                    <a:pt x="608" y="660"/>
                    <a:pt x="638" y="734"/>
                    <a:pt x="631" y="795"/>
                  </a:cubicBezTo>
                  <a:cubicBezTo>
                    <a:pt x="627" y="799"/>
                    <a:pt x="627" y="799"/>
                    <a:pt x="627" y="799"/>
                  </a:cubicBezTo>
                  <a:cubicBezTo>
                    <a:pt x="621" y="804"/>
                    <a:pt x="621" y="804"/>
                    <a:pt x="621" y="804"/>
                  </a:cubicBezTo>
                  <a:cubicBezTo>
                    <a:pt x="446" y="963"/>
                    <a:pt x="446" y="963"/>
                    <a:pt x="446" y="963"/>
                  </a:cubicBezTo>
                  <a:cubicBezTo>
                    <a:pt x="103" y="1276"/>
                    <a:pt x="103" y="1276"/>
                    <a:pt x="103" y="1276"/>
                  </a:cubicBezTo>
                  <a:moveTo>
                    <a:pt x="797" y="650"/>
                  </a:moveTo>
                  <a:cubicBezTo>
                    <a:pt x="794" y="590"/>
                    <a:pt x="765" y="518"/>
                    <a:pt x="711" y="454"/>
                  </a:cubicBezTo>
                  <a:cubicBezTo>
                    <a:pt x="711" y="454"/>
                    <a:pt x="711" y="454"/>
                    <a:pt x="711" y="454"/>
                  </a:cubicBezTo>
                  <a:cubicBezTo>
                    <a:pt x="711" y="454"/>
                    <a:pt x="711" y="454"/>
                    <a:pt x="711" y="454"/>
                  </a:cubicBezTo>
                  <a:cubicBezTo>
                    <a:pt x="711" y="454"/>
                    <a:pt x="711" y="454"/>
                    <a:pt x="711" y="454"/>
                  </a:cubicBezTo>
                  <a:cubicBezTo>
                    <a:pt x="711" y="454"/>
                    <a:pt x="711" y="453"/>
                    <a:pt x="710" y="453"/>
                  </a:cubicBezTo>
                  <a:cubicBezTo>
                    <a:pt x="710" y="453"/>
                    <a:pt x="710" y="453"/>
                    <a:pt x="710" y="453"/>
                  </a:cubicBezTo>
                  <a:cubicBezTo>
                    <a:pt x="710" y="453"/>
                    <a:pt x="710" y="453"/>
                    <a:pt x="710" y="452"/>
                  </a:cubicBezTo>
                  <a:cubicBezTo>
                    <a:pt x="710" y="452"/>
                    <a:pt x="710" y="452"/>
                    <a:pt x="709" y="452"/>
                  </a:cubicBezTo>
                  <a:cubicBezTo>
                    <a:pt x="709" y="452"/>
                    <a:pt x="709" y="452"/>
                    <a:pt x="709" y="452"/>
                  </a:cubicBezTo>
                  <a:cubicBezTo>
                    <a:pt x="709" y="452"/>
                    <a:pt x="709" y="452"/>
                    <a:pt x="709" y="452"/>
                  </a:cubicBezTo>
                  <a:cubicBezTo>
                    <a:pt x="709" y="452"/>
                    <a:pt x="709" y="452"/>
                    <a:pt x="709" y="452"/>
                  </a:cubicBezTo>
                  <a:cubicBezTo>
                    <a:pt x="709" y="451"/>
                    <a:pt x="709" y="451"/>
                    <a:pt x="709" y="451"/>
                  </a:cubicBezTo>
                  <a:cubicBezTo>
                    <a:pt x="709" y="451"/>
                    <a:pt x="709" y="451"/>
                    <a:pt x="709" y="451"/>
                  </a:cubicBezTo>
                  <a:cubicBezTo>
                    <a:pt x="709" y="451"/>
                    <a:pt x="709" y="451"/>
                    <a:pt x="709" y="451"/>
                  </a:cubicBezTo>
                  <a:cubicBezTo>
                    <a:pt x="708" y="451"/>
                    <a:pt x="708" y="451"/>
                    <a:pt x="708" y="451"/>
                  </a:cubicBezTo>
                  <a:cubicBezTo>
                    <a:pt x="693" y="433"/>
                    <a:pt x="677" y="417"/>
                    <a:pt x="661" y="403"/>
                  </a:cubicBezTo>
                  <a:cubicBezTo>
                    <a:pt x="673" y="402"/>
                    <a:pt x="681" y="401"/>
                    <a:pt x="695" y="400"/>
                  </a:cubicBezTo>
                  <a:cubicBezTo>
                    <a:pt x="692" y="410"/>
                    <a:pt x="691" y="416"/>
                    <a:pt x="688" y="426"/>
                  </a:cubicBezTo>
                  <a:cubicBezTo>
                    <a:pt x="1165" y="0"/>
                    <a:pt x="1165" y="0"/>
                    <a:pt x="1165" y="0"/>
                  </a:cubicBezTo>
                  <a:cubicBezTo>
                    <a:pt x="1172" y="7"/>
                    <a:pt x="1178" y="14"/>
                    <a:pt x="1184" y="21"/>
                  </a:cubicBezTo>
                  <a:cubicBezTo>
                    <a:pt x="1230" y="74"/>
                    <a:pt x="1256" y="133"/>
                    <a:pt x="1261" y="185"/>
                  </a:cubicBezTo>
                  <a:cubicBezTo>
                    <a:pt x="1262" y="193"/>
                    <a:pt x="1262" y="201"/>
                    <a:pt x="1261" y="210"/>
                  </a:cubicBezTo>
                  <a:cubicBezTo>
                    <a:pt x="1261" y="210"/>
                    <a:pt x="1261" y="210"/>
                    <a:pt x="1261" y="210"/>
                  </a:cubicBezTo>
                  <a:cubicBezTo>
                    <a:pt x="797" y="650"/>
                    <a:pt x="797" y="650"/>
                    <a:pt x="797" y="650"/>
                  </a:cubicBezTo>
                  <a:moveTo>
                    <a:pt x="654" y="398"/>
                  </a:moveTo>
                  <a:cubicBezTo>
                    <a:pt x="648" y="392"/>
                    <a:pt x="641" y="387"/>
                    <a:pt x="634" y="382"/>
                  </a:cubicBezTo>
                  <a:cubicBezTo>
                    <a:pt x="640" y="381"/>
                    <a:pt x="646" y="380"/>
                    <a:pt x="653" y="378"/>
                  </a:cubicBezTo>
                  <a:cubicBezTo>
                    <a:pt x="654" y="386"/>
                    <a:pt x="654" y="391"/>
                    <a:pt x="654" y="398"/>
                  </a:cubicBezTo>
                </a:path>
              </a:pathLst>
            </a:custGeom>
            <a:solidFill>
              <a:srgbClr val="DFE7E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73" name="ïṥľïḑé">
              <a:extLst>
                <a:ext uri="{FF2B5EF4-FFF2-40B4-BE49-F238E27FC236}">
                  <a16:creationId xmlns:a16="http://schemas.microsoft.com/office/drawing/2014/main" id="{A626B4AD-CA83-4916-A1F5-D6116438CE22}"/>
                </a:ext>
              </a:extLst>
            </p:cNvPr>
            <p:cNvSpPr/>
            <p:nvPr/>
          </p:nvSpPr>
          <p:spPr bwMode="auto">
            <a:xfrm>
              <a:off x="18192402" y="4797845"/>
              <a:ext cx="72992" cy="65692"/>
            </a:xfrm>
            <a:custGeom>
              <a:avLst/>
              <a:gdLst>
                <a:gd name="T0" fmla="*/ 0 w 20"/>
                <a:gd name="T1" fmla="*/ 18 h 18"/>
                <a:gd name="T2" fmla="*/ 20 w 20"/>
                <a:gd name="T3" fmla="*/ 0 h 18"/>
                <a:gd name="T4" fmla="*/ 20 w 20"/>
                <a:gd name="T5" fmla="*/ 0 h 18"/>
                <a:gd name="T6" fmla="*/ 0 w 20"/>
                <a:gd name="T7" fmla="*/ 18 h 18"/>
                <a:gd name="T8" fmla="*/ 0 w 20"/>
                <a:gd name="T9" fmla="*/ 18 h 18"/>
              </a:gdLst>
              <a:ahLst/>
              <a:cxnLst>
                <a:cxn ang="0">
                  <a:pos x="T0" y="T1"/>
                </a:cxn>
                <a:cxn ang="0">
                  <a:pos x="T2" y="T3"/>
                </a:cxn>
                <a:cxn ang="0">
                  <a:pos x="T4" y="T5"/>
                </a:cxn>
                <a:cxn ang="0">
                  <a:pos x="T6" y="T7"/>
                </a:cxn>
                <a:cxn ang="0">
                  <a:pos x="T8" y="T9"/>
                </a:cxn>
              </a:cxnLst>
              <a:rect l="0" t="0" r="r" b="b"/>
              <a:pathLst>
                <a:path w="20" h="18">
                  <a:moveTo>
                    <a:pt x="0" y="18"/>
                  </a:moveTo>
                  <a:lnTo>
                    <a:pt x="20" y="0"/>
                  </a:lnTo>
                  <a:lnTo>
                    <a:pt x="20" y="0"/>
                  </a:lnTo>
                  <a:lnTo>
                    <a:pt x="0" y="18"/>
                  </a:lnTo>
                  <a:lnTo>
                    <a:pt x="0" y="18"/>
                  </a:lnTo>
                  <a:close/>
                </a:path>
              </a:pathLst>
            </a:custGeom>
            <a:solidFill>
              <a:srgbClr val="930D1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74" name="iśḻíďê">
              <a:extLst>
                <a:ext uri="{FF2B5EF4-FFF2-40B4-BE49-F238E27FC236}">
                  <a16:creationId xmlns:a16="http://schemas.microsoft.com/office/drawing/2014/main" id="{EE553CDA-C2F4-49F6-A6F0-CAEE75D6955E}"/>
                </a:ext>
              </a:extLst>
            </p:cNvPr>
            <p:cNvSpPr/>
            <p:nvPr/>
          </p:nvSpPr>
          <p:spPr bwMode="auto">
            <a:xfrm>
              <a:off x="18192402" y="4797845"/>
              <a:ext cx="72992" cy="65692"/>
            </a:xfrm>
            <a:custGeom>
              <a:avLst/>
              <a:gdLst>
                <a:gd name="T0" fmla="*/ 0 w 20"/>
                <a:gd name="T1" fmla="*/ 18 h 18"/>
                <a:gd name="T2" fmla="*/ 20 w 20"/>
                <a:gd name="T3" fmla="*/ 0 h 18"/>
                <a:gd name="T4" fmla="*/ 20 w 20"/>
                <a:gd name="T5" fmla="*/ 0 h 18"/>
                <a:gd name="T6" fmla="*/ 0 w 20"/>
                <a:gd name="T7" fmla="*/ 18 h 18"/>
                <a:gd name="T8" fmla="*/ 0 w 20"/>
                <a:gd name="T9" fmla="*/ 18 h 18"/>
              </a:gdLst>
              <a:ahLst/>
              <a:cxnLst>
                <a:cxn ang="0">
                  <a:pos x="T0" y="T1"/>
                </a:cxn>
                <a:cxn ang="0">
                  <a:pos x="T2" y="T3"/>
                </a:cxn>
                <a:cxn ang="0">
                  <a:pos x="T4" y="T5"/>
                </a:cxn>
                <a:cxn ang="0">
                  <a:pos x="T6" y="T7"/>
                </a:cxn>
                <a:cxn ang="0">
                  <a:pos x="T8" y="T9"/>
                </a:cxn>
              </a:cxnLst>
              <a:rect l="0" t="0" r="r" b="b"/>
              <a:pathLst>
                <a:path w="20" h="18">
                  <a:moveTo>
                    <a:pt x="0" y="18"/>
                  </a:moveTo>
                  <a:lnTo>
                    <a:pt x="20" y="0"/>
                  </a:lnTo>
                  <a:lnTo>
                    <a:pt x="20" y="0"/>
                  </a:lnTo>
                  <a:lnTo>
                    <a:pt x="0" y="18"/>
                  </a:lnTo>
                  <a:lnTo>
                    <a:pt x="0"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75" name="îŝḷïḋé">
              <a:extLst>
                <a:ext uri="{FF2B5EF4-FFF2-40B4-BE49-F238E27FC236}">
                  <a16:creationId xmlns:a16="http://schemas.microsoft.com/office/drawing/2014/main" id="{ECBE11AA-83F3-4698-9334-D595FB81CBE4}"/>
                </a:ext>
              </a:extLst>
            </p:cNvPr>
            <p:cNvSpPr/>
            <p:nvPr/>
          </p:nvSpPr>
          <p:spPr bwMode="auto">
            <a:xfrm>
              <a:off x="17509929" y="4699307"/>
              <a:ext cx="791960" cy="788309"/>
            </a:xfrm>
            <a:custGeom>
              <a:avLst/>
              <a:gdLst>
                <a:gd name="T0" fmla="*/ 5 w 559"/>
                <a:gd name="T1" fmla="*/ 555 h 555"/>
                <a:gd name="T2" fmla="*/ 0 w 559"/>
                <a:gd name="T3" fmla="*/ 551 h 555"/>
                <a:gd name="T4" fmla="*/ 49 w 559"/>
                <a:gd name="T5" fmla="*/ 465 h 555"/>
                <a:gd name="T6" fmla="*/ 374 w 559"/>
                <a:gd name="T7" fmla="*/ 168 h 555"/>
                <a:gd name="T8" fmla="*/ 555 w 559"/>
                <a:gd name="T9" fmla="*/ 4 h 555"/>
                <a:gd name="T10" fmla="*/ 559 w 559"/>
                <a:gd name="T11" fmla="*/ 0 h 555"/>
                <a:gd name="T12" fmla="*/ 532 w 559"/>
                <a:gd name="T13" fmla="*/ 68 h 555"/>
                <a:gd name="T14" fmla="*/ 481 w 559"/>
                <a:gd name="T15" fmla="*/ 115 h 555"/>
                <a:gd name="T16" fmla="*/ 5 w 559"/>
                <a:gd name="T17"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555">
                  <a:moveTo>
                    <a:pt x="5" y="555"/>
                  </a:moveTo>
                  <a:cubicBezTo>
                    <a:pt x="0" y="551"/>
                    <a:pt x="0" y="551"/>
                    <a:pt x="0" y="551"/>
                  </a:cubicBezTo>
                  <a:cubicBezTo>
                    <a:pt x="49" y="465"/>
                    <a:pt x="49" y="465"/>
                    <a:pt x="49" y="465"/>
                  </a:cubicBezTo>
                  <a:cubicBezTo>
                    <a:pt x="374" y="168"/>
                    <a:pt x="374" y="168"/>
                    <a:pt x="374" y="168"/>
                  </a:cubicBezTo>
                  <a:cubicBezTo>
                    <a:pt x="555" y="4"/>
                    <a:pt x="555" y="4"/>
                    <a:pt x="555" y="4"/>
                  </a:cubicBezTo>
                  <a:cubicBezTo>
                    <a:pt x="559" y="0"/>
                    <a:pt x="559" y="0"/>
                    <a:pt x="559" y="0"/>
                  </a:cubicBezTo>
                  <a:cubicBezTo>
                    <a:pt x="557" y="26"/>
                    <a:pt x="548" y="49"/>
                    <a:pt x="532" y="68"/>
                  </a:cubicBezTo>
                  <a:cubicBezTo>
                    <a:pt x="481" y="115"/>
                    <a:pt x="481" y="115"/>
                    <a:pt x="481" y="115"/>
                  </a:cubicBezTo>
                  <a:cubicBezTo>
                    <a:pt x="5" y="555"/>
                    <a:pt x="5" y="555"/>
                    <a:pt x="5" y="555"/>
                  </a:cubicBezTo>
                </a:path>
              </a:pathLst>
            </a:custGeom>
            <a:solidFill>
              <a:srgbClr val="C8E7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76" name="íşľíḍê">
              <a:extLst>
                <a:ext uri="{FF2B5EF4-FFF2-40B4-BE49-F238E27FC236}">
                  <a16:creationId xmlns:a16="http://schemas.microsoft.com/office/drawing/2014/main" id="{BF423A22-2C76-4EC0-B9BF-9B98BD5841B2}"/>
                </a:ext>
              </a:extLst>
            </p:cNvPr>
            <p:cNvSpPr/>
            <p:nvPr/>
          </p:nvSpPr>
          <p:spPr bwMode="auto">
            <a:xfrm>
              <a:off x="18039119" y="4706607"/>
              <a:ext cx="259121" cy="233573"/>
            </a:xfrm>
            <a:custGeom>
              <a:avLst/>
              <a:gdLst>
                <a:gd name="T0" fmla="*/ 0 w 71"/>
                <a:gd name="T1" fmla="*/ 64 h 64"/>
                <a:gd name="T2" fmla="*/ 69 w 71"/>
                <a:gd name="T3" fmla="*/ 2 h 64"/>
                <a:gd name="T4" fmla="*/ 71 w 71"/>
                <a:gd name="T5" fmla="*/ 0 h 64"/>
                <a:gd name="T6" fmla="*/ 0 w 71"/>
                <a:gd name="T7" fmla="*/ 64 h 64"/>
              </a:gdLst>
              <a:ahLst/>
              <a:cxnLst>
                <a:cxn ang="0">
                  <a:pos x="T0" y="T1"/>
                </a:cxn>
                <a:cxn ang="0">
                  <a:pos x="T2" y="T3"/>
                </a:cxn>
                <a:cxn ang="0">
                  <a:pos x="T4" y="T5"/>
                </a:cxn>
                <a:cxn ang="0">
                  <a:pos x="T6" y="T7"/>
                </a:cxn>
              </a:cxnLst>
              <a:rect l="0" t="0" r="r" b="b"/>
              <a:pathLst>
                <a:path w="71" h="64">
                  <a:moveTo>
                    <a:pt x="0" y="64"/>
                  </a:moveTo>
                  <a:lnTo>
                    <a:pt x="69" y="2"/>
                  </a:lnTo>
                  <a:lnTo>
                    <a:pt x="71" y="0"/>
                  </a:lnTo>
                  <a:lnTo>
                    <a:pt x="0" y="64"/>
                  </a:lnTo>
                  <a:close/>
                </a:path>
              </a:pathLst>
            </a:custGeom>
            <a:solidFill>
              <a:srgbClr val="B1DAE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77" name="í$ḻiḓe">
              <a:extLst>
                <a:ext uri="{FF2B5EF4-FFF2-40B4-BE49-F238E27FC236}">
                  <a16:creationId xmlns:a16="http://schemas.microsoft.com/office/drawing/2014/main" id="{25A99362-F8C8-48E9-BEE4-1F3849206AE5}"/>
                </a:ext>
              </a:extLst>
            </p:cNvPr>
            <p:cNvSpPr/>
            <p:nvPr/>
          </p:nvSpPr>
          <p:spPr bwMode="auto">
            <a:xfrm>
              <a:off x="18039119" y="4706607"/>
              <a:ext cx="259121" cy="233573"/>
            </a:xfrm>
            <a:custGeom>
              <a:avLst/>
              <a:gdLst>
                <a:gd name="T0" fmla="*/ 0 w 71"/>
                <a:gd name="T1" fmla="*/ 64 h 64"/>
                <a:gd name="T2" fmla="*/ 69 w 71"/>
                <a:gd name="T3" fmla="*/ 2 h 64"/>
                <a:gd name="T4" fmla="*/ 71 w 71"/>
                <a:gd name="T5" fmla="*/ 0 h 64"/>
                <a:gd name="T6" fmla="*/ 0 w 71"/>
                <a:gd name="T7" fmla="*/ 64 h 64"/>
              </a:gdLst>
              <a:ahLst/>
              <a:cxnLst>
                <a:cxn ang="0">
                  <a:pos x="T0" y="T1"/>
                </a:cxn>
                <a:cxn ang="0">
                  <a:pos x="T2" y="T3"/>
                </a:cxn>
                <a:cxn ang="0">
                  <a:pos x="T4" y="T5"/>
                </a:cxn>
                <a:cxn ang="0">
                  <a:pos x="T6" y="T7"/>
                </a:cxn>
              </a:cxnLst>
              <a:rect l="0" t="0" r="r" b="b"/>
              <a:pathLst>
                <a:path w="71" h="64">
                  <a:moveTo>
                    <a:pt x="0" y="64"/>
                  </a:moveTo>
                  <a:lnTo>
                    <a:pt x="69" y="2"/>
                  </a:lnTo>
                  <a:lnTo>
                    <a:pt x="71" y="0"/>
                  </a:lnTo>
                  <a:lnTo>
                    <a:pt x="0" y="6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78" name="ï$1iḑe">
              <a:extLst>
                <a:ext uri="{FF2B5EF4-FFF2-40B4-BE49-F238E27FC236}">
                  <a16:creationId xmlns:a16="http://schemas.microsoft.com/office/drawing/2014/main" id="{6CE42D5B-BB70-42BA-A79B-FE93B2537598}"/>
                </a:ext>
              </a:extLst>
            </p:cNvPr>
            <p:cNvSpPr/>
            <p:nvPr/>
          </p:nvSpPr>
          <p:spPr bwMode="auto">
            <a:xfrm>
              <a:off x="18535462" y="3870852"/>
              <a:ext cx="664223" cy="675173"/>
            </a:xfrm>
            <a:custGeom>
              <a:avLst/>
              <a:gdLst>
                <a:gd name="T0" fmla="*/ 0 w 467"/>
                <a:gd name="T1" fmla="*/ 477 h 477"/>
                <a:gd name="T2" fmla="*/ 2 w 467"/>
                <a:gd name="T3" fmla="*/ 441 h 477"/>
                <a:gd name="T4" fmla="*/ 466 w 467"/>
                <a:gd name="T5" fmla="*/ 0 h 477"/>
                <a:gd name="T6" fmla="*/ 467 w 467"/>
                <a:gd name="T7" fmla="*/ 0 h 477"/>
                <a:gd name="T8" fmla="*/ 443 w 467"/>
                <a:gd name="T9" fmla="*/ 68 h 477"/>
                <a:gd name="T10" fmla="*/ 443 w 467"/>
                <a:gd name="T11" fmla="*/ 68 h 477"/>
                <a:gd name="T12" fmla="*/ 443 w 467"/>
                <a:gd name="T13" fmla="*/ 68 h 477"/>
                <a:gd name="T14" fmla="*/ 443 w 467"/>
                <a:gd name="T15" fmla="*/ 68 h 477"/>
                <a:gd name="T16" fmla="*/ 443 w 467"/>
                <a:gd name="T17" fmla="*/ 68 h 477"/>
                <a:gd name="T18" fmla="*/ 443 w 467"/>
                <a:gd name="T19" fmla="*/ 68 h 477"/>
                <a:gd name="T20" fmla="*/ 0 w 467"/>
                <a:gd name="T21"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7" h="477">
                  <a:moveTo>
                    <a:pt x="0" y="477"/>
                  </a:moveTo>
                  <a:cubicBezTo>
                    <a:pt x="2" y="465"/>
                    <a:pt x="3" y="453"/>
                    <a:pt x="2" y="441"/>
                  </a:cubicBezTo>
                  <a:cubicBezTo>
                    <a:pt x="466" y="0"/>
                    <a:pt x="466" y="0"/>
                    <a:pt x="466" y="0"/>
                  </a:cubicBezTo>
                  <a:cubicBezTo>
                    <a:pt x="467" y="0"/>
                    <a:pt x="467" y="0"/>
                    <a:pt x="467" y="0"/>
                  </a:cubicBezTo>
                  <a:cubicBezTo>
                    <a:pt x="466" y="26"/>
                    <a:pt x="458" y="50"/>
                    <a:pt x="443" y="68"/>
                  </a:cubicBezTo>
                  <a:cubicBezTo>
                    <a:pt x="443" y="68"/>
                    <a:pt x="443" y="68"/>
                    <a:pt x="443" y="68"/>
                  </a:cubicBezTo>
                  <a:cubicBezTo>
                    <a:pt x="443" y="68"/>
                    <a:pt x="443" y="68"/>
                    <a:pt x="443" y="68"/>
                  </a:cubicBezTo>
                  <a:cubicBezTo>
                    <a:pt x="443" y="68"/>
                    <a:pt x="443" y="68"/>
                    <a:pt x="443" y="68"/>
                  </a:cubicBezTo>
                  <a:cubicBezTo>
                    <a:pt x="443" y="68"/>
                    <a:pt x="443" y="68"/>
                    <a:pt x="443" y="68"/>
                  </a:cubicBezTo>
                  <a:cubicBezTo>
                    <a:pt x="443" y="68"/>
                    <a:pt x="443" y="68"/>
                    <a:pt x="443" y="68"/>
                  </a:cubicBezTo>
                  <a:cubicBezTo>
                    <a:pt x="0" y="477"/>
                    <a:pt x="0" y="477"/>
                    <a:pt x="0" y="477"/>
                  </a:cubicBezTo>
                </a:path>
              </a:pathLst>
            </a:custGeom>
            <a:solidFill>
              <a:srgbClr val="C8E7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79" name="ïṡ1iḍe">
              <a:extLst>
                <a:ext uri="{FF2B5EF4-FFF2-40B4-BE49-F238E27FC236}">
                  <a16:creationId xmlns:a16="http://schemas.microsoft.com/office/drawing/2014/main" id="{36D771C0-ACCD-44BF-AAD1-6F049FFA80AF}"/>
                </a:ext>
              </a:extLst>
            </p:cNvPr>
            <p:cNvSpPr/>
            <p:nvPr/>
          </p:nvSpPr>
          <p:spPr bwMode="auto">
            <a:xfrm>
              <a:off x="18539111" y="3870852"/>
              <a:ext cx="660575" cy="624079"/>
            </a:xfrm>
            <a:custGeom>
              <a:avLst/>
              <a:gdLst>
                <a:gd name="T0" fmla="*/ 0 w 464"/>
                <a:gd name="T1" fmla="*/ 441 h 441"/>
                <a:gd name="T2" fmla="*/ 0 w 464"/>
                <a:gd name="T3" fmla="*/ 440 h 441"/>
                <a:gd name="T4" fmla="*/ 464 w 464"/>
                <a:gd name="T5" fmla="*/ 0 h 441"/>
                <a:gd name="T6" fmla="*/ 0 w 464"/>
                <a:gd name="T7" fmla="*/ 441 h 441"/>
              </a:gdLst>
              <a:ahLst/>
              <a:cxnLst>
                <a:cxn ang="0">
                  <a:pos x="T0" y="T1"/>
                </a:cxn>
                <a:cxn ang="0">
                  <a:pos x="T2" y="T3"/>
                </a:cxn>
                <a:cxn ang="0">
                  <a:pos x="T4" y="T5"/>
                </a:cxn>
                <a:cxn ang="0">
                  <a:pos x="T6" y="T7"/>
                </a:cxn>
              </a:cxnLst>
              <a:rect l="0" t="0" r="r" b="b"/>
              <a:pathLst>
                <a:path w="464" h="441">
                  <a:moveTo>
                    <a:pt x="0" y="441"/>
                  </a:moveTo>
                  <a:cubicBezTo>
                    <a:pt x="0" y="441"/>
                    <a:pt x="0" y="441"/>
                    <a:pt x="0" y="440"/>
                  </a:cubicBezTo>
                  <a:cubicBezTo>
                    <a:pt x="464" y="0"/>
                    <a:pt x="464" y="0"/>
                    <a:pt x="464" y="0"/>
                  </a:cubicBezTo>
                  <a:cubicBezTo>
                    <a:pt x="0" y="441"/>
                    <a:pt x="0" y="441"/>
                    <a:pt x="0" y="441"/>
                  </a:cubicBezTo>
                </a:path>
              </a:pathLst>
            </a:custGeom>
            <a:solidFill>
              <a:srgbClr val="B1DAE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80" name="isļídè">
              <a:extLst>
                <a:ext uri="{FF2B5EF4-FFF2-40B4-BE49-F238E27FC236}">
                  <a16:creationId xmlns:a16="http://schemas.microsoft.com/office/drawing/2014/main" id="{1B7D9375-7BF7-44F6-B61F-8B9C408A22A8}"/>
                </a:ext>
              </a:extLst>
            </p:cNvPr>
            <p:cNvSpPr/>
            <p:nvPr/>
          </p:nvSpPr>
          <p:spPr bwMode="auto">
            <a:xfrm>
              <a:off x="16991689" y="4896385"/>
              <a:ext cx="609481" cy="664223"/>
            </a:xfrm>
            <a:custGeom>
              <a:avLst/>
              <a:gdLst>
                <a:gd name="T0" fmla="*/ 329 w 427"/>
                <a:gd name="T1" fmla="*/ 447 h 470"/>
                <a:gd name="T2" fmla="*/ 403 w 427"/>
                <a:gd name="T3" fmla="*/ 375 h 470"/>
                <a:gd name="T4" fmla="*/ 351 w 427"/>
                <a:gd name="T5" fmla="*/ 155 h 470"/>
                <a:gd name="T6" fmla="*/ 77 w 427"/>
                <a:gd name="T7" fmla="*/ 33 h 470"/>
                <a:gd name="T8" fmla="*/ 32 w 427"/>
                <a:gd name="T9" fmla="*/ 84 h 470"/>
                <a:gd name="T10" fmla="*/ 79 w 427"/>
                <a:gd name="T11" fmla="*/ 249 h 470"/>
                <a:gd name="T12" fmla="*/ 82 w 427"/>
                <a:gd name="T13" fmla="*/ 255 h 470"/>
                <a:gd name="T14" fmla="*/ 288 w 427"/>
                <a:gd name="T15" fmla="*/ 376 h 470"/>
                <a:gd name="T16" fmla="*/ 329 w 427"/>
                <a:gd name="T17" fmla="*/ 336 h 470"/>
                <a:gd name="T18" fmla="*/ 304 w 427"/>
                <a:gd name="T19" fmla="*/ 222 h 470"/>
                <a:gd name="T20" fmla="*/ 302 w 427"/>
                <a:gd name="T21" fmla="*/ 218 h 470"/>
                <a:gd name="T22" fmla="*/ 140 w 427"/>
                <a:gd name="T23" fmla="*/ 117 h 470"/>
                <a:gd name="T24" fmla="*/ 111 w 427"/>
                <a:gd name="T25" fmla="*/ 154 h 470"/>
                <a:gd name="T26" fmla="*/ 147 w 427"/>
                <a:gd name="T27" fmla="*/ 246 h 470"/>
                <a:gd name="T28" fmla="*/ 168 w 427"/>
                <a:gd name="T29" fmla="*/ 246 h 470"/>
                <a:gd name="T30" fmla="*/ 168 w 427"/>
                <a:gd name="T31" fmla="*/ 226 h 470"/>
                <a:gd name="T32" fmla="*/ 139 w 427"/>
                <a:gd name="T33" fmla="*/ 159 h 470"/>
                <a:gd name="T34" fmla="*/ 152 w 427"/>
                <a:gd name="T35" fmla="*/ 143 h 470"/>
                <a:gd name="T36" fmla="*/ 277 w 427"/>
                <a:gd name="T37" fmla="*/ 231 h 470"/>
                <a:gd name="T38" fmla="*/ 279 w 427"/>
                <a:gd name="T39" fmla="*/ 235 h 470"/>
                <a:gd name="T40" fmla="*/ 302 w 427"/>
                <a:gd name="T41" fmla="*/ 326 h 470"/>
                <a:gd name="T42" fmla="*/ 277 w 427"/>
                <a:gd name="T43" fmla="*/ 349 h 470"/>
                <a:gd name="T44" fmla="*/ 107 w 427"/>
                <a:gd name="T45" fmla="*/ 241 h 470"/>
                <a:gd name="T46" fmla="*/ 104 w 427"/>
                <a:gd name="T47" fmla="*/ 235 h 470"/>
                <a:gd name="T48" fmla="*/ 60 w 427"/>
                <a:gd name="T49" fmla="*/ 93 h 470"/>
                <a:gd name="T50" fmla="*/ 90 w 427"/>
                <a:gd name="T51" fmla="*/ 58 h 470"/>
                <a:gd name="T52" fmla="*/ 328 w 427"/>
                <a:gd name="T53" fmla="*/ 173 h 470"/>
                <a:gd name="T54" fmla="*/ 376 w 427"/>
                <a:gd name="T55" fmla="*/ 365 h 470"/>
                <a:gd name="T56" fmla="*/ 305 w 427"/>
                <a:gd name="T57" fmla="*/ 424 h 470"/>
                <a:gd name="T58" fmla="*/ 30 w 427"/>
                <a:gd name="T59" fmla="*/ 195 h 470"/>
                <a:gd name="T60" fmla="*/ 11 w 427"/>
                <a:gd name="T61" fmla="*/ 186 h 470"/>
                <a:gd name="T62" fmla="*/ 3 w 427"/>
                <a:gd name="T63" fmla="*/ 205 h 470"/>
                <a:gd name="T64" fmla="*/ 311 w 427"/>
                <a:gd name="T65" fmla="*/ 452 h 470"/>
                <a:gd name="T66" fmla="*/ 329 w 427"/>
                <a:gd name="T67" fmla="*/ 44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7" h="470">
                  <a:moveTo>
                    <a:pt x="329" y="447"/>
                  </a:moveTo>
                  <a:cubicBezTo>
                    <a:pt x="364" y="435"/>
                    <a:pt x="390" y="410"/>
                    <a:pt x="403" y="375"/>
                  </a:cubicBezTo>
                  <a:cubicBezTo>
                    <a:pt x="427" y="314"/>
                    <a:pt x="407" y="231"/>
                    <a:pt x="351" y="155"/>
                  </a:cubicBezTo>
                  <a:cubicBezTo>
                    <a:pt x="246" y="15"/>
                    <a:pt x="141" y="0"/>
                    <a:pt x="77" y="33"/>
                  </a:cubicBezTo>
                  <a:cubicBezTo>
                    <a:pt x="54" y="45"/>
                    <a:pt x="39" y="62"/>
                    <a:pt x="32" y="84"/>
                  </a:cubicBezTo>
                  <a:cubicBezTo>
                    <a:pt x="16" y="140"/>
                    <a:pt x="57" y="211"/>
                    <a:pt x="79" y="249"/>
                  </a:cubicBezTo>
                  <a:cubicBezTo>
                    <a:pt x="82" y="255"/>
                    <a:pt x="82" y="255"/>
                    <a:pt x="82" y="255"/>
                  </a:cubicBezTo>
                  <a:cubicBezTo>
                    <a:pt x="111" y="304"/>
                    <a:pt x="224" y="401"/>
                    <a:pt x="288" y="376"/>
                  </a:cubicBezTo>
                  <a:cubicBezTo>
                    <a:pt x="308" y="367"/>
                    <a:pt x="322" y="354"/>
                    <a:pt x="329" y="336"/>
                  </a:cubicBezTo>
                  <a:cubicBezTo>
                    <a:pt x="343" y="297"/>
                    <a:pt x="318" y="248"/>
                    <a:pt x="304" y="222"/>
                  </a:cubicBezTo>
                  <a:cubicBezTo>
                    <a:pt x="302" y="218"/>
                    <a:pt x="302" y="218"/>
                    <a:pt x="302" y="218"/>
                  </a:cubicBezTo>
                  <a:cubicBezTo>
                    <a:pt x="283" y="182"/>
                    <a:pt x="192" y="91"/>
                    <a:pt x="140" y="117"/>
                  </a:cubicBezTo>
                  <a:cubicBezTo>
                    <a:pt x="124" y="125"/>
                    <a:pt x="114" y="138"/>
                    <a:pt x="111" y="154"/>
                  </a:cubicBezTo>
                  <a:cubicBezTo>
                    <a:pt x="105" y="187"/>
                    <a:pt x="130" y="227"/>
                    <a:pt x="147" y="246"/>
                  </a:cubicBezTo>
                  <a:cubicBezTo>
                    <a:pt x="153" y="252"/>
                    <a:pt x="162" y="252"/>
                    <a:pt x="168" y="246"/>
                  </a:cubicBezTo>
                  <a:cubicBezTo>
                    <a:pt x="173" y="241"/>
                    <a:pt x="174" y="232"/>
                    <a:pt x="168" y="226"/>
                  </a:cubicBezTo>
                  <a:cubicBezTo>
                    <a:pt x="154" y="212"/>
                    <a:pt x="135" y="180"/>
                    <a:pt x="139" y="159"/>
                  </a:cubicBezTo>
                  <a:cubicBezTo>
                    <a:pt x="140" y="152"/>
                    <a:pt x="145" y="147"/>
                    <a:pt x="152" y="143"/>
                  </a:cubicBezTo>
                  <a:cubicBezTo>
                    <a:pt x="180" y="129"/>
                    <a:pt x="260" y="198"/>
                    <a:pt x="277" y="231"/>
                  </a:cubicBezTo>
                  <a:cubicBezTo>
                    <a:pt x="279" y="235"/>
                    <a:pt x="279" y="235"/>
                    <a:pt x="279" y="235"/>
                  </a:cubicBezTo>
                  <a:cubicBezTo>
                    <a:pt x="289" y="256"/>
                    <a:pt x="312" y="299"/>
                    <a:pt x="302" y="326"/>
                  </a:cubicBezTo>
                  <a:cubicBezTo>
                    <a:pt x="298" y="336"/>
                    <a:pt x="290" y="344"/>
                    <a:pt x="277" y="349"/>
                  </a:cubicBezTo>
                  <a:cubicBezTo>
                    <a:pt x="237" y="365"/>
                    <a:pt x="135" y="289"/>
                    <a:pt x="107" y="241"/>
                  </a:cubicBezTo>
                  <a:cubicBezTo>
                    <a:pt x="104" y="235"/>
                    <a:pt x="104" y="235"/>
                    <a:pt x="104" y="235"/>
                  </a:cubicBezTo>
                  <a:cubicBezTo>
                    <a:pt x="84" y="200"/>
                    <a:pt x="47" y="136"/>
                    <a:pt x="60" y="93"/>
                  </a:cubicBezTo>
                  <a:cubicBezTo>
                    <a:pt x="64" y="78"/>
                    <a:pt x="74" y="66"/>
                    <a:pt x="90" y="58"/>
                  </a:cubicBezTo>
                  <a:cubicBezTo>
                    <a:pt x="141" y="32"/>
                    <a:pt x="234" y="47"/>
                    <a:pt x="328" y="173"/>
                  </a:cubicBezTo>
                  <a:cubicBezTo>
                    <a:pt x="378" y="241"/>
                    <a:pt x="396" y="312"/>
                    <a:pt x="376" y="365"/>
                  </a:cubicBezTo>
                  <a:cubicBezTo>
                    <a:pt x="364" y="396"/>
                    <a:pt x="339" y="417"/>
                    <a:pt x="305" y="424"/>
                  </a:cubicBezTo>
                  <a:cubicBezTo>
                    <a:pt x="231" y="439"/>
                    <a:pt x="86" y="358"/>
                    <a:pt x="30" y="195"/>
                  </a:cubicBezTo>
                  <a:cubicBezTo>
                    <a:pt x="27" y="188"/>
                    <a:pt x="19" y="184"/>
                    <a:pt x="11" y="186"/>
                  </a:cubicBezTo>
                  <a:cubicBezTo>
                    <a:pt x="4" y="189"/>
                    <a:pt x="0" y="197"/>
                    <a:pt x="3" y="205"/>
                  </a:cubicBezTo>
                  <a:cubicBezTo>
                    <a:pt x="65" y="384"/>
                    <a:pt x="224" y="470"/>
                    <a:pt x="311" y="452"/>
                  </a:cubicBezTo>
                  <a:cubicBezTo>
                    <a:pt x="317" y="451"/>
                    <a:pt x="323" y="449"/>
                    <a:pt x="329" y="447"/>
                  </a:cubicBezTo>
                  <a:close/>
                </a:path>
              </a:pathLst>
            </a:custGeom>
            <a:solidFill>
              <a:srgbClr val="FFFFFF"/>
            </a:solidFill>
            <a:ln w="9525">
              <a:solidFill>
                <a:srgbClr val="000000"/>
              </a:solidFill>
              <a:round/>
              <a:headEnd/>
              <a:tailEnd/>
            </a:ln>
          </p:spPr>
          <p:txBody>
            <a:bodyPr anchor="ctr"/>
            <a:lstStyle/>
            <a:p>
              <a:pPr algn="ctr"/>
              <a:endParaRPr>
                <a:cs typeface="+mn-ea"/>
                <a:sym typeface="+mn-lt"/>
              </a:endParaRPr>
            </a:p>
          </p:txBody>
        </p:sp>
        <p:sp>
          <p:nvSpPr>
            <p:cNvPr id="81" name="í$ľíďé">
              <a:extLst>
                <a:ext uri="{FF2B5EF4-FFF2-40B4-BE49-F238E27FC236}">
                  <a16:creationId xmlns:a16="http://schemas.microsoft.com/office/drawing/2014/main" id="{903C5844-538E-470A-A288-F4257FFD8750}"/>
                </a:ext>
              </a:extLst>
            </p:cNvPr>
            <p:cNvSpPr/>
            <p:nvPr/>
          </p:nvSpPr>
          <p:spPr bwMode="auto">
            <a:xfrm>
              <a:off x="17812845" y="4217563"/>
              <a:ext cx="540138" cy="591232"/>
            </a:xfrm>
            <a:custGeom>
              <a:avLst/>
              <a:gdLst>
                <a:gd name="T0" fmla="*/ 281 w 380"/>
                <a:gd name="T1" fmla="*/ 123 h 418"/>
                <a:gd name="T2" fmla="*/ 67 w 380"/>
                <a:gd name="T3" fmla="*/ 0 h 418"/>
                <a:gd name="T4" fmla="*/ 0 w 380"/>
                <a:gd name="T5" fmla="*/ 62 h 418"/>
                <a:gd name="T6" fmla="*/ 9 w 380"/>
                <a:gd name="T7" fmla="*/ 57 h 418"/>
                <a:gd name="T8" fmla="*/ 252 w 380"/>
                <a:gd name="T9" fmla="*/ 152 h 418"/>
                <a:gd name="T10" fmla="*/ 307 w 380"/>
                <a:gd name="T11" fmla="*/ 418 h 418"/>
                <a:gd name="T12" fmla="*/ 368 w 380"/>
                <a:gd name="T13" fmla="*/ 362 h 418"/>
                <a:gd name="T14" fmla="*/ 281 w 380"/>
                <a:gd name="T15" fmla="*/ 123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418">
                  <a:moveTo>
                    <a:pt x="281" y="123"/>
                  </a:moveTo>
                  <a:cubicBezTo>
                    <a:pt x="217" y="47"/>
                    <a:pt x="135" y="3"/>
                    <a:pt x="67" y="0"/>
                  </a:cubicBezTo>
                  <a:cubicBezTo>
                    <a:pt x="0" y="62"/>
                    <a:pt x="0" y="62"/>
                    <a:pt x="0" y="62"/>
                  </a:cubicBezTo>
                  <a:cubicBezTo>
                    <a:pt x="2" y="61"/>
                    <a:pt x="5" y="59"/>
                    <a:pt x="9" y="57"/>
                  </a:cubicBezTo>
                  <a:cubicBezTo>
                    <a:pt x="61" y="18"/>
                    <a:pt x="182" y="70"/>
                    <a:pt x="252" y="152"/>
                  </a:cubicBezTo>
                  <a:cubicBezTo>
                    <a:pt x="331" y="244"/>
                    <a:pt x="358" y="351"/>
                    <a:pt x="307" y="418"/>
                  </a:cubicBezTo>
                  <a:cubicBezTo>
                    <a:pt x="368" y="362"/>
                    <a:pt x="368" y="362"/>
                    <a:pt x="368" y="362"/>
                  </a:cubicBezTo>
                  <a:cubicBezTo>
                    <a:pt x="380" y="295"/>
                    <a:pt x="349" y="202"/>
                    <a:pt x="281" y="123"/>
                  </a:cubicBezTo>
                  <a:close/>
                </a:path>
              </a:pathLst>
            </a:custGeom>
            <a:solidFill>
              <a:srgbClr val="96A8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82" name="iṩlîḍè">
              <a:extLst>
                <a:ext uri="{FF2B5EF4-FFF2-40B4-BE49-F238E27FC236}">
                  <a16:creationId xmlns:a16="http://schemas.microsoft.com/office/drawing/2014/main" id="{C3610267-CE96-4FCD-8326-1FE49FCCA4D7}"/>
                </a:ext>
              </a:extLst>
            </p:cNvPr>
            <p:cNvSpPr/>
            <p:nvPr/>
          </p:nvSpPr>
          <p:spPr bwMode="auto">
            <a:xfrm>
              <a:off x="17783649" y="4155519"/>
              <a:ext cx="609481" cy="678821"/>
            </a:xfrm>
            <a:custGeom>
              <a:avLst/>
              <a:gdLst>
                <a:gd name="T0" fmla="*/ 315 w 430"/>
                <a:gd name="T1" fmla="*/ 155 h 480"/>
                <a:gd name="T2" fmla="*/ 20 w 430"/>
                <a:gd name="T3" fmla="*/ 57 h 480"/>
                <a:gd name="T4" fmla="*/ 9 w 430"/>
                <a:gd name="T5" fmla="*/ 68 h 480"/>
                <a:gd name="T6" fmla="*/ 0 w 430"/>
                <a:gd name="T7" fmla="*/ 87 h 480"/>
                <a:gd name="T8" fmla="*/ 3 w 430"/>
                <a:gd name="T9" fmla="*/ 96 h 480"/>
                <a:gd name="T10" fmla="*/ 22 w 430"/>
                <a:gd name="T11" fmla="*/ 93 h 480"/>
                <a:gd name="T12" fmla="*/ 43 w 430"/>
                <a:gd name="T13" fmla="*/ 89 h 480"/>
                <a:gd name="T14" fmla="*/ 286 w 430"/>
                <a:gd name="T15" fmla="*/ 184 h 480"/>
                <a:gd name="T16" fmla="*/ 337 w 430"/>
                <a:gd name="T17" fmla="*/ 456 h 480"/>
                <a:gd name="T18" fmla="*/ 342 w 430"/>
                <a:gd name="T19" fmla="*/ 480 h 480"/>
                <a:gd name="T20" fmla="*/ 347 w 430"/>
                <a:gd name="T21" fmla="*/ 480 h 480"/>
                <a:gd name="T22" fmla="*/ 377 w 430"/>
                <a:gd name="T23" fmla="*/ 451 h 480"/>
                <a:gd name="T24" fmla="*/ 315 w 430"/>
                <a:gd name="T25" fmla="*/ 155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0" h="480">
                  <a:moveTo>
                    <a:pt x="315" y="155"/>
                  </a:moveTo>
                  <a:cubicBezTo>
                    <a:pt x="221" y="44"/>
                    <a:pt x="89" y="0"/>
                    <a:pt x="20" y="57"/>
                  </a:cubicBezTo>
                  <a:cubicBezTo>
                    <a:pt x="9" y="68"/>
                    <a:pt x="9" y="68"/>
                    <a:pt x="9" y="68"/>
                  </a:cubicBezTo>
                  <a:cubicBezTo>
                    <a:pt x="0" y="87"/>
                    <a:pt x="0" y="87"/>
                    <a:pt x="0" y="87"/>
                  </a:cubicBezTo>
                  <a:cubicBezTo>
                    <a:pt x="3" y="96"/>
                    <a:pt x="3" y="96"/>
                    <a:pt x="3" y="96"/>
                  </a:cubicBezTo>
                  <a:cubicBezTo>
                    <a:pt x="12" y="89"/>
                    <a:pt x="17" y="91"/>
                    <a:pt x="22" y="93"/>
                  </a:cubicBezTo>
                  <a:cubicBezTo>
                    <a:pt x="27" y="94"/>
                    <a:pt x="33" y="96"/>
                    <a:pt x="43" y="89"/>
                  </a:cubicBezTo>
                  <a:cubicBezTo>
                    <a:pt x="95" y="50"/>
                    <a:pt x="216" y="102"/>
                    <a:pt x="286" y="184"/>
                  </a:cubicBezTo>
                  <a:cubicBezTo>
                    <a:pt x="367" y="278"/>
                    <a:pt x="394" y="389"/>
                    <a:pt x="337" y="456"/>
                  </a:cubicBezTo>
                  <a:cubicBezTo>
                    <a:pt x="332" y="462"/>
                    <a:pt x="347" y="474"/>
                    <a:pt x="342" y="480"/>
                  </a:cubicBezTo>
                  <a:cubicBezTo>
                    <a:pt x="342" y="480"/>
                    <a:pt x="346" y="480"/>
                    <a:pt x="347" y="480"/>
                  </a:cubicBezTo>
                  <a:cubicBezTo>
                    <a:pt x="358" y="471"/>
                    <a:pt x="377" y="451"/>
                    <a:pt x="377" y="451"/>
                  </a:cubicBezTo>
                  <a:cubicBezTo>
                    <a:pt x="430" y="387"/>
                    <a:pt x="405" y="259"/>
                    <a:pt x="315" y="155"/>
                  </a:cubicBezTo>
                </a:path>
              </a:pathLst>
            </a:custGeom>
            <a:solidFill>
              <a:srgbClr val="B01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83" name="îSļîḍê">
              <a:extLst>
                <a:ext uri="{FF2B5EF4-FFF2-40B4-BE49-F238E27FC236}">
                  <a16:creationId xmlns:a16="http://schemas.microsoft.com/office/drawing/2014/main" id="{AB41A05E-E17E-4EF1-9027-6495AF408D92}"/>
                </a:ext>
              </a:extLst>
            </p:cNvPr>
            <p:cNvSpPr/>
            <p:nvPr/>
          </p:nvSpPr>
          <p:spPr bwMode="auto">
            <a:xfrm>
              <a:off x="17812845" y="3991289"/>
              <a:ext cx="762763" cy="802907"/>
            </a:xfrm>
            <a:custGeom>
              <a:avLst/>
              <a:gdLst>
                <a:gd name="T0" fmla="*/ 421 w 536"/>
                <a:gd name="T1" fmla="*/ 155 h 565"/>
                <a:gd name="T2" fmla="*/ 126 w 536"/>
                <a:gd name="T3" fmla="*/ 57 h 565"/>
                <a:gd name="T4" fmla="*/ 125 w 536"/>
                <a:gd name="T5" fmla="*/ 57 h 565"/>
                <a:gd name="T6" fmla="*/ 0 w 536"/>
                <a:gd name="T7" fmla="*/ 169 h 565"/>
                <a:gd name="T8" fmla="*/ 293 w 536"/>
                <a:gd name="T9" fmla="*/ 270 h 565"/>
                <a:gd name="T10" fmla="*/ 354 w 536"/>
                <a:gd name="T11" fmla="*/ 565 h 565"/>
                <a:gd name="T12" fmla="*/ 483 w 536"/>
                <a:gd name="T13" fmla="*/ 451 h 565"/>
                <a:gd name="T14" fmla="*/ 421 w 536"/>
                <a:gd name="T15" fmla="*/ 155 h 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6" h="565">
                  <a:moveTo>
                    <a:pt x="421" y="155"/>
                  </a:moveTo>
                  <a:cubicBezTo>
                    <a:pt x="326" y="44"/>
                    <a:pt x="195" y="0"/>
                    <a:pt x="126" y="57"/>
                  </a:cubicBezTo>
                  <a:cubicBezTo>
                    <a:pt x="125" y="57"/>
                    <a:pt x="125" y="57"/>
                    <a:pt x="125" y="57"/>
                  </a:cubicBezTo>
                  <a:cubicBezTo>
                    <a:pt x="0" y="169"/>
                    <a:pt x="0" y="169"/>
                    <a:pt x="0" y="169"/>
                  </a:cubicBezTo>
                  <a:cubicBezTo>
                    <a:pt x="70" y="117"/>
                    <a:pt x="200" y="161"/>
                    <a:pt x="293" y="270"/>
                  </a:cubicBezTo>
                  <a:cubicBezTo>
                    <a:pt x="382" y="374"/>
                    <a:pt x="407" y="502"/>
                    <a:pt x="354" y="565"/>
                  </a:cubicBezTo>
                  <a:cubicBezTo>
                    <a:pt x="483" y="451"/>
                    <a:pt x="483" y="451"/>
                    <a:pt x="483" y="451"/>
                  </a:cubicBezTo>
                  <a:cubicBezTo>
                    <a:pt x="536" y="387"/>
                    <a:pt x="511" y="259"/>
                    <a:pt x="421" y="155"/>
                  </a:cubicBezTo>
                </a:path>
              </a:pathLst>
            </a:custGeom>
            <a:solidFill>
              <a:srgbClr val="D214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84" name="ïślîďê">
              <a:extLst>
                <a:ext uri="{FF2B5EF4-FFF2-40B4-BE49-F238E27FC236}">
                  <a16:creationId xmlns:a16="http://schemas.microsoft.com/office/drawing/2014/main" id="{C8EE72AF-3EA2-4D8D-BCAA-894D82185537}"/>
                </a:ext>
              </a:extLst>
            </p:cNvPr>
            <p:cNvSpPr/>
            <p:nvPr/>
          </p:nvSpPr>
          <p:spPr bwMode="auto">
            <a:xfrm>
              <a:off x="18185102" y="4330699"/>
              <a:ext cx="171531" cy="321163"/>
            </a:xfrm>
            <a:custGeom>
              <a:avLst/>
              <a:gdLst>
                <a:gd name="T0" fmla="*/ 119 w 119"/>
                <a:gd name="T1" fmla="*/ 227 h 227"/>
                <a:gd name="T2" fmla="*/ 35 w 119"/>
                <a:gd name="T3" fmla="*/ 37 h 227"/>
                <a:gd name="T4" fmla="*/ 119 w 119"/>
                <a:gd name="T5" fmla="*/ 227 h 227"/>
                <a:gd name="T6" fmla="*/ 119 w 119"/>
                <a:gd name="T7" fmla="*/ 227 h 227"/>
                <a:gd name="T8" fmla="*/ 35 w 119"/>
                <a:gd name="T9" fmla="*/ 37 h 227"/>
                <a:gd name="T10" fmla="*/ 35 w 119"/>
                <a:gd name="T11" fmla="*/ 37 h 227"/>
                <a:gd name="T12" fmla="*/ 35 w 119"/>
                <a:gd name="T13" fmla="*/ 37 h 227"/>
                <a:gd name="T14" fmla="*/ 35 w 119"/>
                <a:gd name="T15" fmla="*/ 37 h 227"/>
                <a:gd name="T16" fmla="*/ 34 w 119"/>
                <a:gd name="T17" fmla="*/ 37 h 227"/>
                <a:gd name="T18" fmla="*/ 35 w 119"/>
                <a:gd name="T19" fmla="*/ 37 h 227"/>
                <a:gd name="T20" fmla="*/ 34 w 119"/>
                <a:gd name="T21" fmla="*/ 37 h 227"/>
                <a:gd name="T22" fmla="*/ 34 w 119"/>
                <a:gd name="T23" fmla="*/ 36 h 227"/>
                <a:gd name="T24" fmla="*/ 34 w 119"/>
                <a:gd name="T25" fmla="*/ 37 h 227"/>
                <a:gd name="T26" fmla="*/ 34 w 119"/>
                <a:gd name="T27" fmla="*/ 36 h 227"/>
                <a:gd name="T28" fmla="*/ 33 w 119"/>
                <a:gd name="T29" fmla="*/ 36 h 227"/>
                <a:gd name="T30" fmla="*/ 34 w 119"/>
                <a:gd name="T31" fmla="*/ 36 h 227"/>
                <a:gd name="T32" fmla="*/ 33 w 119"/>
                <a:gd name="T33" fmla="*/ 36 h 227"/>
                <a:gd name="T34" fmla="*/ 33 w 119"/>
                <a:gd name="T35" fmla="*/ 35 h 227"/>
                <a:gd name="T36" fmla="*/ 33 w 119"/>
                <a:gd name="T37" fmla="*/ 36 h 227"/>
                <a:gd name="T38" fmla="*/ 33 w 119"/>
                <a:gd name="T39" fmla="*/ 35 h 227"/>
                <a:gd name="T40" fmla="*/ 33 w 119"/>
                <a:gd name="T41" fmla="*/ 35 h 227"/>
                <a:gd name="T42" fmla="*/ 33 w 119"/>
                <a:gd name="T43" fmla="*/ 35 h 227"/>
                <a:gd name="T44" fmla="*/ 33 w 119"/>
                <a:gd name="T45" fmla="*/ 35 h 227"/>
                <a:gd name="T46" fmla="*/ 32 w 119"/>
                <a:gd name="T47" fmla="*/ 34 h 227"/>
                <a:gd name="T48" fmla="*/ 33 w 119"/>
                <a:gd name="T49" fmla="*/ 35 h 227"/>
                <a:gd name="T50" fmla="*/ 32 w 119"/>
                <a:gd name="T51" fmla="*/ 34 h 227"/>
                <a:gd name="T52" fmla="*/ 32 w 119"/>
                <a:gd name="T53" fmla="*/ 34 h 227"/>
                <a:gd name="T54" fmla="*/ 32 w 119"/>
                <a:gd name="T55" fmla="*/ 34 h 227"/>
                <a:gd name="T56" fmla="*/ 32 w 119"/>
                <a:gd name="T57" fmla="*/ 34 h 227"/>
                <a:gd name="T58" fmla="*/ 32 w 119"/>
                <a:gd name="T59" fmla="*/ 33 h 227"/>
                <a:gd name="T60" fmla="*/ 32 w 119"/>
                <a:gd name="T61" fmla="*/ 34 h 227"/>
                <a:gd name="T62" fmla="*/ 31 w 119"/>
                <a:gd name="T63" fmla="*/ 33 h 227"/>
                <a:gd name="T64" fmla="*/ 31 w 119"/>
                <a:gd name="T65" fmla="*/ 33 h 227"/>
                <a:gd name="T66" fmla="*/ 31 w 119"/>
                <a:gd name="T67" fmla="*/ 33 h 227"/>
                <a:gd name="T68" fmla="*/ 31 w 119"/>
                <a:gd name="T69" fmla="*/ 33 h 227"/>
                <a:gd name="T70" fmla="*/ 31 w 119"/>
                <a:gd name="T71" fmla="*/ 33 h 227"/>
                <a:gd name="T72" fmla="*/ 0 w 119"/>
                <a:gd name="T73" fmla="*/ 0 h 227"/>
                <a:gd name="T74" fmla="*/ 0 w 119"/>
                <a:gd name="T75" fmla="*/ 0 h 227"/>
                <a:gd name="T76" fmla="*/ 31 w 119"/>
                <a:gd name="T77" fmla="*/ 33 h 227"/>
                <a:gd name="T78" fmla="*/ 31 w 119"/>
                <a:gd name="T79" fmla="*/ 3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9" h="227">
                  <a:moveTo>
                    <a:pt x="119" y="227"/>
                  </a:moveTo>
                  <a:cubicBezTo>
                    <a:pt x="115" y="168"/>
                    <a:pt x="86" y="99"/>
                    <a:pt x="35" y="37"/>
                  </a:cubicBezTo>
                  <a:cubicBezTo>
                    <a:pt x="86" y="99"/>
                    <a:pt x="115" y="168"/>
                    <a:pt x="119" y="227"/>
                  </a:cubicBezTo>
                  <a:cubicBezTo>
                    <a:pt x="119" y="227"/>
                    <a:pt x="119" y="227"/>
                    <a:pt x="119" y="227"/>
                  </a:cubicBezTo>
                  <a:moveTo>
                    <a:pt x="35" y="37"/>
                  </a:moveTo>
                  <a:cubicBezTo>
                    <a:pt x="35" y="37"/>
                    <a:pt x="35" y="37"/>
                    <a:pt x="35" y="37"/>
                  </a:cubicBezTo>
                  <a:cubicBezTo>
                    <a:pt x="35" y="37"/>
                    <a:pt x="35" y="37"/>
                    <a:pt x="35" y="37"/>
                  </a:cubicBezTo>
                  <a:moveTo>
                    <a:pt x="35" y="37"/>
                  </a:moveTo>
                  <a:cubicBezTo>
                    <a:pt x="34" y="37"/>
                    <a:pt x="34" y="37"/>
                    <a:pt x="34" y="37"/>
                  </a:cubicBezTo>
                  <a:cubicBezTo>
                    <a:pt x="34" y="37"/>
                    <a:pt x="34" y="37"/>
                    <a:pt x="35" y="37"/>
                  </a:cubicBezTo>
                  <a:moveTo>
                    <a:pt x="34" y="37"/>
                  </a:moveTo>
                  <a:cubicBezTo>
                    <a:pt x="34" y="36"/>
                    <a:pt x="34" y="36"/>
                    <a:pt x="34" y="36"/>
                  </a:cubicBezTo>
                  <a:cubicBezTo>
                    <a:pt x="34" y="36"/>
                    <a:pt x="34" y="36"/>
                    <a:pt x="34" y="37"/>
                  </a:cubicBezTo>
                  <a:moveTo>
                    <a:pt x="34" y="36"/>
                  </a:moveTo>
                  <a:cubicBezTo>
                    <a:pt x="34" y="36"/>
                    <a:pt x="33" y="36"/>
                    <a:pt x="33" y="36"/>
                  </a:cubicBezTo>
                  <a:cubicBezTo>
                    <a:pt x="33" y="36"/>
                    <a:pt x="34" y="36"/>
                    <a:pt x="34" y="36"/>
                  </a:cubicBezTo>
                  <a:moveTo>
                    <a:pt x="33" y="36"/>
                  </a:moveTo>
                  <a:cubicBezTo>
                    <a:pt x="33" y="35"/>
                    <a:pt x="33" y="35"/>
                    <a:pt x="33" y="35"/>
                  </a:cubicBezTo>
                  <a:cubicBezTo>
                    <a:pt x="33" y="35"/>
                    <a:pt x="33" y="35"/>
                    <a:pt x="33" y="36"/>
                  </a:cubicBezTo>
                  <a:moveTo>
                    <a:pt x="33" y="35"/>
                  </a:moveTo>
                  <a:cubicBezTo>
                    <a:pt x="33" y="35"/>
                    <a:pt x="33" y="35"/>
                    <a:pt x="33" y="35"/>
                  </a:cubicBezTo>
                  <a:cubicBezTo>
                    <a:pt x="33" y="35"/>
                    <a:pt x="33" y="35"/>
                    <a:pt x="33" y="35"/>
                  </a:cubicBezTo>
                  <a:moveTo>
                    <a:pt x="33" y="35"/>
                  </a:moveTo>
                  <a:cubicBezTo>
                    <a:pt x="33" y="35"/>
                    <a:pt x="32" y="34"/>
                    <a:pt x="32" y="34"/>
                  </a:cubicBezTo>
                  <a:cubicBezTo>
                    <a:pt x="32" y="34"/>
                    <a:pt x="33" y="35"/>
                    <a:pt x="33" y="35"/>
                  </a:cubicBezTo>
                  <a:moveTo>
                    <a:pt x="32" y="34"/>
                  </a:moveTo>
                  <a:cubicBezTo>
                    <a:pt x="32" y="34"/>
                    <a:pt x="32" y="34"/>
                    <a:pt x="32" y="34"/>
                  </a:cubicBezTo>
                  <a:cubicBezTo>
                    <a:pt x="32" y="34"/>
                    <a:pt x="32" y="34"/>
                    <a:pt x="32" y="34"/>
                  </a:cubicBezTo>
                  <a:moveTo>
                    <a:pt x="32" y="34"/>
                  </a:moveTo>
                  <a:cubicBezTo>
                    <a:pt x="32" y="34"/>
                    <a:pt x="32" y="34"/>
                    <a:pt x="32" y="33"/>
                  </a:cubicBezTo>
                  <a:cubicBezTo>
                    <a:pt x="32" y="34"/>
                    <a:pt x="32" y="34"/>
                    <a:pt x="32" y="34"/>
                  </a:cubicBezTo>
                  <a:moveTo>
                    <a:pt x="31" y="33"/>
                  </a:moveTo>
                  <a:cubicBezTo>
                    <a:pt x="31" y="33"/>
                    <a:pt x="31" y="33"/>
                    <a:pt x="31" y="33"/>
                  </a:cubicBezTo>
                  <a:cubicBezTo>
                    <a:pt x="31" y="33"/>
                    <a:pt x="31" y="33"/>
                    <a:pt x="31" y="33"/>
                  </a:cubicBezTo>
                  <a:moveTo>
                    <a:pt x="31" y="33"/>
                  </a:moveTo>
                  <a:cubicBezTo>
                    <a:pt x="31" y="33"/>
                    <a:pt x="31" y="33"/>
                    <a:pt x="31" y="33"/>
                  </a:cubicBezTo>
                  <a:cubicBezTo>
                    <a:pt x="21" y="21"/>
                    <a:pt x="11" y="10"/>
                    <a:pt x="0" y="0"/>
                  </a:cubicBezTo>
                  <a:cubicBezTo>
                    <a:pt x="0" y="0"/>
                    <a:pt x="0" y="0"/>
                    <a:pt x="0" y="0"/>
                  </a:cubicBezTo>
                  <a:cubicBezTo>
                    <a:pt x="11" y="10"/>
                    <a:pt x="21" y="21"/>
                    <a:pt x="31" y="33"/>
                  </a:cubicBezTo>
                  <a:cubicBezTo>
                    <a:pt x="31" y="33"/>
                    <a:pt x="31" y="33"/>
                    <a:pt x="31" y="33"/>
                  </a:cubicBezTo>
                </a:path>
              </a:pathLst>
            </a:custGeom>
            <a:solidFill>
              <a:srgbClr val="9B0D1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85" name="î$ļíḋe">
              <a:extLst>
                <a:ext uri="{FF2B5EF4-FFF2-40B4-BE49-F238E27FC236}">
                  <a16:creationId xmlns:a16="http://schemas.microsoft.com/office/drawing/2014/main" id="{19A42556-7FF3-4831-8D1F-14580CDE0996}"/>
                </a:ext>
              </a:extLst>
            </p:cNvPr>
            <p:cNvSpPr/>
            <p:nvPr/>
          </p:nvSpPr>
          <p:spPr bwMode="auto">
            <a:xfrm>
              <a:off x="18415025" y="4213912"/>
              <a:ext cx="3651" cy="3651"/>
            </a:xfrm>
            <a:custGeom>
              <a:avLst/>
              <a:gdLst>
                <a:gd name="T0" fmla="*/ 2 w 2"/>
                <a:gd name="T1" fmla="*/ 3 h 3"/>
                <a:gd name="T2" fmla="*/ 2 w 2"/>
                <a:gd name="T3" fmla="*/ 3 h 3"/>
                <a:gd name="T4" fmla="*/ 2 w 2"/>
                <a:gd name="T5" fmla="*/ 3 h 3"/>
                <a:gd name="T6" fmla="*/ 2 w 2"/>
                <a:gd name="T7" fmla="*/ 3 h 3"/>
                <a:gd name="T8" fmla="*/ 2 w 2"/>
                <a:gd name="T9" fmla="*/ 3 h 3"/>
                <a:gd name="T10" fmla="*/ 2 w 2"/>
                <a:gd name="T11" fmla="*/ 3 h 3"/>
                <a:gd name="T12" fmla="*/ 1 w 2"/>
                <a:gd name="T13" fmla="*/ 2 h 3"/>
                <a:gd name="T14" fmla="*/ 1 w 2"/>
                <a:gd name="T15" fmla="*/ 2 h 3"/>
                <a:gd name="T16" fmla="*/ 1 w 2"/>
                <a:gd name="T17" fmla="*/ 2 h 3"/>
                <a:gd name="T18" fmla="*/ 1 w 2"/>
                <a:gd name="T19" fmla="*/ 1 h 3"/>
                <a:gd name="T20" fmla="*/ 0 w 2"/>
                <a:gd name="T21" fmla="*/ 1 h 3"/>
                <a:gd name="T22" fmla="*/ 1 w 2"/>
                <a:gd name="T23" fmla="*/ 1 h 3"/>
                <a:gd name="T24" fmla="*/ 0 w 2"/>
                <a:gd name="T25" fmla="*/ 1 h 3"/>
                <a:gd name="T26" fmla="*/ 0 w 2"/>
                <a:gd name="T27" fmla="*/ 1 h 3"/>
                <a:gd name="T28" fmla="*/ 0 w 2"/>
                <a:gd name="T29" fmla="*/ 1 h 3"/>
                <a:gd name="T30" fmla="*/ 0 w 2"/>
                <a:gd name="T31" fmla="*/ 1 h 3"/>
                <a:gd name="T32" fmla="*/ 0 w 2"/>
                <a:gd name="T33" fmla="*/ 0 h 3"/>
                <a:gd name="T34" fmla="*/ 0 w 2"/>
                <a:gd name="T35" fmla="*/ 1 h 3"/>
                <a:gd name="T36" fmla="*/ 0 w 2"/>
                <a:gd name="T37" fmla="*/ 0 h 3"/>
                <a:gd name="T38" fmla="*/ 0 w 2"/>
                <a:gd name="T39" fmla="*/ 0 h 3"/>
                <a:gd name="T40" fmla="*/ 0 w 2"/>
                <a:gd name="T4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3">
                  <a:moveTo>
                    <a:pt x="2" y="3"/>
                  </a:moveTo>
                  <a:cubicBezTo>
                    <a:pt x="2" y="3"/>
                    <a:pt x="2" y="3"/>
                    <a:pt x="2" y="3"/>
                  </a:cubicBezTo>
                  <a:cubicBezTo>
                    <a:pt x="2" y="3"/>
                    <a:pt x="2" y="3"/>
                    <a:pt x="2" y="3"/>
                  </a:cubicBezTo>
                  <a:moveTo>
                    <a:pt x="2" y="3"/>
                  </a:moveTo>
                  <a:cubicBezTo>
                    <a:pt x="2" y="3"/>
                    <a:pt x="2" y="3"/>
                    <a:pt x="2" y="3"/>
                  </a:cubicBezTo>
                  <a:cubicBezTo>
                    <a:pt x="2" y="3"/>
                    <a:pt x="2" y="3"/>
                    <a:pt x="2" y="3"/>
                  </a:cubicBezTo>
                  <a:moveTo>
                    <a:pt x="1" y="2"/>
                  </a:moveTo>
                  <a:cubicBezTo>
                    <a:pt x="1" y="2"/>
                    <a:pt x="1" y="2"/>
                    <a:pt x="1" y="2"/>
                  </a:cubicBezTo>
                  <a:cubicBezTo>
                    <a:pt x="1" y="2"/>
                    <a:pt x="1" y="2"/>
                    <a:pt x="1" y="2"/>
                  </a:cubicBezTo>
                  <a:moveTo>
                    <a:pt x="1" y="1"/>
                  </a:moveTo>
                  <a:cubicBezTo>
                    <a:pt x="1" y="1"/>
                    <a:pt x="1" y="1"/>
                    <a:pt x="0" y="1"/>
                  </a:cubicBezTo>
                  <a:cubicBezTo>
                    <a:pt x="1" y="1"/>
                    <a:pt x="1" y="1"/>
                    <a:pt x="1" y="1"/>
                  </a:cubicBezTo>
                  <a:moveTo>
                    <a:pt x="0" y="1"/>
                  </a:moveTo>
                  <a:cubicBezTo>
                    <a:pt x="0" y="1"/>
                    <a:pt x="0" y="1"/>
                    <a:pt x="0" y="1"/>
                  </a:cubicBezTo>
                  <a:cubicBezTo>
                    <a:pt x="0" y="1"/>
                    <a:pt x="0" y="1"/>
                    <a:pt x="0" y="1"/>
                  </a:cubicBezTo>
                  <a:moveTo>
                    <a:pt x="0" y="1"/>
                  </a:moveTo>
                  <a:cubicBezTo>
                    <a:pt x="0" y="0"/>
                    <a:pt x="0" y="0"/>
                    <a:pt x="0" y="0"/>
                  </a:cubicBezTo>
                  <a:cubicBezTo>
                    <a:pt x="0" y="0"/>
                    <a:pt x="0" y="0"/>
                    <a:pt x="0" y="1"/>
                  </a:cubicBezTo>
                  <a:moveTo>
                    <a:pt x="0" y="0"/>
                  </a:moveTo>
                  <a:cubicBezTo>
                    <a:pt x="0" y="0"/>
                    <a:pt x="0" y="0"/>
                    <a:pt x="0" y="0"/>
                  </a:cubicBezTo>
                  <a:cubicBezTo>
                    <a:pt x="0" y="0"/>
                    <a:pt x="0" y="0"/>
                    <a:pt x="0" y="0"/>
                  </a:cubicBezTo>
                </a:path>
              </a:pathLst>
            </a:custGeom>
            <a:solidFill>
              <a:srgbClr val="BF80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86" name="islîḓè">
              <a:extLst>
                <a:ext uri="{FF2B5EF4-FFF2-40B4-BE49-F238E27FC236}">
                  <a16:creationId xmlns:a16="http://schemas.microsoft.com/office/drawing/2014/main" id="{86A1C3A3-7C62-4117-B3E6-8D022B5E3528}"/>
                </a:ext>
              </a:extLst>
            </p:cNvPr>
            <p:cNvSpPr/>
            <p:nvPr/>
          </p:nvSpPr>
          <p:spPr bwMode="auto">
            <a:xfrm>
              <a:off x="18185102" y="4210264"/>
              <a:ext cx="354010" cy="441600"/>
            </a:xfrm>
            <a:custGeom>
              <a:avLst/>
              <a:gdLst>
                <a:gd name="T0" fmla="*/ 119 w 247"/>
                <a:gd name="T1" fmla="*/ 311 h 311"/>
                <a:gd name="T2" fmla="*/ 35 w 247"/>
                <a:gd name="T3" fmla="*/ 121 h 311"/>
                <a:gd name="T4" fmla="*/ 35 w 247"/>
                <a:gd name="T5" fmla="*/ 121 h 311"/>
                <a:gd name="T6" fmla="*/ 35 w 247"/>
                <a:gd name="T7" fmla="*/ 121 h 311"/>
                <a:gd name="T8" fmla="*/ 35 w 247"/>
                <a:gd name="T9" fmla="*/ 121 h 311"/>
                <a:gd name="T10" fmla="*/ 34 w 247"/>
                <a:gd name="T11" fmla="*/ 121 h 311"/>
                <a:gd name="T12" fmla="*/ 34 w 247"/>
                <a:gd name="T13" fmla="*/ 121 h 311"/>
                <a:gd name="T14" fmla="*/ 34 w 247"/>
                <a:gd name="T15" fmla="*/ 120 h 311"/>
                <a:gd name="T16" fmla="*/ 34 w 247"/>
                <a:gd name="T17" fmla="*/ 120 h 311"/>
                <a:gd name="T18" fmla="*/ 33 w 247"/>
                <a:gd name="T19" fmla="*/ 120 h 311"/>
                <a:gd name="T20" fmla="*/ 33 w 247"/>
                <a:gd name="T21" fmla="*/ 120 h 311"/>
                <a:gd name="T22" fmla="*/ 33 w 247"/>
                <a:gd name="T23" fmla="*/ 119 h 311"/>
                <a:gd name="T24" fmla="*/ 33 w 247"/>
                <a:gd name="T25" fmla="*/ 119 h 311"/>
                <a:gd name="T26" fmla="*/ 33 w 247"/>
                <a:gd name="T27" fmla="*/ 119 h 311"/>
                <a:gd name="T28" fmla="*/ 33 w 247"/>
                <a:gd name="T29" fmla="*/ 119 h 311"/>
                <a:gd name="T30" fmla="*/ 32 w 247"/>
                <a:gd name="T31" fmla="*/ 118 h 311"/>
                <a:gd name="T32" fmla="*/ 32 w 247"/>
                <a:gd name="T33" fmla="*/ 118 h 311"/>
                <a:gd name="T34" fmla="*/ 32 w 247"/>
                <a:gd name="T35" fmla="*/ 118 h 311"/>
                <a:gd name="T36" fmla="*/ 32 w 247"/>
                <a:gd name="T37" fmla="*/ 118 h 311"/>
                <a:gd name="T38" fmla="*/ 32 w 247"/>
                <a:gd name="T39" fmla="*/ 117 h 311"/>
                <a:gd name="T40" fmla="*/ 31 w 247"/>
                <a:gd name="T41" fmla="*/ 117 h 311"/>
                <a:gd name="T42" fmla="*/ 31 w 247"/>
                <a:gd name="T43" fmla="*/ 117 h 311"/>
                <a:gd name="T44" fmla="*/ 31 w 247"/>
                <a:gd name="T45" fmla="*/ 117 h 311"/>
                <a:gd name="T46" fmla="*/ 31 w 247"/>
                <a:gd name="T47" fmla="*/ 117 h 311"/>
                <a:gd name="T48" fmla="*/ 0 w 247"/>
                <a:gd name="T49" fmla="*/ 84 h 311"/>
                <a:gd name="T50" fmla="*/ 97 w 247"/>
                <a:gd name="T51" fmla="*/ 5 h 311"/>
                <a:gd name="T52" fmla="*/ 157 w 247"/>
                <a:gd name="T53" fmla="*/ 0 h 311"/>
                <a:gd name="T54" fmla="*/ 159 w 247"/>
                <a:gd name="T55" fmla="*/ 2 h 311"/>
                <a:gd name="T56" fmla="*/ 160 w 247"/>
                <a:gd name="T57" fmla="*/ 2 h 311"/>
                <a:gd name="T58" fmla="*/ 160 w 247"/>
                <a:gd name="T59" fmla="*/ 2 h 311"/>
                <a:gd name="T60" fmla="*/ 160 w 247"/>
                <a:gd name="T61" fmla="*/ 2 h 311"/>
                <a:gd name="T62" fmla="*/ 160 w 247"/>
                <a:gd name="T63" fmla="*/ 3 h 311"/>
                <a:gd name="T64" fmla="*/ 160 w 247"/>
                <a:gd name="T65" fmla="*/ 3 h 311"/>
                <a:gd name="T66" fmla="*/ 160 w 247"/>
                <a:gd name="T67" fmla="*/ 3 h 311"/>
                <a:gd name="T68" fmla="*/ 160 w 247"/>
                <a:gd name="T69" fmla="*/ 3 h 311"/>
                <a:gd name="T70" fmla="*/ 161 w 247"/>
                <a:gd name="T71" fmla="*/ 3 h 311"/>
                <a:gd name="T72" fmla="*/ 161 w 247"/>
                <a:gd name="T73" fmla="*/ 4 h 311"/>
                <a:gd name="T74" fmla="*/ 161 w 247"/>
                <a:gd name="T75" fmla="*/ 4 h 311"/>
                <a:gd name="T76" fmla="*/ 162 w 247"/>
                <a:gd name="T77" fmla="*/ 5 h 311"/>
                <a:gd name="T78" fmla="*/ 162 w 247"/>
                <a:gd name="T79" fmla="*/ 5 h 311"/>
                <a:gd name="T80" fmla="*/ 162 w 247"/>
                <a:gd name="T81" fmla="*/ 5 h 311"/>
                <a:gd name="T82" fmla="*/ 162 w 247"/>
                <a:gd name="T83" fmla="*/ 5 h 311"/>
                <a:gd name="T84" fmla="*/ 247 w 247"/>
                <a:gd name="T85" fmla="*/ 193 h 311"/>
                <a:gd name="T86" fmla="*/ 119 w 247"/>
                <a:gd name="T8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7" h="311">
                  <a:moveTo>
                    <a:pt x="119" y="311"/>
                  </a:moveTo>
                  <a:cubicBezTo>
                    <a:pt x="115" y="252"/>
                    <a:pt x="86" y="183"/>
                    <a:pt x="35" y="121"/>
                  </a:cubicBezTo>
                  <a:cubicBezTo>
                    <a:pt x="35" y="121"/>
                    <a:pt x="35" y="121"/>
                    <a:pt x="35" y="121"/>
                  </a:cubicBezTo>
                  <a:cubicBezTo>
                    <a:pt x="35" y="121"/>
                    <a:pt x="35" y="121"/>
                    <a:pt x="35" y="121"/>
                  </a:cubicBezTo>
                  <a:cubicBezTo>
                    <a:pt x="35" y="121"/>
                    <a:pt x="35" y="121"/>
                    <a:pt x="35" y="121"/>
                  </a:cubicBezTo>
                  <a:cubicBezTo>
                    <a:pt x="34" y="121"/>
                    <a:pt x="34" y="121"/>
                    <a:pt x="34" y="121"/>
                  </a:cubicBezTo>
                  <a:cubicBezTo>
                    <a:pt x="34" y="121"/>
                    <a:pt x="34" y="121"/>
                    <a:pt x="34" y="121"/>
                  </a:cubicBezTo>
                  <a:cubicBezTo>
                    <a:pt x="34" y="120"/>
                    <a:pt x="34" y="120"/>
                    <a:pt x="34" y="120"/>
                  </a:cubicBezTo>
                  <a:cubicBezTo>
                    <a:pt x="34" y="120"/>
                    <a:pt x="34" y="120"/>
                    <a:pt x="34" y="120"/>
                  </a:cubicBezTo>
                  <a:cubicBezTo>
                    <a:pt x="34" y="120"/>
                    <a:pt x="33" y="120"/>
                    <a:pt x="33" y="120"/>
                  </a:cubicBezTo>
                  <a:cubicBezTo>
                    <a:pt x="33" y="120"/>
                    <a:pt x="33" y="120"/>
                    <a:pt x="33" y="120"/>
                  </a:cubicBezTo>
                  <a:cubicBezTo>
                    <a:pt x="33" y="119"/>
                    <a:pt x="33" y="119"/>
                    <a:pt x="33" y="119"/>
                  </a:cubicBezTo>
                  <a:cubicBezTo>
                    <a:pt x="33" y="119"/>
                    <a:pt x="33" y="119"/>
                    <a:pt x="33" y="119"/>
                  </a:cubicBezTo>
                  <a:cubicBezTo>
                    <a:pt x="33" y="119"/>
                    <a:pt x="33" y="119"/>
                    <a:pt x="33" y="119"/>
                  </a:cubicBezTo>
                  <a:cubicBezTo>
                    <a:pt x="33" y="119"/>
                    <a:pt x="33" y="119"/>
                    <a:pt x="33" y="119"/>
                  </a:cubicBezTo>
                  <a:cubicBezTo>
                    <a:pt x="33" y="119"/>
                    <a:pt x="32" y="118"/>
                    <a:pt x="32" y="118"/>
                  </a:cubicBezTo>
                  <a:cubicBezTo>
                    <a:pt x="32" y="118"/>
                    <a:pt x="32" y="118"/>
                    <a:pt x="32" y="118"/>
                  </a:cubicBezTo>
                  <a:cubicBezTo>
                    <a:pt x="32" y="118"/>
                    <a:pt x="32" y="118"/>
                    <a:pt x="32" y="118"/>
                  </a:cubicBezTo>
                  <a:cubicBezTo>
                    <a:pt x="32" y="118"/>
                    <a:pt x="32" y="118"/>
                    <a:pt x="32" y="118"/>
                  </a:cubicBezTo>
                  <a:cubicBezTo>
                    <a:pt x="32" y="118"/>
                    <a:pt x="32" y="118"/>
                    <a:pt x="32" y="117"/>
                  </a:cubicBezTo>
                  <a:cubicBezTo>
                    <a:pt x="32" y="117"/>
                    <a:pt x="31" y="117"/>
                    <a:pt x="31" y="117"/>
                  </a:cubicBezTo>
                  <a:cubicBezTo>
                    <a:pt x="31" y="117"/>
                    <a:pt x="31" y="117"/>
                    <a:pt x="31" y="117"/>
                  </a:cubicBezTo>
                  <a:cubicBezTo>
                    <a:pt x="31" y="117"/>
                    <a:pt x="31" y="117"/>
                    <a:pt x="31" y="117"/>
                  </a:cubicBezTo>
                  <a:cubicBezTo>
                    <a:pt x="31" y="117"/>
                    <a:pt x="31" y="117"/>
                    <a:pt x="31" y="117"/>
                  </a:cubicBezTo>
                  <a:cubicBezTo>
                    <a:pt x="21" y="105"/>
                    <a:pt x="11" y="94"/>
                    <a:pt x="0" y="84"/>
                  </a:cubicBezTo>
                  <a:cubicBezTo>
                    <a:pt x="33" y="57"/>
                    <a:pt x="95" y="8"/>
                    <a:pt x="97" y="5"/>
                  </a:cubicBezTo>
                  <a:cubicBezTo>
                    <a:pt x="99" y="2"/>
                    <a:pt x="130" y="0"/>
                    <a:pt x="157" y="0"/>
                  </a:cubicBezTo>
                  <a:cubicBezTo>
                    <a:pt x="158" y="0"/>
                    <a:pt x="159" y="1"/>
                    <a:pt x="159" y="2"/>
                  </a:cubicBezTo>
                  <a:cubicBezTo>
                    <a:pt x="159" y="2"/>
                    <a:pt x="160" y="2"/>
                    <a:pt x="160" y="2"/>
                  </a:cubicBezTo>
                  <a:cubicBezTo>
                    <a:pt x="160" y="2"/>
                    <a:pt x="160" y="2"/>
                    <a:pt x="160" y="2"/>
                  </a:cubicBezTo>
                  <a:cubicBezTo>
                    <a:pt x="160" y="2"/>
                    <a:pt x="160" y="2"/>
                    <a:pt x="160" y="2"/>
                  </a:cubicBezTo>
                  <a:cubicBezTo>
                    <a:pt x="160" y="2"/>
                    <a:pt x="160" y="2"/>
                    <a:pt x="160" y="3"/>
                  </a:cubicBezTo>
                  <a:cubicBezTo>
                    <a:pt x="160" y="3"/>
                    <a:pt x="160" y="3"/>
                    <a:pt x="160" y="3"/>
                  </a:cubicBezTo>
                  <a:cubicBezTo>
                    <a:pt x="160" y="3"/>
                    <a:pt x="160" y="3"/>
                    <a:pt x="160" y="3"/>
                  </a:cubicBezTo>
                  <a:cubicBezTo>
                    <a:pt x="160" y="3"/>
                    <a:pt x="160" y="3"/>
                    <a:pt x="160" y="3"/>
                  </a:cubicBezTo>
                  <a:cubicBezTo>
                    <a:pt x="161" y="3"/>
                    <a:pt x="161" y="3"/>
                    <a:pt x="161" y="3"/>
                  </a:cubicBezTo>
                  <a:cubicBezTo>
                    <a:pt x="161" y="4"/>
                    <a:pt x="161" y="4"/>
                    <a:pt x="161" y="4"/>
                  </a:cubicBezTo>
                  <a:cubicBezTo>
                    <a:pt x="161" y="4"/>
                    <a:pt x="161" y="4"/>
                    <a:pt x="161" y="4"/>
                  </a:cubicBezTo>
                  <a:cubicBezTo>
                    <a:pt x="162" y="4"/>
                    <a:pt x="162" y="5"/>
                    <a:pt x="162" y="5"/>
                  </a:cubicBezTo>
                  <a:cubicBezTo>
                    <a:pt x="162" y="5"/>
                    <a:pt x="162" y="5"/>
                    <a:pt x="162" y="5"/>
                  </a:cubicBezTo>
                  <a:cubicBezTo>
                    <a:pt x="162" y="5"/>
                    <a:pt x="162" y="5"/>
                    <a:pt x="162" y="5"/>
                  </a:cubicBezTo>
                  <a:cubicBezTo>
                    <a:pt x="162" y="5"/>
                    <a:pt x="162" y="5"/>
                    <a:pt x="162" y="5"/>
                  </a:cubicBezTo>
                  <a:cubicBezTo>
                    <a:pt x="213" y="66"/>
                    <a:pt x="242" y="134"/>
                    <a:pt x="247" y="193"/>
                  </a:cubicBezTo>
                  <a:cubicBezTo>
                    <a:pt x="119" y="311"/>
                    <a:pt x="119" y="311"/>
                    <a:pt x="119" y="311"/>
                  </a:cubicBezTo>
                </a:path>
              </a:pathLst>
            </a:custGeom>
            <a:solidFill>
              <a:srgbClr val="B81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87" name="îṣlíďe">
              <a:extLst>
                <a:ext uri="{FF2B5EF4-FFF2-40B4-BE49-F238E27FC236}">
                  <a16:creationId xmlns:a16="http://schemas.microsoft.com/office/drawing/2014/main" id="{84A6E590-F7DF-41CA-9D19-75072553E4CE}"/>
                </a:ext>
              </a:extLst>
            </p:cNvPr>
            <p:cNvSpPr/>
            <p:nvPr/>
          </p:nvSpPr>
          <p:spPr bwMode="auto">
            <a:xfrm>
              <a:off x="18188751" y="4254059"/>
              <a:ext cx="448899" cy="54745"/>
            </a:xfrm>
            <a:custGeom>
              <a:avLst/>
              <a:gdLst>
                <a:gd name="T0" fmla="*/ 123 w 123"/>
                <a:gd name="T1" fmla="*/ 0 h 15"/>
                <a:gd name="T2" fmla="*/ 122 w 123"/>
                <a:gd name="T3" fmla="*/ 10 h 15"/>
                <a:gd name="T4" fmla="*/ 4 w 123"/>
                <a:gd name="T5" fmla="*/ 15 h 15"/>
                <a:gd name="T6" fmla="*/ 0 w 123"/>
                <a:gd name="T7" fmla="*/ 5 h 15"/>
                <a:gd name="T8" fmla="*/ 123 w 123"/>
                <a:gd name="T9" fmla="*/ 0 h 15"/>
                <a:gd name="T10" fmla="*/ 123 w 123"/>
                <a:gd name="T11" fmla="*/ 0 h 15"/>
              </a:gdLst>
              <a:ahLst/>
              <a:cxnLst>
                <a:cxn ang="0">
                  <a:pos x="T0" y="T1"/>
                </a:cxn>
                <a:cxn ang="0">
                  <a:pos x="T2" y="T3"/>
                </a:cxn>
                <a:cxn ang="0">
                  <a:pos x="T4" y="T5"/>
                </a:cxn>
                <a:cxn ang="0">
                  <a:pos x="T6" y="T7"/>
                </a:cxn>
                <a:cxn ang="0">
                  <a:pos x="T8" y="T9"/>
                </a:cxn>
                <a:cxn ang="0">
                  <a:pos x="T10" y="T11"/>
                </a:cxn>
              </a:cxnLst>
              <a:rect l="0" t="0" r="r" b="b"/>
              <a:pathLst>
                <a:path w="123" h="15">
                  <a:moveTo>
                    <a:pt x="123" y="0"/>
                  </a:moveTo>
                  <a:lnTo>
                    <a:pt x="122" y="10"/>
                  </a:lnTo>
                  <a:lnTo>
                    <a:pt x="4" y="15"/>
                  </a:lnTo>
                  <a:lnTo>
                    <a:pt x="0" y="5"/>
                  </a:lnTo>
                  <a:lnTo>
                    <a:pt x="123" y="0"/>
                  </a:lnTo>
                  <a:lnTo>
                    <a:pt x="123" y="0"/>
                  </a:lnTo>
                  <a:close/>
                </a:path>
              </a:pathLst>
            </a:custGeom>
            <a:solidFill>
              <a:srgbClr val="E19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88" name="isḻîḓè">
              <a:extLst>
                <a:ext uri="{FF2B5EF4-FFF2-40B4-BE49-F238E27FC236}">
                  <a16:creationId xmlns:a16="http://schemas.microsoft.com/office/drawing/2014/main" id="{B53D921C-0C09-4F59-9467-44D99570D63C}"/>
                </a:ext>
              </a:extLst>
            </p:cNvPr>
            <p:cNvSpPr/>
            <p:nvPr/>
          </p:nvSpPr>
          <p:spPr bwMode="auto">
            <a:xfrm>
              <a:off x="18188751" y="4122674"/>
              <a:ext cx="448899" cy="149634"/>
            </a:xfrm>
            <a:custGeom>
              <a:avLst/>
              <a:gdLst>
                <a:gd name="T0" fmla="*/ 98 w 123"/>
                <a:gd name="T1" fmla="*/ 0 h 41"/>
                <a:gd name="T2" fmla="*/ 123 w 123"/>
                <a:gd name="T3" fmla="*/ 36 h 41"/>
                <a:gd name="T4" fmla="*/ 0 w 123"/>
                <a:gd name="T5" fmla="*/ 41 h 41"/>
                <a:gd name="T6" fmla="*/ 33 w 123"/>
                <a:gd name="T7" fmla="*/ 2 h 41"/>
                <a:gd name="T8" fmla="*/ 98 w 123"/>
                <a:gd name="T9" fmla="*/ 0 h 41"/>
                <a:gd name="T10" fmla="*/ 98 w 123"/>
                <a:gd name="T11" fmla="*/ 0 h 41"/>
              </a:gdLst>
              <a:ahLst/>
              <a:cxnLst>
                <a:cxn ang="0">
                  <a:pos x="T0" y="T1"/>
                </a:cxn>
                <a:cxn ang="0">
                  <a:pos x="T2" y="T3"/>
                </a:cxn>
                <a:cxn ang="0">
                  <a:pos x="T4" y="T5"/>
                </a:cxn>
                <a:cxn ang="0">
                  <a:pos x="T6" y="T7"/>
                </a:cxn>
                <a:cxn ang="0">
                  <a:pos x="T8" y="T9"/>
                </a:cxn>
                <a:cxn ang="0">
                  <a:pos x="T10" y="T11"/>
                </a:cxn>
              </a:cxnLst>
              <a:rect l="0" t="0" r="r" b="b"/>
              <a:pathLst>
                <a:path w="123" h="41">
                  <a:moveTo>
                    <a:pt x="98" y="0"/>
                  </a:moveTo>
                  <a:lnTo>
                    <a:pt x="123" y="36"/>
                  </a:lnTo>
                  <a:lnTo>
                    <a:pt x="0" y="41"/>
                  </a:lnTo>
                  <a:lnTo>
                    <a:pt x="33" y="2"/>
                  </a:lnTo>
                  <a:lnTo>
                    <a:pt x="98" y="0"/>
                  </a:lnTo>
                  <a:lnTo>
                    <a:pt x="98" y="0"/>
                  </a:lnTo>
                  <a:close/>
                </a:path>
              </a:pathLst>
            </a:custGeom>
            <a:solidFill>
              <a:srgbClr val="FED7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89" name="íṡļïḑé">
              <a:extLst>
                <a:ext uri="{FF2B5EF4-FFF2-40B4-BE49-F238E27FC236}">
                  <a16:creationId xmlns:a16="http://schemas.microsoft.com/office/drawing/2014/main" id="{AAF5320A-3FD5-471B-9A5B-C2F1F05B4B29}"/>
                </a:ext>
              </a:extLst>
            </p:cNvPr>
            <p:cNvSpPr/>
            <p:nvPr/>
          </p:nvSpPr>
          <p:spPr bwMode="auto">
            <a:xfrm>
              <a:off x="17980726" y="4374494"/>
              <a:ext cx="244523" cy="171531"/>
            </a:xfrm>
            <a:custGeom>
              <a:avLst/>
              <a:gdLst>
                <a:gd name="T0" fmla="*/ 63 w 67"/>
                <a:gd name="T1" fmla="*/ 37 h 47"/>
                <a:gd name="T2" fmla="*/ 67 w 67"/>
                <a:gd name="T3" fmla="*/ 47 h 47"/>
                <a:gd name="T4" fmla="*/ 3 w 67"/>
                <a:gd name="T5" fmla="*/ 11 h 47"/>
                <a:gd name="T6" fmla="*/ 0 w 67"/>
                <a:gd name="T7" fmla="*/ 0 h 47"/>
                <a:gd name="T8" fmla="*/ 63 w 67"/>
                <a:gd name="T9" fmla="*/ 37 h 47"/>
                <a:gd name="T10" fmla="*/ 63 w 67"/>
                <a:gd name="T11" fmla="*/ 37 h 47"/>
              </a:gdLst>
              <a:ahLst/>
              <a:cxnLst>
                <a:cxn ang="0">
                  <a:pos x="T0" y="T1"/>
                </a:cxn>
                <a:cxn ang="0">
                  <a:pos x="T2" y="T3"/>
                </a:cxn>
                <a:cxn ang="0">
                  <a:pos x="T4" y="T5"/>
                </a:cxn>
                <a:cxn ang="0">
                  <a:pos x="T6" y="T7"/>
                </a:cxn>
                <a:cxn ang="0">
                  <a:pos x="T8" y="T9"/>
                </a:cxn>
                <a:cxn ang="0">
                  <a:pos x="T10" y="T11"/>
                </a:cxn>
              </a:cxnLst>
              <a:rect l="0" t="0" r="r" b="b"/>
              <a:pathLst>
                <a:path w="67" h="47">
                  <a:moveTo>
                    <a:pt x="63" y="37"/>
                  </a:moveTo>
                  <a:lnTo>
                    <a:pt x="67" y="47"/>
                  </a:lnTo>
                  <a:lnTo>
                    <a:pt x="3" y="11"/>
                  </a:lnTo>
                  <a:lnTo>
                    <a:pt x="0" y="0"/>
                  </a:lnTo>
                  <a:lnTo>
                    <a:pt x="63" y="37"/>
                  </a:lnTo>
                  <a:lnTo>
                    <a:pt x="63" y="37"/>
                  </a:lnTo>
                  <a:close/>
                </a:path>
              </a:pathLst>
            </a:custGeom>
            <a:solidFill>
              <a:srgbClr val="E19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0" name="iŝlîḓê">
              <a:extLst>
                <a:ext uri="{FF2B5EF4-FFF2-40B4-BE49-F238E27FC236}">
                  <a16:creationId xmlns:a16="http://schemas.microsoft.com/office/drawing/2014/main" id="{4340105A-4A38-4D89-B87D-2754DA957322}"/>
                </a:ext>
              </a:extLst>
            </p:cNvPr>
            <p:cNvSpPr/>
            <p:nvPr/>
          </p:nvSpPr>
          <p:spPr bwMode="auto">
            <a:xfrm>
              <a:off x="18210648" y="4436538"/>
              <a:ext cx="284667" cy="109487"/>
            </a:xfrm>
            <a:custGeom>
              <a:avLst/>
              <a:gdLst>
                <a:gd name="T0" fmla="*/ 74 w 78"/>
                <a:gd name="T1" fmla="*/ 0 h 30"/>
                <a:gd name="T2" fmla="*/ 78 w 78"/>
                <a:gd name="T3" fmla="*/ 10 h 30"/>
                <a:gd name="T4" fmla="*/ 4 w 78"/>
                <a:gd name="T5" fmla="*/ 30 h 30"/>
                <a:gd name="T6" fmla="*/ 0 w 78"/>
                <a:gd name="T7" fmla="*/ 20 h 30"/>
                <a:gd name="T8" fmla="*/ 74 w 78"/>
                <a:gd name="T9" fmla="*/ 0 h 30"/>
                <a:gd name="T10" fmla="*/ 74 w 78"/>
                <a:gd name="T11" fmla="*/ 0 h 30"/>
              </a:gdLst>
              <a:ahLst/>
              <a:cxnLst>
                <a:cxn ang="0">
                  <a:pos x="T0" y="T1"/>
                </a:cxn>
                <a:cxn ang="0">
                  <a:pos x="T2" y="T3"/>
                </a:cxn>
                <a:cxn ang="0">
                  <a:pos x="T4" y="T5"/>
                </a:cxn>
                <a:cxn ang="0">
                  <a:pos x="T6" y="T7"/>
                </a:cxn>
                <a:cxn ang="0">
                  <a:pos x="T8" y="T9"/>
                </a:cxn>
                <a:cxn ang="0">
                  <a:pos x="T10" y="T11"/>
                </a:cxn>
              </a:cxnLst>
              <a:rect l="0" t="0" r="r" b="b"/>
              <a:pathLst>
                <a:path w="78" h="30">
                  <a:moveTo>
                    <a:pt x="74" y="0"/>
                  </a:moveTo>
                  <a:lnTo>
                    <a:pt x="78" y="10"/>
                  </a:lnTo>
                  <a:lnTo>
                    <a:pt x="4" y="30"/>
                  </a:lnTo>
                  <a:lnTo>
                    <a:pt x="0" y="20"/>
                  </a:lnTo>
                  <a:lnTo>
                    <a:pt x="74" y="0"/>
                  </a:lnTo>
                  <a:lnTo>
                    <a:pt x="74" y="0"/>
                  </a:lnTo>
                  <a:close/>
                </a:path>
              </a:pathLst>
            </a:custGeom>
            <a:solidFill>
              <a:srgbClr val="E19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1" name="iṧlïḑè">
              <a:extLst>
                <a:ext uri="{FF2B5EF4-FFF2-40B4-BE49-F238E27FC236}">
                  <a16:creationId xmlns:a16="http://schemas.microsoft.com/office/drawing/2014/main" id="{9969F76C-3DBF-4868-A520-8D8D85DD2C57}"/>
                </a:ext>
              </a:extLst>
            </p:cNvPr>
            <p:cNvSpPr/>
            <p:nvPr/>
          </p:nvSpPr>
          <p:spPr bwMode="auto">
            <a:xfrm>
              <a:off x="17980726" y="4275956"/>
              <a:ext cx="499994" cy="233573"/>
            </a:xfrm>
            <a:custGeom>
              <a:avLst/>
              <a:gdLst>
                <a:gd name="T0" fmla="*/ 56 w 137"/>
                <a:gd name="T1" fmla="*/ 0 h 64"/>
                <a:gd name="T2" fmla="*/ 137 w 137"/>
                <a:gd name="T3" fmla="*/ 44 h 64"/>
                <a:gd name="T4" fmla="*/ 63 w 137"/>
                <a:gd name="T5" fmla="*/ 64 h 64"/>
                <a:gd name="T6" fmla="*/ 0 w 137"/>
                <a:gd name="T7" fmla="*/ 27 h 64"/>
                <a:gd name="T8" fmla="*/ 56 w 137"/>
                <a:gd name="T9" fmla="*/ 0 h 64"/>
                <a:gd name="T10" fmla="*/ 56 w 137"/>
                <a:gd name="T11" fmla="*/ 0 h 64"/>
              </a:gdLst>
              <a:ahLst/>
              <a:cxnLst>
                <a:cxn ang="0">
                  <a:pos x="T0" y="T1"/>
                </a:cxn>
                <a:cxn ang="0">
                  <a:pos x="T2" y="T3"/>
                </a:cxn>
                <a:cxn ang="0">
                  <a:pos x="T4" y="T5"/>
                </a:cxn>
                <a:cxn ang="0">
                  <a:pos x="T6" y="T7"/>
                </a:cxn>
                <a:cxn ang="0">
                  <a:pos x="T8" y="T9"/>
                </a:cxn>
                <a:cxn ang="0">
                  <a:pos x="T10" y="T11"/>
                </a:cxn>
              </a:cxnLst>
              <a:rect l="0" t="0" r="r" b="b"/>
              <a:pathLst>
                <a:path w="137" h="64">
                  <a:moveTo>
                    <a:pt x="56" y="0"/>
                  </a:moveTo>
                  <a:lnTo>
                    <a:pt x="137" y="44"/>
                  </a:lnTo>
                  <a:lnTo>
                    <a:pt x="63" y="64"/>
                  </a:lnTo>
                  <a:lnTo>
                    <a:pt x="0" y="27"/>
                  </a:lnTo>
                  <a:lnTo>
                    <a:pt x="56" y="0"/>
                  </a:lnTo>
                  <a:lnTo>
                    <a:pt x="56" y="0"/>
                  </a:lnTo>
                  <a:close/>
                </a:path>
              </a:pathLst>
            </a:custGeom>
            <a:solidFill>
              <a:srgbClr val="FED7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2" name="išlidê">
              <a:extLst>
                <a:ext uri="{FF2B5EF4-FFF2-40B4-BE49-F238E27FC236}">
                  <a16:creationId xmlns:a16="http://schemas.microsoft.com/office/drawing/2014/main" id="{447AD4B7-B0F5-488C-B83A-FE2996470877}"/>
                </a:ext>
              </a:extLst>
            </p:cNvPr>
            <p:cNvSpPr/>
            <p:nvPr/>
          </p:nvSpPr>
          <p:spPr bwMode="auto">
            <a:xfrm>
              <a:off x="17980726" y="4275956"/>
              <a:ext cx="390506" cy="215326"/>
            </a:xfrm>
            <a:custGeom>
              <a:avLst/>
              <a:gdLst>
                <a:gd name="T0" fmla="*/ 76 w 107"/>
                <a:gd name="T1" fmla="*/ 50 h 59"/>
                <a:gd name="T2" fmla="*/ 79 w 107"/>
                <a:gd name="T3" fmla="*/ 42 h 59"/>
                <a:gd name="T4" fmla="*/ 93 w 107"/>
                <a:gd name="T5" fmla="*/ 40 h 59"/>
                <a:gd name="T6" fmla="*/ 93 w 107"/>
                <a:gd name="T7" fmla="*/ 32 h 59"/>
                <a:gd name="T8" fmla="*/ 107 w 107"/>
                <a:gd name="T9" fmla="*/ 29 h 59"/>
                <a:gd name="T10" fmla="*/ 107 w 107"/>
                <a:gd name="T11" fmla="*/ 27 h 59"/>
                <a:gd name="T12" fmla="*/ 56 w 107"/>
                <a:gd name="T13" fmla="*/ 0 h 59"/>
                <a:gd name="T14" fmla="*/ 0 w 107"/>
                <a:gd name="T15" fmla="*/ 27 h 59"/>
                <a:gd name="T16" fmla="*/ 54 w 107"/>
                <a:gd name="T17" fmla="*/ 58 h 59"/>
                <a:gd name="T18" fmla="*/ 58 w 107"/>
                <a:gd name="T19" fmla="*/ 59 h 59"/>
                <a:gd name="T20" fmla="*/ 63 w 107"/>
                <a:gd name="T21" fmla="*/ 50 h 59"/>
                <a:gd name="T22" fmla="*/ 76 w 107"/>
                <a:gd name="T23" fmla="*/ 50 h 59"/>
                <a:gd name="T24" fmla="*/ 76 w 107"/>
                <a:gd name="T25" fmla="*/ 5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59">
                  <a:moveTo>
                    <a:pt x="76" y="50"/>
                  </a:moveTo>
                  <a:lnTo>
                    <a:pt x="79" y="42"/>
                  </a:lnTo>
                  <a:lnTo>
                    <a:pt x="93" y="40"/>
                  </a:lnTo>
                  <a:lnTo>
                    <a:pt x="93" y="32"/>
                  </a:lnTo>
                  <a:lnTo>
                    <a:pt x="107" y="29"/>
                  </a:lnTo>
                  <a:lnTo>
                    <a:pt x="107" y="27"/>
                  </a:lnTo>
                  <a:lnTo>
                    <a:pt x="56" y="0"/>
                  </a:lnTo>
                  <a:lnTo>
                    <a:pt x="0" y="27"/>
                  </a:lnTo>
                  <a:lnTo>
                    <a:pt x="54" y="58"/>
                  </a:lnTo>
                  <a:lnTo>
                    <a:pt x="58" y="59"/>
                  </a:lnTo>
                  <a:lnTo>
                    <a:pt x="63" y="50"/>
                  </a:lnTo>
                  <a:lnTo>
                    <a:pt x="76" y="50"/>
                  </a:lnTo>
                  <a:lnTo>
                    <a:pt x="76" y="50"/>
                  </a:lnTo>
                  <a:close/>
                </a:path>
              </a:pathLst>
            </a:custGeom>
            <a:solidFill>
              <a:srgbClr val="E59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3" name="îṡľiḍê">
              <a:extLst>
                <a:ext uri="{FF2B5EF4-FFF2-40B4-BE49-F238E27FC236}">
                  <a16:creationId xmlns:a16="http://schemas.microsoft.com/office/drawing/2014/main" id="{22D7CFDD-B94C-4CB5-A7D7-CA4A356B4208}"/>
                </a:ext>
              </a:extLst>
            </p:cNvPr>
            <p:cNvSpPr/>
            <p:nvPr/>
          </p:nvSpPr>
          <p:spPr bwMode="auto">
            <a:xfrm>
              <a:off x="18269042" y="3962093"/>
              <a:ext cx="32847" cy="102188"/>
            </a:xfrm>
            <a:custGeom>
              <a:avLst/>
              <a:gdLst>
                <a:gd name="T0" fmla="*/ 0 w 9"/>
                <a:gd name="T1" fmla="*/ 0 h 28"/>
                <a:gd name="T2" fmla="*/ 7 w 9"/>
                <a:gd name="T3" fmla="*/ 21 h 28"/>
                <a:gd name="T4" fmla="*/ 9 w 9"/>
                <a:gd name="T5" fmla="*/ 28 h 28"/>
                <a:gd name="T6" fmla="*/ 2 w 9"/>
                <a:gd name="T7" fmla="*/ 8 h 28"/>
                <a:gd name="T8" fmla="*/ 0 w 9"/>
                <a:gd name="T9" fmla="*/ 0 h 28"/>
                <a:gd name="T10" fmla="*/ 0 w 9"/>
                <a:gd name="T11" fmla="*/ 0 h 28"/>
              </a:gdLst>
              <a:ahLst/>
              <a:cxnLst>
                <a:cxn ang="0">
                  <a:pos x="T0" y="T1"/>
                </a:cxn>
                <a:cxn ang="0">
                  <a:pos x="T2" y="T3"/>
                </a:cxn>
                <a:cxn ang="0">
                  <a:pos x="T4" y="T5"/>
                </a:cxn>
                <a:cxn ang="0">
                  <a:pos x="T6" y="T7"/>
                </a:cxn>
                <a:cxn ang="0">
                  <a:pos x="T8" y="T9"/>
                </a:cxn>
                <a:cxn ang="0">
                  <a:pos x="T10" y="T11"/>
                </a:cxn>
              </a:cxnLst>
              <a:rect l="0" t="0" r="r" b="b"/>
              <a:pathLst>
                <a:path w="9" h="28">
                  <a:moveTo>
                    <a:pt x="0" y="0"/>
                  </a:moveTo>
                  <a:lnTo>
                    <a:pt x="7" y="21"/>
                  </a:lnTo>
                  <a:lnTo>
                    <a:pt x="9" y="28"/>
                  </a:lnTo>
                  <a:lnTo>
                    <a:pt x="2" y="8"/>
                  </a:lnTo>
                  <a:lnTo>
                    <a:pt x="0" y="0"/>
                  </a:lnTo>
                  <a:lnTo>
                    <a:pt x="0" y="0"/>
                  </a:lnTo>
                  <a:close/>
                </a:path>
              </a:pathLst>
            </a:custGeom>
            <a:solidFill>
              <a:srgbClr val="C219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4" name="išľiďê">
              <a:extLst>
                <a:ext uri="{FF2B5EF4-FFF2-40B4-BE49-F238E27FC236}">
                  <a16:creationId xmlns:a16="http://schemas.microsoft.com/office/drawing/2014/main" id="{790CF7ED-5C38-47EC-9BFB-814073C845AB}"/>
                </a:ext>
              </a:extLst>
            </p:cNvPr>
            <p:cNvSpPr/>
            <p:nvPr/>
          </p:nvSpPr>
          <p:spPr bwMode="auto">
            <a:xfrm>
              <a:off x="17772699" y="4151871"/>
              <a:ext cx="43795" cy="102188"/>
            </a:xfrm>
            <a:custGeom>
              <a:avLst/>
              <a:gdLst>
                <a:gd name="T0" fmla="*/ 4 w 12"/>
                <a:gd name="T1" fmla="*/ 7 h 28"/>
                <a:gd name="T2" fmla="*/ 12 w 12"/>
                <a:gd name="T3" fmla="*/ 28 h 28"/>
                <a:gd name="T4" fmla="*/ 7 w 12"/>
                <a:gd name="T5" fmla="*/ 21 h 28"/>
                <a:gd name="T6" fmla="*/ 0 w 12"/>
                <a:gd name="T7" fmla="*/ 0 h 28"/>
                <a:gd name="T8" fmla="*/ 4 w 12"/>
                <a:gd name="T9" fmla="*/ 7 h 28"/>
                <a:gd name="T10" fmla="*/ 4 w 12"/>
                <a:gd name="T11" fmla="*/ 7 h 28"/>
              </a:gdLst>
              <a:ahLst/>
              <a:cxnLst>
                <a:cxn ang="0">
                  <a:pos x="T0" y="T1"/>
                </a:cxn>
                <a:cxn ang="0">
                  <a:pos x="T2" y="T3"/>
                </a:cxn>
                <a:cxn ang="0">
                  <a:pos x="T4" y="T5"/>
                </a:cxn>
                <a:cxn ang="0">
                  <a:pos x="T6" y="T7"/>
                </a:cxn>
                <a:cxn ang="0">
                  <a:pos x="T8" y="T9"/>
                </a:cxn>
                <a:cxn ang="0">
                  <a:pos x="T10" y="T11"/>
                </a:cxn>
              </a:cxnLst>
              <a:rect l="0" t="0" r="r" b="b"/>
              <a:pathLst>
                <a:path w="12" h="28">
                  <a:moveTo>
                    <a:pt x="4" y="7"/>
                  </a:moveTo>
                  <a:lnTo>
                    <a:pt x="12" y="28"/>
                  </a:lnTo>
                  <a:lnTo>
                    <a:pt x="7" y="21"/>
                  </a:lnTo>
                  <a:lnTo>
                    <a:pt x="0" y="0"/>
                  </a:lnTo>
                  <a:lnTo>
                    <a:pt x="4" y="7"/>
                  </a:lnTo>
                  <a:lnTo>
                    <a:pt x="4" y="7"/>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5" name="îśļíḑe">
              <a:extLst>
                <a:ext uri="{FF2B5EF4-FFF2-40B4-BE49-F238E27FC236}">
                  <a16:creationId xmlns:a16="http://schemas.microsoft.com/office/drawing/2014/main" id="{BF1D15FD-13FD-4B17-B5BC-C73C0FF25CE0}"/>
                </a:ext>
              </a:extLst>
            </p:cNvPr>
            <p:cNvSpPr/>
            <p:nvPr/>
          </p:nvSpPr>
          <p:spPr bwMode="auto">
            <a:xfrm>
              <a:off x="18323786" y="3980340"/>
              <a:ext cx="29197" cy="105839"/>
            </a:xfrm>
            <a:custGeom>
              <a:avLst/>
              <a:gdLst>
                <a:gd name="T0" fmla="*/ 1 w 8"/>
                <a:gd name="T1" fmla="*/ 0 h 29"/>
                <a:gd name="T2" fmla="*/ 8 w 8"/>
                <a:gd name="T3" fmla="*/ 20 h 29"/>
                <a:gd name="T4" fmla="*/ 7 w 8"/>
                <a:gd name="T5" fmla="*/ 29 h 29"/>
                <a:gd name="T6" fmla="*/ 0 w 8"/>
                <a:gd name="T7" fmla="*/ 8 h 29"/>
                <a:gd name="T8" fmla="*/ 1 w 8"/>
                <a:gd name="T9" fmla="*/ 0 h 29"/>
                <a:gd name="T10" fmla="*/ 1 w 8"/>
                <a:gd name="T11" fmla="*/ 0 h 29"/>
              </a:gdLst>
              <a:ahLst/>
              <a:cxnLst>
                <a:cxn ang="0">
                  <a:pos x="T0" y="T1"/>
                </a:cxn>
                <a:cxn ang="0">
                  <a:pos x="T2" y="T3"/>
                </a:cxn>
                <a:cxn ang="0">
                  <a:pos x="T4" y="T5"/>
                </a:cxn>
                <a:cxn ang="0">
                  <a:pos x="T6" y="T7"/>
                </a:cxn>
                <a:cxn ang="0">
                  <a:pos x="T8" y="T9"/>
                </a:cxn>
                <a:cxn ang="0">
                  <a:pos x="T10" y="T11"/>
                </a:cxn>
              </a:cxnLst>
              <a:rect l="0" t="0" r="r" b="b"/>
              <a:pathLst>
                <a:path w="8" h="29">
                  <a:moveTo>
                    <a:pt x="1" y="0"/>
                  </a:moveTo>
                  <a:lnTo>
                    <a:pt x="8" y="20"/>
                  </a:lnTo>
                  <a:lnTo>
                    <a:pt x="7" y="29"/>
                  </a:lnTo>
                  <a:lnTo>
                    <a:pt x="0" y="8"/>
                  </a:lnTo>
                  <a:lnTo>
                    <a:pt x="1" y="0"/>
                  </a:lnTo>
                  <a:lnTo>
                    <a:pt x="1"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6" name="isḻíḍe">
              <a:extLst>
                <a:ext uri="{FF2B5EF4-FFF2-40B4-BE49-F238E27FC236}">
                  <a16:creationId xmlns:a16="http://schemas.microsoft.com/office/drawing/2014/main" id="{DC7A35D4-1073-4E02-8EB9-CE5B558B2B64}"/>
                </a:ext>
              </a:extLst>
            </p:cNvPr>
            <p:cNvSpPr/>
            <p:nvPr/>
          </p:nvSpPr>
          <p:spPr bwMode="auto">
            <a:xfrm>
              <a:off x="17747153" y="4199314"/>
              <a:ext cx="51094" cy="94889"/>
            </a:xfrm>
            <a:custGeom>
              <a:avLst/>
              <a:gdLst>
                <a:gd name="T0" fmla="*/ 7 w 14"/>
                <a:gd name="T1" fmla="*/ 6 h 26"/>
                <a:gd name="T2" fmla="*/ 14 w 14"/>
                <a:gd name="T3" fmla="*/ 26 h 26"/>
                <a:gd name="T4" fmla="*/ 7 w 14"/>
                <a:gd name="T5" fmla="*/ 21 h 26"/>
                <a:gd name="T6" fmla="*/ 0 w 14"/>
                <a:gd name="T7" fmla="*/ 0 h 26"/>
                <a:gd name="T8" fmla="*/ 7 w 14"/>
                <a:gd name="T9" fmla="*/ 6 h 26"/>
                <a:gd name="T10" fmla="*/ 7 w 14"/>
                <a:gd name="T11" fmla="*/ 6 h 26"/>
              </a:gdLst>
              <a:ahLst/>
              <a:cxnLst>
                <a:cxn ang="0">
                  <a:pos x="T0" y="T1"/>
                </a:cxn>
                <a:cxn ang="0">
                  <a:pos x="T2" y="T3"/>
                </a:cxn>
                <a:cxn ang="0">
                  <a:pos x="T4" y="T5"/>
                </a:cxn>
                <a:cxn ang="0">
                  <a:pos x="T6" y="T7"/>
                </a:cxn>
                <a:cxn ang="0">
                  <a:pos x="T8" y="T9"/>
                </a:cxn>
                <a:cxn ang="0">
                  <a:pos x="T10" y="T11"/>
                </a:cxn>
              </a:cxnLst>
              <a:rect l="0" t="0" r="r" b="b"/>
              <a:pathLst>
                <a:path w="14" h="26">
                  <a:moveTo>
                    <a:pt x="7" y="6"/>
                  </a:moveTo>
                  <a:lnTo>
                    <a:pt x="14" y="26"/>
                  </a:lnTo>
                  <a:lnTo>
                    <a:pt x="7" y="21"/>
                  </a:lnTo>
                  <a:lnTo>
                    <a:pt x="0" y="0"/>
                  </a:lnTo>
                  <a:lnTo>
                    <a:pt x="7" y="6"/>
                  </a:lnTo>
                  <a:lnTo>
                    <a:pt x="7" y="6"/>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7" name="ïSļíḍê">
              <a:extLst>
                <a:ext uri="{FF2B5EF4-FFF2-40B4-BE49-F238E27FC236}">
                  <a16:creationId xmlns:a16="http://schemas.microsoft.com/office/drawing/2014/main" id="{25E6A91B-C144-483E-96A2-655892B795FC}"/>
                </a:ext>
              </a:extLst>
            </p:cNvPr>
            <p:cNvSpPr/>
            <p:nvPr/>
          </p:nvSpPr>
          <p:spPr bwMode="auto">
            <a:xfrm>
              <a:off x="18356632" y="4002237"/>
              <a:ext cx="40147" cy="109487"/>
            </a:xfrm>
            <a:custGeom>
              <a:avLst/>
              <a:gdLst>
                <a:gd name="T0" fmla="*/ 4 w 11"/>
                <a:gd name="T1" fmla="*/ 0 h 30"/>
                <a:gd name="T2" fmla="*/ 11 w 11"/>
                <a:gd name="T3" fmla="*/ 21 h 30"/>
                <a:gd name="T4" fmla="*/ 8 w 11"/>
                <a:gd name="T5" fmla="*/ 30 h 30"/>
                <a:gd name="T6" fmla="*/ 0 w 11"/>
                <a:gd name="T7" fmla="*/ 9 h 30"/>
                <a:gd name="T8" fmla="*/ 4 w 11"/>
                <a:gd name="T9" fmla="*/ 0 h 30"/>
                <a:gd name="T10" fmla="*/ 4 w 11"/>
                <a:gd name="T11" fmla="*/ 0 h 30"/>
              </a:gdLst>
              <a:ahLst/>
              <a:cxnLst>
                <a:cxn ang="0">
                  <a:pos x="T0" y="T1"/>
                </a:cxn>
                <a:cxn ang="0">
                  <a:pos x="T2" y="T3"/>
                </a:cxn>
                <a:cxn ang="0">
                  <a:pos x="T4" y="T5"/>
                </a:cxn>
                <a:cxn ang="0">
                  <a:pos x="T6" y="T7"/>
                </a:cxn>
                <a:cxn ang="0">
                  <a:pos x="T8" y="T9"/>
                </a:cxn>
                <a:cxn ang="0">
                  <a:pos x="T10" y="T11"/>
                </a:cxn>
              </a:cxnLst>
              <a:rect l="0" t="0" r="r" b="b"/>
              <a:pathLst>
                <a:path w="11" h="30">
                  <a:moveTo>
                    <a:pt x="4" y="0"/>
                  </a:moveTo>
                  <a:lnTo>
                    <a:pt x="11" y="21"/>
                  </a:lnTo>
                  <a:lnTo>
                    <a:pt x="8" y="30"/>
                  </a:lnTo>
                  <a:lnTo>
                    <a:pt x="0" y="9"/>
                  </a:lnTo>
                  <a:lnTo>
                    <a:pt x="4" y="0"/>
                  </a:lnTo>
                  <a:lnTo>
                    <a:pt x="4"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8" name="iślîḋe">
              <a:extLst>
                <a:ext uri="{FF2B5EF4-FFF2-40B4-BE49-F238E27FC236}">
                  <a16:creationId xmlns:a16="http://schemas.microsoft.com/office/drawing/2014/main" id="{C19D9177-FB2B-4073-9428-4720FE280066}"/>
                </a:ext>
              </a:extLst>
            </p:cNvPr>
            <p:cNvSpPr/>
            <p:nvPr/>
          </p:nvSpPr>
          <p:spPr bwMode="auto">
            <a:xfrm>
              <a:off x="17732555" y="4246760"/>
              <a:ext cx="62044" cy="91241"/>
            </a:xfrm>
            <a:custGeom>
              <a:avLst/>
              <a:gdLst>
                <a:gd name="T0" fmla="*/ 10 w 17"/>
                <a:gd name="T1" fmla="*/ 4 h 25"/>
                <a:gd name="T2" fmla="*/ 17 w 17"/>
                <a:gd name="T3" fmla="*/ 25 h 25"/>
                <a:gd name="T4" fmla="*/ 8 w 17"/>
                <a:gd name="T5" fmla="*/ 21 h 25"/>
                <a:gd name="T6" fmla="*/ 0 w 17"/>
                <a:gd name="T7" fmla="*/ 0 h 25"/>
                <a:gd name="T8" fmla="*/ 10 w 17"/>
                <a:gd name="T9" fmla="*/ 4 h 25"/>
                <a:gd name="T10" fmla="*/ 10 w 17"/>
                <a:gd name="T11" fmla="*/ 4 h 25"/>
              </a:gdLst>
              <a:ahLst/>
              <a:cxnLst>
                <a:cxn ang="0">
                  <a:pos x="T0" y="T1"/>
                </a:cxn>
                <a:cxn ang="0">
                  <a:pos x="T2" y="T3"/>
                </a:cxn>
                <a:cxn ang="0">
                  <a:pos x="T4" y="T5"/>
                </a:cxn>
                <a:cxn ang="0">
                  <a:pos x="T6" y="T7"/>
                </a:cxn>
                <a:cxn ang="0">
                  <a:pos x="T8" y="T9"/>
                </a:cxn>
                <a:cxn ang="0">
                  <a:pos x="T10" y="T11"/>
                </a:cxn>
              </a:cxnLst>
              <a:rect l="0" t="0" r="r" b="b"/>
              <a:pathLst>
                <a:path w="17" h="25">
                  <a:moveTo>
                    <a:pt x="10" y="4"/>
                  </a:moveTo>
                  <a:lnTo>
                    <a:pt x="17" y="25"/>
                  </a:lnTo>
                  <a:lnTo>
                    <a:pt x="8" y="21"/>
                  </a:lnTo>
                  <a:lnTo>
                    <a:pt x="0" y="0"/>
                  </a:lnTo>
                  <a:lnTo>
                    <a:pt x="10" y="4"/>
                  </a:lnTo>
                  <a:lnTo>
                    <a:pt x="10" y="4"/>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99" name="íSlíḍê">
              <a:extLst>
                <a:ext uri="{FF2B5EF4-FFF2-40B4-BE49-F238E27FC236}">
                  <a16:creationId xmlns:a16="http://schemas.microsoft.com/office/drawing/2014/main" id="{D86D6C3E-B747-48F8-966D-E7D191CC4F10}"/>
                </a:ext>
              </a:extLst>
            </p:cNvPr>
            <p:cNvSpPr/>
            <p:nvPr/>
          </p:nvSpPr>
          <p:spPr bwMode="auto">
            <a:xfrm>
              <a:off x="18378529" y="4038733"/>
              <a:ext cx="51094" cy="105839"/>
            </a:xfrm>
            <a:custGeom>
              <a:avLst/>
              <a:gdLst>
                <a:gd name="T0" fmla="*/ 7 w 14"/>
                <a:gd name="T1" fmla="*/ 0 h 29"/>
                <a:gd name="T2" fmla="*/ 14 w 14"/>
                <a:gd name="T3" fmla="*/ 20 h 29"/>
                <a:gd name="T4" fmla="*/ 8 w 14"/>
                <a:gd name="T5" fmla="*/ 29 h 29"/>
                <a:gd name="T6" fmla="*/ 0 w 14"/>
                <a:gd name="T7" fmla="*/ 8 h 29"/>
                <a:gd name="T8" fmla="*/ 7 w 14"/>
                <a:gd name="T9" fmla="*/ 0 h 29"/>
                <a:gd name="T10" fmla="*/ 7 w 14"/>
                <a:gd name="T11" fmla="*/ 0 h 29"/>
              </a:gdLst>
              <a:ahLst/>
              <a:cxnLst>
                <a:cxn ang="0">
                  <a:pos x="T0" y="T1"/>
                </a:cxn>
                <a:cxn ang="0">
                  <a:pos x="T2" y="T3"/>
                </a:cxn>
                <a:cxn ang="0">
                  <a:pos x="T4" y="T5"/>
                </a:cxn>
                <a:cxn ang="0">
                  <a:pos x="T6" y="T7"/>
                </a:cxn>
                <a:cxn ang="0">
                  <a:pos x="T8" y="T9"/>
                </a:cxn>
                <a:cxn ang="0">
                  <a:pos x="T10" y="T11"/>
                </a:cxn>
              </a:cxnLst>
              <a:rect l="0" t="0" r="r" b="b"/>
              <a:pathLst>
                <a:path w="14" h="29">
                  <a:moveTo>
                    <a:pt x="7" y="0"/>
                  </a:moveTo>
                  <a:lnTo>
                    <a:pt x="14" y="20"/>
                  </a:lnTo>
                  <a:lnTo>
                    <a:pt x="8" y="29"/>
                  </a:lnTo>
                  <a:lnTo>
                    <a:pt x="0" y="8"/>
                  </a:lnTo>
                  <a:lnTo>
                    <a:pt x="7" y="0"/>
                  </a:lnTo>
                  <a:lnTo>
                    <a:pt x="7"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0" name="íşḷíḍè">
              <a:extLst>
                <a:ext uri="{FF2B5EF4-FFF2-40B4-BE49-F238E27FC236}">
                  <a16:creationId xmlns:a16="http://schemas.microsoft.com/office/drawing/2014/main" id="{FEB01367-D5FE-4FB4-A12C-97B1EE3BD611}"/>
                </a:ext>
              </a:extLst>
            </p:cNvPr>
            <p:cNvSpPr/>
            <p:nvPr/>
          </p:nvSpPr>
          <p:spPr bwMode="auto">
            <a:xfrm>
              <a:off x="17736203" y="4290555"/>
              <a:ext cx="65692" cy="83941"/>
            </a:xfrm>
            <a:custGeom>
              <a:avLst/>
              <a:gdLst>
                <a:gd name="T0" fmla="*/ 11 w 18"/>
                <a:gd name="T1" fmla="*/ 2 h 23"/>
                <a:gd name="T2" fmla="*/ 18 w 18"/>
                <a:gd name="T3" fmla="*/ 23 h 23"/>
                <a:gd name="T4" fmla="*/ 7 w 18"/>
                <a:gd name="T5" fmla="*/ 21 h 23"/>
                <a:gd name="T6" fmla="*/ 0 w 18"/>
                <a:gd name="T7" fmla="*/ 0 h 23"/>
                <a:gd name="T8" fmla="*/ 11 w 18"/>
                <a:gd name="T9" fmla="*/ 2 h 23"/>
                <a:gd name="T10" fmla="*/ 11 w 18"/>
                <a:gd name="T11" fmla="*/ 2 h 23"/>
              </a:gdLst>
              <a:ahLst/>
              <a:cxnLst>
                <a:cxn ang="0">
                  <a:pos x="T0" y="T1"/>
                </a:cxn>
                <a:cxn ang="0">
                  <a:pos x="T2" y="T3"/>
                </a:cxn>
                <a:cxn ang="0">
                  <a:pos x="T4" y="T5"/>
                </a:cxn>
                <a:cxn ang="0">
                  <a:pos x="T6" y="T7"/>
                </a:cxn>
                <a:cxn ang="0">
                  <a:pos x="T8" y="T9"/>
                </a:cxn>
                <a:cxn ang="0">
                  <a:pos x="T10" y="T11"/>
                </a:cxn>
              </a:cxnLst>
              <a:rect l="0" t="0" r="r" b="b"/>
              <a:pathLst>
                <a:path w="18" h="23">
                  <a:moveTo>
                    <a:pt x="11" y="2"/>
                  </a:moveTo>
                  <a:lnTo>
                    <a:pt x="18" y="23"/>
                  </a:lnTo>
                  <a:lnTo>
                    <a:pt x="7" y="21"/>
                  </a:lnTo>
                  <a:lnTo>
                    <a:pt x="0" y="0"/>
                  </a:lnTo>
                  <a:lnTo>
                    <a:pt x="11" y="2"/>
                  </a:lnTo>
                  <a:lnTo>
                    <a:pt x="11" y="2"/>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1" name="ïṧľiďê">
              <a:extLst>
                <a:ext uri="{FF2B5EF4-FFF2-40B4-BE49-F238E27FC236}">
                  <a16:creationId xmlns:a16="http://schemas.microsoft.com/office/drawing/2014/main" id="{6025D5EF-F771-486C-9C28-3B6149C84A5C}"/>
                </a:ext>
              </a:extLst>
            </p:cNvPr>
            <p:cNvSpPr/>
            <p:nvPr/>
          </p:nvSpPr>
          <p:spPr bwMode="auto">
            <a:xfrm>
              <a:off x="18389479" y="4075229"/>
              <a:ext cx="58393" cy="105839"/>
            </a:xfrm>
            <a:custGeom>
              <a:avLst/>
              <a:gdLst>
                <a:gd name="T0" fmla="*/ 9 w 16"/>
                <a:gd name="T1" fmla="*/ 0 h 29"/>
                <a:gd name="T2" fmla="*/ 16 w 16"/>
                <a:gd name="T3" fmla="*/ 21 h 29"/>
                <a:gd name="T4" fmla="*/ 8 w 16"/>
                <a:gd name="T5" fmla="*/ 29 h 29"/>
                <a:gd name="T6" fmla="*/ 0 w 16"/>
                <a:gd name="T7" fmla="*/ 9 h 29"/>
                <a:gd name="T8" fmla="*/ 9 w 16"/>
                <a:gd name="T9" fmla="*/ 0 h 29"/>
                <a:gd name="T10" fmla="*/ 9 w 16"/>
                <a:gd name="T11" fmla="*/ 0 h 29"/>
              </a:gdLst>
              <a:ahLst/>
              <a:cxnLst>
                <a:cxn ang="0">
                  <a:pos x="T0" y="T1"/>
                </a:cxn>
                <a:cxn ang="0">
                  <a:pos x="T2" y="T3"/>
                </a:cxn>
                <a:cxn ang="0">
                  <a:pos x="T4" y="T5"/>
                </a:cxn>
                <a:cxn ang="0">
                  <a:pos x="T6" y="T7"/>
                </a:cxn>
                <a:cxn ang="0">
                  <a:pos x="T8" y="T9"/>
                </a:cxn>
                <a:cxn ang="0">
                  <a:pos x="T10" y="T11"/>
                </a:cxn>
              </a:cxnLst>
              <a:rect l="0" t="0" r="r" b="b"/>
              <a:pathLst>
                <a:path w="16" h="29">
                  <a:moveTo>
                    <a:pt x="9" y="0"/>
                  </a:moveTo>
                  <a:lnTo>
                    <a:pt x="16" y="21"/>
                  </a:lnTo>
                  <a:lnTo>
                    <a:pt x="8" y="29"/>
                  </a:lnTo>
                  <a:lnTo>
                    <a:pt x="0" y="9"/>
                  </a:lnTo>
                  <a:lnTo>
                    <a:pt x="9" y="0"/>
                  </a:lnTo>
                  <a:lnTo>
                    <a:pt x="9"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2" name="is1íḋè">
              <a:extLst>
                <a:ext uri="{FF2B5EF4-FFF2-40B4-BE49-F238E27FC236}">
                  <a16:creationId xmlns:a16="http://schemas.microsoft.com/office/drawing/2014/main" id="{3838CE31-0E66-42E2-B950-07F23DBCA728}"/>
                </a:ext>
              </a:extLst>
            </p:cNvPr>
            <p:cNvSpPr/>
            <p:nvPr/>
          </p:nvSpPr>
          <p:spPr bwMode="auto">
            <a:xfrm>
              <a:off x="17754452" y="4330699"/>
              <a:ext cx="72992" cy="76642"/>
            </a:xfrm>
            <a:custGeom>
              <a:avLst/>
              <a:gdLst>
                <a:gd name="T0" fmla="*/ 13 w 20"/>
                <a:gd name="T1" fmla="*/ 0 h 21"/>
                <a:gd name="T2" fmla="*/ 20 w 20"/>
                <a:gd name="T3" fmla="*/ 21 h 21"/>
                <a:gd name="T4" fmla="*/ 8 w 20"/>
                <a:gd name="T5" fmla="*/ 21 h 21"/>
                <a:gd name="T6" fmla="*/ 0 w 20"/>
                <a:gd name="T7" fmla="*/ 0 h 21"/>
                <a:gd name="T8" fmla="*/ 13 w 20"/>
                <a:gd name="T9" fmla="*/ 0 h 21"/>
                <a:gd name="T10" fmla="*/ 13 w 20"/>
                <a:gd name="T11" fmla="*/ 0 h 21"/>
              </a:gdLst>
              <a:ahLst/>
              <a:cxnLst>
                <a:cxn ang="0">
                  <a:pos x="T0" y="T1"/>
                </a:cxn>
                <a:cxn ang="0">
                  <a:pos x="T2" y="T3"/>
                </a:cxn>
                <a:cxn ang="0">
                  <a:pos x="T4" y="T5"/>
                </a:cxn>
                <a:cxn ang="0">
                  <a:pos x="T6" y="T7"/>
                </a:cxn>
                <a:cxn ang="0">
                  <a:pos x="T8" y="T9"/>
                </a:cxn>
                <a:cxn ang="0">
                  <a:pos x="T10" y="T11"/>
                </a:cxn>
              </a:cxnLst>
              <a:rect l="0" t="0" r="r" b="b"/>
              <a:pathLst>
                <a:path w="20" h="21">
                  <a:moveTo>
                    <a:pt x="13" y="0"/>
                  </a:moveTo>
                  <a:lnTo>
                    <a:pt x="20" y="21"/>
                  </a:lnTo>
                  <a:lnTo>
                    <a:pt x="8" y="21"/>
                  </a:lnTo>
                  <a:lnTo>
                    <a:pt x="0" y="0"/>
                  </a:lnTo>
                  <a:lnTo>
                    <a:pt x="13" y="0"/>
                  </a:lnTo>
                  <a:lnTo>
                    <a:pt x="13"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3" name="iṣľîdé">
              <a:extLst>
                <a:ext uri="{FF2B5EF4-FFF2-40B4-BE49-F238E27FC236}">
                  <a16:creationId xmlns:a16="http://schemas.microsoft.com/office/drawing/2014/main" id="{AF04900E-DF7A-49C4-BCE5-48A5620C40D1}"/>
                </a:ext>
              </a:extLst>
            </p:cNvPr>
            <p:cNvSpPr/>
            <p:nvPr/>
          </p:nvSpPr>
          <p:spPr bwMode="auto">
            <a:xfrm>
              <a:off x="18385828" y="4119023"/>
              <a:ext cx="65692" cy="102188"/>
            </a:xfrm>
            <a:custGeom>
              <a:avLst/>
              <a:gdLst>
                <a:gd name="T0" fmla="*/ 10 w 18"/>
                <a:gd name="T1" fmla="*/ 0 h 28"/>
                <a:gd name="T2" fmla="*/ 18 w 18"/>
                <a:gd name="T3" fmla="*/ 21 h 28"/>
                <a:gd name="T4" fmla="*/ 7 w 18"/>
                <a:gd name="T5" fmla="*/ 28 h 28"/>
                <a:gd name="T6" fmla="*/ 0 w 18"/>
                <a:gd name="T7" fmla="*/ 8 h 28"/>
                <a:gd name="T8" fmla="*/ 10 w 18"/>
                <a:gd name="T9" fmla="*/ 0 h 28"/>
                <a:gd name="T10" fmla="*/ 10 w 18"/>
                <a:gd name="T11" fmla="*/ 0 h 28"/>
              </a:gdLst>
              <a:ahLst/>
              <a:cxnLst>
                <a:cxn ang="0">
                  <a:pos x="T0" y="T1"/>
                </a:cxn>
                <a:cxn ang="0">
                  <a:pos x="T2" y="T3"/>
                </a:cxn>
                <a:cxn ang="0">
                  <a:pos x="T4" y="T5"/>
                </a:cxn>
                <a:cxn ang="0">
                  <a:pos x="T6" y="T7"/>
                </a:cxn>
                <a:cxn ang="0">
                  <a:pos x="T8" y="T9"/>
                </a:cxn>
                <a:cxn ang="0">
                  <a:pos x="T10" y="T11"/>
                </a:cxn>
              </a:cxnLst>
              <a:rect l="0" t="0" r="r" b="b"/>
              <a:pathLst>
                <a:path w="18" h="28">
                  <a:moveTo>
                    <a:pt x="10" y="0"/>
                  </a:moveTo>
                  <a:lnTo>
                    <a:pt x="18" y="21"/>
                  </a:lnTo>
                  <a:lnTo>
                    <a:pt x="7" y="28"/>
                  </a:lnTo>
                  <a:lnTo>
                    <a:pt x="0" y="8"/>
                  </a:lnTo>
                  <a:lnTo>
                    <a:pt x="10" y="0"/>
                  </a:lnTo>
                  <a:lnTo>
                    <a:pt x="10"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4" name="îšḻídè">
              <a:extLst>
                <a:ext uri="{FF2B5EF4-FFF2-40B4-BE49-F238E27FC236}">
                  <a16:creationId xmlns:a16="http://schemas.microsoft.com/office/drawing/2014/main" id="{5F419EA5-021D-45EC-B9AD-B45FE9F463C8}"/>
                </a:ext>
              </a:extLst>
            </p:cNvPr>
            <p:cNvSpPr/>
            <p:nvPr/>
          </p:nvSpPr>
          <p:spPr bwMode="auto">
            <a:xfrm>
              <a:off x="17787297" y="4356247"/>
              <a:ext cx="72992" cy="83941"/>
            </a:xfrm>
            <a:custGeom>
              <a:avLst/>
              <a:gdLst>
                <a:gd name="T0" fmla="*/ 13 w 20"/>
                <a:gd name="T1" fmla="*/ 0 h 23"/>
                <a:gd name="T2" fmla="*/ 20 w 20"/>
                <a:gd name="T3" fmla="*/ 21 h 23"/>
                <a:gd name="T4" fmla="*/ 7 w 20"/>
                <a:gd name="T5" fmla="*/ 23 h 23"/>
                <a:gd name="T6" fmla="*/ 0 w 20"/>
                <a:gd name="T7" fmla="*/ 2 h 23"/>
                <a:gd name="T8" fmla="*/ 13 w 20"/>
                <a:gd name="T9" fmla="*/ 0 h 23"/>
                <a:gd name="T10" fmla="*/ 13 w 20"/>
                <a:gd name="T11" fmla="*/ 0 h 23"/>
              </a:gdLst>
              <a:ahLst/>
              <a:cxnLst>
                <a:cxn ang="0">
                  <a:pos x="T0" y="T1"/>
                </a:cxn>
                <a:cxn ang="0">
                  <a:pos x="T2" y="T3"/>
                </a:cxn>
                <a:cxn ang="0">
                  <a:pos x="T4" y="T5"/>
                </a:cxn>
                <a:cxn ang="0">
                  <a:pos x="T6" y="T7"/>
                </a:cxn>
                <a:cxn ang="0">
                  <a:pos x="T8" y="T9"/>
                </a:cxn>
                <a:cxn ang="0">
                  <a:pos x="T10" y="T11"/>
                </a:cxn>
              </a:cxnLst>
              <a:rect l="0" t="0" r="r" b="b"/>
              <a:pathLst>
                <a:path w="20" h="23">
                  <a:moveTo>
                    <a:pt x="13" y="0"/>
                  </a:moveTo>
                  <a:lnTo>
                    <a:pt x="20" y="21"/>
                  </a:lnTo>
                  <a:lnTo>
                    <a:pt x="7" y="23"/>
                  </a:lnTo>
                  <a:lnTo>
                    <a:pt x="0" y="2"/>
                  </a:lnTo>
                  <a:lnTo>
                    <a:pt x="13" y="0"/>
                  </a:lnTo>
                  <a:lnTo>
                    <a:pt x="13"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5" name="ïṧḷidè">
              <a:extLst>
                <a:ext uri="{FF2B5EF4-FFF2-40B4-BE49-F238E27FC236}">
                  <a16:creationId xmlns:a16="http://schemas.microsoft.com/office/drawing/2014/main" id="{C66692D0-97BE-4D3F-AA01-094BB44CCF31}"/>
                </a:ext>
              </a:extLst>
            </p:cNvPr>
            <p:cNvSpPr/>
            <p:nvPr/>
          </p:nvSpPr>
          <p:spPr bwMode="auto">
            <a:xfrm>
              <a:off x="18367581" y="4166469"/>
              <a:ext cx="69343" cy="98540"/>
            </a:xfrm>
            <a:custGeom>
              <a:avLst/>
              <a:gdLst>
                <a:gd name="T0" fmla="*/ 12 w 19"/>
                <a:gd name="T1" fmla="*/ 0 h 27"/>
                <a:gd name="T2" fmla="*/ 19 w 19"/>
                <a:gd name="T3" fmla="*/ 21 h 27"/>
                <a:gd name="T4" fmla="*/ 8 w 19"/>
                <a:gd name="T5" fmla="*/ 27 h 27"/>
                <a:gd name="T6" fmla="*/ 0 w 19"/>
                <a:gd name="T7" fmla="*/ 6 h 27"/>
                <a:gd name="T8" fmla="*/ 12 w 19"/>
                <a:gd name="T9" fmla="*/ 0 h 27"/>
                <a:gd name="T10" fmla="*/ 12 w 19"/>
                <a:gd name="T11" fmla="*/ 0 h 27"/>
              </a:gdLst>
              <a:ahLst/>
              <a:cxnLst>
                <a:cxn ang="0">
                  <a:pos x="T0" y="T1"/>
                </a:cxn>
                <a:cxn ang="0">
                  <a:pos x="T2" y="T3"/>
                </a:cxn>
                <a:cxn ang="0">
                  <a:pos x="T4" y="T5"/>
                </a:cxn>
                <a:cxn ang="0">
                  <a:pos x="T6" y="T7"/>
                </a:cxn>
                <a:cxn ang="0">
                  <a:pos x="T8" y="T9"/>
                </a:cxn>
                <a:cxn ang="0">
                  <a:pos x="T10" y="T11"/>
                </a:cxn>
              </a:cxnLst>
              <a:rect l="0" t="0" r="r" b="b"/>
              <a:pathLst>
                <a:path w="19" h="27">
                  <a:moveTo>
                    <a:pt x="12" y="0"/>
                  </a:moveTo>
                  <a:lnTo>
                    <a:pt x="19" y="21"/>
                  </a:lnTo>
                  <a:lnTo>
                    <a:pt x="8" y="27"/>
                  </a:lnTo>
                  <a:lnTo>
                    <a:pt x="0" y="6"/>
                  </a:lnTo>
                  <a:lnTo>
                    <a:pt x="12" y="0"/>
                  </a:lnTo>
                  <a:lnTo>
                    <a:pt x="12"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6" name="íṥḷíḑé">
              <a:extLst>
                <a:ext uri="{FF2B5EF4-FFF2-40B4-BE49-F238E27FC236}">
                  <a16:creationId xmlns:a16="http://schemas.microsoft.com/office/drawing/2014/main" id="{C7529EDF-C47D-4CF4-AC8F-69C5CADA64D9}"/>
                </a:ext>
              </a:extLst>
            </p:cNvPr>
            <p:cNvSpPr/>
            <p:nvPr/>
          </p:nvSpPr>
          <p:spPr bwMode="auto">
            <a:xfrm>
              <a:off x="17834743" y="4378145"/>
              <a:ext cx="72992" cy="87590"/>
            </a:xfrm>
            <a:custGeom>
              <a:avLst/>
              <a:gdLst>
                <a:gd name="T0" fmla="*/ 13 w 20"/>
                <a:gd name="T1" fmla="*/ 0 h 24"/>
                <a:gd name="T2" fmla="*/ 20 w 20"/>
                <a:gd name="T3" fmla="*/ 20 h 24"/>
                <a:gd name="T4" fmla="*/ 7 w 20"/>
                <a:gd name="T5" fmla="*/ 24 h 24"/>
                <a:gd name="T6" fmla="*/ 0 w 20"/>
                <a:gd name="T7" fmla="*/ 3 h 24"/>
                <a:gd name="T8" fmla="*/ 13 w 20"/>
                <a:gd name="T9" fmla="*/ 0 h 24"/>
                <a:gd name="T10" fmla="*/ 13 w 20"/>
                <a:gd name="T11" fmla="*/ 0 h 24"/>
              </a:gdLst>
              <a:ahLst/>
              <a:cxnLst>
                <a:cxn ang="0">
                  <a:pos x="T0" y="T1"/>
                </a:cxn>
                <a:cxn ang="0">
                  <a:pos x="T2" y="T3"/>
                </a:cxn>
                <a:cxn ang="0">
                  <a:pos x="T4" y="T5"/>
                </a:cxn>
                <a:cxn ang="0">
                  <a:pos x="T6" y="T7"/>
                </a:cxn>
                <a:cxn ang="0">
                  <a:pos x="T8" y="T9"/>
                </a:cxn>
                <a:cxn ang="0">
                  <a:pos x="T10" y="T11"/>
                </a:cxn>
              </a:cxnLst>
              <a:rect l="0" t="0" r="r" b="b"/>
              <a:pathLst>
                <a:path w="20" h="24">
                  <a:moveTo>
                    <a:pt x="13" y="0"/>
                  </a:moveTo>
                  <a:lnTo>
                    <a:pt x="20" y="20"/>
                  </a:lnTo>
                  <a:lnTo>
                    <a:pt x="7" y="24"/>
                  </a:lnTo>
                  <a:lnTo>
                    <a:pt x="0" y="3"/>
                  </a:lnTo>
                  <a:lnTo>
                    <a:pt x="13" y="0"/>
                  </a:lnTo>
                  <a:lnTo>
                    <a:pt x="13"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7" name="îSľíḓe">
              <a:extLst>
                <a:ext uri="{FF2B5EF4-FFF2-40B4-BE49-F238E27FC236}">
                  <a16:creationId xmlns:a16="http://schemas.microsoft.com/office/drawing/2014/main" id="{BC974D14-003E-4697-8E39-AC4FB989474C}"/>
                </a:ext>
              </a:extLst>
            </p:cNvPr>
            <p:cNvSpPr/>
            <p:nvPr/>
          </p:nvSpPr>
          <p:spPr bwMode="auto">
            <a:xfrm>
              <a:off x="18338385" y="4213912"/>
              <a:ext cx="72992" cy="94889"/>
            </a:xfrm>
            <a:custGeom>
              <a:avLst/>
              <a:gdLst>
                <a:gd name="T0" fmla="*/ 13 w 20"/>
                <a:gd name="T1" fmla="*/ 0 h 26"/>
                <a:gd name="T2" fmla="*/ 20 w 20"/>
                <a:gd name="T3" fmla="*/ 21 h 26"/>
                <a:gd name="T4" fmla="*/ 8 w 20"/>
                <a:gd name="T5" fmla="*/ 26 h 26"/>
                <a:gd name="T6" fmla="*/ 0 w 20"/>
                <a:gd name="T7" fmla="*/ 5 h 26"/>
                <a:gd name="T8" fmla="*/ 13 w 20"/>
                <a:gd name="T9" fmla="*/ 0 h 26"/>
                <a:gd name="T10" fmla="*/ 13 w 20"/>
                <a:gd name="T11" fmla="*/ 0 h 26"/>
              </a:gdLst>
              <a:ahLst/>
              <a:cxnLst>
                <a:cxn ang="0">
                  <a:pos x="T0" y="T1"/>
                </a:cxn>
                <a:cxn ang="0">
                  <a:pos x="T2" y="T3"/>
                </a:cxn>
                <a:cxn ang="0">
                  <a:pos x="T4" y="T5"/>
                </a:cxn>
                <a:cxn ang="0">
                  <a:pos x="T6" y="T7"/>
                </a:cxn>
                <a:cxn ang="0">
                  <a:pos x="T8" y="T9"/>
                </a:cxn>
                <a:cxn ang="0">
                  <a:pos x="T10" y="T11"/>
                </a:cxn>
              </a:cxnLst>
              <a:rect l="0" t="0" r="r" b="b"/>
              <a:pathLst>
                <a:path w="20" h="26">
                  <a:moveTo>
                    <a:pt x="13" y="0"/>
                  </a:moveTo>
                  <a:lnTo>
                    <a:pt x="20" y="21"/>
                  </a:lnTo>
                  <a:lnTo>
                    <a:pt x="8" y="26"/>
                  </a:lnTo>
                  <a:lnTo>
                    <a:pt x="0" y="5"/>
                  </a:lnTo>
                  <a:lnTo>
                    <a:pt x="13" y="0"/>
                  </a:lnTo>
                  <a:lnTo>
                    <a:pt x="13" y="0"/>
                  </a:ln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8" name="iSḷïḋê">
              <a:extLst>
                <a:ext uri="{FF2B5EF4-FFF2-40B4-BE49-F238E27FC236}">
                  <a16:creationId xmlns:a16="http://schemas.microsoft.com/office/drawing/2014/main" id="{13557850-31F7-45A3-B24D-71A10E2ABD28}"/>
                </a:ext>
              </a:extLst>
            </p:cNvPr>
            <p:cNvSpPr/>
            <p:nvPr/>
          </p:nvSpPr>
          <p:spPr bwMode="auto">
            <a:xfrm>
              <a:off x="17889485" y="4389092"/>
              <a:ext cx="72992" cy="91241"/>
            </a:xfrm>
            <a:custGeom>
              <a:avLst/>
              <a:gdLst>
                <a:gd name="T0" fmla="*/ 13 w 20"/>
                <a:gd name="T1" fmla="*/ 0 h 25"/>
                <a:gd name="T2" fmla="*/ 20 w 20"/>
                <a:gd name="T3" fmla="*/ 20 h 25"/>
                <a:gd name="T4" fmla="*/ 7 w 20"/>
                <a:gd name="T5" fmla="*/ 25 h 25"/>
                <a:gd name="T6" fmla="*/ 0 w 20"/>
                <a:gd name="T7" fmla="*/ 5 h 25"/>
                <a:gd name="T8" fmla="*/ 13 w 20"/>
                <a:gd name="T9" fmla="*/ 0 h 25"/>
                <a:gd name="T10" fmla="*/ 13 w 20"/>
                <a:gd name="T11" fmla="*/ 0 h 25"/>
              </a:gdLst>
              <a:ahLst/>
              <a:cxnLst>
                <a:cxn ang="0">
                  <a:pos x="T0" y="T1"/>
                </a:cxn>
                <a:cxn ang="0">
                  <a:pos x="T2" y="T3"/>
                </a:cxn>
                <a:cxn ang="0">
                  <a:pos x="T4" y="T5"/>
                </a:cxn>
                <a:cxn ang="0">
                  <a:pos x="T6" y="T7"/>
                </a:cxn>
                <a:cxn ang="0">
                  <a:pos x="T8" y="T9"/>
                </a:cxn>
                <a:cxn ang="0">
                  <a:pos x="T10" y="T11"/>
                </a:cxn>
              </a:cxnLst>
              <a:rect l="0" t="0" r="r" b="b"/>
              <a:pathLst>
                <a:path w="20" h="25">
                  <a:moveTo>
                    <a:pt x="13" y="0"/>
                  </a:moveTo>
                  <a:lnTo>
                    <a:pt x="20" y="20"/>
                  </a:lnTo>
                  <a:lnTo>
                    <a:pt x="7" y="25"/>
                  </a:lnTo>
                  <a:lnTo>
                    <a:pt x="0" y="5"/>
                  </a:lnTo>
                  <a:lnTo>
                    <a:pt x="13" y="0"/>
                  </a:lnTo>
                  <a:lnTo>
                    <a:pt x="13" y="0"/>
                  </a:ln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09" name="íŝḻiḑè">
              <a:extLst>
                <a:ext uri="{FF2B5EF4-FFF2-40B4-BE49-F238E27FC236}">
                  <a16:creationId xmlns:a16="http://schemas.microsoft.com/office/drawing/2014/main" id="{952C84E2-B6B1-447F-9FDC-BD76F741C2B0}"/>
                </a:ext>
              </a:extLst>
            </p:cNvPr>
            <p:cNvSpPr/>
            <p:nvPr/>
          </p:nvSpPr>
          <p:spPr bwMode="auto">
            <a:xfrm>
              <a:off x="18338385" y="4232162"/>
              <a:ext cx="32847" cy="105839"/>
            </a:xfrm>
            <a:custGeom>
              <a:avLst/>
              <a:gdLst>
                <a:gd name="T0" fmla="*/ 0 w 9"/>
                <a:gd name="T1" fmla="*/ 0 h 29"/>
                <a:gd name="T2" fmla="*/ 8 w 9"/>
                <a:gd name="T3" fmla="*/ 21 h 29"/>
                <a:gd name="T4" fmla="*/ 9 w 9"/>
                <a:gd name="T5" fmla="*/ 29 h 29"/>
                <a:gd name="T6" fmla="*/ 2 w 9"/>
                <a:gd name="T7" fmla="*/ 8 h 29"/>
                <a:gd name="T8" fmla="*/ 0 w 9"/>
                <a:gd name="T9" fmla="*/ 0 h 29"/>
                <a:gd name="T10" fmla="*/ 0 w 9"/>
                <a:gd name="T11" fmla="*/ 0 h 29"/>
              </a:gdLst>
              <a:ahLst/>
              <a:cxnLst>
                <a:cxn ang="0">
                  <a:pos x="T0" y="T1"/>
                </a:cxn>
                <a:cxn ang="0">
                  <a:pos x="T2" y="T3"/>
                </a:cxn>
                <a:cxn ang="0">
                  <a:pos x="T4" y="T5"/>
                </a:cxn>
                <a:cxn ang="0">
                  <a:pos x="T6" y="T7"/>
                </a:cxn>
                <a:cxn ang="0">
                  <a:pos x="T8" y="T9"/>
                </a:cxn>
                <a:cxn ang="0">
                  <a:pos x="T10" y="T11"/>
                </a:cxn>
              </a:cxnLst>
              <a:rect l="0" t="0" r="r" b="b"/>
              <a:pathLst>
                <a:path w="9" h="29">
                  <a:moveTo>
                    <a:pt x="0" y="0"/>
                  </a:moveTo>
                  <a:lnTo>
                    <a:pt x="8" y="21"/>
                  </a:lnTo>
                  <a:lnTo>
                    <a:pt x="9" y="29"/>
                  </a:lnTo>
                  <a:lnTo>
                    <a:pt x="2" y="8"/>
                  </a:lnTo>
                  <a:lnTo>
                    <a:pt x="0" y="0"/>
                  </a:lnTo>
                  <a:lnTo>
                    <a:pt x="0"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0" name="íṡļïḋe">
              <a:extLst>
                <a:ext uri="{FF2B5EF4-FFF2-40B4-BE49-F238E27FC236}">
                  <a16:creationId xmlns:a16="http://schemas.microsoft.com/office/drawing/2014/main" id="{3E1F04B0-5437-462C-BF5F-20BABF1B0071}"/>
                </a:ext>
              </a:extLst>
            </p:cNvPr>
            <p:cNvSpPr/>
            <p:nvPr/>
          </p:nvSpPr>
          <p:spPr bwMode="auto">
            <a:xfrm>
              <a:off x="18298238" y="4261358"/>
              <a:ext cx="72992" cy="87590"/>
            </a:xfrm>
            <a:custGeom>
              <a:avLst/>
              <a:gdLst>
                <a:gd name="T0" fmla="*/ 13 w 20"/>
                <a:gd name="T1" fmla="*/ 0 h 24"/>
                <a:gd name="T2" fmla="*/ 20 w 20"/>
                <a:gd name="T3" fmla="*/ 21 h 24"/>
                <a:gd name="T4" fmla="*/ 7 w 20"/>
                <a:gd name="T5" fmla="*/ 24 h 24"/>
                <a:gd name="T6" fmla="*/ 0 w 20"/>
                <a:gd name="T7" fmla="*/ 3 h 24"/>
                <a:gd name="T8" fmla="*/ 13 w 20"/>
                <a:gd name="T9" fmla="*/ 0 h 24"/>
                <a:gd name="T10" fmla="*/ 13 w 20"/>
                <a:gd name="T11" fmla="*/ 0 h 24"/>
              </a:gdLst>
              <a:ahLst/>
              <a:cxnLst>
                <a:cxn ang="0">
                  <a:pos x="T0" y="T1"/>
                </a:cxn>
                <a:cxn ang="0">
                  <a:pos x="T2" y="T3"/>
                </a:cxn>
                <a:cxn ang="0">
                  <a:pos x="T4" y="T5"/>
                </a:cxn>
                <a:cxn ang="0">
                  <a:pos x="T6" y="T7"/>
                </a:cxn>
                <a:cxn ang="0">
                  <a:pos x="T8" y="T9"/>
                </a:cxn>
                <a:cxn ang="0">
                  <a:pos x="T10" y="T11"/>
                </a:cxn>
              </a:cxnLst>
              <a:rect l="0" t="0" r="r" b="b"/>
              <a:pathLst>
                <a:path w="20" h="24">
                  <a:moveTo>
                    <a:pt x="13" y="0"/>
                  </a:moveTo>
                  <a:lnTo>
                    <a:pt x="20" y="21"/>
                  </a:lnTo>
                  <a:lnTo>
                    <a:pt x="7" y="24"/>
                  </a:lnTo>
                  <a:lnTo>
                    <a:pt x="0" y="3"/>
                  </a:lnTo>
                  <a:lnTo>
                    <a:pt x="13" y="0"/>
                  </a:lnTo>
                  <a:lnTo>
                    <a:pt x="13" y="0"/>
                  </a:ln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1" name="işḻîďé">
              <a:extLst>
                <a:ext uri="{FF2B5EF4-FFF2-40B4-BE49-F238E27FC236}">
                  <a16:creationId xmlns:a16="http://schemas.microsoft.com/office/drawing/2014/main" id="{FB164E15-082E-414F-91C9-7B5F2308C2B9}"/>
                </a:ext>
              </a:extLst>
            </p:cNvPr>
            <p:cNvSpPr/>
            <p:nvPr/>
          </p:nvSpPr>
          <p:spPr bwMode="auto">
            <a:xfrm>
              <a:off x="17951529" y="4389092"/>
              <a:ext cx="69343" cy="98540"/>
            </a:xfrm>
            <a:custGeom>
              <a:avLst/>
              <a:gdLst>
                <a:gd name="T0" fmla="*/ 12 w 19"/>
                <a:gd name="T1" fmla="*/ 0 h 27"/>
                <a:gd name="T2" fmla="*/ 19 w 19"/>
                <a:gd name="T3" fmla="*/ 21 h 27"/>
                <a:gd name="T4" fmla="*/ 8 w 19"/>
                <a:gd name="T5" fmla="*/ 27 h 27"/>
                <a:gd name="T6" fmla="*/ 0 w 19"/>
                <a:gd name="T7" fmla="*/ 6 h 27"/>
                <a:gd name="T8" fmla="*/ 12 w 19"/>
                <a:gd name="T9" fmla="*/ 0 h 27"/>
                <a:gd name="T10" fmla="*/ 12 w 19"/>
                <a:gd name="T11" fmla="*/ 0 h 27"/>
              </a:gdLst>
              <a:ahLst/>
              <a:cxnLst>
                <a:cxn ang="0">
                  <a:pos x="T0" y="T1"/>
                </a:cxn>
                <a:cxn ang="0">
                  <a:pos x="T2" y="T3"/>
                </a:cxn>
                <a:cxn ang="0">
                  <a:pos x="T4" y="T5"/>
                </a:cxn>
                <a:cxn ang="0">
                  <a:pos x="T6" y="T7"/>
                </a:cxn>
                <a:cxn ang="0">
                  <a:pos x="T8" y="T9"/>
                </a:cxn>
                <a:cxn ang="0">
                  <a:pos x="T10" y="T11"/>
                </a:cxn>
              </a:cxnLst>
              <a:rect l="0" t="0" r="r" b="b"/>
              <a:pathLst>
                <a:path w="19" h="27">
                  <a:moveTo>
                    <a:pt x="12" y="0"/>
                  </a:moveTo>
                  <a:lnTo>
                    <a:pt x="19" y="21"/>
                  </a:lnTo>
                  <a:lnTo>
                    <a:pt x="8" y="27"/>
                  </a:lnTo>
                  <a:lnTo>
                    <a:pt x="0" y="6"/>
                  </a:lnTo>
                  <a:lnTo>
                    <a:pt x="12" y="0"/>
                  </a:lnTo>
                  <a:lnTo>
                    <a:pt x="12" y="0"/>
                  </a:ln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2" name="îš1ïdê">
              <a:extLst>
                <a:ext uri="{FF2B5EF4-FFF2-40B4-BE49-F238E27FC236}">
                  <a16:creationId xmlns:a16="http://schemas.microsoft.com/office/drawing/2014/main" id="{08119011-7F53-44AD-9F98-CB5785D1AA68}"/>
                </a:ext>
              </a:extLst>
            </p:cNvPr>
            <p:cNvSpPr/>
            <p:nvPr/>
          </p:nvSpPr>
          <p:spPr bwMode="auto">
            <a:xfrm>
              <a:off x="17936931" y="4389092"/>
              <a:ext cx="43795" cy="98540"/>
            </a:xfrm>
            <a:custGeom>
              <a:avLst/>
              <a:gdLst>
                <a:gd name="T0" fmla="*/ 4 w 12"/>
                <a:gd name="T1" fmla="*/ 6 h 27"/>
                <a:gd name="T2" fmla="*/ 12 w 12"/>
                <a:gd name="T3" fmla="*/ 27 h 27"/>
                <a:gd name="T4" fmla="*/ 7 w 12"/>
                <a:gd name="T5" fmla="*/ 20 h 27"/>
                <a:gd name="T6" fmla="*/ 0 w 12"/>
                <a:gd name="T7" fmla="*/ 0 h 27"/>
                <a:gd name="T8" fmla="*/ 4 w 12"/>
                <a:gd name="T9" fmla="*/ 6 h 27"/>
                <a:gd name="T10" fmla="*/ 4 w 12"/>
                <a:gd name="T11" fmla="*/ 6 h 27"/>
              </a:gdLst>
              <a:ahLst/>
              <a:cxnLst>
                <a:cxn ang="0">
                  <a:pos x="T0" y="T1"/>
                </a:cxn>
                <a:cxn ang="0">
                  <a:pos x="T2" y="T3"/>
                </a:cxn>
                <a:cxn ang="0">
                  <a:pos x="T4" y="T5"/>
                </a:cxn>
                <a:cxn ang="0">
                  <a:pos x="T6" y="T7"/>
                </a:cxn>
                <a:cxn ang="0">
                  <a:pos x="T8" y="T9"/>
                </a:cxn>
                <a:cxn ang="0">
                  <a:pos x="T10" y="T11"/>
                </a:cxn>
              </a:cxnLst>
              <a:rect l="0" t="0" r="r" b="b"/>
              <a:pathLst>
                <a:path w="12" h="27">
                  <a:moveTo>
                    <a:pt x="4" y="6"/>
                  </a:moveTo>
                  <a:lnTo>
                    <a:pt x="12" y="27"/>
                  </a:lnTo>
                  <a:lnTo>
                    <a:pt x="7" y="20"/>
                  </a:lnTo>
                  <a:lnTo>
                    <a:pt x="0" y="0"/>
                  </a:lnTo>
                  <a:lnTo>
                    <a:pt x="4" y="6"/>
                  </a:lnTo>
                  <a:lnTo>
                    <a:pt x="4" y="6"/>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3" name="í$lîḍe">
              <a:extLst>
                <a:ext uri="{FF2B5EF4-FFF2-40B4-BE49-F238E27FC236}">
                  <a16:creationId xmlns:a16="http://schemas.microsoft.com/office/drawing/2014/main" id="{36992191-1703-4029-9C6B-2D8857A65A96}"/>
                </a:ext>
              </a:extLst>
            </p:cNvPr>
            <p:cNvSpPr/>
            <p:nvPr/>
          </p:nvSpPr>
          <p:spPr bwMode="auto">
            <a:xfrm>
              <a:off x="18247144" y="4305153"/>
              <a:ext cx="72992" cy="80291"/>
            </a:xfrm>
            <a:custGeom>
              <a:avLst/>
              <a:gdLst>
                <a:gd name="T0" fmla="*/ 13 w 20"/>
                <a:gd name="T1" fmla="*/ 0 h 22"/>
                <a:gd name="T2" fmla="*/ 20 w 20"/>
                <a:gd name="T3" fmla="*/ 21 h 22"/>
                <a:gd name="T4" fmla="*/ 7 w 20"/>
                <a:gd name="T5" fmla="*/ 22 h 22"/>
                <a:gd name="T6" fmla="*/ 0 w 20"/>
                <a:gd name="T7" fmla="*/ 2 h 22"/>
                <a:gd name="T8" fmla="*/ 13 w 20"/>
                <a:gd name="T9" fmla="*/ 0 h 22"/>
                <a:gd name="T10" fmla="*/ 13 w 20"/>
                <a:gd name="T11" fmla="*/ 0 h 22"/>
              </a:gdLst>
              <a:ahLst/>
              <a:cxnLst>
                <a:cxn ang="0">
                  <a:pos x="T0" y="T1"/>
                </a:cxn>
                <a:cxn ang="0">
                  <a:pos x="T2" y="T3"/>
                </a:cxn>
                <a:cxn ang="0">
                  <a:pos x="T4" y="T5"/>
                </a:cxn>
                <a:cxn ang="0">
                  <a:pos x="T6" y="T7"/>
                </a:cxn>
                <a:cxn ang="0">
                  <a:pos x="T8" y="T9"/>
                </a:cxn>
                <a:cxn ang="0">
                  <a:pos x="T10" y="T11"/>
                </a:cxn>
              </a:cxnLst>
              <a:rect l="0" t="0" r="r" b="b"/>
              <a:pathLst>
                <a:path w="20" h="22">
                  <a:moveTo>
                    <a:pt x="13" y="0"/>
                  </a:moveTo>
                  <a:lnTo>
                    <a:pt x="20" y="21"/>
                  </a:lnTo>
                  <a:lnTo>
                    <a:pt x="7" y="22"/>
                  </a:lnTo>
                  <a:lnTo>
                    <a:pt x="0" y="2"/>
                  </a:lnTo>
                  <a:lnTo>
                    <a:pt x="13" y="0"/>
                  </a:lnTo>
                  <a:lnTo>
                    <a:pt x="13"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4" name="îşļïḓè">
              <a:extLst>
                <a:ext uri="{FF2B5EF4-FFF2-40B4-BE49-F238E27FC236}">
                  <a16:creationId xmlns:a16="http://schemas.microsoft.com/office/drawing/2014/main" id="{0F84F4D0-9CC5-4BF7-9198-FB8718DD6EAD}"/>
                </a:ext>
              </a:extLst>
            </p:cNvPr>
            <p:cNvSpPr/>
            <p:nvPr/>
          </p:nvSpPr>
          <p:spPr bwMode="auto">
            <a:xfrm>
              <a:off x="18294590" y="4272306"/>
              <a:ext cx="29197" cy="109487"/>
            </a:xfrm>
            <a:custGeom>
              <a:avLst/>
              <a:gdLst>
                <a:gd name="T0" fmla="*/ 1 w 8"/>
                <a:gd name="T1" fmla="*/ 0 h 30"/>
                <a:gd name="T2" fmla="*/ 8 w 8"/>
                <a:gd name="T3" fmla="*/ 21 h 30"/>
                <a:gd name="T4" fmla="*/ 7 w 8"/>
                <a:gd name="T5" fmla="*/ 30 h 30"/>
                <a:gd name="T6" fmla="*/ 0 w 8"/>
                <a:gd name="T7" fmla="*/ 9 h 30"/>
                <a:gd name="T8" fmla="*/ 1 w 8"/>
                <a:gd name="T9" fmla="*/ 0 h 30"/>
                <a:gd name="T10" fmla="*/ 1 w 8"/>
                <a:gd name="T11" fmla="*/ 0 h 30"/>
              </a:gdLst>
              <a:ahLst/>
              <a:cxnLst>
                <a:cxn ang="0">
                  <a:pos x="T0" y="T1"/>
                </a:cxn>
                <a:cxn ang="0">
                  <a:pos x="T2" y="T3"/>
                </a:cxn>
                <a:cxn ang="0">
                  <a:pos x="T4" y="T5"/>
                </a:cxn>
                <a:cxn ang="0">
                  <a:pos x="T6" y="T7"/>
                </a:cxn>
                <a:cxn ang="0">
                  <a:pos x="T8" y="T9"/>
                </a:cxn>
                <a:cxn ang="0">
                  <a:pos x="T10" y="T11"/>
                </a:cxn>
              </a:cxnLst>
              <a:rect l="0" t="0" r="r" b="b"/>
              <a:pathLst>
                <a:path w="8" h="30">
                  <a:moveTo>
                    <a:pt x="1" y="0"/>
                  </a:moveTo>
                  <a:lnTo>
                    <a:pt x="8" y="21"/>
                  </a:lnTo>
                  <a:lnTo>
                    <a:pt x="7" y="30"/>
                  </a:lnTo>
                  <a:lnTo>
                    <a:pt x="0" y="9"/>
                  </a:lnTo>
                  <a:lnTo>
                    <a:pt x="1" y="0"/>
                  </a:lnTo>
                  <a:lnTo>
                    <a:pt x="1" y="0"/>
                  </a:ln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5" name="î$ḻíde">
              <a:extLst>
                <a:ext uri="{FF2B5EF4-FFF2-40B4-BE49-F238E27FC236}">
                  <a16:creationId xmlns:a16="http://schemas.microsoft.com/office/drawing/2014/main" id="{FA1D9C5E-6971-4895-8A1D-2CA176D4B594}"/>
                </a:ext>
              </a:extLst>
            </p:cNvPr>
            <p:cNvSpPr/>
            <p:nvPr/>
          </p:nvSpPr>
          <p:spPr bwMode="auto">
            <a:xfrm>
              <a:off x="18020870" y="4381793"/>
              <a:ext cx="65692" cy="102188"/>
            </a:xfrm>
            <a:custGeom>
              <a:avLst/>
              <a:gdLst>
                <a:gd name="T0" fmla="*/ 11 w 18"/>
                <a:gd name="T1" fmla="*/ 0 h 28"/>
                <a:gd name="T2" fmla="*/ 18 w 18"/>
                <a:gd name="T3" fmla="*/ 21 h 28"/>
                <a:gd name="T4" fmla="*/ 8 w 18"/>
                <a:gd name="T5" fmla="*/ 28 h 28"/>
                <a:gd name="T6" fmla="*/ 0 w 18"/>
                <a:gd name="T7" fmla="*/ 7 h 28"/>
                <a:gd name="T8" fmla="*/ 11 w 18"/>
                <a:gd name="T9" fmla="*/ 0 h 28"/>
                <a:gd name="T10" fmla="*/ 11 w 18"/>
                <a:gd name="T11" fmla="*/ 0 h 28"/>
              </a:gdLst>
              <a:ahLst/>
              <a:cxnLst>
                <a:cxn ang="0">
                  <a:pos x="T0" y="T1"/>
                </a:cxn>
                <a:cxn ang="0">
                  <a:pos x="T2" y="T3"/>
                </a:cxn>
                <a:cxn ang="0">
                  <a:pos x="T4" y="T5"/>
                </a:cxn>
                <a:cxn ang="0">
                  <a:pos x="T6" y="T7"/>
                </a:cxn>
                <a:cxn ang="0">
                  <a:pos x="T8" y="T9"/>
                </a:cxn>
                <a:cxn ang="0">
                  <a:pos x="T10" y="T11"/>
                </a:cxn>
              </a:cxnLst>
              <a:rect l="0" t="0" r="r" b="b"/>
              <a:pathLst>
                <a:path w="18" h="28">
                  <a:moveTo>
                    <a:pt x="11" y="0"/>
                  </a:moveTo>
                  <a:lnTo>
                    <a:pt x="18" y="21"/>
                  </a:lnTo>
                  <a:lnTo>
                    <a:pt x="8" y="28"/>
                  </a:lnTo>
                  <a:lnTo>
                    <a:pt x="0" y="7"/>
                  </a:lnTo>
                  <a:lnTo>
                    <a:pt x="11" y="0"/>
                  </a:lnTo>
                  <a:lnTo>
                    <a:pt x="11" y="0"/>
                  </a:ln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6" name="iṣḷiḋé">
              <a:extLst>
                <a:ext uri="{FF2B5EF4-FFF2-40B4-BE49-F238E27FC236}">
                  <a16:creationId xmlns:a16="http://schemas.microsoft.com/office/drawing/2014/main" id="{449ECD0C-3695-417C-9DB4-3448E25257B9}"/>
                </a:ext>
              </a:extLst>
            </p:cNvPr>
            <p:cNvSpPr/>
            <p:nvPr/>
          </p:nvSpPr>
          <p:spPr bwMode="auto">
            <a:xfrm>
              <a:off x="17995324" y="4389092"/>
              <a:ext cx="54745" cy="94889"/>
            </a:xfrm>
            <a:custGeom>
              <a:avLst/>
              <a:gdLst>
                <a:gd name="T0" fmla="*/ 7 w 15"/>
                <a:gd name="T1" fmla="*/ 5 h 26"/>
                <a:gd name="T2" fmla="*/ 15 w 15"/>
                <a:gd name="T3" fmla="*/ 26 h 26"/>
                <a:gd name="T4" fmla="*/ 7 w 15"/>
                <a:gd name="T5" fmla="*/ 21 h 26"/>
                <a:gd name="T6" fmla="*/ 0 w 15"/>
                <a:gd name="T7" fmla="*/ 0 h 26"/>
                <a:gd name="T8" fmla="*/ 7 w 15"/>
                <a:gd name="T9" fmla="*/ 5 h 26"/>
                <a:gd name="T10" fmla="*/ 7 w 15"/>
                <a:gd name="T11" fmla="*/ 5 h 26"/>
              </a:gdLst>
              <a:ahLst/>
              <a:cxnLst>
                <a:cxn ang="0">
                  <a:pos x="T0" y="T1"/>
                </a:cxn>
                <a:cxn ang="0">
                  <a:pos x="T2" y="T3"/>
                </a:cxn>
                <a:cxn ang="0">
                  <a:pos x="T4" y="T5"/>
                </a:cxn>
                <a:cxn ang="0">
                  <a:pos x="T6" y="T7"/>
                </a:cxn>
                <a:cxn ang="0">
                  <a:pos x="T8" y="T9"/>
                </a:cxn>
                <a:cxn ang="0">
                  <a:pos x="T10" y="T11"/>
                </a:cxn>
              </a:cxnLst>
              <a:rect l="0" t="0" r="r" b="b"/>
              <a:pathLst>
                <a:path w="15" h="26">
                  <a:moveTo>
                    <a:pt x="7" y="5"/>
                  </a:moveTo>
                  <a:lnTo>
                    <a:pt x="15" y="26"/>
                  </a:lnTo>
                  <a:lnTo>
                    <a:pt x="7" y="21"/>
                  </a:lnTo>
                  <a:lnTo>
                    <a:pt x="0" y="0"/>
                  </a:lnTo>
                  <a:lnTo>
                    <a:pt x="7" y="5"/>
                  </a:lnTo>
                  <a:lnTo>
                    <a:pt x="7" y="5"/>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7" name="iṥ1iḋè">
              <a:extLst>
                <a:ext uri="{FF2B5EF4-FFF2-40B4-BE49-F238E27FC236}">
                  <a16:creationId xmlns:a16="http://schemas.microsoft.com/office/drawing/2014/main" id="{298EF2F4-6753-434F-ADAF-312D2770FC49}"/>
                </a:ext>
              </a:extLst>
            </p:cNvPr>
            <p:cNvSpPr/>
            <p:nvPr/>
          </p:nvSpPr>
          <p:spPr bwMode="auto">
            <a:xfrm>
              <a:off x="18188751" y="4341649"/>
              <a:ext cx="72992" cy="76642"/>
            </a:xfrm>
            <a:custGeom>
              <a:avLst/>
              <a:gdLst>
                <a:gd name="T0" fmla="*/ 12 w 20"/>
                <a:gd name="T1" fmla="*/ 0 h 21"/>
                <a:gd name="T2" fmla="*/ 20 w 20"/>
                <a:gd name="T3" fmla="*/ 21 h 21"/>
                <a:gd name="T4" fmla="*/ 7 w 20"/>
                <a:gd name="T5" fmla="*/ 21 h 21"/>
                <a:gd name="T6" fmla="*/ 0 w 20"/>
                <a:gd name="T7" fmla="*/ 0 h 21"/>
                <a:gd name="T8" fmla="*/ 12 w 20"/>
                <a:gd name="T9" fmla="*/ 0 h 21"/>
                <a:gd name="T10" fmla="*/ 12 w 20"/>
                <a:gd name="T11" fmla="*/ 0 h 21"/>
              </a:gdLst>
              <a:ahLst/>
              <a:cxnLst>
                <a:cxn ang="0">
                  <a:pos x="T0" y="T1"/>
                </a:cxn>
                <a:cxn ang="0">
                  <a:pos x="T2" y="T3"/>
                </a:cxn>
                <a:cxn ang="0">
                  <a:pos x="T4" y="T5"/>
                </a:cxn>
                <a:cxn ang="0">
                  <a:pos x="T6" y="T7"/>
                </a:cxn>
                <a:cxn ang="0">
                  <a:pos x="T8" y="T9"/>
                </a:cxn>
                <a:cxn ang="0">
                  <a:pos x="T10" y="T11"/>
                </a:cxn>
              </a:cxnLst>
              <a:rect l="0" t="0" r="r" b="b"/>
              <a:pathLst>
                <a:path w="20" h="21">
                  <a:moveTo>
                    <a:pt x="12" y="0"/>
                  </a:moveTo>
                  <a:lnTo>
                    <a:pt x="20" y="21"/>
                  </a:lnTo>
                  <a:lnTo>
                    <a:pt x="7" y="21"/>
                  </a:lnTo>
                  <a:lnTo>
                    <a:pt x="0" y="0"/>
                  </a:lnTo>
                  <a:lnTo>
                    <a:pt x="12" y="0"/>
                  </a:lnTo>
                  <a:lnTo>
                    <a:pt x="12" y="0"/>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8" name="ïṣļïḓè">
              <a:extLst>
                <a:ext uri="{FF2B5EF4-FFF2-40B4-BE49-F238E27FC236}">
                  <a16:creationId xmlns:a16="http://schemas.microsoft.com/office/drawing/2014/main" id="{B0AF9CF0-A8B7-409E-82B9-32A0A10C0FA0}"/>
                </a:ext>
              </a:extLst>
            </p:cNvPr>
            <p:cNvSpPr/>
            <p:nvPr/>
          </p:nvSpPr>
          <p:spPr bwMode="auto">
            <a:xfrm>
              <a:off x="18232546" y="4312452"/>
              <a:ext cx="40147" cy="105839"/>
            </a:xfrm>
            <a:custGeom>
              <a:avLst/>
              <a:gdLst>
                <a:gd name="T0" fmla="*/ 4 w 11"/>
                <a:gd name="T1" fmla="*/ 0 h 29"/>
                <a:gd name="T2" fmla="*/ 11 w 11"/>
                <a:gd name="T3" fmla="*/ 20 h 29"/>
                <a:gd name="T4" fmla="*/ 8 w 11"/>
                <a:gd name="T5" fmla="*/ 29 h 29"/>
                <a:gd name="T6" fmla="*/ 0 w 11"/>
                <a:gd name="T7" fmla="*/ 8 h 29"/>
                <a:gd name="T8" fmla="*/ 4 w 11"/>
                <a:gd name="T9" fmla="*/ 0 h 29"/>
                <a:gd name="T10" fmla="*/ 4 w 11"/>
                <a:gd name="T11" fmla="*/ 0 h 29"/>
              </a:gdLst>
              <a:ahLst/>
              <a:cxnLst>
                <a:cxn ang="0">
                  <a:pos x="T0" y="T1"/>
                </a:cxn>
                <a:cxn ang="0">
                  <a:pos x="T2" y="T3"/>
                </a:cxn>
                <a:cxn ang="0">
                  <a:pos x="T4" y="T5"/>
                </a:cxn>
                <a:cxn ang="0">
                  <a:pos x="T6" y="T7"/>
                </a:cxn>
                <a:cxn ang="0">
                  <a:pos x="T8" y="T9"/>
                </a:cxn>
                <a:cxn ang="0">
                  <a:pos x="T10" y="T11"/>
                </a:cxn>
              </a:cxnLst>
              <a:rect l="0" t="0" r="r" b="b"/>
              <a:pathLst>
                <a:path w="11" h="29">
                  <a:moveTo>
                    <a:pt x="4" y="0"/>
                  </a:moveTo>
                  <a:lnTo>
                    <a:pt x="11" y="20"/>
                  </a:lnTo>
                  <a:lnTo>
                    <a:pt x="8" y="29"/>
                  </a:lnTo>
                  <a:lnTo>
                    <a:pt x="0" y="8"/>
                  </a:lnTo>
                  <a:lnTo>
                    <a:pt x="4" y="0"/>
                  </a:lnTo>
                  <a:lnTo>
                    <a:pt x="4" y="0"/>
                  </a:ln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19" name="íṥ1îdè">
              <a:extLst>
                <a:ext uri="{FF2B5EF4-FFF2-40B4-BE49-F238E27FC236}">
                  <a16:creationId xmlns:a16="http://schemas.microsoft.com/office/drawing/2014/main" id="{9757D525-0A1E-4D73-8B05-EAA0C25E9A07}"/>
                </a:ext>
              </a:extLst>
            </p:cNvPr>
            <p:cNvSpPr/>
            <p:nvPr/>
          </p:nvSpPr>
          <p:spPr bwMode="auto">
            <a:xfrm>
              <a:off x="18093862" y="4363546"/>
              <a:ext cx="58393" cy="105839"/>
            </a:xfrm>
            <a:custGeom>
              <a:avLst/>
              <a:gdLst>
                <a:gd name="T0" fmla="*/ 9 w 16"/>
                <a:gd name="T1" fmla="*/ 0 h 29"/>
                <a:gd name="T2" fmla="*/ 16 w 16"/>
                <a:gd name="T3" fmla="*/ 21 h 29"/>
                <a:gd name="T4" fmla="*/ 8 w 16"/>
                <a:gd name="T5" fmla="*/ 29 h 29"/>
                <a:gd name="T6" fmla="*/ 0 w 16"/>
                <a:gd name="T7" fmla="*/ 9 h 29"/>
                <a:gd name="T8" fmla="*/ 9 w 16"/>
                <a:gd name="T9" fmla="*/ 0 h 29"/>
                <a:gd name="T10" fmla="*/ 9 w 16"/>
                <a:gd name="T11" fmla="*/ 0 h 29"/>
              </a:gdLst>
              <a:ahLst/>
              <a:cxnLst>
                <a:cxn ang="0">
                  <a:pos x="T0" y="T1"/>
                </a:cxn>
                <a:cxn ang="0">
                  <a:pos x="T2" y="T3"/>
                </a:cxn>
                <a:cxn ang="0">
                  <a:pos x="T4" y="T5"/>
                </a:cxn>
                <a:cxn ang="0">
                  <a:pos x="T6" y="T7"/>
                </a:cxn>
                <a:cxn ang="0">
                  <a:pos x="T8" y="T9"/>
                </a:cxn>
                <a:cxn ang="0">
                  <a:pos x="T10" y="T11"/>
                </a:cxn>
              </a:cxnLst>
              <a:rect l="0" t="0" r="r" b="b"/>
              <a:pathLst>
                <a:path w="16" h="29">
                  <a:moveTo>
                    <a:pt x="9" y="0"/>
                  </a:moveTo>
                  <a:lnTo>
                    <a:pt x="16" y="21"/>
                  </a:lnTo>
                  <a:lnTo>
                    <a:pt x="8" y="29"/>
                  </a:lnTo>
                  <a:lnTo>
                    <a:pt x="0" y="9"/>
                  </a:lnTo>
                  <a:lnTo>
                    <a:pt x="9" y="0"/>
                  </a:lnTo>
                  <a:lnTo>
                    <a:pt x="9" y="0"/>
                  </a:ln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20" name="îślîdê">
              <a:extLst>
                <a:ext uri="{FF2B5EF4-FFF2-40B4-BE49-F238E27FC236}">
                  <a16:creationId xmlns:a16="http://schemas.microsoft.com/office/drawing/2014/main" id="{27BED3F6-250D-44D0-8803-A8911B03F08D}"/>
                </a:ext>
              </a:extLst>
            </p:cNvPr>
            <p:cNvSpPr/>
            <p:nvPr/>
          </p:nvSpPr>
          <p:spPr bwMode="auto">
            <a:xfrm>
              <a:off x="18061017" y="4381793"/>
              <a:ext cx="62044" cy="87590"/>
            </a:xfrm>
            <a:custGeom>
              <a:avLst/>
              <a:gdLst>
                <a:gd name="T0" fmla="*/ 9 w 17"/>
                <a:gd name="T1" fmla="*/ 4 h 24"/>
                <a:gd name="T2" fmla="*/ 17 w 17"/>
                <a:gd name="T3" fmla="*/ 24 h 24"/>
                <a:gd name="T4" fmla="*/ 7 w 17"/>
                <a:gd name="T5" fmla="*/ 21 h 24"/>
                <a:gd name="T6" fmla="*/ 0 w 17"/>
                <a:gd name="T7" fmla="*/ 0 h 24"/>
                <a:gd name="T8" fmla="*/ 9 w 17"/>
                <a:gd name="T9" fmla="*/ 4 h 24"/>
                <a:gd name="T10" fmla="*/ 9 w 17"/>
                <a:gd name="T11" fmla="*/ 4 h 24"/>
              </a:gdLst>
              <a:ahLst/>
              <a:cxnLst>
                <a:cxn ang="0">
                  <a:pos x="T0" y="T1"/>
                </a:cxn>
                <a:cxn ang="0">
                  <a:pos x="T2" y="T3"/>
                </a:cxn>
                <a:cxn ang="0">
                  <a:pos x="T4" y="T5"/>
                </a:cxn>
                <a:cxn ang="0">
                  <a:pos x="T6" y="T7"/>
                </a:cxn>
                <a:cxn ang="0">
                  <a:pos x="T8" y="T9"/>
                </a:cxn>
                <a:cxn ang="0">
                  <a:pos x="T10" y="T11"/>
                </a:cxn>
              </a:cxnLst>
              <a:rect l="0" t="0" r="r" b="b"/>
              <a:pathLst>
                <a:path w="17" h="24">
                  <a:moveTo>
                    <a:pt x="9" y="4"/>
                  </a:moveTo>
                  <a:lnTo>
                    <a:pt x="17" y="24"/>
                  </a:lnTo>
                  <a:lnTo>
                    <a:pt x="7" y="21"/>
                  </a:lnTo>
                  <a:lnTo>
                    <a:pt x="0" y="0"/>
                  </a:lnTo>
                  <a:lnTo>
                    <a:pt x="9" y="4"/>
                  </a:lnTo>
                  <a:lnTo>
                    <a:pt x="9" y="4"/>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21" name="ïṡḷïḓè">
              <a:extLst>
                <a:ext uri="{FF2B5EF4-FFF2-40B4-BE49-F238E27FC236}">
                  <a16:creationId xmlns:a16="http://schemas.microsoft.com/office/drawing/2014/main" id="{CABFE7A1-4D5F-4B67-A71E-FE3C2B48C023}"/>
                </a:ext>
              </a:extLst>
            </p:cNvPr>
            <p:cNvSpPr/>
            <p:nvPr/>
          </p:nvSpPr>
          <p:spPr bwMode="auto">
            <a:xfrm>
              <a:off x="18126709" y="4363546"/>
              <a:ext cx="65692" cy="83941"/>
            </a:xfrm>
            <a:custGeom>
              <a:avLst/>
              <a:gdLst>
                <a:gd name="T0" fmla="*/ 11 w 18"/>
                <a:gd name="T1" fmla="*/ 3 h 23"/>
                <a:gd name="T2" fmla="*/ 18 w 18"/>
                <a:gd name="T3" fmla="*/ 23 h 23"/>
                <a:gd name="T4" fmla="*/ 7 w 18"/>
                <a:gd name="T5" fmla="*/ 21 h 23"/>
                <a:gd name="T6" fmla="*/ 0 w 18"/>
                <a:gd name="T7" fmla="*/ 0 h 23"/>
                <a:gd name="T8" fmla="*/ 11 w 18"/>
                <a:gd name="T9" fmla="*/ 3 h 23"/>
                <a:gd name="T10" fmla="*/ 11 w 18"/>
                <a:gd name="T11" fmla="*/ 3 h 23"/>
              </a:gdLst>
              <a:ahLst/>
              <a:cxnLst>
                <a:cxn ang="0">
                  <a:pos x="T0" y="T1"/>
                </a:cxn>
                <a:cxn ang="0">
                  <a:pos x="T2" y="T3"/>
                </a:cxn>
                <a:cxn ang="0">
                  <a:pos x="T4" y="T5"/>
                </a:cxn>
                <a:cxn ang="0">
                  <a:pos x="T6" y="T7"/>
                </a:cxn>
                <a:cxn ang="0">
                  <a:pos x="T8" y="T9"/>
                </a:cxn>
                <a:cxn ang="0">
                  <a:pos x="T10" y="T11"/>
                </a:cxn>
              </a:cxnLst>
              <a:rect l="0" t="0" r="r" b="b"/>
              <a:pathLst>
                <a:path w="18" h="23">
                  <a:moveTo>
                    <a:pt x="11" y="3"/>
                  </a:moveTo>
                  <a:lnTo>
                    <a:pt x="18" y="23"/>
                  </a:lnTo>
                  <a:lnTo>
                    <a:pt x="7" y="21"/>
                  </a:lnTo>
                  <a:lnTo>
                    <a:pt x="0" y="0"/>
                  </a:lnTo>
                  <a:lnTo>
                    <a:pt x="11" y="3"/>
                  </a:lnTo>
                  <a:lnTo>
                    <a:pt x="11" y="3"/>
                  </a:lnTo>
                  <a:close/>
                </a:path>
              </a:pathLst>
            </a:custGeom>
            <a:solidFill>
              <a:srgbClr val="BC15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22" name="i$ḻíḑê">
              <a:extLst>
                <a:ext uri="{FF2B5EF4-FFF2-40B4-BE49-F238E27FC236}">
                  <a16:creationId xmlns:a16="http://schemas.microsoft.com/office/drawing/2014/main" id="{3E5C3795-B083-4471-9C0A-54BBD2AB8315}"/>
                </a:ext>
              </a:extLst>
            </p:cNvPr>
            <p:cNvSpPr/>
            <p:nvPr/>
          </p:nvSpPr>
          <p:spPr bwMode="auto">
            <a:xfrm>
              <a:off x="17732555" y="3954794"/>
              <a:ext cx="689772" cy="456198"/>
            </a:xfrm>
            <a:custGeom>
              <a:avLst/>
              <a:gdLst>
                <a:gd name="T0" fmla="*/ 166 w 189"/>
                <a:gd name="T1" fmla="*/ 76 h 125"/>
                <a:gd name="T2" fmla="*/ 168 w 189"/>
                <a:gd name="T3" fmla="*/ 84 h 125"/>
                <a:gd name="T4" fmla="*/ 155 w 189"/>
                <a:gd name="T5" fmla="*/ 87 h 125"/>
                <a:gd name="T6" fmla="*/ 154 w 189"/>
                <a:gd name="T7" fmla="*/ 96 h 125"/>
                <a:gd name="T8" fmla="*/ 141 w 189"/>
                <a:gd name="T9" fmla="*/ 97 h 125"/>
                <a:gd name="T10" fmla="*/ 137 w 189"/>
                <a:gd name="T11" fmla="*/ 106 h 125"/>
                <a:gd name="T12" fmla="*/ 125 w 189"/>
                <a:gd name="T13" fmla="*/ 106 h 125"/>
                <a:gd name="T14" fmla="*/ 119 w 189"/>
                <a:gd name="T15" fmla="*/ 115 h 125"/>
                <a:gd name="T16" fmla="*/ 108 w 189"/>
                <a:gd name="T17" fmla="*/ 112 h 125"/>
                <a:gd name="T18" fmla="*/ 99 w 189"/>
                <a:gd name="T19" fmla="*/ 121 h 125"/>
                <a:gd name="T20" fmla="*/ 90 w 189"/>
                <a:gd name="T21" fmla="*/ 117 h 125"/>
                <a:gd name="T22" fmla="*/ 79 w 189"/>
                <a:gd name="T23" fmla="*/ 124 h 125"/>
                <a:gd name="T24" fmla="*/ 72 w 189"/>
                <a:gd name="T25" fmla="*/ 119 h 125"/>
                <a:gd name="T26" fmla="*/ 60 w 189"/>
                <a:gd name="T27" fmla="*/ 125 h 125"/>
                <a:gd name="T28" fmla="*/ 56 w 189"/>
                <a:gd name="T29" fmla="*/ 119 h 125"/>
                <a:gd name="T30" fmla="*/ 43 w 189"/>
                <a:gd name="T31" fmla="*/ 124 h 125"/>
                <a:gd name="T32" fmla="*/ 41 w 189"/>
                <a:gd name="T33" fmla="*/ 116 h 125"/>
                <a:gd name="T34" fmla="*/ 28 w 189"/>
                <a:gd name="T35" fmla="*/ 119 h 125"/>
                <a:gd name="T36" fmla="*/ 28 w 189"/>
                <a:gd name="T37" fmla="*/ 110 h 125"/>
                <a:gd name="T38" fmla="*/ 15 w 189"/>
                <a:gd name="T39" fmla="*/ 112 h 125"/>
                <a:gd name="T40" fmla="*/ 19 w 189"/>
                <a:gd name="T41" fmla="*/ 103 h 125"/>
                <a:gd name="T42" fmla="*/ 6 w 189"/>
                <a:gd name="T43" fmla="*/ 103 h 125"/>
                <a:gd name="T44" fmla="*/ 12 w 189"/>
                <a:gd name="T45" fmla="*/ 94 h 125"/>
                <a:gd name="T46" fmla="*/ 1 w 189"/>
                <a:gd name="T47" fmla="*/ 92 h 125"/>
                <a:gd name="T48" fmla="*/ 10 w 189"/>
                <a:gd name="T49" fmla="*/ 84 h 125"/>
                <a:gd name="T50" fmla="*/ 0 w 189"/>
                <a:gd name="T51" fmla="*/ 80 h 125"/>
                <a:gd name="T52" fmla="*/ 11 w 189"/>
                <a:gd name="T53" fmla="*/ 73 h 125"/>
                <a:gd name="T54" fmla="*/ 4 w 189"/>
                <a:gd name="T55" fmla="*/ 67 h 125"/>
                <a:gd name="T56" fmla="*/ 15 w 189"/>
                <a:gd name="T57" fmla="*/ 61 h 125"/>
                <a:gd name="T58" fmla="*/ 11 w 189"/>
                <a:gd name="T59" fmla="*/ 54 h 125"/>
                <a:gd name="T60" fmla="*/ 24 w 189"/>
                <a:gd name="T61" fmla="*/ 49 h 125"/>
                <a:gd name="T62" fmla="*/ 22 w 189"/>
                <a:gd name="T63" fmla="*/ 41 h 125"/>
                <a:gd name="T64" fmla="*/ 35 w 189"/>
                <a:gd name="T65" fmla="*/ 38 h 125"/>
                <a:gd name="T66" fmla="*/ 36 w 189"/>
                <a:gd name="T67" fmla="*/ 30 h 125"/>
                <a:gd name="T68" fmla="*/ 49 w 189"/>
                <a:gd name="T69" fmla="*/ 28 h 125"/>
                <a:gd name="T70" fmla="*/ 52 w 189"/>
                <a:gd name="T71" fmla="*/ 19 h 125"/>
                <a:gd name="T72" fmla="*/ 65 w 189"/>
                <a:gd name="T73" fmla="*/ 19 h 125"/>
                <a:gd name="T74" fmla="*/ 71 w 189"/>
                <a:gd name="T75" fmla="*/ 11 h 125"/>
                <a:gd name="T76" fmla="*/ 82 w 189"/>
                <a:gd name="T77" fmla="*/ 13 h 125"/>
                <a:gd name="T78" fmla="*/ 91 w 189"/>
                <a:gd name="T79" fmla="*/ 5 h 125"/>
                <a:gd name="T80" fmla="*/ 100 w 189"/>
                <a:gd name="T81" fmla="*/ 9 h 125"/>
                <a:gd name="T82" fmla="*/ 110 w 189"/>
                <a:gd name="T83" fmla="*/ 1 h 125"/>
                <a:gd name="T84" fmla="*/ 118 w 189"/>
                <a:gd name="T85" fmla="*/ 7 h 125"/>
                <a:gd name="T86" fmla="*/ 130 w 189"/>
                <a:gd name="T87" fmla="*/ 0 h 125"/>
                <a:gd name="T88" fmla="*/ 134 w 189"/>
                <a:gd name="T89" fmla="*/ 7 h 125"/>
                <a:gd name="T90" fmla="*/ 147 w 189"/>
                <a:gd name="T91" fmla="*/ 2 h 125"/>
                <a:gd name="T92" fmla="*/ 149 w 189"/>
                <a:gd name="T93" fmla="*/ 10 h 125"/>
                <a:gd name="T94" fmla="*/ 163 w 189"/>
                <a:gd name="T95" fmla="*/ 7 h 125"/>
                <a:gd name="T96" fmla="*/ 162 w 189"/>
                <a:gd name="T97" fmla="*/ 15 h 125"/>
                <a:gd name="T98" fmla="*/ 175 w 189"/>
                <a:gd name="T99" fmla="*/ 13 h 125"/>
                <a:gd name="T100" fmla="*/ 171 w 189"/>
                <a:gd name="T101" fmla="*/ 22 h 125"/>
                <a:gd name="T102" fmla="*/ 184 w 189"/>
                <a:gd name="T103" fmla="*/ 23 h 125"/>
                <a:gd name="T104" fmla="*/ 177 w 189"/>
                <a:gd name="T105" fmla="*/ 31 h 125"/>
                <a:gd name="T106" fmla="*/ 189 w 189"/>
                <a:gd name="T107" fmla="*/ 33 h 125"/>
                <a:gd name="T108" fmla="*/ 180 w 189"/>
                <a:gd name="T109" fmla="*/ 42 h 125"/>
                <a:gd name="T110" fmla="*/ 189 w 189"/>
                <a:gd name="T111" fmla="*/ 45 h 125"/>
                <a:gd name="T112" fmla="*/ 179 w 189"/>
                <a:gd name="T113" fmla="*/ 53 h 125"/>
                <a:gd name="T114" fmla="*/ 186 w 189"/>
                <a:gd name="T115" fmla="*/ 58 h 125"/>
                <a:gd name="T116" fmla="*/ 174 w 189"/>
                <a:gd name="T117" fmla="*/ 64 h 125"/>
                <a:gd name="T118" fmla="*/ 179 w 189"/>
                <a:gd name="T119" fmla="*/ 71 h 125"/>
                <a:gd name="T120" fmla="*/ 166 w 189"/>
                <a:gd name="T121" fmla="*/ 76 h 125"/>
                <a:gd name="T122" fmla="*/ 166 w 189"/>
                <a:gd name="T123" fmla="*/ 7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 h="125">
                  <a:moveTo>
                    <a:pt x="166" y="76"/>
                  </a:moveTo>
                  <a:lnTo>
                    <a:pt x="168" y="84"/>
                  </a:lnTo>
                  <a:lnTo>
                    <a:pt x="155" y="87"/>
                  </a:lnTo>
                  <a:lnTo>
                    <a:pt x="154" y="96"/>
                  </a:lnTo>
                  <a:lnTo>
                    <a:pt x="141" y="97"/>
                  </a:lnTo>
                  <a:lnTo>
                    <a:pt x="137" y="106"/>
                  </a:lnTo>
                  <a:lnTo>
                    <a:pt x="125" y="106"/>
                  </a:lnTo>
                  <a:lnTo>
                    <a:pt x="119" y="115"/>
                  </a:lnTo>
                  <a:lnTo>
                    <a:pt x="108" y="112"/>
                  </a:lnTo>
                  <a:lnTo>
                    <a:pt x="99" y="121"/>
                  </a:lnTo>
                  <a:lnTo>
                    <a:pt x="90" y="117"/>
                  </a:lnTo>
                  <a:lnTo>
                    <a:pt x="79" y="124"/>
                  </a:lnTo>
                  <a:lnTo>
                    <a:pt x="72" y="119"/>
                  </a:lnTo>
                  <a:lnTo>
                    <a:pt x="60" y="125"/>
                  </a:lnTo>
                  <a:lnTo>
                    <a:pt x="56" y="119"/>
                  </a:lnTo>
                  <a:lnTo>
                    <a:pt x="43" y="124"/>
                  </a:lnTo>
                  <a:lnTo>
                    <a:pt x="41" y="116"/>
                  </a:lnTo>
                  <a:lnTo>
                    <a:pt x="28" y="119"/>
                  </a:lnTo>
                  <a:lnTo>
                    <a:pt x="28" y="110"/>
                  </a:lnTo>
                  <a:lnTo>
                    <a:pt x="15" y="112"/>
                  </a:lnTo>
                  <a:lnTo>
                    <a:pt x="19" y="103"/>
                  </a:lnTo>
                  <a:lnTo>
                    <a:pt x="6" y="103"/>
                  </a:lnTo>
                  <a:lnTo>
                    <a:pt x="12" y="94"/>
                  </a:lnTo>
                  <a:lnTo>
                    <a:pt x="1" y="92"/>
                  </a:lnTo>
                  <a:lnTo>
                    <a:pt x="10" y="84"/>
                  </a:lnTo>
                  <a:lnTo>
                    <a:pt x="0" y="80"/>
                  </a:lnTo>
                  <a:lnTo>
                    <a:pt x="11" y="73"/>
                  </a:lnTo>
                  <a:lnTo>
                    <a:pt x="4" y="67"/>
                  </a:lnTo>
                  <a:lnTo>
                    <a:pt x="15" y="61"/>
                  </a:lnTo>
                  <a:lnTo>
                    <a:pt x="11" y="54"/>
                  </a:lnTo>
                  <a:lnTo>
                    <a:pt x="24" y="49"/>
                  </a:lnTo>
                  <a:lnTo>
                    <a:pt x="22" y="41"/>
                  </a:lnTo>
                  <a:lnTo>
                    <a:pt x="35" y="38"/>
                  </a:lnTo>
                  <a:lnTo>
                    <a:pt x="36" y="30"/>
                  </a:lnTo>
                  <a:lnTo>
                    <a:pt x="49" y="28"/>
                  </a:lnTo>
                  <a:lnTo>
                    <a:pt x="52" y="19"/>
                  </a:lnTo>
                  <a:lnTo>
                    <a:pt x="65" y="19"/>
                  </a:lnTo>
                  <a:lnTo>
                    <a:pt x="71" y="11"/>
                  </a:lnTo>
                  <a:lnTo>
                    <a:pt x="82" y="13"/>
                  </a:lnTo>
                  <a:lnTo>
                    <a:pt x="91" y="5"/>
                  </a:lnTo>
                  <a:lnTo>
                    <a:pt x="100" y="9"/>
                  </a:lnTo>
                  <a:lnTo>
                    <a:pt x="110" y="1"/>
                  </a:lnTo>
                  <a:lnTo>
                    <a:pt x="118" y="7"/>
                  </a:lnTo>
                  <a:lnTo>
                    <a:pt x="130" y="0"/>
                  </a:lnTo>
                  <a:lnTo>
                    <a:pt x="134" y="7"/>
                  </a:lnTo>
                  <a:lnTo>
                    <a:pt x="147" y="2"/>
                  </a:lnTo>
                  <a:lnTo>
                    <a:pt x="149" y="10"/>
                  </a:lnTo>
                  <a:lnTo>
                    <a:pt x="163" y="7"/>
                  </a:lnTo>
                  <a:lnTo>
                    <a:pt x="162" y="15"/>
                  </a:lnTo>
                  <a:lnTo>
                    <a:pt x="175" y="13"/>
                  </a:lnTo>
                  <a:lnTo>
                    <a:pt x="171" y="22"/>
                  </a:lnTo>
                  <a:lnTo>
                    <a:pt x="184" y="23"/>
                  </a:lnTo>
                  <a:lnTo>
                    <a:pt x="177" y="31"/>
                  </a:lnTo>
                  <a:lnTo>
                    <a:pt x="189" y="33"/>
                  </a:lnTo>
                  <a:lnTo>
                    <a:pt x="180" y="42"/>
                  </a:lnTo>
                  <a:lnTo>
                    <a:pt x="189" y="45"/>
                  </a:lnTo>
                  <a:lnTo>
                    <a:pt x="179" y="53"/>
                  </a:lnTo>
                  <a:lnTo>
                    <a:pt x="186" y="58"/>
                  </a:lnTo>
                  <a:lnTo>
                    <a:pt x="174" y="64"/>
                  </a:lnTo>
                  <a:lnTo>
                    <a:pt x="179" y="71"/>
                  </a:lnTo>
                  <a:lnTo>
                    <a:pt x="166" y="76"/>
                  </a:lnTo>
                  <a:lnTo>
                    <a:pt x="166" y="76"/>
                  </a:lnTo>
                  <a:close/>
                </a:path>
              </a:pathLst>
            </a:custGeom>
            <a:solidFill>
              <a:srgbClr val="E8370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23" name="ïṣḷide">
              <a:extLst>
                <a:ext uri="{FF2B5EF4-FFF2-40B4-BE49-F238E27FC236}">
                  <a16:creationId xmlns:a16="http://schemas.microsoft.com/office/drawing/2014/main" id="{5B14DDD0-AD40-4197-9359-7D10F0E149B9}"/>
                </a:ext>
              </a:extLst>
            </p:cNvPr>
            <p:cNvSpPr/>
            <p:nvPr/>
          </p:nvSpPr>
          <p:spPr bwMode="auto">
            <a:xfrm>
              <a:off x="18166853" y="4341649"/>
              <a:ext cx="47446" cy="105839"/>
            </a:xfrm>
            <a:custGeom>
              <a:avLst/>
              <a:gdLst>
                <a:gd name="T0" fmla="*/ 6 w 13"/>
                <a:gd name="T1" fmla="*/ 0 h 29"/>
                <a:gd name="T2" fmla="*/ 13 w 13"/>
                <a:gd name="T3" fmla="*/ 21 h 29"/>
                <a:gd name="T4" fmla="*/ 7 w 13"/>
                <a:gd name="T5" fmla="*/ 29 h 29"/>
                <a:gd name="T6" fmla="*/ 0 w 13"/>
                <a:gd name="T7" fmla="*/ 9 h 29"/>
                <a:gd name="T8" fmla="*/ 6 w 13"/>
                <a:gd name="T9" fmla="*/ 0 h 29"/>
                <a:gd name="T10" fmla="*/ 6 w 13"/>
                <a:gd name="T11" fmla="*/ 0 h 29"/>
              </a:gdLst>
              <a:ahLst/>
              <a:cxnLst>
                <a:cxn ang="0">
                  <a:pos x="T0" y="T1"/>
                </a:cxn>
                <a:cxn ang="0">
                  <a:pos x="T2" y="T3"/>
                </a:cxn>
                <a:cxn ang="0">
                  <a:pos x="T4" y="T5"/>
                </a:cxn>
                <a:cxn ang="0">
                  <a:pos x="T6" y="T7"/>
                </a:cxn>
                <a:cxn ang="0">
                  <a:pos x="T8" y="T9"/>
                </a:cxn>
                <a:cxn ang="0">
                  <a:pos x="T10" y="T11"/>
                </a:cxn>
              </a:cxnLst>
              <a:rect l="0" t="0" r="r" b="b"/>
              <a:pathLst>
                <a:path w="13" h="29">
                  <a:moveTo>
                    <a:pt x="6" y="0"/>
                  </a:moveTo>
                  <a:lnTo>
                    <a:pt x="13" y="21"/>
                  </a:lnTo>
                  <a:lnTo>
                    <a:pt x="7" y="29"/>
                  </a:lnTo>
                  <a:lnTo>
                    <a:pt x="0" y="9"/>
                  </a:lnTo>
                  <a:lnTo>
                    <a:pt x="6" y="0"/>
                  </a:lnTo>
                  <a:lnTo>
                    <a:pt x="6" y="0"/>
                  </a:ln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24" name="îṥļídé">
              <a:extLst>
                <a:ext uri="{FF2B5EF4-FFF2-40B4-BE49-F238E27FC236}">
                  <a16:creationId xmlns:a16="http://schemas.microsoft.com/office/drawing/2014/main" id="{F987B7F5-4C12-470D-A1F2-2E2BA6C12974}"/>
                </a:ext>
              </a:extLst>
            </p:cNvPr>
            <p:cNvSpPr/>
            <p:nvPr/>
          </p:nvSpPr>
          <p:spPr bwMode="auto">
            <a:xfrm>
              <a:off x="15780028" y="1451184"/>
              <a:ext cx="3916000" cy="4744450"/>
            </a:xfrm>
            <a:custGeom>
              <a:avLst/>
              <a:gdLst>
                <a:gd name="T0" fmla="*/ 2684 w 2756"/>
                <a:gd name="T1" fmla="*/ 277 h 3346"/>
                <a:gd name="T2" fmla="*/ 2712 w 2756"/>
                <a:gd name="T3" fmla="*/ 287 h 3346"/>
                <a:gd name="T4" fmla="*/ 2718 w 2756"/>
                <a:gd name="T5" fmla="*/ 212 h 3346"/>
                <a:gd name="T6" fmla="*/ 2687 w 2756"/>
                <a:gd name="T7" fmla="*/ 256 h 3346"/>
                <a:gd name="T8" fmla="*/ 2653 w 2756"/>
                <a:gd name="T9" fmla="*/ 303 h 3346"/>
                <a:gd name="T10" fmla="*/ 2611 w 2756"/>
                <a:gd name="T11" fmla="*/ 331 h 3346"/>
                <a:gd name="T12" fmla="*/ 2591 w 2756"/>
                <a:gd name="T13" fmla="*/ 319 h 3346"/>
                <a:gd name="T14" fmla="*/ 2733 w 2756"/>
                <a:gd name="T15" fmla="*/ 174 h 3346"/>
                <a:gd name="T16" fmla="*/ 2751 w 2756"/>
                <a:gd name="T17" fmla="*/ 376 h 3346"/>
                <a:gd name="T18" fmla="*/ 2708 w 2756"/>
                <a:gd name="T19" fmla="*/ 341 h 3346"/>
                <a:gd name="T20" fmla="*/ 2700 w 2756"/>
                <a:gd name="T21" fmla="*/ 319 h 3346"/>
                <a:gd name="T22" fmla="*/ 2653 w 2756"/>
                <a:gd name="T23" fmla="*/ 303 h 3346"/>
                <a:gd name="T24" fmla="*/ 102 w 2756"/>
                <a:gd name="T25" fmla="*/ 197 h 3346"/>
                <a:gd name="T26" fmla="*/ 148 w 2756"/>
                <a:gd name="T27" fmla="*/ 150 h 3346"/>
                <a:gd name="T28" fmla="*/ 83 w 2756"/>
                <a:gd name="T29" fmla="*/ 138 h 3346"/>
                <a:gd name="T30" fmla="*/ 94 w 2756"/>
                <a:gd name="T31" fmla="*/ 97 h 3346"/>
                <a:gd name="T32" fmla="*/ 79 w 2756"/>
                <a:gd name="T33" fmla="*/ 49 h 3346"/>
                <a:gd name="T34" fmla="*/ 73 w 2756"/>
                <a:gd name="T35" fmla="*/ 104 h 3346"/>
                <a:gd name="T36" fmla="*/ 159 w 2756"/>
                <a:gd name="T37" fmla="*/ 46 h 3346"/>
                <a:gd name="T38" fmla="*/ 198 w 2756"/>
                <a:gd name="T39" fmla="*/ 137 h 3346"/>
                <a:gd name="T40" fmla="*/ 66 w 2756"/>
                <a:gd name="T41" fmla="*/ 244 h 3346"/>
                <a:gd name="T42" fmla="*/ 0 w 2756"/>
                <a:gd name="T43" fmla="*/ 39 h 3346"/>
                <a:gd name="T44" fmla="*/ 71 w 2756"/>
                <a:gd name="T45" fmla="*/ 13 h 3346"/>
                <a:gd name="T46" fmla="*/ 2241 w 2756"/>
                <a:gd name="T47" fmla="*/ 3153 h 3346"/>
                <a:gd name="T48" fmla="*/ 2338 w 2756"/>
                <a:gd name="T49" fmla="*/ 3173 h 3346"/>
                <a:gd name="T50" fmla="*/ 2296 w 2756"/>
                <a:gd name="T51" fmla="*/ 3246 h 3346"/>
                <a:gd name="T52" fmla="*/ 2251 w 2756"/>
                <a:gd name="T53" fmla="*/ 3042 h 3346"/>
                <a:gd name="T54" fmla="*/ 2319 w 2756"/>
                <a:gd name="T55" fmla="*/ 3115 h 3346"/>
                <a:gd name="T56" fmla="*/ 2259 w 2756"/>
                <a:gd name="T57" fmla="*/ 3079 h 3346"/>
                <a:gd name="T58" fmla="*/ 461 w 2756"/>
                <a:gd name="T59" fmla="*/ 3255 h 3346"/>
                <a:gd name="T60" fmla="*/ 643 w 2756"/>
                <a:gd name="T61" fmla="*/ 3255 h 3346"/>
                <a:gd name="T62" fmla="*/ 746 w 2756"/>
                <a:gd name="T63" fmla="*/ 622 h 3346"/>
                <a:gd name="T64" fmla="*/ 746 w 2756"/>
                <a:gd name="T65" fmla="*/ 769 h 3346"/>
                <a:gd name="T66" fmla="*/ 746 w 2756"/>
                <a:gd name="T67" fmla="*/ 622 h 3346"/>
                <a:gd name="T68" fmla="*/ 2601 w 2756"/>
                <a:gd name="T69" fmla="*/ 3263 h 3346"/>
                <a:gd name="T70" fmla="*/ 2747 w 2756"/>
                <a:gd name="T71" fmla="*/ 3263 h 3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56" h="3346">
                  <a:moveTo>
                    <a:pt x="2674" y="274"/>
                  </a:moveTo>
                  <a:cubicBezTo>
                    <a:pt x="2677" y="275"/>
                    <a:pt x="2681" y="276"/>
                    <a:pt x="2684" y="277"/>
                  </a:cubicBezTo>
                  <a:cubicBezTo>
                    <a:pt x="2703" y="284"/>
                    <a:pt x="2703" y="284"/>
                    <a:pt x="2703" y="284"/>
                  </a:cubicBezTo>
                  <a:cubicBezTo>
                    <a:pt x="2705" y="285"/>
                    <a:pt x="2709" y="286"/>
                    <a:pt x="2712" y="287"/>
                  </a:cubicBezTo>
                  <a:cubicBezTo>
                    <a:pt x="2713" y="270"/>
                    <a:pt x="2713" y="270"/>
                    <a:pt x="2713" y="270"/>
                  </a:cubicBezTo>
                  <a:cubicBezTo>
                    <a:pt x="2714" y="254"/>
                    <a:pt x="2716" y="231"/>
                    <a:pt x="2718" y="212"/>
                  </a:cubicBezTo>
                  <a:cubicBezTo>
                    <a:pt x="2716" y="212"/>
                    <a:pt x="2716" y="212"/>
                    <a:pt x="2716" y="212"/>
                  </a:cubicBezTo>
                  <a:cubicBezTo>
                    <a:pt x="2709" y="225"/>
                    <a:pt x="2696" y="243"/>
                    <a:pt x="2687" y="256"/>
                  </a:cubicBezTo>
                  <a:cubicBezTo>
                    <a:pt x="2674" y="274"/>
                    <a:pt x="2674" y="274"/>
                    <a:pt x="2674" y="274"/>
                  </a:cubicBezTo>
                  <a:close/>
                  <a:moveTo>
                    <a:pt x="2653" y="303"/>
                  </a:moveTo>
                  <a:cubicBezTo>
                    <a:pt x="2629" y="336"/>
                    <a:pt x="2629" y="336"/>
                    <a:pt x="2629" y="336"/>
                  </a:cubicBezTo>
                  <a:cubicBezTo>
                    <a:pt x="2623" y="335"/>
                    <a:pt x="2617" y="334"/>
                    <a:pt x="2611" y="331"/>
                  </a:cubicBezTo>
                  <a:cubicBezTo>
                    <a:pt x="2604" y="329"/>
                    <a:pt x="2596" y="325"/>
                    <a:pt x="2592" y="321"/>
                  </a:cubicBezTo>
                  <a:cubicBezTo>
                    <a:pt x="2591" y="319"/>
                    <a:pt x="2591" y="319"/>
                    <a:pt x="2591" y="319"/>
                  </a:cubicBezTo>
                  <a:cubicBezTo>
                    <a:pt x="2709" y="167"/>
                    <a:pt x="2709" y="167"/>
                    <a:pt x="2709" y="167"/>
                  </a:cubicBezTo>
                  <a:cubicBezTo>
                    <a:pt x="2716" y="168"/>
                    <a:pt x="2726" y="171"/>
                    <a:pt x="2733" y="174"/>
                  </a:cubicBezTo>
                  <a:cubicBezTo>
                    <a:pt x="2740" y="176"/>
                    <a:pt x="2750" y="180"/>
                    <a:pt x="2756" y="184"/>
                  </a:cubicBezTo>
                  <a:cubicBezTo>
                    <a:pt x="2751" y="376"/>
                    <a:pt x="2751" y="376"/>
                    <a:pt x="2751" y="376"/>
                  </a:cubicBezTo>
                  <a:cubicBezTo>
                    <a:pt x="2744" y="377"/>
                    <a:pt x="2733" y="375"/>
                    <a:pt x="2725" y="373"/>
                  </a:cubicBezTo>
                  <a:cubicBezTo>
                    <a:pt x="2712" y="368"/>
                    <a:pt x="2707" y="361"/>
                    <a:pt x="2708" y="341"/>
                  </a:cubicBezTo>
                  <a:cubicBezTo>
                    <a:pt x="2710" y="323"/>
                    <a:pt x="2710" y="323"/>
                    <a:pt x="2710" y="323"/>
                  </a:cubicBezTo>
                  <a:cubicBezTo>
                    <a:pt x="2706" y="322"/>
                    <a:pt x="2702" y="320"/>
                    <a:pt x="2700" y="319"/>
                  </a:cubicBezTo>
                  <a:cubicBezTo>
                    <a:pt x="2663" y="307"/>
                    <a:pt x="2663" y="307"/>
                    <a:pt x="2663" y="307"/>
                  </a:cubicBezTo>
                  <a:cubicBezTo>
                    <a:pt x="2660" y="305"/>
                    <a:pt x="2656" y="304"/>
                    <a:pt x="2653" y="303"/>
                  </a:cubicBezTo>
                  <a:close/>
                  <a:moveTo>
                    <a:pt x="83" y="138"/>
                  </a:moveTo>
                  <a:cubicBezTo>
                    <a:pt x="102" y="197"/>
                    <a:pt x="102" y="197"/>
                    <a:pt x="102" y="197"/>
                  </a:cubicBezTo>
                  <a:cubicBezTo>
                    <a:pt x="111" y="194"/>
                    <a:pt x="121" y="191"/>
                    <a:pt x="127" y="189"/>
                  </a:cubicBezTo>
                  <a:cubicBezTo>
                    <a:pt x="152" y="181"/>
                    <a:pt x="152" y="163"/>
                    <a:pt x="148" y="150"/>
                  </a:cubicBezTo>
                  <a:cubicBezTo>
                    <a:pt x="144" y="137"/>
                    <a:pt x="133" y="123"/>
                    <a:pt x="108" y="130"/>
                  </a:cubicBezTo>
                  <a:cubicBezTo>
                    <a:pt x="83" y="138"/>
                    <a:pt x="83" y="138"/>
                    <a:pt x="83" y="138"/>
                  </a:cubicBezTo>
                  <a:close/>
                  <a:moveTo>
                    <a:pt x="73" y="104"/>
                  </a:moveTo>
                  <a:cubicBezTo>
                    <a:pt x="94" y="97"/>
                    <a:pt x="94" y="97"/>
                    <a:pt x="94" y="97"/>
                  </a:cubicBezTo>
                  <a:cubicBezTo>
                    <a:pt x="115" y="91"/>
                    <a:pt x="116" y="76"/>
                    <a:pt x="113" y="64"/>
                  </a:cubicBezTo>
                  <a:cubicBezTo>
                    <a:pt x="109" y="53"/>
                    <a:pt x="100" y="42"/>
                    <a:pt x="79" y="49"/>
                  </a:cubicBezTo>
                  <a:cubicBezTo>
                    <a:pt x="74" y="50"/>
                    <a:pt x="65" y="53"/>
                    <a:pt x="58" y="55"/>
                  </a:cubicBezTo>
                  <a:cubicBezTo>
                    <a:pt x="73" y="104"/>
                    <a:pt x="73" y="104"/>
                    <a:pt x="73" y="104"/>
                  </a:cubicBezTo>
                  <a:close/>
                  <a:moveTo>
                    <a:pt x="71" y="13"/>
                  </a:moveTo>
                  <a:cubicBezTo>
                    <a:pt x="113" y="0"/>
                    <a:pt x="147" y="8"/>
                    <a:pt x="159" y="46"/>
                  </a:cubicBezTo>
                  <a:cubicBezTo>
                    <a:pt x="164" y="64"/>
                    <a:pt x="158" y="85"/>
                    <a:pt x="145" y="96"/>
                  </a:cubicBezTo>
                  <a:cubicBezTo>
                    <a:pt x="167" y="96"/>
                    <a:pt x="190" y="113"/>
                    <a:pt x="198" y="137"/>
                  </a:cubicBezTo>
                  <a:cubicBezTo>
                    <a:pt x="211" y="180"/>
                    <a:pt x="187" y="207"/>
                    <a:pt x="141" y="222"/>
                  </a:cubicBezTo>
                  <a:cubicBezTo>
                    <a:pt x="118" y="229"/>
                    <a:pt x="92" y="236"/>
                    <a:pt x="66" y="244"/>
                  </a:cubicBezTo>
                  <a:cubicBezTo>
                    <a:pt x="63" y="242"/>
                    <a:pt x="63" y="242"/>
                    <a:pt x="63" y="242"/>
                  </a:cubicBezTo>
                  <a:cubicBezTo>
                    <a:pt x="0" y="39"/>
                    <a:pt x="0" y="39"/>
                    <a:pt x="0" y="39"/>
                  </a:cubicBezTo>
                  <a:cubicBezTo>
                    <a:pt x="2" y="36"/>
                    <a:pt x="2" y="36"/>
                    <a:pt x="2" y="36"/>
                  </a:cubicBezTo>
                  <a:cubicBezTo>
                    <a:pt x="26" y="28"/>
                    <a:pt x="49" y="20"/>
                    <a:pt x="71" y="13"/>
                  </a:cubicBezTo>
                  <a:close/>
                  <a:moveTo>
                    <a:pt x="2259" y="3079"/>
                  </a:moveTo>
                  <a:cubicBezTo>
                    <a:pt x="2234" y="3085"/>
                    <a:pt x="2231" y="3110"/>
                    <a:pt x="2241" y="3153"/>
                  </a:cubicBezTo>
                  <a:cubicBezTo>
                    <a:pt x="2251" y="3194"/>
                    <a:pt x="2270" y="3211"/>
                    <a:pt x="2295" y="3205"/>
                  </a:cubicBezTo>
                  <a:cubicBezTo>
                    <a:pt x="2314" y="3200"/>
                    <a:pt x="2327" y="3186"/>
                    <a:pt x="2338" y="3173"/>
                  </a:cubicBezTo>
                  <a:cubicBezTo>
                    <a:pt x="2349" y="3177"/>
                    <a:pt x="2361" y="3187"/>
                    <a:pt x="2366" y="3197"/>
                  </a:cubicBezTo>
                  <a:cubicBezTo>
                    <a:pt x="2354" y="3217"/>
                    <a:pt x="2327" y="3239"/>
                    <a:pt x="2296" y="3246"/>
                  </a:cubicBezTo>
                  <a:cubicBezTo>
                    <a:pt x="2236" y="3261"/>
                    <a:pt x="2205" y="3214"/>
                    <a:pt x="2193" y="3165"/>
                  </a:cubicBezTo>
                  <a:cubicBezTo>
                    <a:pt x="2176" y="3093"/>
                    <a:pt x="2206" y="3053"/>
                    <a:pt x="2251" y="3042"/>
                  </a:cubicBezTo>
                  <a:cubicBezTo>
                    <a:pt x="2295" y="3032"/>
                    <a:pt x="2331" y="3050"/>
                    <a:pt x="2339" y="3084"/>
                  </a:cubicBezTo>
                  <a:cubicBezTo>
                    <a:pt x="2343" y="3102"/>
                    <a:pt x="2335" y="3111"/>
                    <a:pt x="2319" y="3115"/>
                  </a:cubicBezTo>
                  <a:cubicBezTo>
                    <a:pt x="2312" y="3117"/>
                    <a:pt x="2307" y="3117"/>
                    <a:pt x="2301" y="3117"/>
                  </a:cubicBezTo>
                  <a:cubicBezTo>
                    <a:pt x="2296" y="3093"/>
                    <a:pt x="2284" y="3073"/>
                    <a:pt x="2259" y="3079"/>
                  </a:cubicBezTo>
                  <a:close/>
                  <a:moveTo>
                    <a:pt x="552" y="3163"/>
                  </a:moveTo>
                  <a:cubicBezTo>
                    <a:pt x="552" y="3214"/>
                    <a:pt x="511" y="3255"/>
                    <a:pt x="461" y="3255"/>
                  </a:cubicBezTo>
                  <a:cubicBezTo>
                    <a:pt x="511" y="3255"/>
                    <a:pt x="552" y="3296"/>
                    <a:pt x="552" y="3346"/>
                  </a:cubicBezTo>
                  <a:cubicBezTo>
                    <a:pt x="552" y="3296"/>
                    <a:pt x="593" y="3255"/>
                    <a:pt x="643" y="3255"/>
                  </a:cubicBezTo>
                  <a:cubicBezTo>
                    <a:pt x="593" y="3255"/>
                    <a:pt x="552" y="3214"/>
                    <a:pt x="552" y="3163"/>
                  </a:cubicBezTo>
                  <a:close/>
                  <a:moveTo>
                    <a:pt x="746" y="622"/>
                  </a:moveTo>
                  <a:cubicBezTo>
                    <a:pt x="746" y="663"/>
                    <a:pt x="713" y="695"/>
                    <a:pt x="673" y="695"/>
                  </a:cubicBezTo>
                  <a:cubicBezTo>
                    <a:pt x="713" y="695"/>
                    <a:pt x="746" y="728"/>
                    <a:pt x="746" y="769"/>
                  </a:cubicBezTo>
                  <a:cubicBezTo>
                    <a:pt x="746" y="728"/>
                    <a:pt x="779" y="695"/>
                    <a:pt x="819" y="695"/>
                  </a:cubicBezTo>
                  <a:cubicBezTo>
                    <a:pt x="779" y="695"/>
                    <a:pt x="746" y="663"/>
                    <a:pt x="746" y="622"/>
                  </a:cubicBezTo>
                  <a:close/>
                  <a:moveTo>
                    <a:pt x="2674" y="3189"/>
                  </a:moveTo>
                  <a:cubicBezTo>
                    <a:pt x="2674" y="3230"/>
                    <a:pt x="2641" y="3263"/>
                    <a:pt x="2601" y="3263"/>
                  </a:cubicBezTo>
                  <a:cubicBezTo>
                    <a:pt x="2641" y="3263"/>
                    <a:pt x="2674" y="3295"/>
                    <a:pt x="2674" y="3336"/>
                  </a:cubicBezTo>
                  <a:cubicBezTo>
                    <a:pt x="2674" y="3295"/>
                    <a:pt x="2707" y="3263"/>
                    <a:pt x="2747" y="3263"/>
                  </a:cubicBezTo>
                  <a:cubicBezTo>
                    <a:pt x="2707" y="3263"/>
                    <a:pt x="2674" y="3230"/>
                    <a:pt x="2674" y="3189"/>
                  </a:cubicBezTo>
                  <a:close/>
                </a:path>
              </a:pathLst>
            </a:custGeom>
            <a:noFill/>
            <a:ln w="7938"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125" name="iṡľíḑê">
              <a:extLst>
                <a:ext uri="{FF2B5EF4-FFF2-40B4-BE49-F238E27FC236}">
                  <a16:creationId xmlns:a16="http://schemas.microsoft.com/office/drawing/2014/main" id="{04D764C6-C9C0-45B1-B2E1-369A30B3A830}"/>
                </a:ext>
              </a:extLst>
            </p:cNvPr>
            <p:cNvSpPr/>
            <p:nvPr/>
          </p:nvSpPr>
          <p:spPr bwMode="auto">
            <a:xfrm>
              <a:off x="16473449" y="3710271"/>
              <a:ext cx="193429" cy="193429"/>
            </a:xfrm>
            <a:prstGeom prst="ellipse">
              <a:avLst/>
            </a:prstGeom>
            <a:solidFill>
              <a:schemeClr val="bg1">
                <a:lumMod val="65000"/>
              </a:schemeClr>
            </a:solidFill>
            <a:ln>
              <a:noFill/>
            </a:ln>
          </p:spPr>
          <p:txBody>
            <a:bodyPr anchor="ctr"/>
            <a:lstStyle/>
            <a:p>
              <a:pPr algn="ctr"/>
              <a:endParaRPr>
                <a:cs typeface="+mn-ea"/>
                <a:sym typeface="+mn-lt"/>
              </a:endParaRPr>
            </a:p>
          </p:txBody>
        </p:sp>
        <p:sp>
          <p:nvSpPr>
            <p:cNvPr id="126" name="íṣľíḋê">
              <a:extLst>
                <a:ext uri="{FF2B5EF4-FFF2-40B4-BE49-F238E27FC236}">
                  <a16:creationId xmlns:a16="http://schemas.microsoft.com/office/drawing/2014/main" id="{9B045F7E-1470-405D-ABC0-71809D1C312F}"/>
                </a:ext>
              </a:extLst>
            </p:cNvPr>
            <p:cNvSpPr/>
            <p:nvPr/>
          </p:nvSpPr>
          <p:spPr bwMode="auto">
            <a:xfrm>
              <a:off x="16498997" y="3717570"/>
              <a:ext cx="167881" cy="204376"/>
            </a:xfrm>
            <a:custGeom>
              <a:avLst/>
              <a:gdLst>
                <a:gd name="T0" fmla="*/ 74 w 117"/>
                <a:gd name="T1" fmla="*/ 0 h 144"/>
                <a:gd name="T2" fmla="*/ 93 w 117"/>
                <a:gd name="T3" fmla="*/ 47 h 144"/>
                <a:gd name="T4" fmla="*/ 25 w 117"/>
                <a:gd name="T5" fmla="*/ 115 h 144"/>
                <a:gd name="T6" fmla="*/ 0 w 117"/>
                <a:gd name="T7" fmla="*/ 110 h 144"/>
                <a:gd name="T8" fmla="*/ 7 w 117"/>
                <a:gd name="T9" fmla="*/ 116 h 144"/>
                <a:gd name="T10" fmla="*/ 49 w 117"/>
                <a:gd name="T11" fmla="*/ 144 h 144"/>
                <a:gd name="T12" fmla="*/ 84 w 117"/>
                <a:gd name="T13" fmla="*/ 121 h 144"/>
                <a:gd name="T14" fmla="*/ 117 w 117"/>
                <a:gd name="T15" fmla="*/ 63 h 144"/>
                <a:gd name="T16" fmla="*/ 74 w 117"/>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44">
                  <a:moveTo>
                    <a:pt x="74" y="0"/>
                  </a:moveTo>
                  <a:cubicBezTo>
                    <a:pt x="85" y="12"/>
                    <a:pt x="93" y="29"/>
                    <a:pt x="93" y="47"/>
                  </a:cubicBezTo>
                  <a:cubicBezTo>
                    <a:pt x="93" y="84"/>
                    <a:pt x="62" y="115"/>
                    <a:pt x="25" y="115"/>
                  </a:cubicBezTo>
                  <a:cubicBezTo>
                    <a:pt x="16" y="115"/>
                    <a:pt x="8" y="113"/>
                    <a:pt x="0" y="110"/>
                  </a:cubicBezTo>
                  <a:cubicBezTo>
                    <a:pt x="3" y="112"/>
                    <a:pt x="5" y="114"/>
                    <a:pt x="7" y="116"/>
                  </a:cubicBezTo>
                  <a:cubicBezTo>
                    <a:pt x="19" y="125"/>
                    <a:pt x="33" y="144"/>
                    <a:pt x="49" y="144"/>
                  </a:cubicBezTo>
                  <a:cubicBezTo>
                    <a:pt x="88" y="144"/>
                    <a:pt x="74" y="127"/>
                    <a:pt x="84" y="121"/>
                  </a:cubicBezTo>
                  <a:cubicBezTo>
                    <a:pt x="103" y="109"/>
                    <a:pt x="117" y="88"/>
                    <a:pt x="117" y="63"/>
                  </a:cubicBezTo>
                  <a:cubicBezTo>
                    <a:pt x="117" y="35"/>
                    <a:pt x="99" y="10"/>
                    <a:pt x="74" y="0"/>
                  </a:cubicBezTo>
                  <a:close/>
                </a:path>
              </a:pathLst>
            </a:custGeom>
            <a:solidFill>
              <a:schemeClr val="bg1">
                <a:lumMod val="65000"/>
              </a:schemeClr>
            </a:solidFill>
            <a:ln>
              <a:noFill/>
            </a:ln>
          </p:spPr>
          <p:txBody>
            <a:bodyPr anchor="ctr"/>
            <a:lstStyle/>
            <a:p>
              <a:pPr algn="ctr"/>
              <a:endParaRPr>
                <a:cs typeface="+mn-ea"/>
                <a:sym typeface="+mn-lt"/>
              </a:endParaRPr>
            </a:p>
          </p:txBody>
        </p:sp>
        <p:sp>
          <p:nvSpPr>
            <p:cNvPr id="127" name="îşḻiḓé">
              <a:extLst>
                <a:ext uri="{FF2B5EF4-FFF2-40B4-BE49-F238E27FC236}">
                  <a16:creationId xmlns:a16="http://schemas.microsoft.com/office/drawing/2014/main" id="{8B78CE8E-B7B6-4493-85E5-656010D11D04}"/>
                </a:ext>
              </a:extLst>
            </p:cNvPr>
            <p:cNvSpPr/>
            <p:nvPr/>
          </p:nvSpPr>
          <p:spPr bwMode="auto">
            <a:xfrm>
              <a:off x="17798247" y="4002237"/>
              <a:ext cx="562035" cy="361309"/>
            </a:xfrm>
            <a:custGeom>
              <a:avLst/>
              <a:gdLst>
                <a:gd name="T0" fmla="*/ 294 w 396"/>
                <a:gd name="T1" fmla="*/ 16 h 254"/>
                <a:gd name="T2" fmla="*/ 343 w 396"/>
                <a:gd name="T3" fmla="*/ 155 h 254"/>
                <a:gd name="T4" fmla="*/ 102 w 396"/>
                <a:gd name="T5" fmla="*/ 239 h 254"/>
                <a:gd name="T6" fmla="*/ 53 w 396"/>
                <a:gd name="T7" fmla="*/ 100 h 254"/>
                <a:gd name="T8" fmla="*/ 294 w 396"/>
                <a:gd name="T9" fmla="*/ 16 h 254"/>
              </a:gdLst>
              <a:ahLst/>
              <a:cxnLst>
                <a:cxn ang="0">
                  <a:pos x="T0" y="T1"/>
                </a:cxn>
                <a:cxn ang="0">
                  <a:pos x="T2" y="T3"/>
                </a:cxn>
                <a:cxn ang="0">
                  <a:pos x="T4" y="T5"/>
                </a:cxn>
                <a:cxn ang="0">
                  <a:pos x="T6" y="T7"/>
                </a:cxn>
                <a:cxn ang="0">
                  <a:pos x="T8" y="T9"/>
                </a:cxn>
              </a:cxnLst>
              <a:rect l="0" t="0" r="r" b="b"/>
              <a:pathLst>
                <a:path w="396" h="254">
                  <a:moveTo>
                    <a:pt x="294" y="16"/>
                  </a:moveTo>
                  <a:cubicBezTo>
                    <a:pt x="374" y="31"/>
                    <a:pt x="396" y="93"/>
                    <a:pt x="343" y="155"/>
                  </a:cubicBezTo>
                  <a:cubicBezTo>
                    <a:pt x="291" y="217"/>
                    <a:pt x="183" y="254"/>
                    <a:pt x="102" y="239"/>
                  </a:cubicBezTo>
                  <a:cubicBezTo>
                    <a:pt x="22" y="224"/>
                    <a:pt x="0" y="161"/>
                    <a:pt x="53" y="100"/>
                  </a:cubicBezTo>
                  <a:cubicBezTo>
                    <a:pt x="106" y="38"/>
                    <a:pt x="214" y="0"/>
                    <a:pt x="294" y="16"/>
                  </a:cubicBezTo>
                  <a:close/>
                </a:path>
              </a:pathLst>
            </a:custGeom>
            <a:solidFill>
              <a:srgbClr val="D413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28" name="îṧ1iḓé">
              <a:extLst>
                <a:ext uri="{FF2B5EF4-FFF2-40B4-BE49-F238E27FC236}">
                  <a16:creationId xmlns:a16="http://schemas.microsoft.com/office/drawing/2014/main" id="{29524018-C8ED-47A4-A0D8-A7CA52125940}"/>
                </a:ext>
              </a:extLst>
            </p:cNvPr>
            <p:cNvSpPr/>
            <p:nvPr/>
          </p:nvSpPr>
          <p:spPr bwMode="auto">
            <a:xfrm>
              <a:off x="17834743" y="4027785"/>
              <a:ext cx="489044" cy="313864"/>
            </a:xfrm>
            <a:custGeom>
              <a:avLst/>
              <a:gdLst>
                <a:gd name="T0" fmla="*/ 255 w 344"/>
                <a:gd name="T1" fmla="*/ 13 h 221"/>
                <a:gd name="T2" fmla="*/ 46 w 344"/>
                <a:gd name="T3" fmla="*/ 86 h 221"/>
                <a:gd name="T4" fmla="*/ 89 w 344"/>
                <a:gd name="T5" fmla="*/ 207 h 221"/>
                <a:gd name="T6" fmla="*/ 298 w 344"/>
                <a:gd name="T7" fmla="*/ 134 h 221"/>
                <a:gd name="T8" fmla="*/ 255 w 344"/>
                <a:gd name="T9" fmla="*/ 13 h 221"/>
              </a:gdLst>
              <a:ahLst/>
              <a:cxnLst>
                <a:cxn ang="0">
                  <a:pos x="T0" y="T1"/>
                </a:cxn>
                <a:cxn ang="0">
                  <a:pos x="T2" y="T3"/>
                </a:cxn>
                <a:cxn ang="0">
                  <a:pos x="T4" y="T5"/>
                </a:cxn>
                <a:cxn ang="0">
                  <a:pos x="T6" y="T7"/>
                </a:cxn>
                <a:cxn ang="0">
                  <a:pos x="T8" y="T9"/>
                </a:cxn>
              </a:cxnLst>
              <a:rect l="0" t="0" r="r" b="b"/>
              <a:pathLst>
                <a:path w="344" h="221">
                  <a:moveTo>
                    <a:pt x="255" y="13"/>
                  </a:moveTo>
                  <a:cubicBezTo>
                    <a:pt x="186" y="0"/>
                    <a:pt x="92" y="33"/>
                    <a:pt x="46" y="86"/>
                  </a:cubicBezTo>
                  <a:cubicBezTo>
                    <a:pt x="0" y="140"/>
                    <a:pt x="19" y="194"/>
                    <a:pt x="89" y="207"/>
                  </a:cubicBezTo>
                  <a:cubicBezTo>
                    <a:pt x="159" y="221"/>
                    <a:pt x="252" y="188"/>
                    <a:pt x="298" y="134"/>
                  </a:cubicBezTo>
                  <a:cubicBezTo>
                    <a:pt x="344" y="81"/>
                    <a:pt x="325" y="27"/>
                    <a:pt x="255" y="13"/>
                  </a:cubicBezTo>
                  <a:close/>
                </a:path>
              </a:pathLst>
            </a:custGeom>
            <a:solidFill>
              <a:srgbClr val="FCD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29" name="îṩliďè">
              <a:extLst>
                <a:ext uri="{FF2B5EF4-FFF2-40B4-BE49-F238E27FC236}">
                  <a16:creationId xmlns:a16="http://schemas.microsoft.com/office/drawing/2014/main" id="{F1AE7CC3-886F-4E5E-ACE6-682028CE6C3F}"/>
                </a:ext>
              </a:extLst>
            </p:cNvPr>
            <p:cNvSpPr/>
            <p:nvPr/>
          </p:nvSpPr>
          <p:spPr bwMode="auto">
            <a:xfrm>
              <a:off x="17418691" y="3593484"/>
              <a:ext cx="686121" cy="302916"/>
            </a:xfrm>
            <a:custGeom>
              <a:avLst/>
              <a:gdLst>
                <a:gd name="T0" fmla="*/ 0 w 188"/>
                <a:gd name="T1" fmla="*/ 83 h 83"/>
                <a:gd name="T2" fmla="*/ 0 w 188"/>
                <a:gd name="T3" fmla="*/ 83 h 83"/>
                <a:gd name="T4" fmla="*/ 188 w 188"/>
                <a:gd name="T5" fmla="*/ 0 h 83"/>
                <a:gd name="T6" fmla="*/ 188 w 188"/>
                <a:gd name="T7" fmla="*/ 0 h 83"/>
                <a:gd name="T8" fmla="*/ 0 w 188"/>
                <a:gd name="T9" fmla="*/ 83 h 83"/>
              </a:gdLst>
              <a:ahLst/>
              <a:cxnLst>
                <a:cxn ang="0">
                  <a:pos x="T0" y="T1"/>
                </a:cxn>
                <a:cxn ang="0">
                  <a:pos x="T2" y="T3"/>
                </a:cxn>
                <a:cxn ang="0">
                  <a:pos x="T4" y="T5"/>
                </a:cxn>
                <a:cxn ang="0">
                  <a:pos x="T6" y="T7"/>
                </a:cxn>
                <a:cxn ang="0">
                  <a:pos x="T8" y="T9"/>
                </a:cxn>
              </a:cxnLst>
              <a:rect l="0" t="0" r="r" b="b"/>
              <a:pathLst>
                <a:path w="188" h="83">
                  <a:moveTo>
                    <a:pt x="0" y="83"/>
                  </a:moveTo>
                  <a:lnTo>
                    <a:pt x="0" y="83"/>
                  </a:lnTo>
                  <a:lnTo>
                    <a:pt x="188" y="0"/>
                  </a:lnTo>
                  <a:lnTo>
                    <a:pt x="188" y="0"/>
                  </a:lnTo>
                  <a:lnTo>
                    <a:pt x="0" y="83"/>
                  </a:lnTo>
                  <a:close/>
                </a:path>
              </a:pathLst>
            </a:custGeom>
            <a:solidFill>
              <a:srgbClr val="3987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30" name="iślíḓè">
              <a:extLst>
                <a:ext uri="{FF2B5EF4-FFF2-40B4-BE49-F238E27FC236}">
                  <a16:creationId xmlns:a16="http://schemas.microsoft.com/office/drawing/2014/main" id="{C2294247-61E7-4F5A-9C0C-693F194A4364}"/>
                </a:ext>
              </a:extLst>
            </p:cNvPr>
            <p:cNvSpPr/>
            <p:nvPr/>
          </p:nvSpPr>
          <p:spPr bwMode="auto">
            <a:xfrm>
              <a:off x="17418691" y="3593484"/>
              <a:ext cx="686121" cy="302916"/>
            </a:xfrm>
            <a:custGeom>
              <a:avLst/>
              <a:gdLst>
                <a:gd name="T0" fmla="*/ 0 w 188"/>
                <a:gd name="T1" fmla="*/ 83 h 83"/>
                <a:gd name="T2" fmla="*/ 0 w 188"/>
                <a:gd name="T3" fmla="*/ 83 h 83"/>
                <a:gd name="T4" fmla="*/ 188 w 188"/>
                <a:gd name="T5" fmla="*/ 0 h 83"/>
                <a:gd name="T6" fmla="*/ 188 w 188"/>
                <a:gd name="T7" fmla="*/ 0 h 83"/>
                <a:gd name="T8" fmla="*/ 0 w 188"/>
                <a:gd name="T9" fmla="*/ 83 h 83"/>
              </a:gdLst>
              <a:ahLst/>
              <a:cxnLst>
                <a:cxn ang="0">
                  <a:pos x="T0" y="T1"/>
                </a:cxn>
                <a:cxn ang="0">
                  <a:pos x="T2" y="T3"/>
                </a:cxn>
                <a:cxn ang="0">
                  <a:pos x="T4" y="T5"/>
                </a:cxn>
                <a:cxn ang="0">
                  <a:pos x="T6" y="T7"/>
                </a:cxn>
                <a:cxn ang="0">
                  <a:pos x="T8" y="T9"/>
                </a:cxn>
              </a:cxnLst>
              <a:rect l="0" t="0" r="r" b="b"/>
              <a:pathLst>
                <a:path w="188" h="83">
                  <a:moveTo>
                    <a:pt x="0" y="83"/>
                  </a:moveTo>
                  <a:lnTo>
                    <a:pt x="0" y="83"/>
                  </a:lnTo>
                  <a:lnTo>
                    <a:pt x="188" y="0"/>
                  </a:lnTo>
                  <a:lnTo>
                    <a:pt x="188" y="0"/>
                  </a:lnTo>
                  <a:lnTo>
                    <a:pt x="0" y="83"/>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131" name="išļiďê">
              <a:extLst>
                <a:ext uri="{FF2B5EF4-FFF2-40B4-BE49-F238E27FC236}">
                  <a16:creationId xmlns:a16="http://schemas.microsoft.com/office/drawing/2014/main" id="{4BA127D5-975A-45F8-9E97-3B030BE5E47E}"/>
                </a:ext>
              </a:extLst>
            </p:cNvPr>
            <p:cNvSpPr/>
            <p:nvPr/>
          </p:nvSpPr>
          <p:spPr bwMode="auto">
            <a:xfrm>
              <a:off x="17418691" y="3075244"/>
              <a:ext cx="1627712" cy="821156"/>
            </a:xfrm>
            <a:custGeom>
              <a:avLst/>
              <a:gdLst>
                <a:gd name="T0" fmla="*/ 0 w 446"/>
                <a:gd name="T1" fmla="*/ 225 h 225"/>
                <a:gd name="T2" fmla="*/ 0 w 446"/>
                <a:gd name="T3" fmla="*/ 195 h 225"/>
                <a:gd name="T4" fmla="*/ 446 w 446"/>
                <a:gd name="T5" fmla="*/ 0 h 225"/>
                <a:gd name="T6" fmla="*/ 446 w 446"/>
                <a:gd name="T7" fmla="*/ 29 h 225"/>
                <a:gd name="T8" fmla="*/ 446 w 446"/>
                <a:gd name="T9" fmla="*/ 29 h 225"/>
                <a:gd name="T10" fmla="*/ 277 w 446"/>
                <a:gd name="T11" fmla="*/ 103 h 225"/>
                <a:gd name="T12" fmla="*/ 277 w 446"/>
                <a:gd name="T13" fmla="*/ 103 h 225"/>
                <a:gd name="T14" fmla="*/ 277 w 446"/>
                <a:gd name="T15" fmla="*/ 103 h 225"/>
                <a:gd name="T16" fmla="*/ 277 w 446"/>
                <a:gd name="T17" fmla="*/ 103 h 225"/>
                <a:gd name="T18" fmla="*/ 188 w 446"/>
                <a:gd name="T19" fmla="*/ 142 h 225"/>
                <a:gd name="T20" fmla="*/ 0 w 446"/>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225">
                  <a:moveTo>
                    <a:pt x="0" y="225"/>
                  </a:moveTo>
                  <a:lnTo>
                    <a:pt x="0" y="195"/>
                  </a:lnTo>
                  <a:lnTo>
                    <a:pt x="446" y="0"/>
                  </a:lnTo>
                  <a:lnTo>
                    <a:pt x="446" y="29"/>
                  </a:lnTo>
                  <a:lnTo>
                    <a:pt x="446" y="29"/>
                  </a:lnTo>
                  <a:lnTo>
                    <a:pt x="277" y="103"/>
                  </a:lnTo>
                  <a:lnTo>
                    <a:pt x="277" y="103"/>
                  </a:lnTo>
                  <a:lnTo>
                    <a:pt x="277" y="103"/>
                  </a:lnTo>
                  <a:lnTo>
                    <a:pt x="277" y="103"/>
                  </a:lnTo>
                  <a:lnTo>
                    <a:pt x="188" y="142"/>
                  </a:lnTo>
                  <a:lnTo>
                    <a:pt x="0" y="225"/>
                  </a:lnTo>
                  <a:close/>
                </a:path>
              </a:pathLst>
            </a:custGeom>
            <a:solidFill>
              <a:srgbClr val="4593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132" name="íṥľïḑe">
              <a:extLst>
                <a:ext uri="{FF2B5EF4-FFF2-40B4-BE49-F238E27FC236}">
                  <a16:creationId xmlns:a16="http://schemas.microsoft.com/office/drawing/2014/main" id="{C986102D-8A4A-4F12-A28B-3C43790328D9}"/>
                </a:ext>
              </a:extLst>
            </p:cNvPr>
            <p:cNvSpPr/>
            <p:nvPr/>
          </p:nvSpPr>
          <p:spPr bwMode="auto">
            <a:xfrm>
              <a:off x="17418691" y="3075244"/>
              <a:ext cx="1627712" cy="821156"/>
            </a:xfrm>
            <a:custGeom>
              <a:avLst/>
              <a:gdLst>
                <a:gd name="T0" fmla="*/ 0 w 446"/>
                <a:gd name="T1" fmla="*/ 225 h 225"/>
                <a:gd name="T2" fmla="*/ 0 w 446"/>
                <a:gd name="T3" fmla="*/ 195 h 225"/>
                <a:gd name="T4" fmla="*/ 446 w 446"/>
                <a:gd name="T5" fmla="*/ 0 h 225"/>
                <a:gd name="T6" fmla="*/ 446 w 446"/>
                <a:gd name="T7" fmla="*/ 29 h 225"/>
                <a:gd name="T8" fmla="*/ 446 w 446"/>
                <a:gd name="T9" fmla="*/ 29 h 225"/>
                <a:gd name="T10" fmla="*/ 277 w 446"/>
                <a:gd name="T11" fmla="*/ 103 h 225"/>
                <a:gd name="T12" fmla="*/ 277 w 446"/>
                <a:gd name="T13" fmla="*/ 103 h 225"/>
                <a:gd name="T14" fmla="*/ 277 w 446"/>
                <a:gd name="T15" fmla="*/ 103 h 225"/>
                <a:gd name="T16" fmla="*/ 277 w 446"/>
                <a:gd name="T17" fmla="*/ 103 h 225"/>
                <a:gd name="T18" fmla="*/ 188 w 446"/>
                <a:gd name="T19" fmla="*/ 142 h 225"/>
                <a:gd name="T20" fmla="*/ 0 w 446"/>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225">
                  <a:moveTo>
                    <a:pt x="0" y="225"/>
                  </a:moveTo>
                  <a:lnTo>
                    <a:pt x="0" y="195"/>
                  </a:lnTo>
                  <a:lnTo>
                    <a:pt x="446" y="0"/>
                  </a:lnTo>
                  <a:lnTo>
                    <a:pt x="446" y="29"/>
                  </a:lnTo>
                  <a:lnTo>
                    <a:pt x="446" y="29"/>
                  </a:lnTo>
                  <a:lnTo>
                    <a:pt x="277" y="103"/>
                  </a:lnTo>
                  <a:lnTo>
                    <a:pt x="277" y="103"/>
                  </a:lnTo>
                  <a:lnTo>
                    <a:pt x="277" y="103"/>
                  </a:lnTo>
                  <a:lnTo>
                    <a:pt x="277" y="103"/>
                  </a:lnTo>
                  <a:lnTo>
                    <a:pt x="188" y="142"/>
                  </a:lnTo>
                  <a:lnTo>
                    <a:pt x="0" y="22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grpSp>
      <p:sp>
        <p:nvSpPr>
          <p:cNvPr id="5" name="文本框 4">
            <a:extLst>
              <a:ext uri="{FF2B5EF4-FFF2-40B4-BE49-F238E27FC236}">
                <a16:creationId xmlns:a16="http://schemas.microsoft.com/office/drawing/2014/main" id="{75F9F363-4600-4065-ACE4-77EB5D8C0EF7}"/>
              </a:ext>
            </a:extLst>
          </p:cNvPr>
          <p:cNvSpPr txBox="1"/>
          <p:nvPr/>
        </p:nvSpPr>
        <p:spPr>
          <a:xfrm>
            <a:off x="787169" y="1196975"/>
            <a:ext cx="6294351" cy="1010822"/>
          </a:xfrm>
          <a:prstGeom prst="rect">
            <a:avLst/>
          </a:prstGeom>
          <a:noFill/>
          <a:ln>
            <a:solidFill>
              <a:schemeClr val="bg1">
                <a:lumMod val="85000"/>
              </a:schemeClr>
            </a:solidFill>
          </a:ln>
        </p:spPr>
        <p:txBody>
          <a:bodyPr wrap="none" lIns="108000" tIns="0" rIns="0" bIns="0" rtlCol="0" anchor="ctr">
            <a:noAutofit/>
          </a:bodyPr>
          <a:lstStyle/>
          <a:p>
            <a:pPr algn="l"/>
            <a:r>
              <a:rPr lang="zh-CN" altLang="en-US" sz="2000" dirty="0">
                <a:solidFill>
                  <a:schemeClr val="tx1">
                    <a:lumMod val="75000"/>
                    <a:lumOff val="25000"/>
                  </a:schemeClr>
                </a:solidFill>
                <a:cs typeface="+mn-ea"/>
                <a:sym typeface="+mn-lt"/>
              </a:rPr>
              <a:t>切忌照着屏幕念</a:t>
            </a:r>
            <a:r>
              <a:rPr lang="en-US" altLang="zh-CN" sz="2000" dirty="0">
                <a:solidFill>
                  <a:schemeClr val="tx1">
                    <a:lumMod val="75000"/>
                    <a:lumOff val="25000"/>
                  </a:schemeClr>
                </a:solidFill>
                <a:cs typeface="+mn-ea"/>
                <a:sym typeface="+mn-lt"/>
              </a:rPr>
              <a:t>PPT</a:t>
            </a:r>
            <a:r>
              <a:rPr lang="zh-CN" altLang="en-US" sz="2000" dirty="0">
                <a:solidFill>
                  <a:schemeClr val="tx1">
                    <a:lumMod val="75000"/>
                    <a:lumOff val="25000"/>
                  </a:schemeClr>
                </a:solidFill>
                <a:cs typeface="+mn-ea"/>
                <a:sym typeface="+mn-lt"/>
              </a:rPr>
              <a:t>，要与答辩老师有眼神交流</a:t>
            </a:r>
            <a:endParaRPr lang="en-US" sz="2000" dirty="0">
              <a:solidFill>
                <a:schemeClr val="tx1">
                  <a:lumMod val="75000"/>
                  <a:lumOff val="25000"/>
                </a:schemeClr>
              </a:solidFill>
              <a:cs typeface="+mn-ea"/>
              <a:sym typeface="+mn-lt"/>
            </a:endParaRPr>
          </a:p>
        </p:txBody>
      </p:sp>
      <p:sp>
        <p:nvSpPr>
          <p:cNvPr id="6" name="文本框 5">
            <a:extLst>
              <a:ext uri="{FF2B5EF4-FFF2-40B4-BE49-F238E27FC236}">
                <a16:creationId xmlns:a16="http://schemas.microsoft.com/office/drawing/2014/main" id="{BE0B6781-3FA6-498A-9E4F-D69F3486B760}"/>
              </a:ext>
            </a:extLst>
          </p:cNvPr>
          <p:cNvSpPr txBox="1"/>
          <p:nvPr/>
        </p:nvSpPr>
        <p:spPr>
          <a:xfrm>
            <a:off x="787169" y="2505904"/>
            <a:ext cx="6294351" cy="1010822"/>
          </a:xfrm>
          <a:prstGeom prst="rect">
            <a:avLst/>
          </a:prstGeom>
          <a:noFill/>
          <a:ln>
            <a:solidFill>
              <a:schemeClr val="bg1">
                <a:lumMod val="85000"/>
              </a:schemeClr>
            </a:solidFill>
          </a:ln>
        </p:spPr>
        <p:txBody>
          <a:bodyPr wrap="none" lIns="108000" tIns="0" rIns="0" bIns="0" rtlCol="0" anchor="ctr">
            <a:noAutofit/>
          </a:bodyPr>
          <a:lstStyle/>
          <a:p>
            <a:pPr algn="l"/>
            <a:r>
              <a:rPr lang="zh-CN" altLang="en-US" sz="2000" dirty="0">
                <a:solidFill>
                  <a:schemeClr val="tx1">
                    <a:lumMod val="75000"/>
                    <a:lumOff val="25000"/>
                  </a:schemeClr>
                </a:solidFill>
                <a:cs typeface="+mn-ea"/>
                <a:sym typeface="+mn-lt"/>
              </a:rPr>
              <a:t>严格控制时间，提前多排练几次，不要超时</a:t>
            </a:r>
            <a:endParaRPr lang="en-US" sz="2000" dirty="0">
              <a:solidFill>
                <a:schemeClr val="tx1">
                  <a:lumMod val="75000"/>
                  <a:lumOff val="25000"/>
                </a:schemeClr>
              </a:solidFill>
              <a:cs typeface="+mn-ea"/>
              <a:sym typeface="+mn-lt"/>
            </a:endParaRPr>
          </a:p>
        </p:txBody>
      </p:sp>
      <p:sp>
        <p:nvSpPr>
          <p:cNvPr id="7" name="文本框 6">
            <a:extLst>
              <a:ext uri="{FF2B5EF4-FFF2-40B4-BE49-F238E27FC236}">
                <a16:creationId xmlns:a16="http://schemas.microsoft.com/office/drawing/2014/main" id="{785CCDAC-9C77-4604-AF05-F5999B813809}"/>
              </a:ext>
            </a:extLst>
          </p:cNvPr>
          <p:cNvSpPr txBox="1"/>
          <p:nvPr/>
        </p:nvSpPr>
        <p:spPr>
          <a:xfrm>
            <a:off x="787169" y="3814833"/>
            <a:ext cx="6294351" cy="1010822"/>
          </a:xfrm>
          <a:prstGeom prst="rect">
            <a:avLst/>
          </a:prstGeom>
          <a:noFill/>
          <a:ln>
            <a:solidFill>
              <a:schemeClr val="bg1">
                <a:lumMod val="85000"/>
              </a:schemeClr>
            </a:solidFill>
          </a:ln>
        </p:spPr>
        <p:txBody>
          <a:bodyPr wrap="none" lIns="108000" tIns="0" rIns="0" bIns="0" rtlCol="0" anchor="ctr">
            <a:noAutofit/>
          </a:bodyPr>
          <a:lstStyle/>
          <a:p>
            <a:pPr algn="l"/>
            <a:r>
              <a:rPr lang="zh-CN" altLang="en-US" sz="2000" dirty="0">
                <a:solidFill>
                  <a:schemeClr val="tx1">
                    <a:lumMod val="75000"/>
                    <a:lumOff val="25000"/>
                  </a:schemeClr>
                </a:solidFill>
                <a:cs typeface="+mn-ea"/>
                <a:sym typeface="+mn-lt"/>
              </a:rPr>
              <a:t>答辩重在思路讲解，不要陷入细枝末节的技术点</a:t>
            </a:r>
            <a:endParaRPr lang="en-US" sz="2000" dirty="0">
              <a:solidFill>
                <a:schemeClr val="tx1">
                  <a:lumMod val="75000"/>
                  <a:lumOff val="25000"/>
                </a:schemeClr>
              </a:solidFill>
              <a:cs typeface="+mn-ea"/>
              <a:sym typeface="+mn-lt"/>
            </a:endParaRPr>
          </a:p>
        </p:txBody>
      </p:sp>
      <p:sp>
        <p:nvSpPr>
          <p:cNvPr id="8" name="文本框 7">
            <a:extLst>
              <a:ext uri="{FF2B5EF4-FFF2-40B4-BE49-F238E27FC236}">
                <a16:creationId xmlns:a16="http://schemas.microsoft.com/office/drawing/2014/main" id="{CB1F1576-78FE-4290-AB92-EECD1E0AE599}"/>
              </a:ext>
            </a:extLst>
          </p:cNvPr>
          <p:cNvSpPr txBox="1"/>
          <p:nvPr/>
        </p:nvSpPr>
        <p:spPr>
          <a:xfrm>
            <a:off x="787169" y="5123760"/>
            <a:ext cx="6294351" cy="1010822"/>
          </a:xfrm>
          <a:prstGeom prst="rect">
            <a:avLst/>
          </a:prstGeom>
          <a:noFill/>
          <a:ln>
            <a:solidFill>
              <a:schemeClr val="bg1">
                <a:lumMod val="85000"/>
              </a:schemeClr>
            </a:solidFill>
          </a:ln>
        </p:spPr>
        <p:txBody>
          <a:bodyPr wrap="none" lIns="108000" tIns="0" rIns="0" bIns="0" rtlCol="0" anchor="ctr">
            <a:noAutofit/>
          </a:bodyPr>
          <a:lstStyle/>
          <a:p>
            <a:pPr algn="l"/>
            <a:r>
              <a:rPr lang="zh-CN" altLang="en-US" sz="2000" dirty="0">
                <a:solidFill>
                  <a:schemeClr val="tx1">
                    <a:lumMod val="75000"/>
                    <a:lumOff val="25000"/>
                  </a:schemeClr>
                </a:solidFill>
                <a:cs typeface="+mn-ea"/>
                <a:sym typeface="+mn-lt"/>
              </a:rPr>
              <a:t>自信从容，声音洪亮，语速适中</a:t>
            </a:r>
            <a:endParaRPr lang="en-US" sz="2000" dirty="0">
              <a:solidFill>
                <a:schemeClr val="tx1">
                  <a:lumMod val="75000"/>
                  <a:lumOff val="25000"/>
                </a:schemeClr>
              </a:solidFill>
              <a:cs typeface="+mn-ea"/>
              <a:sym typeface="+mn-lt"/>
            </a:endParaRPr>
          </a:p>
        </p:txBody>
      </p:sp>
      <p:sp>
        <p:nvSpPr>
          <p:cNvPr id="135" name="文本框 134">
            <a:extLst>
              <a:ext uri="{FF2B5EF4-FFF2-40B4-BE49-F238E27FC236}">
                <a16:creationId xmlns:a16="http://schemas.microsoft.com/office/drawing/2014/main" id="{7A37C6C0-CD00-4E64-9B55-6F0BBFB684F6}"/>
              </a:ext>
            </a:extLst>
          </p:cNvPr>
          <p:cNvSpPr txBox="1"/>
          <p:nvPr/>
        </p:nvSpPr>
        <p:spPr>
          <a:xfrm>
            <a:off x="515938" y="1196975"/>
            <a:ext cx="251202" cy="1010822"/>
          </a:xfrm>
          <a:prstGeom prst="rect">
            <a:avLst/>
          </a:prstGeom>
          <a:solidFill>
            <a:schemeClr val="bg1">
              <a:lumMod val="50000"/>
            </a:schemeClr>
          </a:solidFill>
          <a:ln>
            <a:noFill/>
          </a:ln>
        </p:spPr>
        <p:txBody>
          <a:bodyPr wrap="none" lIns="0" tIns="0" rIns="0" bIns="0" rtlCol="0" anchor="ctr">
            <a:noAutofit/>
          </a:bodyPr>
          <a:lstStyle/>
          <a:p>
            <a:pPr algn="ctr"/>
            <a:r>
              <a:rPr lang="en-US" sz="2400" b="1" dirty="0">
                <a:solidFill>
                  <a:schemeClr val="bg1"/>
                </a:solidFill>
                <a:cs typeface="+mn-ea"/>
                <a:sym typeface="+mn-lt"/>
              </a:rPr>
              <a:t>1</a:t>
            </a:r>
          </a:p>
        </p:txBody>
      </p:sp>
      <p:sp>
        <p:nvSpPr>
          <p:cNvPr id="136" name="文本框 135">
            <a:extLst>
              <a:ext uri="{FF2B5EF4-FFF2-40B4-BE49-F238E27FC236}">
                <a16:creationId xmlns:a16="http://schemas.microsoft.com/office/drawing/2014/main" id="{6EC4ED4A-C480-403E-B4BB-2F75372A6E26}"/>
              </a:ext>
            </a:extLst>
          </p:cNvPr>
          <p:cNvSpPr txBox="1"/>
          <p:nvPr/>
        </p:nvSpPr>
        <p:spPr>
          <a:xfrm>
            <a:off x="515938" y="2505904"/>
            <a:ext cx="251202" cy="1010822"/>
          </a:xfrm>
          <a:prstGeom prst="rect">
            <a:avLst/>
          </a:prstGeom>
          <a:solidFill>
            <a:schemeClr val="bg1">
              <a:lumMod val="50000"/>
            </a:schemeClr>
          </a:solidFill>
          <a:ln>
            <a:noFill/>
          </a:ln>
        </p:spPr>
        <p:txBody>
          <a:bodyPr wrap="none" lIns="0" tIns="0" rIns="0" bIns="0" rtlCol="0" anchor="ctr">
            <a:noAutofit/>
          </a:bodyPr>
          <a:lstStyle/>
          <a:p>
            <a:pPr algn="ctr"/>
            <a:r>
              <a:rPr lang="en-US" sz="2400" b="1" dirty="0">
                <a:solidFill>
                  <a:schemeClr val="bg1"/>
                </a:solidFill>
                <a:cs typeface="+mn-ea"/>
                <a:sym typeface="+mn-lt"/>
              </a:rPr>
              <a:t>2</a:t>
            </a:r>
          </a:p>
        </p:txBody>
      </p:sp>
      <p:sp>
        <p:nvSpPr>
          <p:cNvPr id="137" name="文本框 136">
            <a:extLst>
              <a:ext uri="{FF2B5EF4-FFF2-40B4-BE49-F238E27FC236}">
                <a16:creationId xmlns:a16="http://schemas.microsoft.com/office/drawing/2014/main" id="{674308DF-6E1B-4D8B-8FD4-E23F2F87AE9E}"/>
              </a:ext>
            </a:extLst>
          </p:cNvPr>
          <p:cNvSpPr txBox="1"/>
          <p:nvPr/>
        </p:nvSpPr>
        <p:spPr>
          <a:xfrm>
            <a:off x="515938" y="3814833"/>
            <a:ext cx="251202" cy="1010822"/>
          </a:xfrm>
          <a:prstGeom prst="rect">
            <a:avLst/>
          </a:prstGeom>
          <a:solidFill>
            <a:schemeClr val="bg1">
              <a:lumMod val="50000"/>
            </a:schemeClr>
          </a:solidFill>
          <a:ln>
            <a:noFill/>
          </a:ln>
        </p:spPr>
        <p:txBody>
          <a:bodyPr wrap="none" lIns="0" tIns="0" rIns="0" bIns="0" rtlCol="0" anchor="ctr">
            <a:noAutofit/>
          </a:bodyPr>
          <a:lstStyle/>
          <a:p>
            <a:pPr algn="ctr"/>
            <a:r>
              <a:rPr lang="en-US" sz="2400" b="1" dirty="0">
                <a:solidFill>
                  <a:schemeClr val="bg1"/>
                </a:solidFill>
                <a:cs typeface="+mn-ea"/>
                <a:sym typeface="+mn-lt"/>
              </a:rPr>
              <a:t>3</a:t>
            </a:r>
          </a:p>
        </p:txBody>
      </p:sp>
      <p:sp>
        <p:nvSpPr>
          <p:cNvPr id="138" name="文本框 137">
            <a:extLst>
              <a:ext uri="{FF2B5EF4-FFF2-40B4-BE49-F238E27FC236}">
                <a16:creationId xmlns:a16="http://schemas.microsoft.com/office/drawing/2014/main" id="{353CF2B9-70BC-4CA2-B0A5-67FA77C05098}"/>
              </a:ext>
            </a:extLst>
          </p:cNvPr>
          <p:cNvSpPr txBox="1"/>
          <p:nvPr/>
        </p:nvSpPr>
        <p:spPr>
          <a:xfrm>
            <a:off x="515938" y="5123760"/>
            <a:ext cx="251202" cy="1010822"/>
          </a:xfrm>
          <a:prstGeom prst="rect">
            <a:avLst/>
          </a:prstGeom>
          <a:solidFill>
            <a:schemeClr val="bg1">
              <a:lumMod val="50000"/>
            </a:schemeClr>
          </a:solidFill>
          <a:ln>
            <a:noFill/>
          </a:ln>
        </p:spPr>
        <p:txBody>
          <a:bodyPr wrap="none" lIns="0" tIns="0" rIns="0" bIns="0" rtlCol="0" anchor="ctr">
            <a:noAutofit/>
          </a:bodyPr>
          <a:lstStyle/>
          <a:p>
            <a:pPr algn="ctr"/>
            <a:r>
              <a:rPr lang="en-US" sz="2400" b="1" dirty="0">
                <a:solidFill>
                  <a:schemeClr val="bg1"/>
                </a:solidFill>
                <a:cs typeface="+mn-ea"/>
                <a:sym typeface="+mn-lt"/>
              </a:rPr>
              <a:t>4</a:t>
            </a:r>
          </a:p>
        </p:txBody>
      </p:sp>
      <p:grpSp>
        <p:nvGrpSpPr>
          <p:cNvPr id="139" name="组合 138">
            <a:extLst>
              <a:ext uri="{FF2B5EF4-FFF2-40B4-BE49-F238E27FC236}">
                <a16:creationId xmlns:a16="http://schemas.microsoft.com/office/drawing/2014/main" id="{917023BC-09F4-4794-8A8A-B4AB44E29014}"/>
              </a:ext>
            </a:extLst>
          </p:cNvPr>
          <p:cNvGrpSpPr/>
          <p:nvPr/>
        </p:nvGrpSpPr>
        <p:grpSpPr>
          <a:xfrm>
            <a:off x="10477913" y="446123"/>
            <a:ext cx="1234662" cy="419641"/>
            <a:chOff x="1398368" y="5051425"/>
            <a:chExt cx="3242941" cy="1102222"/>
          </a:xfrm>
          <a:solidFill>
            <a:schemeClr val="accent1"/>
          </a:solidFill>
        </p:grpSpPr>
        <p:sp>
          <p:nvSpPr>
            <p:cNvPr id="140" name="Freeform 5">
              <a:extLst>
                <a:ext uri="{FF2B5EF4-FFF2-40B4-BE49-F238E27FC236}">
                  <a16:creationId xmlns:a16="http://schemas.microsoft.com/office/drawing/2014/main" id="{87355646-474A-4997-988B-A07554B1B4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7">
              <a:extLst>
                <a:ext uri="{FF2B5EF4-FFF2-40B4-BE49-F238E27FC236}">
                  <a16:creationId xmlns:a16="http://schemas.microsoft.com/office/drawing/2014/main" id="{F0F6CF66-DC09-42BD-BAAF-2C710F349566}"/>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8">
              <a:extLst>
                <a:ext uri="{FF2B5EF4-FFF2-40B4-BE49-F238E27FC236}">
                  <a16:creationId xmlns:a16="http://schemas.microsoft.com/office/drawing/2014/main" id="{105DE27B-9A71-40FB-BDC4-137FFE5B17B2}"/>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3" name="组合 142">
              <a:extLst>
                <a:ext uri="{FF2B5EF4-FFF2-40B4-BE49-F238E27FC236}">
                  <a16:creationId xmlns:a16="http://schemas.microsoft.com/office/drawing/2014/main" id="{A794C7B8-EFBA-4149-B20B-BEAB2A59C849}"/>
                </a:ext>
              </a:extLst>
            </p:cNvPr>
            <p:cNvGrpSpPr/>
            <p:nvPr/>
          </p:nvGrpSpPr>
          <p:grpSpPr>
            <a:xfrm>
              <a:off x="2921957" y="5168150"/>
              <a:ext cx="542765" cy="642593"/>
              <a:chOff x="3102298" y="5183391"/>
              <a:chExt cx="501880" cy="594188"/>
            </a:xfrm>
            <a:grpFill/>
          </p:grpSpPr>
          <p:sp>
            <p:nvSpPr>
              <p:cNvPr id="184" name="Freeform 6">
                <a:extLst>
                  <a:ext uri="{FF2B5EF4-FFF2-40B4-BE49-F238E27FC236}">
                    <a16:creationId xmlns:a16="http://schemas.microsoft.com/office/drawing/2014/main" id="{998DDEB8-6A34-4E70-96B7-556A7F0441D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0">
                <a:extLst>
                  <a:ext uri="{FF2B5EF4-FFF2-40B4-BE49-F238E27FC236}">
                    <a16:creationId xmlns:a16="http://schemas.microsoft.com/office/drawing/2014/main" id="{82BEBE7C-933D-4AEB-971E-EF7EB5E7B7DB}"/>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3">
                <a:extLst>
                  <a:ext uri="{FF2B5EF4-FFF2-40B4-BE49-F238E27FC236}">
                    <a16:creationId xmlns:a16="http://schemas.microsoft.com/office/drawing/2014/main" id="{10CD132C-58CE-4747-BB60-32897B7F5780}"/>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4" name="组合 143">
              <a:extLst>
                <a:ext uri="{FF2B5EF4-FFF2-40B4-BE49-F238E27FC236}">
                  <a16:creationId xmlns:a16="http://schemas.microsoft.com/office/drawing/2014/main" id="{48A26A08-3478-4A1A-AA66-93FD869A7FEA}"/>
                </a:ext>
              </a:extLst>
            </p:cNvPr>
            <p:cNvGrpSpPr/>
            <p:nvPr/>
          </p:nvGrpSpPr>
          <p:grpSpPr>
            <a:xfrm>
              <a:off x="4196892" y="5154476"/>
              <a:ext cx="444417" cy="649987"/>
              <a:chOff x="4257853" y="5169716"/>
              <a:chExt cx="410940" cy="601025"/>
            </a:xfrm>
            <a:grpFill/>
          </p:grpSpPr>
          <p:sp>
            <p:nvSpPr>
              <p:cNvPr id="179" name="Freeform 9">
                <a:extLst>
                  <a:ext uri="{FF2B5EF4-FFF2-40B4-BE49-F238E27FC236}">
                    <a16:creationId xmlns:a16="http://schemas.microsoft.com/office/drawing/2014/main" id="{39977DE0-528D-4C4D-9AC7-AEB6DC3B818A}"/>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1">
                <a:extLst>
                  <a:ext uri="{FF2B5EF4-FFF2-40B4-BE49-F238E27FC236}">
                    <a16:creationId xmlns:a16="http://schemas.microsoft.com/office/drawing/2014/main" id="{39657189-9DFB-4D03-AF79-5C3B2F68FF81}"/>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2">
                <a:extLst>
                  <a:ext uri="{FF2B5EF4-FFF2-40B4-BE49-F238E27FC236}">
                    <a16:creationId xmlns:a16="http://schemas.microsoft.com/office/drawing/2014/main" id="{F12CB199-6FD8-4EED-895A-D3A394C9E9A3}"/>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4">
                <a:extLst>
                  <a:ext uri="{FF2B5EF4-FFF2-40B4-BE49-F238E27FC236}">
                    <a16:creationId xmlns:a16="http://schemas.microsoft.com/office/drawing/2014/main" id="{6F2B1CE1-DE51-4C7E-A948-80710C8CA90B}"/>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5">
                <a:extLst>
                  <a:ext uri="{FF2B5EF4-FFF2-40B4-BE49-F238E27FC236}">
                    <a16:creationId xmlns:a16="http://schemas.microsoft.com/office/drawing/2014/main" id="{116A15AA-19D1-4F32-B6F6-D89F899A8ADF}"/>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 name="Freeform 16">
              <a:extLst>
                <a:ext uri="{FF2B5EF4-FFF2-40B4-BE49-F238E27FC236}">
                  <a16:creationId xmlns:a16="http://schemas.microsoft.com/office/drawing/2014/main" id="{F629A944-42CD-4CFF-9543-D8832D9DB7DD}"/>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7">
              <a:extLst>
                <a:ext uri="{FF2B5EF4-FFF2-40B4-BE49-F238E27FC236}">
                  <a16:creationId xmlns:a16="http://schemas.microsoft.com/office/drawing/2014/main" id="{1C381999-360A-4D20-81C7-FE7AEA1DF7B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18">
              <a:extLst>
                <a:ext uri="{FF2B5EF4-FFF2-40B4-BE49-F238E27FC236}">
                  <a16:creationId xmlns:a16="http://schemas.microsoft.com/office/drawing/2014/main" id="{3A33972F-D550-48E4-99F2-E758D805C582}"/>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9">
              <a:extLst>
                <a:ext uri="{FF2B5EF4-FFF2-40B4-BE49-F238E27FC236}">
                  <a16:creationId xmlns:a16="http://schemas.microsoft.com/office/drawing/2014/main" id="{99545966-BC37-49F9-A889-EC0A82F065E3}"/>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20">
              <a:extLst>
                <a:ext uri="{FF2B5EF4-FFF2-40B4-BE49-F238E27FC236}">
                  <a16:creationId xmlns:a16="http://schemas.microsoft.com/office/drawing/2014/main" id="{A36F9D16-5014-4010-A1ED-549F64E6CA2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21">
              <a:extLst>
                <a:ext uri="{FF2B5EF4-FFF2-40B4-BE49-F238E27FC236}">
                  <a16:creationId xmlns:a16="http://schemas.microsoft.com/office/drawing/2014/main" id="{5397F1A2-4F0B-4021-B403-22C9D93E6220}"/>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22">
              <a:extLst>
                <a:ext uri="{FF2B5EF4-FFF2-40B4-BE49-F238E27FC236}">
                  <a16:creationId xmlns:a16="http://schemas.microsoft.com/office/drawing/2014/main" id="{EC661E47-2F96-4919-84B1-73939D0BD8DE}"/>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23">
              <a:extLst>
                <a:ext uri="{FF2B5EF4-FFF2-40B4-BE49-F238E27FC236}">
                  <a16:creationId xmlns:a16="http://schemas.microsoft.com/office/drawing/2014/main" id="{24EBC232-DBC7-4CFD-96BD-52CC0428AEF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4">
              <a:extLst>
                <a:ext uri="{FF2B5EF4-FFF2-40B4-BE49-F238E27FC236}">
                  <a16:creationId xmlns:a16="http://schemas.microsoft.com/office/drawing/2014/main" id="{4433361B-FAEC-471E-A92C-86D85446CA2C}"/>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5">
              <a:extLst>
                <a:ext uri="{FF2B5EF4-FFF2-40B4-BE49-F238E27FC236}">
                  <a16:creationId xmlns:a16="http://schemas.microsoft.com/office/drawing/2014/main" id="{8B968411-1FB5-44AB-A2A7-ABEB33468C40}"/>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6">
              <a:extLst>
                <a:ext uri="{FF2B5EF4-FFF2-40B4-BE49-F238E27FC236}">
                  <a16:creationId xmlns:a16="http://schemas.microsoft.com/office/drawing/2014/main" id="{410EC248-504B-42CA-97E7-8D12D11BBA17}"/>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7">
              <a:extLst>
                <a:ext uri="{FF2B5EF4-FFF2-40B4-BE49-F238E27FC236}">
                  <a16:creationId xmlns:a16="http://schemas.microsoft.com/office/drawing/2014/main" id="{D0B73E8A-5EB5-4232-BBF1-066811348961}"/>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8">
              <a:extLst>
                <a:ext uri="{FF2B5EF4-FFF2-40B4-BE49-F238E27FC236}">
                  <a16:creationId xmlns:a16="http://schemas.microsoft.com/office/drawing/2014/main" id="{9FE95123-86C1-46FA-8BB4-47D1EB492065}"/>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9">
              <a:extLst>
                <a:ext uri="{FF2B5EF4-FFF2-40B4-BE49-F238E27FC236}">
                  <a16:creationId xmlns:a16="http://schemas.microsoft.com/office/drawing/2014/main" id="{AB526B06-E4AD-417E-8202-2252D3900952}"/>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30">
              <a:extLst>
                <a:ext uri="{FF2B5EF4-FFF2-40B4-BE49-F238E27FC236}">
                  <a16:creationId xmlns:a16="http://schemas.microsoft.com/office/drawing/2014/main" id="{7B9E0770-65EF-444C-94A1-7F3BD33A37A8}"/>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31">
              <a:extLst>
                <a:ext uri="{FF2B5EF4-FFF2-40B4-BE49-F238E27FC236}">
                  <a16:creationId xmlns:a16="http://schemas.microsoft.com/office/drawing/2014/main" id="{316AA8D8-43DD-4346-8DA0-C3D58C41F309}"/>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32">
              <a:extLst>
                <a:ext uri="{FF2B5EF4-FFF2-40B4-BE49-F238E27FC236}">
                  <a16:creationId xmlns:a16="http://schemas.microsoft.com/office/drawing/2014/main" id="{0F001358-97D6-418D-ACD0-CED4740609E0}"/>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33">
              <a:extLst>
                <a:ext uri="{FF2B5EF4-FFF2-40B4-BE49-F238E27FC236}">
                  <a16:creationId xmlns:a16="http://schemas.microsoft.com/office/drawing/2014/main" id="{5B3A26E3-74CE-46F2-9EFB-01F260A577C9}"/>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4">
              <a:extLst>
                <a:ext uri="{FF2B5EF4-FFF2-40B4-BE49-F238E27FC236}">
                  <a16:creationId xmlns:a16="http://schemas.microsoft.com/office/drawing/2014/main" id="{AC8DD2C4-A3E4-4B7E-9636-BF7799388BEE}"/>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5">
              <a:extLst>
                <a:ext uri="{FF2B5EF4-FFF2-40B4-BE49-F238E27FC236}">
                  <a16:creationId xmlns:a16="http://schemas.microsoft.com/office/drawing/2014/main" id="{AF9332F6-AAB6-43CE-850A-F0F00A0FC7F2}"/>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6">
              <a:extLst>
                <a:ext uri="{FF2B5EF4-FFF2-40B4-BE49-F238E27FC236}">
                  <a16:creationId xmlns:a16="http://schemas.microsoft.com/office/drawing/2014/main" id="{059F7FD2-5531-4010-BBD1-223EC5E20319}"/>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7">
              <a:extLst>
                <a:ext uri="{FF2B5EF4-FFF2-40B4-BE49-F238E27FC236}">
                  <a16:creationId xmlns:a16="http://schemas.microsoft.com/office/drawing/2014/main" id="{D4ED1777-B050-4DF3-B61B-015991B51DBB}"/>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8">
              <a:extLst>
                <a:ext uri="{FF2B5EF4-FFF2-40B4-BE49-F238E27FC236}">
                  <a16:creationId xmlns:a16="http://schemas.microsoft.com/office/drawing/2014/main" id="{93DE2D8D-87E8-455E-89C8-4163B55A3A3B}"/>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9">
              <a:extLst>
                <a:ext uri="{FF2B5EF4-FFF2-40B4-BE49-F238E27FC236}">
                  <a16:creationId xmlns:a16="http://schemas.microsoft.com/office/drawing/2014/main" id="{24054E39-F1CB-4284-A4D6-5E8D44A3A1CB}"/>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40">
              <a:extLst>
                <a:ext uri="{FF2B5EF4-FFF2-40B4-BE49-F238E27FC236}">
                  <a16:creationId xmlns:a16="http://schemas.microsoft.com/office/drawing/2014/main" id="{803CAD58-4A85-4648-B218-3099189B1E3F}"/>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41">
              <a:extLst>
                <a:ext uri="{FF2B5EF4-FFF2-40B4-BE49-F238E27FC236}">
                  <a16:creationId xmlns:a16="http://schemas.microsoft.com/office/drawing/2014/main" id="{30FD06A5-F0A1-4191-B94E-84B7ABE9F00C}"/>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42">
              <a:extLst>
                <a:ext uri="{FF2B5EF4-FFF2-40B4-BE49-F238E27FC236}">
                  <a16:creationId xmlns:a16="http://schemas.microsoft.com/office/drawing/2014/main" id="{5C88B83D-29A5-445F-B28D-1D605FC7871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43">
              <a:extLst>
                <a:ext uri="{FF2B5EF4-FFF2-40B4-BE49-F238E27FC236}">
                  <a16:creationId xmlns:a16="http://schemas.microsoft.com/office/drawing/2014/main" id="{3DADE403-0D23-4010-B78D-718F8C8F0B9C}"/>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4">
              <a:extLst>
                <a:ext uri="{FF2B5EF4-FFF2-40B4-BE49-F238E27FC236}">
                  <a16:creationId xmlns:a16="http://schemas.microsoft.com/office/drawing/2014/main" id="{D1876677-C4AF-4C87-BD18-3D3CEF57639B}"/>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5">
              <a:extLst>
                <a:ext uri="{FF2B5EF4-FFF2-40B4-BE49-F238E27FC236}">
                  <a16:creationId xmlns:a16="http://schemas.microsoft.com/office/drawing/2014/main" id="{949BB4C6-5B4B-4686-ADB2-A1A285DA334E}"/>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6">
              <a:extLst>
                <a:ext uri="{FF2B5EF4-FFF2-40B4-BE49-F238E27FC236}">
                  <a16:creationId xmlns:a16="http://schemas.microsoft.com/office/drawing/2014/main" id="{0788BE8C-9289-4CA5-B4C5-085DC8B06EAF}"/>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7">
              <a:extLst>
                <a:ext uri="{FF2B5EF4-FFF2-40B4-BE49-F238E27FC236}">
                  <a16:creationId xmlns:a16="http://schemas.microsoft.com/office/drawing/2014/main" id="{031B35F8-2EE3-4E92-B6C4-E77A2D585E9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8">
              <a:extLst>
                <a:ext uri="{FF2B5EF4-FFF2-40B4-BE49-F238E27FC236}">
                  <a16:creationId xmlns:a16="http://schemas.microsoft.com/office/drawing/2014/main" id="{6D5507D3-9744-47D6-9D23-CC6A2BD27381}"/>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9">
              <a:extLst>
                <a:ext uri="{FF2B5EF4-FFF2-40B4-BE49-F238E27FC236}">
                  <a16:creationId xmlns:a16="http://schemas.microsoft.com/office/drawing/2014/main" id="{2A622FB1-AE67-4BBF-860F-F9D0B24B809A}"/>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0706940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03F637E2-BFD7-4ED2-A4DA-0003C267A5F1}"/>
              </a:ext>
            </a:extLst>
          </p:cNvPr>
          <p:cNvPicPr>
            <a:picLocks noChangeAspect="1"/>
          </p:cNvPicPr>
          <p:nvPr/>
        </p:nvPicPr>
        <p:blipFill rotWithShape="1">
          <a:blip r:embed="rId2">
            <a:extLst>
              <a:ext uri="{28A0092B-C50C-407E-A947-70E740481C1C}">
                <a14:useLocalDpi xmlns:a14="http://schemas.microsoft.com/office/drawing/2010/main" val="0"/>
              </a:ext>
            </a:extLst>
          </a:blip>
          <a:srcRect l="3445" r="3445"/>
          <a:stretch/>
        </p:blipFill>
        <p:spPr>
          <a:xfrm>
            <a:off x="0" y="3190"/>
            <a:ext cx="12192000" cy="6851620"/>
          </a:xfrm>
          <a:prstGeom prst="rect">
            <a:avLst/>
          </a:prstGeom>
        </p:spPr>
      </p:pic>
      <p:grpSp>
        <p:nvGrpSpPr>
          <p:cNvPr id="7" name="组合 6">
            <a:extLst>
              <a:ext uri="{FF2B5EF4-FFF2-40B4-BE49-F238E27FC236}">
                <a16:creationId xmlns:a16="http://schemas.microsoft.com/office/drawing/2014/main" id="{450A600A-EA5B-48D8-83C1-BA408A8C3946}"/>
              </a:ext>
            </a:extLst>
          </p:cNvPr>
          <p:cNvGrpSpPr/>
          <p:nvPr/>
        </p:nvGrpSpPr>
        <p:grpSpPr>
          <a:xfrm>
            <a:off x="3823784" y="3429000"/>
            <a:ext cx="4544432" cy="0"/>
            <a:chOff x="3789494" y="3429000"/>
            <a:chExt cx="4544432" cy="0"/>
          </a:xfrm>
        </p:grpSpPr>
        <p:cxnSp>
          <p:nvCxnSpPr>
            <p:cNvPr id="9" name="直接连接符 8">
              <a:extLst>
                <a:ext uri="{FF2B5EF4-FFF2-40B4-BE49-F238E27FC236}">
                  <a16:creationId xmlns:a16="http://schemas.microsoft.com/office/drawing/2014/main" id="{E52066D5-EF6E-4404-9BD2-2872B152D523}"/>
                </a:ext>
              </a:extLst>
            </p:cNvPr>
            <p:cNvCxnSpPr/>
            <p:nvPr/>
          </p:nvCxnSpPr>
          <p:spPr>
            <a:xfrm>
              <a:off x="3789494" y="3429000"/>
              <a:ext cx="44002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3F3EB684-62AC-4C38-9D8E-2AC3199AF03B}"/>
                </a:ext>
              </a:extLst>
            </p:cNvPr>
            <p:cNvCxnSpPr/>
            <p:nvPr/>
          </p:nvCxnSpPr>
          <p:spPr>
            <a:xfrm>
              <a:off x="7893904" y="3429000"/>
              <a:ext cx="440022" cy="0"/>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14" name="组合 13">
            <a:extLst>
              <a:ext uri="{FF2B5EF4-FFF2-40B4-BE49-F238E27FC236}">
                <a16:creationId xmlns:a16="http://schemas.microsoft.com/office/drawing/2014/main" id="{B3952758-EC41-4901-BAB5-6A823DC140ED}"/>
              </a:ext>
            </a:extLst>
          </p:cNvPr>
          <p:cNvGrpSpPr/>
          <p:nvPr/>
        </p:nvGrpSpPr>
        <p:grpSpPr>
          <a:xfrm>
            <a:off x="4502727" y="2439434"/>
            <a:ext cx="3186546" cy="1700206"/>
            <a:chOff x="4725433" y="2439434"/>
            <a:chExt cx="2741136" cy="1700206"/>
          </a:xfrm>
        </p:grpSpPr>
        <p:sp>
          <p:nvSpPr>
            <p:cNvPr id="15" name="文本框 14">
              <a:extLst>
                <a:ext uri="{FF2B5EF4-FFF2-40B4-BE49-F238E27FC236}">
                  <a16:creationId xmlns:a16="http://schemas.microsoft.com/office/drawing/2014/main" id="{18BB457E-04D1-4176-9E4E-B9447CC36601}"/>
                </a:ext>
              </a:extLst>
            </p:cNvPr>
            <p:cNvSpPr txBox="1"/>
            <p:nvPr/>
          </p:nvSpPr>
          <p:spPr>
            <a:xfrm>
              <a:off x="4725433" y="3090446"/>
              <a:ext cx="2741136" cy="677108"/>
            </a:xfrm>
            <a:prstGeom prst="rect">
              <a:avLst/>
            </a:prstGeom>
            <a:noFill/>
          </p:spPr>
          <p:txBody>
            <a:bodyPr wrap="square" lIns="0" tIns="0" rIns="0" bIns="0" rtlCol="0" anchor="ctr">
              <a:spAutoFit/>
            </a:bodyPr>
            <a:lstStyle/>
            <a:p>
              <a:pPr algn="dist"/>
              <a:r>
                <a:rPr lang="zh-CN" altLang="en-US" sz="4400" b="1" dirty="0">
                  <a:solidFill>
                    <a:schemeClr val="accent1"/>
                  </a:solidFill>
                  <a:cs typeface="+mn-ea"/>
                  <a:sym typeface="+mn-lt"/>
                </a:rPr>
                <a:t>操作指南</a:t>
              </a:r>
              <a:endParaRPr lang="en-US" sz="4400" b="1" dirty="0">
                <a:solidFill>
                  <a:schemeClr val="accent1"/>
                </a:solidFill>
                <a:cs typeface="+mn-ea"/>
                <a:sym typeface="+mn-lt"/>
              </a:endParaRPr>
            </a:p>
          </p:txBody>
        </p:sp>
        <p:sp>
          <p:nvSpPr>
            <p:cNvPr id="16" name="文本框 15">
              <a:extLst>
                <a:ext uri="{FF2B5EF4-FFF2-40B4-BE49-F238E27FC236}">
                  <a16:creationId xmlns:a16="http://schemas.microsoft.com/office/drawing/2014/main" id="{D1ED3D9A-B72E-48F9-B3F4-75F97F363764}"/>
                </a:ext>
              </a:extLst>
            </p:cNvPr>
            <p:cNvSpPr txBox="1"/>
            <p:nvPr/>
          </p:nvSpPr>
          <p:spPr>
            <a:xfrm>
              <a:off x="5954658" y="2439434"/>
              <a:ext cx="282682" cy="430887"/>
            </a:xfrm>
            <a:prstGeom prst="rect">
              <a:avLst/>
            </a:prstGeom>
            <a:noFill/>
          </p:spPr>
          <p:txBody>
            <a:bodyPr wrap="none" lIns="0" tIns="0" rIns="0" bIns="0" rtlCol="0" anchor="ctr">
              <a:spAutoFit/>
            </a:bodyPr>
            <a:lstStyle/>
            <a:p>
              <a:pPr algn="ctr"/>
              <a:r>
                <a:rPr lang="en-US" altLang="zh-CN" sz="2800" dirty="0">
                  <a:solidFill>
                    <a:schemeClr val="accent1"/>
                  </a:solidFill>
                  <a:latin typeface="Impact" panose="020B0806030902050204" pitchFamily="34" charset="0"/>
                  <a:cs typeface="+mn-ea"/>
                  <a:sym typeface="+mn-lt"/>
                </a:rPr>
                <a:t>01</a:t>
              </a:r>
              <a:endParaRPr lang="en-US" sz="2800" dirty="0">
                <a:solidFill>
                  <a:schemeClr val="accent1"/>
                </a:solidFill>
                <a:latin typeface="Impact" panose="020B0806030902050204" pitchFamily="34" charset="0"/>
                <a:cs typeface="+mn-ea"/>
                <a:sym typeface="+mn-lt"/>
              </a:endParaRPr>
            </a:p>
          </p:txBody>
        </p:sp>
        <p:sp>
          <p:nvSpPr>
            <p:cNvPr id="17" name="文本框 16">
              <a:extLst>
                <a:ext uri="{FF2B5EF4-FFF2-40B4-BE49-F238E27FC236}">
                  <a16:creationId xmlns:a16="http://schemas.microsoft.com/office/drawing/2014/main" id="{9DC75E1A-B628-4CE2-952C-0B410F22F6DB}"/>
                </a:ext>
              </a:extLst>
            </p:cNvPr>
            <p:cNvSpPr txBox="1"/>
            <p:nvPr/>
          </p:nvSpPr>
          <p:spPr>
            <a:xfrm>
              <a:off x="4725433" y="3831863"/>
              <a:ext cx="2741136" cy="307777"/>
            </a:xfrm>
            <a:prstGeom prst="rect">
              <a:avLst/>
            </a:prstGeom>
            <a:noFill/>
          </p:spPr>
          <p:txBody>
            <a:bodyPr wrap="square" lIns="0" tIns="0" rIns="0" bIns="0" rtlCol="0" anchor="ctr">
              <a:spAutoFit/>
            </a:bodyPr>
            <a:lstStyle/>
            <a:p>
              <a:pPr algn="dist"/>
              <a:r>
                <a:rPr lang="en-US" altLang="zh-CN" sz="2000" dirty="0">
                  <a:solidFill>
                    <a:schemeClr val="bg1">
                      <a:lumMod val="65000"/>
                    </a:schemeClr>
                  </a:solidFill>
                  <a:cs typeface="+mn-ea"/>
                  <a:sym typeface="+mn-lt"/>
                </a:rPr>
                <a:t>Operation Guide</a:t>
              </a:r>
              <a:endParaRPr lang="en-US" sz="2000" dirty="0">
                <a:solidFill>
                  <a:schemeClr val="bg1">
                    <a:lumMod val="65000"/>
                  </a:schemeClr>
                </a:solidFill>
                <a:cs typeface="+mn-ea"/>
                <a:sym typeface="+mn-lt"/>
              </a:endParaRPr>
            </a:p>
          </p:txBody>
        </p:sp>
      </p:grpSp>
      <p:sp>
        <p:nvSpPr>
          <p:cNvPr id="10" name="任意多边形: 形状 9">
            <a:extLst>
              <a:ext uri="{FF2B5EF4-FFF2-40B4-BE49-F238E27FC236}">
                <a16:creationId xmlns:a16="http://schemas.microsoft.com/office/drawing/2014/main" id="{3767F876-5BAF-4247-978F-03D1578509E2}"/>
              </a:ext>
            </a:extLst>
          </p:cNvPr>
          <p:cNvSpPr/>
          <p:nvPr/>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 name="任意多边形: 形状 10">
            <a:extLst>
              <a:ext uri="{FF2B5EF4-FFF2-40B4-BE49-F238E27FC236}">
                <a16:creationId xmlns:a16="http://schemas.microsoft.com/office/drawing/2014/main" id="{41875B9B-6E85-4F44-886F-CBED6D4B3277}"/>
              </a:ext>
            </a:extLst>
          </p:cNvPr>
          <p:cNvSpPr/>
          <p:nvPr/>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 fmla="*/ 0 w 550718"/>
              <a:gd name="connsiteY0" fmla="*/ 15239 h 766502"/>
              <a:gd name="connsiteX1" fmla="*/ 471574 w 550718"/>
              <a:gd name="connsiteY1" fmla="*/ 0 h 766502"/>
              <a:gd name="connsiteX2" fmla="*/ 550718 w 550718"/>
              <a:gd name="connsiteY2" fmla="*/ 15239 h 766502"/>
              <a:gd name="connsiteX3" fmla="*/ 550718 w 550718"/>
              <a:gd name="connsiteY3" fmla="*/ 49529 h 766502"/>
              <a:gd name="connsiteX4" fmla="*/ 550718 w 550718"/>
              <a:gd name="connsiteY4" fmla="*/ 112394 h 766502"/>
              <a:gd name="connsiteX5" fmla="*/ 550718 w 550718"/>
              <a:gd name="connsiteY5" fmla="*/ 766502 h 766502"/>
              <a:gd name="connsiteX6" fmla="*/ 332814 w 550718"/>
              <a:gd name="connsiteY6" fmla="*/ 766502 h 766502"/>
              <a:gd name="connsiteX7" fmla="*/ 275359 w 550718"/>
              <a:gd name="connsiteY7" fmla="*/ 654877 h 766502"/>
              <a:gd name="connsiteX8" fmla="*/ 217904 w 550718"/>
              <a:gd name="connsiteY8" fmla="*/ 766502 h 766502"/>
              <a:gd name="connsiteX9" fmla="*/ 0 w 550718"/>
              <a:gd name="connsiteY9" fmla="*/ 766502 h 766502"/>
              <a:gd name="connsiteX10" fmla="*/ 0 w 550718"/>
              <a:gd name="connsiteY10" fmla="*/ 112394 h 766502"/>
              <a:gd name="connsiteX11" fmla="*/ 0 w 550718"/>
              <a:gd name="connsiteY11" fmla="*/ 49529 h 766502"/>
              <a:gd name="connsiteX12" fmla="*/ 0 w 550718"/>
              <a:gd name="connsiteY12" fmla="*/ 15239 h 766502"/>
              <a:gd name="connsiteX0" fmla="*/ 471574 w 563014"/>
              <a:gd name="connsiteY0" fmla="*/ 0 h 766502"/>
              <a:gd name="connsiteX1" fmla="*/ 550718 w 563014"/>
              <a:gd name="connsiteY1" fmla="*/ 15239 h 766502"/>
              <a:gd name="connsiteX2" fmla="*/ 550718 w 563014"/>
              <a:gd name="connsiteY2" fmla="*/ 49529 h 766502"/>
              <a:gd name="connsiteX3" fmla="*/ 550718 w 563014"/>
              <a:gd name="connsiteY3" fmla="*/ 112394 h 766502"/>
              <a:gd name="connsiteX4" fmla="*/ 550718 w 563014"/>
              <a:gd name="connsiteY4" fmla="*/ 766502 h 766502"/>
              <a:gd name="connsiteX5" fmla="*/ 332814 w 563014"/>
              <a:gd name="connsiteY5" fmla="*/ 766502 h 766502"/>
              <a:gd name="connsiteX6" fmla="*/ 275359 w 563014"/>
              <a:gd name="connsiteY6" fmla="*/ 654877 h 766502"/>
              <a:gd name="connsiteX7" fmla="*/ 217904 w 563014"/>
              <a:gd name="connsiteY7" fmla="*/ 766502 h 766502"/>
              <a:gd name="connsiteX8" fmla="*/ 0 w 563014"/>
              <a:gd name="connsiteY8" fmla="*/ 766502 h 766502"/>
              <a:gd name="connsiteX9" fmla="*/ 0 w 563014"/>
              <a:gd name="connsiteY9" fmla="*/ 112394 h 766502"/>
              <a:gd name="connsiteX10" fmla="*/ 0 w 563014"/>
              <a:gd name="connsiteY10" fmla="*/ 49529 h 766502"/>
              <a:gd name="connsiteX11" fmla="*/ 0 w 563014"/>
              <a:gd name="connsiteY11" fmla="*/ 15239 h 766502"/>
              <a:gd name="connsiteX12" fmla="*/ 563014 w 563014"/>
              <a:gd name="connsiteY12" fmla="*/ 91440 h 766502"/>
              <a:gd name="connsiteX0" fmla="*/ 550718 w 563014"/>
              <a:gd name="connsiteY0" fmla="*/ 1132 h 752395"/>
              <a:gd name="connsiteX1" fmla="*/ 550718 w 563014"/>
              <a:gd name="connsiteY1" fmla="*/ 35422 h 752395"/>
              <a:gd name="connsiteX2" fmla="*/ 550718 w 563014"/>
              <a:gd name="connsiteY2" fmla="*/ 98287 h 752395"/>
              <a:gd name="connsiteX3" fmla="*/ 550718 w 563014"/>
              <a:gd name="connsiteY3" fmla="*/ 752395 h 752395"/>
              <a:gd name="connsiteX4" fmla="*/ 332814 w 563014"/>
              <a:gd name="connsiteY4" fmla="*/ 752395 h 752395"/>
              <a:gd name="connsiteX5" fmla="*/ 275359 w 563014"/>
              <a:gd name="connsiteY5" fmla="*/ 640770 h 752395"/>
              <a:gd name="connsiteX6" fmla="*/ 217904 w 563014"/>
              <a:gd name="connsiteY6" fmla="*/ 752395 h 752395"/>
              <a:gd name="connsiteX7" fmla="*/ 0 w 563014"/>
              <a:gd name="connsiteY7" fmla="*/ 752395 h 752395"/>
              <a:gd name="connsiteX8" fmla="*/ 0 w 563014"/>
              <a:gd name="connsiteY8" fmla="*/ 98287 h 752395"/>
              <a:gd name="connsiteX9" fmla="*/ 0 w 563014"/>
              <a:gd name="connsiteY9" fmla="*/ 35422 h 752395"/>
              <a:gd name="connsiteX10" fmla="*/ 0 w 563014"/>
              <a:gd name="connsiteY10" fmla="*/ 1132 h 752395"/>
              <a:gd name="connsiteX11" fmla="*/ 563014 w 563014"/>
              <a:gd name="connsiteY11" fmla="*/ 77333 h 752395"/>
              <a:gd name="connsiteX0" fmla="*/ 550718 w 550718"/>
              <a:gd name="connsiteY0" fmla="*/ 0 h 751263"/>
              <a:gd name="connsiteX1" fmla="*/ 550718 w 550718"/>
              <a:gd name="connsiteY1" fmla="*/ 34290 h 751263"/>
              <a:gd name="connsiteX2" fmla="*/ 550718 w 550718"/>
              <a:gd name="connsiteY2" fmla="*/ 97155 h 751263"/>
              <a:gd name="connsiteX3" fmla="*/ 550718 w 550718"/>
              <a:gd name="connsiteY3" fmla="*/ 751263 h 751263"/>
              <a:gd name="connsiteX4" fmla="*/ 332814 w 550718"/>
              <a:gd name="connsiteY4" fmla="*/ 751263 h 751263"/>
              <a:gd name="connsiteX5" fmla="*/ 275359 w 550718"/>
              <a:gd name="connsiteY5" fmla="*/ 639638 h 751263"/>
              <a:gd name="connsiteX6" fmla="*/ 217904 w 550718"/>
              <a:gd name="connsiteY6" fmla="*/ 751263 h 751263"/>
              <a:gd name="connsiteX7" fmla="*/ 0 w 550718"/>
              <a:gd name="connsiteY7" fmla="*/ 751263 h 751263"/>
              <a:gd name="connsiteX8" fmla="*/ 0 w 550718"/>
              <a:gd name="connsiteY8" fmla="*/ 97155 h 751263"/>
              <a:gd name="connsiteX9" fmla="*/ 0 w 550718"/>
              <a:gd name="connsiteY9" fmla="*/ 34290 h 751263"/>
              <a:gd name="connsiteX10" fmla="*/ 0 w 550718"/>
              <a:gd name="connsiteY10" fmla="*/ 0 h 75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Tree>
    <p:extLst>
      <p:ext uri="{BB962C8B-B14F-4D97-AF65-F5344CB8AC3E}">
        <p14:creationId xmlns:p14="http://schemas.microsoft.com/office/powerpoint/2010/main" val="27021311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a:extLst>
              <a:ext uri="{FF2B5EF4-FFF2-40B4-BE49-F238E27FC236}">
                <a16:creationId xmlns:a16="http://schemas.microsoft.com/office/drawing/2014/main" id="{CE015544-FFA1-4E7A-ACC4-25FDBBCE6C2F}"/>
              </a:ext>
            </a:extLst>
          </p:cNvPr>
          <p:cNvSpPr/>
          <p:nvPr/>
        </p:nvSpPr>
        <p:spPr>
          <a:xfrm>
            <a:off x="8437418" y="1662545"/>
            <a:ext cx="3275157" cy="407871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sp>
        <p:nvSpPr>
          <p:cNvPr id="2" name="标题 1">
            <a:extLst>
              <a:ext uri="{FF2B5EF4-FFF2-40B4-BE49-F238E27FC236}">
                <a16:creationId xmlns:a16="http://schemas.microsoft.com/office/drawing/2014/main" id="{46F36054-9181-483D-A834-5133F8F8511F}"/>
              </a:ext>
            </a:extLst>
          </p:cNvPr>
          <p:cNvSpPr>
            <a:spLocks noGrp="1"/>
          </p:cNvSpPr>
          <p:nvPr>
            <p:ph type="title"/>
          </p:nvPr>
        </p:nvSpPr>
        <p:spPr/>
        <p:txBody>
          <a:bodyPr/>
          <a:lstStyle/>
          <a:p>
            <a:r>
              <a:rPr lang="zh-CN" altLang="en-US" dirty="0">
                <a:latin typeface="+mn-lt"/>
                <a:ea typeface="+mn-ea"/>
                <a:cs typeface="+mn-ea"/>
                <a:sym typeface="+mn-lt"/>
              </a:rPr>
              <a:t>一键换色，随心所欲</a:t>
            </a:r>
            <a:endParaRPr lang="en-US" dirty="0">
              <a:latin typeface="+mn-lt"/>
              <a:ea typeface="+mn-ea"/>
              <a:cs typeface="+mn-ea"/>
              <a:sym typeface="+mn-lt"/>
            </a:endParaRPr>
          </a:p>
        </p:txBody>
      </p:sp>
      <p:grpSp>
        <p:nvGrpSpPr>
          <p:cNvPr id="12" name="组合 11">
            <a:extLst>
              <a:ext uri="{FF2B5EF4-FFF2-40B4-BE49-F238E27FC236}">
                <a16:creationId xmlns:a16="http://schemas.microsoft.com/office/drawing/2014/main" id="{B670E116-CE42-4436-8BCD-98D45DB1B73D}"/>
              </a:ext>
            </a:extLst>
          </p:cNvPr>
          <p:cNvGrpSpPr/>
          <p:nvPr/>
        </p:nvGrpSpPr>
        <p:grpSpPr>
          <a:xfrm>
            <a:off x="8661106" y="2147559"/>
            <a:ext cx="2850007" cy="3108686"/>
            <a:chOff x="8631948" y="2334115"/>
            <a:chExt cx="2850007" cy="3108686"/>
          </a:xfrm>
        </p:grpSpPr>
        <p:sp>
          <p:nvSpPr>
            <p:cNvPr id="5" name="文本框 4">
              <a:extLst>
                <a:ext uri="{FF2B5EF4-FFF2-40B4-BE49-F238E27FC236}">
                  <a16:creationId xmlns:a16="http://schemas.microsoft.com/office/drawing/2014/main" id="{149690F2-3D4D-4862-BB3C-B790EA7865EE}"/>
                </a:ext>
              </a:extLst>
            </p:cNvPr>
            <p:cNvSpPr txBox="1"/>
            <p:nvPr/>
          </p:nvSpPr>
          <p:spPr>
            <a:xfrm>
              <a:off x="8631948" y="2795780"/>
              <a:ext cx="2850007" cy="1343125"/>
            </a:xfrm>
            <a:prstGeom prst="rect">
              <a:avLst/>
            </a:prstGeom>
            <a:noFill/>
          </p:spPr>
          <p:txBody>
            <a:bodyPr wrap="square" rtlCol="0">
              <a:spAutoFit/>
            </a:bodyPr>
            <a:lstStyle/>
            <a:p>
              <a:pPr>
                <a:lnSpc>
                  <a:spcPct val="130000"/>
                </a:lnSpc>
              </a:pPr>
              <a:r>
                <a:rPr lang="en-US" altLang="zh-CN" sz="1600" spc="100" dirty="0">
                  <a:solidFill>
                    <a:schemeClr val="tx1">
                      <a:lumMod val="75000"/>
                      <a:lumOff val="25000"/>
                    </a:schemeClr>
                  </a:solidFill>
                  <a:cs typeface="+mn-ea"/>
                  <a:sym typeface="+mn-lt"/>
                </a:rPr>
                <a:t>1. </a:t>
              </a:r>
              <a:r>
                <a:rPr lang="zh-CN" altLang="en-US" sz="1600" spc="100" dirty="0">
                  <a:solidFill>
                    <a:schemeClr val="tx1">
                      <a:lumMod val="75000"/>
                      <a:lumOff val="25000"/>
                    </a:schemeClr>
                  </a:solidFill>
                  <a:cs typeface="+mn-ea"/>
                  <a:sym typeface="+mn-lt"/>
                </a:rPr>
                <a:t>设计选项卡</a:t>
              </a:r>
              <a:endParaRPr lang="en-US" altLang="zh-CN" sz="1600" spc="100" dirty="0">
                <a:solidFill>
                  <a:schemeClr val="tx1">
                    <a:lumMod val="75000"/>
                    <a:lumOff val="25000"/>
                  </a:schemeClr>
                </a:solidFill>
                <a:cs typeface="+mn-ea"/>
                <a:sym typeface="+mn-lt"/>
              </a:endParaRPr>
            </a:p>
            <a:p>
              <a:pPr>
                <a:lnSpc>
                  <a:spcPct val="130000"/>
                </a:lnSpc>
              </a:pPr>
              <a:r>
                <a:rPr lang="en-US" altLang="zh-CN" sz="1600" spc="100" dirty="0">
                  <a:solidFill>
                    <a:schemeClr val="tx1">
                      <a:lumMod val="75000"/>
                      <a:lumOff val="25000"/>
                    </a:schemeClr>
                  </a:solidFill>
                  <a:cs typeface="+mn-ea"/>
                  <a:sym typeface="+mn-lt"/>
                </a:rPr>
                <a:t>2. </a:t>
              </a:r>
              <a:r>
                <a:rPr lang="zh-CN" altLang="en-US" sz="1600" spc="100" dirty="0">
                  <a:solidFill>
                    <a:schemeClr val="tx1">
                      <a:lumMod val="75000"/>
                      <a:lumOff val="25000"/>
                    </a:schemeClr>
                  </a:solidFill>
                  <a:cs typeface="+mn-ea"/>
                  <a:sym typeface="+mn-lt"/>
                </a:rPr>
                <a:t>变体下拉箭头</a:t>
              </a:r>
              <a:endParaRPr lang="en-US" altLang="zh-CN" sz="1600" spc="100" dirty="0">
                <a:solidFill>
                  <a:schemeClr val="tx1">
                    <a:lumMod val="75000"/>
                    <a:lumOff val="25000"/>
                  </a:schemeClr>
                </a:solidFill>
                <a:cs typeface="+mn-ea"/>
                <a:sym typeface="+mn-lt"/>
              </a:endParaRPr>
            </a:p>
            <a:p>
              <a:pPr>
                <a:lnSpc>
                  <a:spcPct val="130000"/>
                </a:lnSpc>
              </a:pPr>
              <a:r>
                <a:rPr lang="en-US" altLang="zh-CN" sz="1600" spc="100" dirty="0">
                  <a:solidFill>
                    <a:schemeClr val="tx1">
                      <a:lumMod val="75000"/>
                      <a:lumOff val="25000"/>
                    </a:schemeClr>
                  </a:solidFill>
                  <a:cs typeface="+mn-ea"/>
                  <a:sym typeface="+mn-lt"/>
                </a:rPr>
                <a:t>3. </a:t>
              </a:r>
              <a:r>
                <a:rPr lang="zh-CN" altLang="en-US" sz="1600" spc="100" dirty="0">
                  <a:solidFill>
                    <a:schemeClr val="tx1">
                      <a:lumMod val="75000"/>
                      <a:lumOff val="25000"/>
                    </a:schemeClr>
                  </a:solidFill>
                  <a:cs typeface="+mn-ea"/>
                  <a:sym typeface="+mn-lt"/>
                </a:rPr>
                <a:t>颜色</a:t>
              </a:r>
              <a:endParaRPr lang="en-US" altLang="zh-CN" sz="1600" spc="100" dirty="0">
                <a:solidFill>
                  <a:schemeClr val="tx1">
                    <a:lumMod val="75000"/>
                    <a:lumOff val="25000"/>
                  </a:schemeClr>
                </a:solidFill>
                <a:cs typeface="+mn-ea"/>
                <a:sym typeface="+mn-lt"/>
              </a:endParaRPr>
            </a:p>
            <a:p>
              <a:pPr>
                <a:lnSpc>
                  <a:spcPct val="130000"/>
                </a:lnSpc>
              </a:pPr>
              <a:r>
                <a:rPr lang="en-US" altLang="zh-CN" sz="1600" spc="100" dirty="0">
                  <a:solidFill>
                    <a:schemeClr val="tx1">
                      <a:lumMod val="75000"/>
                      <a:lumOff val="25000"/>
                    </a:schemeClr>
                  </a:solidFill>
                  <a:cs typeface="+mn-ea"/>
                  <a:sym typeface="+mn-lt"/>
                </a:rPr>
                <a:t>4. </a:t>
              </a:r>
              <a:r>
                <a:rPr lang="zh-CN" altLang="en-US" sz="1600" spc="100" dirty="0">
                  <a:solidFill>
                    <a:schemeClr val="tx1">
                      <a:lumMod val="75000"/>
                      <a:lumOff val="25000"/>
                    </a:schemeClr>
                  </a:solidFill>
                  <a:cs typeface="+mn-ea"/>
                  <a:sym typeface="+mn-lt"/>
                </a:rPr>
                <a:t>选择颜色即可</a:t>
              </a:r>
              <a:endParaRPr lang="en-US" altLang="zh-CN" sz="1600" spc="100" dirty="0">
                <a:solidFill>
                  <a:schemeClr val="tx1">
                    <a:lumMod val="75000"/>
                    <a:lumOff val="25000"/>
                  </a:schemeClr>
                </a:solidFill>
                <a:cs typeface="+mn-ea"/>
                <a:sym typeface="+mn-lt"/>
              </a:endParaRPr>
            </a:p>
          </p:txBody>
        </p:sp>
        <p:sp>
          <p:nvSpPr>
            <p:cNvPr id="6" name="文本框 5">
              <a:extLst>
                <a:ext uri="{FF2B5EF4-FFF2-40B4-BE49-F238E27FC236}">
                  <a16:creationId xmlns:a16="http://schemas.microsoft.com/office/drawing/2014/main" id="{053EEEB0-C661-4BC2-A584-69F202DE9F1C}"/>
                </a:ext>
              </a:extLst>
            </p:cNvPr>
            <p:cNvSpPr txBox="1"/>
            <p:nvPr/>
          </p:nvSpPr>
          <p:spPr>
            <a:xfrm>
              <a:off x="8631948" y="2334115"/>
              <a:ext cx="2850007" cy="461665"/>
            </a:xfrm>
            <a:prstGeom prst="rect">
              <a:avLst/>
            </a:prstGeom>
            <a:noFill/>
          </p:spPr>
          <p:txBody>
            <a:bodyPr wrap="square" rtlCol="0">
              <a:spAutoFit/>
            </a:bodyPr>
            <a:lstStyle/>
            <a:p>
              <a:pPr lvl="0">
                <a:defRPr/>
              </a:pPr>
              <a:r>
                <a:rPr lang="zh-CN" altLang="en-US" sz="2400" b="1" spc="150" dirty="0">
                  <a:solidFill>
                    <a:schemeClr val="accent1"/>
                  </a:solidFill>
                  <a:cs typeface="+mn-ea"/>
                  <a:sym typeface="+mn-lt"/>
                </a:rPr>
                <a:t>更换主题颜色</a:t>
              </a:r>
            </a:p>
          </p:txBody>
        </p:sp>
        <p:sp>
          <p:nvSpPr>
            <p:cNvPr id="7" name="文本框 6">
              <a:extLst>
                <a:ext uri="{FF2B5EF4-FFF2-40B4-BE49-F238E27FC236}">
                  <a16:creationId xmlns:a16="http://schemas.microsoft.com/office/drawing/2014/main" id="{649372BF-B9B3-4C93-A53B-074FF617C838}"/>
                </a:ext>
              </a:extLst>
            </p:cNvPr>
            <p:cNvSpPr txBox="1"/>
            <p:nvPr/>
          </p:nvSpPr>
          <p:spPr>
            <a:xfrm>
              <a:off x="8631948" y="4858026"/>
              <a:ext cx="2850007" cy="584775"/>
            </a:xfrm>
            <a:prstGeom prst="rect">
              <a:avLst/>
            </a:prstGeom>
            <a:noFill/>
          </p:spPr>
          <p:txBody>
            <a:bodyPr wrap="square" rtlCol="0">
              <a:spAutoFit/>
            </a:bodyPr>
            <a:lstStyle/>
            <a:p>
              <a:pPr lvl="0">
                <a:defRPr/>
              </a:pPr>
              <a:r>
                <a:rPr kumimoji="0" lang="zh-CN" altLang="en-US" sz="1600" b="0" i="0" u="none" strike="noStrike" kern="1200" cap="none" spc="150" normalizeH="0" baseline="0" noProof="0">
                  <a:ln>
                    <a:noFill/>
                  </a:ln>
                  <a:solidFill>
                    <a:schemeClr val="accent1"/>
                  </a:solidFill>
                  <a:effectLst/>
                  <a:uLnTx/>
                  <a:uFillTx/>
                  <a:cs typeface="+mn-ea"/>
                  <a:sym typeface="+mn-lt"/>
                </a:rPr>
                <a:t>动图，</a:t>
              </a:r>
              <a:endParaRPr kumimoji="0" lang="en-US" altLang="zh-CN" sz="1600" b="0" i="0" u="none" strike="noStrike" kern="1200" cap="none" spc="150" normalizeH="0" baseline="0" noProof="0">
                <a:ln>
                  <a:noFill/>
                </a:ln>
                <a:solidFill>
                  <a:schemeClr val="accent1"/>
                </a:solidFill>
                <a:effectLst/>
                <a:uLnTx/>
                <a:uFillTx/>
                <a:cs typeface="+mn-ea"/>
                <a:sym typeface="+mn-lt"/>
              </a:endParaRPr>
            </a:p>
            <a:p>
              <a:pPr lvl="0">
                <a:defRPr/>
              </a:pPr>
              <a:r>
                <a:rPr kumimoji="0" lang="zh-CN" altLang="en-US" sz="1600" b="0" i="0" u="none" strike="noStrike" kern="1200" cap="none" spc="150" normalizeH="0" baseline="0" noProof="0">
                  <a:ln>
                    <a:noFill/>
                  </a:ln>
                  <a:solidFill>
                    <a:schemeClr val="accent1"/>
                  </a:solidFill>
                  <a:effectLst/>
                  <a:uLnTx/>
                  <a:uFillTx/>
                  <a:cs typeface="+mn-ea"/>
                  <a:sym typeface="+mn-lt"/>
                </a:rPr>
                <a:t>请放映时观看（</a:t>
              </a:r>
              <a:r>
                <a:rPr lang="en-US" altLang="zh-CN" sz="1600" spc="150">
                  <a:solidFill>
                    <a:schemeClr val="accent1"/>
                  </a:solidFill>
                  <a:cs typeface="+mn-ea"/>
                  <a:sym typeface="+mn-lt"/>
                </a:rPr>
                <a:t>S</a:t>
              </a:r>
              <a:r>
                <a:rPr kumimoji="0" lang="en-US" altLang="zh-CN" sz="1600" b="0" i="0" u="none" strike="noStrike" kern="1200" cap="none" spc="150" normalizeH="0" baseline="0" noProof="0" err="1">
                  <a:ln>
                    <a:noFill/>
                  </a:ln>
                  <a:solidFill>
                    <a:schemeClr val="accent1"/>
                  </a:solidFill>
                  <a:effectLst/>
                  <a:uLnTx/>
                  <a:uFillTx/>
                  <a:cs typeface="+mn-ea"/>
                  <a:sym typeface="+mn-lt"/>
                </a:rPr>
                <a:t>hift</a:t>
              </a:r>
              <a:r>
                <a:rPr kumimoji="0" lang="en-US" altLang="zh-CN" sz="1600" b="0" i="0" u="none" strike="noStrike" kern="1200" cap="none" spc="150" normalizeH="0" baseline="0" noProof="0">
                  <a:ln>
                    <a:noFill/>
                  </a:ln>
                  <a:solidFill>
                    <a:schemeClr val="accent1"/>
                  </a:solidFill>
                  <a:effectLst/>
                  <a:uLnTx/>
                  <a:uFillTx/>
                  <a:cs typeface="+mn-ea"/>
                  <a:sym typeface="+mn-lt"/>
                </a:rPr>
                <a:t> + F5</a:t>
              </a:r>
              <a:r>
                <a:rPr kumimoji="0" lang="zh-CN" altLang="en-US" sz="1600" b="0" i="0" u="none" strike="noStrike" kern="1200" cap="none" spc="150" normalizeH="0" baseline="0" noProof="0">
                  <a:ln>
                    <a:noFill/>
                  </a:ln>
                  <a:solidFill>
                    <a:schemeClr val="accent1"/>
                  </a:solidFill>
                  <a:effectLst/>
                  <a:uLnTx/>
                  <a:uFillTx/>
                  <a:cs typeface="+mn-ea"/>
                  <a:sym typeface="+mn-lt"/>
                </a:rPr>
                <a:t>）  </a:t>
              </a:r>
            </a:p>
          </p:txBody>
        </p:sp>
      </p:grpSp>
      <p:sp>
        <p:nvSpPr>
          <p:cNvPr id="13" name="灯片编号占位符 3">
            <a:extLst>
              <a:ext uri="{FF2B5EF4-FFF2-40B4-BE49-F238E27FC236}">
                <a16:creationId xmlns:a16="http://schemas.microsoft.com/office/drawing/2014/main" id="{629D39D8-0836-475C-969B-22FB68BAB63F}"/>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68</a:t>
            </a:fld>
            <a:endParaRPr lang="en-US" dirty="0">
              <a:solidFill>
                <a:srgbClr val="000000">
                  <a:tint val="75000"/>
                </a:srgbClr>
              </a:solidFill>
              <a:cs typeface="+mn-ea"/>
              <a:sym typeface="+mn-lt"/>
            </a:endParaRPr>
          </a:p>
        </p:txBody>
      </p:sp>
      <p:pic>
        <p:nvPicPr>
          <p:cNvPr id="8" name="图片 7">
            <a:extLst>
              <a:ext uri="{FF2B5EF4-FFF2-40B4-BE49-F238E27FC236}">
                <a16:creationId xmlns:a16="http://schemas.microsoft.com/office/drawing/2014/main" id="{2871E18E-E529-4A13-9A83-B35AE2983862}"/>
              </a:ext>
            </a:extLst>
          </p:cNvPr>
          <p:cNvPicPr>
            <a:picLocks/>
          </p:cNvPicPr>
          <p:nvPr/>
        </p:nvPicPr>
        <p:blipFill>
          <a:blip r:embed="rId2" cstate="screen">
            <a:extLst>
              <a:ext uri="{28A0092B-C50C-407E-A947-70E740481C1C}">
                <a14:useLocalDpi xmlns:a14="http://schemas.microsoft.com/office/drawing/2010/main"/>
              </a:ext>
            </a:extLst>
          </a:blip>
          <a:stretch>
            <a:fillRect/>
          </a:stretch>
        </p:blipFill>
        <p:spPr>
          <a:xfrm>
            <a:off x="515938" y="1662545"/>
            <a:ext cx="7806308" cy="4078714"/>
          </a:xfrm>
          <a:prstGeom prst="rect">
            <a:avLst/>
          </a:prstGeom>
        </p:spPr>
      </p:pic>
    </p:spTree>
    <p:extLst>
      <p:ext uri="{BB962C8B-B14F-4D97-AF65-F5344CB8AC3E}">
        <p14:creationId xmlns:p14="http://schemas.microsoft.com/office/powerpoint/2010/main" val="27063540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a:extLst>
              <a:ext uri="{FF2B5EF4-FFF2-40B4-BE49-F238E27FC236}">
                <a16:creationId xmlns:a16="http://schemas.microsoft.com/office/drawing/2014/main" id="{3AF8601E-8F49-4FF8-A118-EF7E2D07C4F2}"/>
              </a:ext>
            </a:extLst>
          </p:cNvPr>
          <p:cNvSpPr/>
          <p:nvPr/>
        </p:nvSpPr>
        <p:spPr>
          <a:xfrm>
            <a:off x="8437418" y="1662545"/>
            <a:ext cx="3275157" cy="407871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sp>
        <p:nvSpPr>
          <p:cNvPr id="2" name="标题 1">
            <a:extLst>
              <a:ext uri="{FF2B5EF4-FFF2-40B4-BE49-F238E27FC236}">
                <a16:creationId xmlns:a16="http://schemas.microsoft.com/office/drawing/2014/main" id="{46F36054-9181-483D-A834-5133F8F8511F}"/>
              </a:ext>
            </a:extLst>
          </p:cNvPr>
          <p:cNvSpPr>
            <a:spLocks noGrp="1"/>
          </p:cNvSpPr>
          <p:nvPr>
            <p:ph type="title"/>
          </p:nvPr>
        </p:nvSpPr>
        <p:spPr/>
        <p:txBody>
          <a:bodyPr/>
          <a:lstStyle/>
          <a:p>
            <a:r>
              <a:rPr lang="zh-CN" altLang="en-US" dirty="0">
                <a:latin typeface="+mn-lt"/>
                <a:ea typeface="+mn-ea"/>
                <a:cs typeface="+mn-ea"/>
                <a:sym typeface="+mn-lt"/>
              </a:rPr>
              <a:t>快速更换版式，解锁多样排版</a:t>
            </a:r>
            <a:endParaRPr lang="en-US" dirty="0">
              <a:latin typeface="+mn-lt"/>
              <a:ea typeface="+mn-ea"/>
              <a:cs typeface="+mn-ea"/>
              <a:sym typeface="+mn-lt"/>
            </a:endParaRPr>
          </a:p>
        </p:txBody>
      </p:sp>
      <p:grpSp>
        <p:nvGrpSpPr>
          <p:cNvPr id="14" name="组合 13">
            <a:extLst>
              <a:ext uri="{FF2B5EF4-FFF2-40B4-BE49-F238E27FC236}">
                <a16:creationId xmlns:a16="http://schemas.microsoft.com/office/drawing/2014/main" id="{9BBAB034-7A1A-4E86-945E-28ED6870417A}"/>
              </a:ext>
            </a:extLst>
          </p:cNvPr>
          <p:cNvGrpSpPr/>
          <p:nvPr/>
        </p:nvGrpSpPr>
        <p:grpSpPr>
          <a:xfrm>
            <a:off x="8661106" y="2147559"/>
            <a:ext cx="2850007" cy="3108686"/>
            <a:chOff x="8631948" y="2334115"/>
            <a:chExt cx="2850007" cy="3108686"/>
          </a:xfrm>
        </p:grpSpPr>
        <p:sp>
          <p:nvSpPr>
            <p:cNvPr id="15" name="文本框 14">
              <a:extLst>
                <a:ext uri="{FF2B5EF4-FFF2-40B4-BE49-F238E27FC236}">
                  <a16:creationId xmlns:a16="http://schemas.microsoft.com/office/drawing/2014/main" id="{9C491556-F3BB-4150-BB9E-844852CFB8DE}"/>
                </a:ext>
              </a:extLst>
            </p:cNvPr>
            <p:cNvSpPr txBox="1"/>
            <p:nvPr/>
          </p:nvSpPr>
          <p:spPr>
            <a:xfrm>
              <a:off x="8631948" y="2795780"/>
              <a:ext cx="2850007" cy="700898"/>
            </a:xfrm>
            <a:prstGeom prst="rect">
              <a:avLst/>
            </a:prstGeom>
            <a:noFill/>
          </p:spPr>
          <p:txBody>
            <a:bodyPr wrap="square" rtlCol="0">
              <a:spAutoFit/>
            </a:bodyPr>
            <a:lstStyle/>
            <a:p>
              <a:pPr>
                <a:lnSpc>
                  <a:spcPct val="130000"/>
                </a:lnSpc>
              </a:pPr>
              <a:r>
                <a:rPr lang="en-US" altLang="zh-CN" sz="1600" spc="100" dirty="0">
                  <a:solidFill>
                    <a:schemeClr val="tx1">
                      <a:lumMod val="75000"/>
                      <a:lumOff val="25000"/>
                    </a:schemeClr>
                  </a:solidFill>
                  <a:cs typeface="+mn-ea"/>
                  <a:sym typeface="+mn-lt"/>
                </a:rPr>
                <a:t>1. </a:t>
              </a:r>
              <a:r>
                <a:rPr lang="zh-CN" altLang="en-US" sz="1600" spc="100" dirty="0">
                  <a:solidFill>
                    <a:schemeClr val="tx1">
                      <a:lumMod val="75000"/>
                      <a:lumOff val="25000"/>
                    </a:schemeClr>
                  </a:solidFill>
                  <a:cs typeface="+mn-ea"/>
                  <a:sym typeface="+mn-lt"/>
                </a:rPr>
                <a:t>右键单击左侧缩略图</a:t>
              </a:r>
            </a:p>
            <a:p>
              <a:pPr>
                <a:lnSpc>
                  <a:spcPct val="130000"/>
                </a:lnSpc>
              </a:pPr>
              <a:r>
                <a:rPr lang="en-US" altLang="zh-CN" sz="1600" spc="100" dirty="0">
                  <a:solidFill>
                    <a:schemeClr val="tx1">
                      <a:lumMod val="75000"/>
                      <a:lumOff val="25000"/>
                    </a:schemeClr>
                  </a:solidFill>
                  <a:cs typeface="+mn-ea"/>
                  <a:sym typeface="+mn-lt"/>
                </a:rPr>
                <a:t>2. </a:t>
              </a:r>
              <a:r>
                <a:rPr lang="zh-CN" altLang="en-US" sz="1600" spc="100" dirty="0">
                  <a:solidFill>
                    <a:schemeClr val="tx1">
                      <a:lumMod val="75000"/>
                      <a:lumOff val="25000"/>
                    </a:schemeClr>
                  </a:solidFill>
                  <a:cs typeface="+mn-ea"/>
                  <a:sym typeface="+mn-lt"/>
                </a:rPr>
                <a:t>版式→选择其他版式</a:t>
              </a:r>
            </a:p>
          </p:txBody>
        </p:sp>
        <p:sp>
          <p:nvSpPr>
            <p:cNvPr id="16" name="文本框 15">
              <a:extLst>
                <a:ext uri="{FF2B5EF4-FFF2-40B4-BE49-F238E27FC236}">
                  <a16:creationId xmlns:a16="http://schemas.microsoft.com/office/drawing/2014/main" id="{0C9D9320-175A-4D31-BC4B-167C4965006E}"/>
                </a:ext>
              </a:extLst>
            </p:cNvPr>
            <p:cNvSpPr txBox="1"/>
            <p:nvPr/>
          </p:nvSpPr>
          <p:spPr>
            <a:xfrm>
              <a:off x="8631948" y="2334115"/>
              <a:ext cx="2850007" cy="461665"/>
            </a:xfrm>
            <a:prstGeom prst="rect">
              <a:avLst/>
            </a:prstGeom>
            <a:noFill/>
          </p:spPr>
          <p:txBody>
            <a:bodyPr wrap="square" rtlCol="0">
              <a:spAutoFit/>
            </a:bodyPr>
            <a:lstStyle/>
            <a:p>
              <a:pPr lvl="0">
                <a:defRPr/>
              </a:pPr>
              <a:r>
                <a:rPr lang="zh-CN" altLang="en-US" sz="2400" b="1" spc="150" dirty="0">
                  <a:solidFill>
                    <a:schemeClr val="accent1"/>
                  </a:solidFill>
                  <a:cs typeface="+mn-ea"/>
                  <a:sym typeface="+mn-lt"/>
                </a:rPr>
                <a:t>更换版式</a:t>
              </a:r>
            </a:p>
          </p:txBody>
        </p:sp>
        <p:sp>
          <p:nvSpPr>
            <p:cNvPr id="17" name="文本框 16">
              <a:extLst>
                <a:ext uri="{FF2B5EF4-FFF2-40B4-BE49-F238E27FC236}">
                  <a16:creationId xmlns:a16="http://schemas.microsoft.com/office/drawing/2014/main" id="{268148A8-8587-4DD4-8799-F99C279C838F}"/>
                </a:ext>
              </a:extLst>
            </p:cNvPr>
            <p:cNvSpPr txBox="1"/>
            <p:nvPr/>
          </p:nvSpPr>
          <p:spPr>
            <a:xfrm>
              <a:off x="8631948" y="4858026"/>
              <a:ext cx="2850007" cy="584775"/>
            </a:xfrm>
            <a:prstGeom prst="rect">
              <a:avLst/>
            </a:prstGeom>
            <a:noFill/>
          </p:spPr>
          <p:txBody>
            <a:bodyPr wrap="square" rtlCol="0">
              <a:spAutoFit/>
            </a:bodyPr>
            <a:lstStyle/>
            <a:p>
              <a:pPr lvl="0">
                <a:defRPr/>
              </a:pPr>
              <a:r>
                <a:rPr kumimoji="0" lang="zh-CN" altLang="en-US" sz="1600" b="0" i="0" u="none" strike="noStrike" kern="1200" cap="none" spc="150" normalizeH="0" baseline="0" noProof="0" dirty="0">
                  <a:ln>
                    <a:noFill/>
                  </a:ln>
                  <a:solidFill>
                    <a:schemeClr val="accent1"/>
                  </a:solidFill>
                  <a:effectLst/>
                  <a:uLnTx/>
                  <a:uFillTx/>
                  <a:cs typeface="+mn-ea"/>
                  <a:sym typeface="+mn-lt"/>
                </a:rPr>
                <a:t>动图，</a:t>
              </a:r>
              <a:endParaRPr kumimoji="0" lang="en-US" altLang="zh-CN" sz="1600" b="0" i="0" u="none" strike="noStrike" kern="1200" cap="none" spc="150" normalizeH="0" baseline="0" noProof="0" dirty="0">
                <a:ln>
                  <a:noFill/>
                </a:ln>
                <a:solidFill>
                  <a:schemeClr val="accent1"/>
                </a:solidFill>
                <a:effectLst/>
                <a:uLnTx/>
                <a:uFillTx/>
                <a:cs typeface="+mn-ea"/>
                <a:sym typeface="+mn-lt"/>
              </a:endParaRPr>
            </a:p>
            <a:p>
              <a:pPr lvl="0">
                <a:defRPr/>
              </a:pPr>
              <a:r>
                <a:rPr kumimoji="0" lang="zh-CN" altLang="en-US" sz="1600" b="0" i="0" u="none" strike="noStrike" kern="1200" cap="none" spc="150" normalizeH="0" baseline="0" noProof="0" dirty="0">
                  <a:ln>
                    <a:noFill/>
                  </a:ln>
                  <a:solidFill>
                    <a:schemeClr val="accent1"/>
                  </a:solidFill>
                  <a:effectLst/>
                  <a:uLnTx/>
                  <a:uFillTx/>
                  <a:cs typeface="+mn-ea"/>
                  <a:sym typeface="+mn-lt"/>
                </a:rPr>
                <a:t>请放映时观看（</a:t>
              </a:r>
              <a:r>
                <a:rPr lang="en-US" altLang="zh-CN" sz="1600" spc="150" dirty="0">
                  <a:solidFill>
                    <a:schemeClr val="accent1"/>
                  </a:solidFill>
                  <a:cs typeface="+mn-ea"/>
                  <a:sym typeface="+mn-lt"/>
                </a:rPr>
                <a:t>S</a:t>
              </a:r>
              <a:r>
                <a:rPr kumimoji="0" lang="en-US" altLang="zh-CN" sz="1600" b="0" i="0" u="none" strike="noStrike" kern="1200" cap="none" spc="150" normalizeH="0" baseline="0" noProof="0" dirty="0" err="1">
                  <a:ln>
                    <a:noFill/>
                  </a:ln>
                  <a:solidFill>
                    <a:schemeClr val="accent1"/>
                  </a:solidFill>
                  <a:effectLst/>
                  <a:uLnTx/>
                  <a:uFillTx/>
                  <a:cs typeface="+mn-ea"/>
                  <a:sym typeface="+mn-lt"/>
                </a:rPr>
                <a:t>hift</a:t>
              </a:r>
              <a:r>
                <a:rPr kumimoji="0" lang="en-US" altLang="zh-CN" sz="1600" b="0" i="0" u="none" strike="noStrike" kern="1200" cap="none" spc="150" normalizeH="0" baseline="0" noProof="0" dirty="0">
                  <a:ln>
                    <a:noFill/>
                  </a:ln>
                  <a:solidFill>
                    <a:schemeClr val="accent1"/>
                  </a:solidFill>
                  <a:effectLst/>
                  <a:uLnTx/>
                  <a:uFillTx/>
                  <a:cs typeface="+mn-ea"/>
                  <a:sym typeface="+mn-lt"/>
                </a:rPr>
                <a:t> + F5</a:t>
              </a:r>
              <a:r>
                <a:rPr kumimoji="0" lang="zh-CN" altLang="en-US" sz="1600" b="0" i="0" u="none" strike="noStrike" kern="1200" cap="none" spc="150" normalizeH="0" baseline="0" noProof="0" dirty="0">
                  <a:ln>
                    <a:noFill/>
                  </a:ln>
                  <a:solidFill>
                    <a:schemeClr val="accent1"/>
                  </a:solidFill>
                  <a:effectLst/>
                  <a:uLnTx/>
                  <a:uFillTx/>
                  <a:cs typeface="+mn-ea"/>
                  <a:sym typeface="+mn-lt"/>
                </a:rPr>
                <a:t>）  </a:t>
              </a:r>
            </a:p>
          </p:txBody>
        </p:sp>
      </p:grpSp>
      <p:sp>
        <p:nvSpPr>
          <p:cNvPr id="18" name="灯片编号占位符 3">
            <a:extLst>
              <a:ext uri="{FF2B5EF4-FFF2-40B4-BE49-F238E27FC236}">
                <a16:creationId xmlns:a16="http://schemas.microsoft.com/office/drawing/2014/main" id="{85C8C0F5-8A33-47C0-802E-2251EE2B5F54}"/>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69</a:t>
            </a:fld>
            <a:endParaRPr lang="en-US" dirty="0">
              <a:solidFill>
                <a:srgbClr val="000000">
                  <a:tint val="75000"/>
                </a:srgbClr>
              </a:solidFill>
              <a:cs typeface="+mn-ea"/>
              <a:sym typeface="+mn-lt"/>
            </a:endParaRPr>
          </a:p>
        </p:txBody>
      </p:sp>
      <p:pic>
        <p:nvPicPr>
          <p:cNvPr id="4" name="图片 3">
            <a:extLst>
              <a:ext uri="{FF2B5EF4-FFF2-40B4-BE49-F238E27FC236}">
                <a16:creationId xmlns:a16="http://schemas.microsoft.com/office/drawing/2014/main" id="{43F85F1A-4A3F-4344-B5BA-E14B487E3F6E}"/>
              </a:ext>
            </a:extLst>
          </p:cNvPr>
          <p:cNvPicPr>
            <a:picLocks/>
          </p:cNvPicPr>
          <p:nvPr/>
        </p:nvPicPr>
        <p:blipFill>
          <a:blip r:embed="rId2" cstate="screen">
            <a:extLst>
              <a:ext uri="{28A0092B-C50C-407E-A947-70E740481C1C}">
                <a14:useLocalDpi xmlns:a14="http://schemas.microsoft.com/office/drawing/2010/main"/>
              </a:ext>
            </a:extLst>
          </a:blip>
          <a:stretch>
            <a:fillRect/>
          </a:stretch>
        </p:blipFill>
        <p:spPr>
          <a:xfrm>
            <a:off x="515938" y="1662545"/>
            <a:ext cx="7806308" cy="4078714"/>
          </a:xfrm>
          <a:prstGeom prst="rect">
            <a:avLst/>
          </a:prstGeom>
        </p:spPr>
      </p:pic>
    </p:spTree>
    <p:extLst>
      <p:ext uri="{BB962C8B-B14F-4D97-AF65-F5344CB8AC3E}">
        <p14:creationId xmlns:p14="http://schemas.microsoft.com/office/powerpoint/2010/main" val="130720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标题 75">
            <a:extLst>
              <a:ext uri="{FF2B5EF4-FFF2-40B4-BE49-F238E27FC236}">
                <a16:creationId xmlns:a16="http://schemas.microsoft.com/office/drawing/2014/main" id="{7310B5CE-E985-4E20-BC3E-91E506CD2E5B}"/>
              </a:ext>
            </a:extLst>
          </p:cNvPr>
          <p:cNvSpPr>
            <a:spLocks noGrp="1"/>
          </p:cNvSpPr>
          <p:nvPr>
            <p:ph type="ctrTitle"/>
          </p:nvPr>
        </p:nvSpPr>
        <p:spPr/>
        <p:txBody>
          <a:bodyPr/>
          <a:lstStyle/>
          <a:p>
            <a:pPr algn="dist"/>
            <a:r>
              <a:rPr lang="zh-CN" altLang="en-US" dirty="0">
                <a:cs typeface="+mn-ea"/>
                <a:sym typeface="+mn-lt"/>
              </a:rPr>
              <a:t>上海大学汇报答辩通用模板</a:t>
            </a:r>
            <a:endParaRPr lang="en-US" dirty="0">
              <a:cs typeface="+mn-ea"/>
              <a:sym typeface="+mn-lt"/>
            </a:endParaRPr>
          </a:p>
        </p:txBody>
      </p:sp>
      <p:sp>
        <p:nvSpPr>
          <p:cNvPr id="77" name="副标题 76">
            <a:extLst>
              <a:ext uri="{FF2B5EF4-FFF2-40B4-BE49-F238E27FC236}">
                <a16:creationId xmlns:a16="http://schemas.microsoft.com/office/drawing/2014/main" id="{CF91E93B-766D-4C12-B956-C80286C67CF8}"/>
              </a:ext>
            </a:extLst>
          </p:cNvPr>
          <p:cNvSpPr>
            <a:spLocks noGrp="1"/>
          </p:cNvSpPr>
          <p:nvPr>
            <p:ph type="subTitle" idx="1"/>
          </p:nvPr>
        </p:nvSpPr>
        <p:spPr/>
        <p:txBody>
          <a:bodyPr/>
          <a:lstStyle/>
          <a:p>
            <a:pPr algn="dist"/>
            <a:r>
              <a:rPr lang="en-US" dirty="0">
                <a:cs typeface="+mn-ea"/>
                <a:sym typeface="+mn-lt"/>
              </a:rPr>
              <a:t>GENERAL REPORTING TEMPLATE FOR SHANGHAI UNIVERSITY</a:t>
            </a:r>
          </a:p>
        </p:txBody>
      </p:sp>
      <p:sp>
        <p:nvSpPr>
          <p:cNvPr id="78" name="内容占位符 77">
            <a:extLst>
              <a:ext uri="{FF2B5EF4-FFF2-40B4-BE49-F238E27FC236}">
                <a16:creationId xmlns:a16="http://schemas.microsoft.com/office/drawing/2014/main" id="{7C1E4133-D418-48FE-9CC1-25B2D2E86FF4}"/>
              </a:ext>
            </a:extLst>
          </p:cNvPr>
          <p:cNvSpPr>
            <a:spLocks noGrp="1"/>
          </p:cNvSpPr>
          <p:nvPr>
            <p:ph sz="quarter" idx="13"/>
          </p:nvPr>
        </p:nvSpPr>
        <p:spPr/>
        <p:txBody>
          <a:bodyPr>
            <a:normAutofit/>
          </a:bodyPr>
          <a:lstStyle/>
          <a:p>
            <a:r>
              <a:rPr lang="zh-CN" altLang="en-US" dirty="0">
                <a:cs typeface="+mn-ea"/>
                <a:sym typeface="+mn-lt"/>
              </a:rPr>
              <a:t>指导教师：林利蒙</a:t>
            </a:r>
            <a:endParaRPr lang="en-US" altLang="zh-CN" dirty="0">
              <a:cs typeface="+mn-ea"/>
              <a:sym typeface="+mn-lt"/>
            </a:endParaRPr>
          </a:p>
        </p:txBody>
      </p:sp>
      <p:sp>
        <p:nvSpPr>
          <p:cNvPr id="75" name="内容占位符 74">
            <a:extLst>
              <a:ext uri="{FF2B5EF4-FFF2-40B4-BE49-F238E27FC236}">
                <a16:creationId xmlns:a16="http://schemas.microsoft.com/office/drawing/2014/main" id="{6DC5605F-C62D-4E57-B7E2-04AF36CC39AC}"/>
              </a:ext>
            </a:extLst>
          </p:cNvPr>
          <p:cNvSpPr>
            <a:spLocks noGrp="1"/>
          </p:cNvSpPr>
          <p:nvPr>
            <p:ph sz="quarter" idx="14"/>
          </p:nvPr>
        </p:nvSpPr>
        <p:spPr/>
        <p:txBody>
          <a:bodyPr>
            <a:normAutofit/>
          </a:bodyPr>
          <a:lstStyle/>
          <a:p>
            <a:r>
              <a:rPr lang="zh-CN" altLang="en-US" dirty="0">
                <a:cs typeface="+mn-ea"/>
                <a:sym typeface="+mn-lt"/>
              </a:rPr>
              <a:t>答辩人：林利蒙</a:t>
            </a:r>
            <a:endParaRPr lang="en-US" altLang="zh-CN" dirty="0">
              <a:cs typeface="+mn-ea"/>
              <a:sym typeface="+mn-lt"/>
            </a:endParaRPr>
          </a:p>
        </p:txBody>
      </p:sp>
      <p:grpSp>
        <p:nvGrpSpPr>
          <p:cNvPr id="6" name="组合 5">
            <a:extLst>
              <a:ext uri="{FF2B5EF4-FFF2-40B4-BE49-F238E27FC236}">
                <a16:creationId xmlns:a16="http://schemas.microsoft.com/office/drawing/2014/main" id="{6B72B651-8001-4117-978A-7F7875334390}"/>
              </a:ext>
            </a:extLst>
          </p:cNvPr>
          <p:cNvGrpSpPr/>
          <p:nvPr/>
        </p:nvGrpSpPr>
        <p:grpSpPr>
          <a:xfrm>
            <a:off x="0" y="6950133"/>
            <a:ext cx="676656" cy="602672"/>
            <a:chOff x="0" y="6950133"/>
            <a:chExt cx="676656" cy="602672"/>
          </a:xfrm>
        </p:grpSpPr>
        <p:sp>
          <p:nvSpPr>
            <p:cNvPr id="7" name="矩形 6">
              <a:extLst>
                <a:ext uri="{FF2B5EF4-FFF2-40B4-BE49-F238E27FC236}">
                  <a16:creationId xmlns:a16="http://schemas.microsoft.com/office/drawing/2014/main" id="{8F43566D-B925-49C7-A6FE-5E84E2727B97}"/>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8" name="组合 7">
              <a:extLst>
                <a:ext uri="{FF2B5EF4-FFF2-40B4-BE49-F238E27FC236}">
                  <a16:creationId xmlns:a16="http://schemas.microsoft.com/office/drawing/2014/main" id="{C1182AB7-AECA-4DF7-8F0F-C3B8CF6F19B8}"/>
                </a:ext>
              </a:extLst>
            </p:cNvPr>
            <p:cNvGrpSpPr/>
            <p:nvPr/>
          </p:nvGrpSpPr>
          <p:grpSpPr>
            <a:xfrm>
              <a:off x="47544" y="7038552"/>
              <a:ext cx="581568" cy="425834"/>
              <a:chOff x="84575" y="6977592"/>
              <a:chExt cx="581568" cy="425834"/>
            </a:xfrm>
          </p:grpSpPr>
          <p:grpSp>
            <p:nvGrpSpPr>
              <p:cNvPr id="9" name="组合 8">
                <a:extLst>
                  <a:ext uri="{FF2B5EF4-FFF2-40B4-BE49-F238E27FC236}">
                    <a16:creationId xmlns:a16="http://schemas.microsoft.com/office/drawing/2014/main" id="{75FD9E59-54B5-4876-A715-C444AA8E2D65}"/>
                  </a:ext>
                </a:extLst>
              </p:cNvPr>
              <p:cNvGrpSpPr/>
              <p:nvPr/>
            </p:nvGrpSpPr>
            <p:grpSpPr>
              <a:xfrm>
                <a:off x="84575" y="6979654"/>
                <a:ext cx="317380" cy="421711"/>
                <a:chOff x="14690033" y="2185397"/>
                <a:chExt cx="583830" cy="775754"/>
              </a:xfrm>
            </p:grpSpPr>
            <p:sp>
              <p:nvSpPr>
                <p:cNvPr id="11" name="iŝļíḑe">
                  <a:extLst>
                    <a:ext uri="{FF2B5EF4-FFF2-40B4-BE49-F238E27FC236}">
                      <a16:creationId xmlns:a16="http://schemas.microsoft.com/office/drawing/2014/main" id="{5D85420D-E928-4381-9260-D627EA1CF075}"/>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şḷíḍé">
                  <a:extLst>
                    <a:ext uri="{FF2B5EF4-FFF2-40B4-BE49-F238E27FC236}">
                      <a16:creationId xmlns:a16="http://schemas.microsoft.com/office/drawing/2014/main" id="{54B02978-EFC7-4DC8-9D10-371B33AF36E8}"/>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ľïḓe">
                  <a:extLst>
                    <a:ext uri="{FF2B5EF4-FFF2-40B4-BE49-F238E27FC236}">
                      <a16:creationId xmlns:a16="http://schemas.microsoft.com/office/drawing/2014/main" id="{11311D98-D23B-4455-8749-9B4BD955F03A}"/>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ḻídê">
                  <a:extLst>
                    <a:ext uri="{FF2B5EF4-FFF2-40B4-BE49-F238E27FC236}">
                      <a16:creationId xmlns:a16="http://schemas.microsoft.com/office/drawing/2014/main" id="{158B14A0-98FC-4F28-AB5F-E29B88C4BE40}"/>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S1íḋè">
                  <a:extLst>
                    <a:ext uri="{FF2B5EF4-FFF2-40B4-BE49-F238E27FC236}">
                      <a16:creationId xmlns:a16="http://schemas.microsoft.com/office/drawing/2014/main" id="{B84A9048-D982-46C0-976A-E53A1A85B1BC}"/>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şļíde">
                  <a:extLst>
                    <a:ext uri="{FF2B5EF4-FFF2-40B4-BE49-F238E27FC236}">
                      <a16:creationId xmlns:a16="http://schemas.microsoft.com/office/drawing/2014/main" id="{2BB998C9-5310-4D4B-B06F-BDE894A6939C}"/>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 name="文本框 9">
                <a:extLst>
                  <a:ext uri="{FF2B5EF4-FFF2-40B4-BE49-F238E27FC236}">
                    <a16:creationId xmlns:a16="http://schemas.microsoft.com/office/drawing/2014/main" id="{C3CAC9AC-CDD1-462C-BEFC-DA80DD5CE8D2}"/>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a:extLst>
              <a:ext uri="{FF2B5EF4-FFF2-40B4-BE49-F238E27FC236}">
                <a16:creationId xmlns:a16="http://schemas.microsoft.com/office/drawing/2014/main" id="{28363E7B-8CBA-48F7-9824-E2A1CA5AD1DB}"/>
              </a:ext>
            </a:extLst>
          </p:cNvPr>
          <p:cNvSpPr/>
          <p:nvPr/>
        </p:nvSpPr>
        <p:spPr bwMode="auto">
          <a:xfrm>
            <a:off x="812015" y="6950133"/>
            <a:ext cx="3447981"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zh-CN" spc="100" dirty="0">
                <a:solidFill>
                  <a:schemeClr val="tx1">
                    <a:lumMod val="65000"/>
                    <a:lumOff val="35000"/>
                  </a:schemeClr>
                </a:solidFill>
              </a:rPr>
              <a:t>Ctrl + </a:t>
            </a:r>
            <a:r>
              <a:rPr lang="zh-CN" altLang="en-US" spc="100" dirty="0">
                <a:solidFill>
                  <a:schemeClr val="tx1">
                    <a:lumMod val="65000"/>
                    <a:lumOff val="35000"/>
                  </a:schemeClr>
                </a:solidFill>
              </a:rPr>
              <a:t>鼠标滚轮 </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放大缩小</a:t>
            </a:r>
          </a:p>
        </p:txBody>
      </p:sp>
      <p:sp>
        <p:nvSpPr>
          <p:cNvPr id="18" name="矩形 17">
            <a:extLst>
              <a:ext uri="{FF2B5EF4-FFF2-40B4-BE49-F238E27FC236}">
                <a16:creationId xmlns:a16="http://schemas.microsoft.com/office/drawing/2014/main" id="{527C30CB-FBF4-4E7E-9074-93C25A7856D6}"/>
              </a:ext>
            </a:extLst>
          </p:cNvPr>
          <p:cNvSpPr/>
          <p:nvPr/>
        </p:nvSpPr>
        <p:spPr bwMode="auto">
          <a:xfrm>
            <a:off x="4395355" y="6950133"/>
            <a:ext cx="7796644"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面类型</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28869665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29BFD55-C429-4C62-816F-0A1079E55155}"/>
              </a:ext>
            </a:extLst>
          </p:cNvPr>
          <p:cNvSpPr>
            <a:spLocks noGrp="1"/>
          </p:cNvSpPr>
          <p:nvPr>
            <p:ph type="title"/>
          </p:nvPr>
        </p:nvSpPr>
        <p:spPr/>
        <p:txBody>
          <a:bodyPr/>
          <a:lstStyle/>
          <a:p>
            <a:r>
              <a:rPr lang="zh-CN" altLang="en-US" dirty="0"/>
              <a:t>图片占位符，一键替换图片</a:t>
            </a:r>
            <a:endParaRPr lang="en-US" dirty="0"/>
          </a:p>
        </p:txBody>
      </p:sp>
      <p:sp>
        <p:nvSpPr>
          <p:cNvPr id="3" name="灯片编号占位符 2">
            <a:extLst>
              <a:ext uri="{FF2B5EF4-FFF2-40B4-BE49-F238E27FC236}">
                <a16:creationId xmlns:a16="http://schemas.microsoft.com/office/drawing/2014/main" id="{F6B626A7-93AF-426F-83D4-205B0EC31894}"/>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70</a:t>
            </a:fld>
            <a:endParaRPr lang="en-US" dirty="0">
              <a:solidFill>
                <a:srgbClr val="000000">
                  <a:tint val="75000"/>
                </a:srgbClr>
              </a:solidFill>
            </a:endParaRPr>
          </a:p>
        </p:txBody>
      </p:sp>
      <p:sp>
        <p:nvSpPr>
          <p:cNvPr id="4" name="矩形 3">
            <a:extLst>
              <a:ext uri="{FF2B5EF4-FFF2-40B4-BE49-F238E27FC236}">
                <a16:creationId xmlns:a16="http://schemas.microsoft.com/office/drawing/2014/main" id="{D7B02258-5AC6-4EC4-8E3A-86E424EFB6A6}"/>
              </a:ext>
            </a:extLst>
          </p:cNvPr>
          <p:cNvSpPr/>
          <p:nvPr/>
        </p:nvSpPr>
        <p:spPr>
          <a:xfrm>
            <a:off x="8437418" y="1662545"/>
            <a:ext cx="3275157" cy="407871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grpSp>
        <p:nvGrpSpPr>
          <p:cNvPr id="6" name="组合 5">
            <a:extLst>
              <a:ext uri="{FF2B5EF4-FFF2-40B4-BE49-F238E27FC236}">
                <a16:creationId xmlns:a16="http://schemas.microsoft.com/office/drawing/2014/main" id="{07CE0E26-E272-4A0B-AD1E-FE7F91722F20}"/>
              </a:ext>
            </a:extLst>
          </p:cNvPr>
          <p:cNvGrpSpPr/>
          <p:nvPr/>
        </p:nvGrpSpPr>
        <p:grpSpPr>
          <a:xfrm>
            <a:off x="8661106" y="2147559"/>
            <a:ext cx="2850007" cy="3108686"/>
            <a:chOff x="8631948" y="2334115"/>
            <a:chExt cx="2850007" cy="3108686"/>
          </a:xfrm>
        </p:grpSpPr>
        <p:sp>
          <p:nvSpPr>
            <p:cNvPr id="7" name="文本框 6">
              <a:extLst>
                <a:ext uri="{FF2B5EF4-FFF2-40B4-BE49-F238E27FC236}">
                  <a16:creationId xmlns:a16="http://schemas.microsoft.com/office/drawing/2014/main" id="{0A65F251-C9E5-49F1-BE2E-3654CFF9DE4E}"/>
                </a:ext>
              </a:extLst>
            </p:cNvPr>
            <p:cNvSpPr txBox="1"/>
            <p:nvPr/>
          </p:nvSpPr>
          <p:spPr>
            <a:xfrm>
              <a:off x="8631948" y="2795780"/>
              <a:ext cx="2850007" cy="1020985"/>
            </a:xfrm>
            <a:prstGeom prst="rect">
              <a:avLst/>
            </a:prstGeom>
            <a:noFill/>
          </p:spPr>
          <p:txBody>
            <a:bodyPr wrap="square" rtlCol="0">
              <a:spAutoFit/>
            </a:bodyPr>
            <a:lstStyle/>
            <a:p>
              <a:pPr marL="342900" indent="-342900">
                <a:lnSpc>
                  <a:spcPct val="130000"/>
                </a:lnSpc>
                <a:buAutoNum type="arabicPeriod"/>
              </a:pPr>
              <a:r>
                <a:rPr lang="zh-CN" altLang="en-US" sz="1600" spc="100" dirty="0">
                  <a:solidFill>
                    <a:schemeClr val="tx1">
                      <a:lumMod val="75000"/>
                      <a:lumOff val="25000"/>
                    </a:schemeClr>
                  </a:solidFill>
                  <a:cs typeface="+mn-ea"/>
                  <a:sym typeface="+mn-lt"/>
                </a:rPr>
                <a:t>删除原始图片</a:t>
              </a:r>
              <a:endParaRPr lang="en-US" altLang="zh-CN" sz="1600" spc="100" dirty="0">
                <a:solidFill>
                  <a:schemeClr val="tx1">
                    <a:lumMod val="75000"/>
                    <a:lumOff val="25000"/>
                  </a:schemeClr>
                </a:solidFill>
                <a:cs typeface="+mn-ea"/>
                <a:sym typeface="+mn-lt"/>
              </a:endParaRPr>
            </a:p>
            <a:p>
              <a:pPr marL="342900" indent="-342900">
                <a:lnSpc>
                  <a:spcPct val="130000"/>
                </a:lnSpc>
                <a:buAutoNum type="arabicPeriod"/>
              </a:pPr>
              <a:r>
                <a:rPr lang="zh-CN" altLang="en-US" sz="1600" spc="100" dirty="0">
                  <a:solidFill>
                    <a:schemeClr val="tx1">
                      <a:lumMod val="75000"/>
                      <a:lumOff val="25000"/>
                    </a:schemeClr>
                  </a:solidFill>
                  <a:cs typeface="+mn-ea"/>
                  <a:sym typeface="+mn-lt"/>
                </a:rPr>
                <a:t>点击占位符图标</a:t>
              </a:r>
              <a:endParaRPr lang="en-US" altLang="zh-CN" sz="1600" spc="100" dirty="0">
                <a:solidFill>
                  <a:schemeClr val="tx1">
                    <a:lumMod val="75000"/>
                    <a:lumOff val="25000"/>
                  </a:schemeClr>
                </a:solidFill>
                <a:cs typeface="+mn-ea"/>
                <a:sym typeface="+mn-lt"/>
              </a:endParaRPr>
            </a:p>
            <a:p>
              <a:pPr marL="342900" indent="-342900">
                <a:lnSpc>
                  <a:spcPct val="130000"/>
                </a:lnSpc>
                <a:buAutoNum type="arabicPeriod"/>
              </a:pPr>
              <a:r>
                <a:rPr lang="zh-CN" altLang="en-US" sz="1600" spc="100" dirty="0">
                  <a:solidFill>
                    <a:schemeClr val="tx1">
                      <a:lumMod val="75000"/>
                      <a:lumOff val="25000"/>
                    </a:schemeClr>
                  </a:solidFill>
                  <a:cs typeface="+mn-ea"/>
                  <a:sym typeface="+mn-lt"/>
                </a:rPr>
                <a:t>选择本地心仪的图片</a:t>
              </a:r>
              <a:endParaRPr lang="en-US" altLang="zh-CN" sz="1600" spc="100" dirty="0">
                <a:solidFill>
                  <a:schemeClr val="tx1">
                    <a:lumMod val="75000"/>
                    <a:lumOff val="25000"/>
                  </a:schemeClr>
                </a:solidFill>
                <a:cs typeface="+mn-ea"/>
                <a:sym typeface="+mn-lt"/>
              </a:endParaRPr>
            </a:p>
          </p:txBody>
        </p:sp>
        <p:sp>
          <p:nvSpPr>
            <p:cNvPr id="8" name="文本框 7">
              <a:extLst>
                <a:ext uri="{FF2B5EF4-FFF2-40B4-BE49-F238E27FC236}">
                  <a16:creationId xmlns:a16="http://schemas.microsoft.com/office/drawing/2014/main" id="{1E0F80CF-168E-4916-AC64-F7F2BC5FEF5B}"/>
                </a:ext>
              </a:extLst>
            </p:cNvPr>
            <p:cNvSpPr txBox="1"/>
            <p:nvPr/>
          </p:nvSpPr>
          <p:spPr>
            <a:xfrm>
              <a:off x="8631948" y="2334115"/>
              <a:ext cx="2850007" cy="461665"/>
            </a:xfrm>
            <a:prstGeom prst="rect">
              <a:avLst/>
            </a:prstGeom>
            <a:noFill/>
          </p:spPr>
          <p:txBody>
            <a:bodyPr wrap="square" rtlCol="0">
              <a:spAutoFit/>
            </a:bodyPr>
            <a:lstStyle/>
            <a:p>
              <a:pPr lvl="0">
                <a:defRPr/>
              </a:pPr>
              <a:r>
                <a:rPr lang="zh-CN" altLang="en-US" sz="2400" b="1" spc="150" dirty="0">
                  <a:solidFill>
                    <a:schemeClr val="accent1"/>
                  </a:solidFill>
                  <a:cs typeface="+mn-ea"/>
                  <a:sym typeface="+mn-lt"/>
                </a:rPr>
                <a:t>图片占位符修改</a:t>
              </a:r>
            </a:p>
          </p:txBody>
        </p:sp>
        <p:sp>
          <p:nvSpPr>
            <p:cNvPr id="9" name="文本框 8">
              <a:extLst>
                <a:ext uri="{FF2B5EF4-FFF2-40B4-BE49-F238E27FC236}">
                  <a16:creationId xmlns:a16="http://schemas.microsoft.com/office/drawing/2014/main" id="{EF928E23-AF43-449C-9F23-0A2A81999925}"/>
                </a:ext>
              </a:extLst>
            </p:cNvPr>
            <p:cNvSpPr txBox="1"/>
            <p:nvPr/>
          </p:nvSpPr>
          <p:spPr>
            <a:xfrm>
              <a:off x="8631948" y="4858026"/>
              <a:ext cx="2850007" cy="584775"/>
            </a:xfrm>
            <a:prstGeom prst="rect">
              <a:avLst/>
            </a:prstGeom>
            <a:noFill/>
          </p:spPr>
          <p:txBody>
            <a:bodyPr wrap="square" rtlCol="0">
              <a:spAutoFit/>
            </a:bodyPr>
            <a:lstStyle/>
            <a:p>
              <a:pPr lvl="0">
                <a:defRPr/>
              </a:pPr>
              <a:r>
                <a:rPr kumimoji="0" lang="zh-CN" altLang="en-US" sz="1600" b="0" i="0" u="none" strike="noStrike" kern="1200" cap="none" spc="150" normalizeH="0" baseline="0" noProof="0">
                  <a:ln>
                    <a:noFill/>
                  </a:ln>
                  <a:solidFill>
                    <a:schemeClr val="accent1"/>
                  </a:solidFill>
                  <a:effectLst/>
                  <a:uLnTx/>
                  <a:uFillTx/>
                  <a:cs typeface="+mn-ea"/>
                  <a:sym typeface="+mn-lt"/>
                </a:rPr>
                <a:t>动图，</a:t>
              </a:r>
              <a:endParaRPr kumimoji="0" lang="en-US" altLang="zh-CN" sz="1600" b="0" i="0" u="none" strike="noStrike" kern="1200" cap="none" spc="150" normalizeH="0" baseline="0" noProof="0">
                <a:ln>
                  <a:noFill/>
                </a:ln>
                <a:solidFill>
                  <a:schemeClr val="accent1"/>
                </a:solidFill>
                <a:effectLst/>
                <a:uLnTx/>
                <a:uFillTx/>
                <a:cs typeface="+mn-ea"/>
                <a:sym typeface="+mn-lt"/>
              </a:endParaRPr>
            </a:p>
            <a:p>
              <a:pPr lvl="0">
                <a:defRPr/>
              </a:pPr>
              <a:r>
                <a:rPr kumimoji="0" lang="zh-CN" altLang="en-US" sz="1600" b="0" i="0" u="none" strike="noStrike" kern="1200" cap="none" spc="150" normalizeH="0" baseline="0" noProof="0">
                  <a:ln>
                    <a:noFill/>
                  </a:ln>
                  <a:solidFill>
                    <a:schemeClr val="accent1"/>
                  </a:solidFill>
                  <a:effectLst/>
                  <a:uLnTx/>
                  <a:uFillTx/>
                  <a:cs typeface="+mn-ea"/>
                  <a:sym typeface="+mn-lt"/>
                </a:rPr>
                <a:t>请放映时观看（</a:t>
              </a:r>
              <a:r>
                <a:rPr lang="en-US" altLang="zh-CN" sz="1600" spc="150">
                  <a:solidFill>
                    <a:schemeClr val="accent1"/>
                  </a:solidFill>
                  <a:cs typeface="+mn-ea"/>
                  <a:sym typeface="+mn-lt"/>
                </a:rPr>
                <a:t>S</a:t>
              </a:r>
              <a:r>
                <a:rPr kumimoji="0" lang="en-US" altLang="zh-CN" sz="1600" b="0" i="0" u="none" strike="noStrike" kern="1200" cap="none" spc="150" normalizeH="0" baseline="0" noProof="0" err="1">
                  <a:ln>
                    <a:noFill/>
                  </a:ln>
                  <a:solidFill>
                    <a:schemeClr val="accent1"/>
                  </a:solidFill>
                  <a:effectLst/>
                  <a:uLnTx/>
                  <a:uFillTx/>
                  <a:cs typeface="+mn-ea"/>
                  <a:sym typeface="+mn-lt"/>
                </a:rPr>
                <a:t>hift</a:t>
              </a:r>
              <a:r>
                <a:rPr kumimoji="0" lang="en-US" altLang="zh-CN" sz="1600" b="0" i="0" u="none" strike="noStrike" kern="1200" cap="none" spc="150" normalizeH="0" baseline="0" noProof="0">
                  <a:ln>
                    <a:noFill/>
                  </a:ln>
                  <a:solidFill>
                    <a:schemeClr val="accent1"/>
                  </a:solidFill>
                  <a:effectLst/>
                  <a:uLnTx/>
                  <a:uFillTx/>
                  <a:cs typeface="+mn-ea"/>
                  <a:sym typeface="+mn-lt"/>
                </a:rPr>
                <a:t> + F5</a:t>
              </a:r>
              <a:r>
                <a:rPr kumimoji="0" lang="zh-CN" altLang="en-US" sz="1600" b="0" i="0" u="none" strike="noStrike" kern="1200" cap="none" spc="150" normalizeH="0" baseline="0" noProof="0">
                  <a:ln>
                    <a:noFill/>
                  </a:ln>
                  <a:solidFill>
                    <a:schemeClr val="accent1"/>
                  </a:solidFill>
                  <a:effectLst/>
                  <a:uLnTx/>
                  <a:uFillTx/>
                  <a:cs typeface="+mn-ea"/>
                  <a:sym typeface="+mn-lt"/>
                </a:rPr>
                <a:t>）  </a:t>
              </a:r>
            </a:p>
          </p:txBody>
        </p:sp>
      </p:grpSp>
      <p:pic>
        <p:nvPicPr>
          <p:cNvPr id="11" name="图片 10">
            <a:extLst>
              <a:ext uri="{FF2B5EF4-FFF2-40B4-BE49-F238E27FC236}">
                <a16:creationId xmlns:a16="http://schemas.microsoft.com/office/drawing/2014/main" id="{12CDDF82-66C2-4B3D-B4D8-78F952F9A699}"/>
              </a:ext>
            </a:extLst>
          </p:cNvPr>
          <p:cNvPicPr>
            <a:picLocks/>
          </p:cNvPicPr>
          <p:nvPr/>
        </p:nvPicPr>
        <p:blipFill>
          <a:blip r:embed="rId2" cstate="screen">
            <a:extLst>
              <a:ext uri="{28A0092B-C50C-407E-A947-70E740481C1C}">
                <a14:useLocalDpi xmlns:a14="http://schemas.microsoft.com/office/drawing/2010/main"/>
              </a:ext>
            </a:extLst>
          </a:blip>
          <a:stretch>
            <a:fillRect/>
          </a:stretch>
        </p:blipFill>
        <p:spPr>
          <a:xfrm>
            <a:off x="515938" y="1662545"/>
            <a:ext cx="7806308" cy="4078714"/>
          </a:xfrm>
          <a:prstGeom prst="rect">
            <a:avLst/>
          </a:prstGeom>
        </p:spPr>
      </p:pic>
    </p:spTree>
    <p:extLst>
      <p:ext uri="{BB962C8B-B14F-4D97-AF65-F5344CB8AC3E}">
        <p14:creationId xmlns:p14="http://schemas.microsoft.com/office/powerpoint/2010/main" val="5486453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F94573F-0A3B-498E-BDD6-CF00A5805375}"/>
              </a:ext>
            </a:extLst>
          </p:cNvPr>
          <p:cNvSpPr>
            <a:spLocks noGrp="1"/>
          </p:cNvSpPr>
          <p:nvPr>
            <p:ph type="title"/>
          </p:nvPr>
        </p:nvSpPr>
        <p:spPr/>
        <p:txBody>
          <a:bodyPr/>
          <a:lstStyle/>
          <a:p>
            <a:r>
              <a:rPr lang="zh-CN" altLang="en-US" dirty="0"/>
              <a:t>配合</a:t>
            </a:r>
            <a:r>
              <a:rPr lang="en-US" altLang="zh-CN" dirty="0" err="1"/>
              <a:t>iSlide</a:t>
            </a:r>
            <a:r>
              <a:rPr lang="zh-CN" altLang="en-US" dirty="0"/>
              <a:t>，解锁</a:t>
            </a:r>
            <a:r>
              <a:rPr lang="en-US" altLang="zh-CN" dirty="0"/>
              <a:t>200+</a:t>
            </a:r>
            <a:r>
              <a:rPr lang="zh-CN" altLang="en-US" dirty="0"/>
              <a:t>页免费模板</a:t>
            </a:r>
            <a:endParaRPr lang="en-US" dirty="0"/>
          </a:p>
        </p:txBody>
      </p:sp>
      <p:sp>
        <p:nvSpPr>
          <p:cNvPr id="3" name="灯片编号占位符 2">
            <a:extLst>
              <a:ext uri="{FF2B5EF4-FFF2-40B4-BE49-F238E27FC236}">
                <a16:creationId xmlns:a16="http://schemas.microsoft.com/office/drawing/2014/main" id="{235E1FDC-8B7C-4129-9D22-F50B39210C82}"/>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pPr defTabSz="914400">
                <a:defRPr/>
              </a:pPr>
              <a:t>71</a:t>
            </a:fld>
            <a:endParaRPr lang="en-US" dirty="0">
              <a:solidFill>
                <a:srgbClr val="000000">
                  <a:tint val="75000"/>
                </a:srgbClr>
              </a:solidFill>
            </a:endParaRPr>
          </a:p>
        </p:txBody>
      </p:sp>
      <p:sp>
        <p:nvSpPr>
          <p:cNvPr id="4" name="矩形 3">
            <a:extLst>
              <a:ext uri="{FF2B5EF4-FFF2-40B4-BE49-F238E27FC236}">
                <a16:creationId xmlns:a16="http://schemas.microsoft.com/office/drawing/2014/main" id="{65845144-D0EC-4C0E-8E82-9A621E828053}"/>
              </a:ext>
            </a:extLst>
          </p:cNvPr>
          <p:cNvSpPr/>
          <p:nvPr/>
        </p:nvSpPr>
        <p:spPr>
          <a:xfrm>
            <a:off x="8437418" y="1662545"/>
            <a:ext cx="3275157" cy="407871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grpSp>
        <p:nvGrpSpPr>
          <p:cNvPr id="6" name="组合 5">
            <a:extLst>
              <a:ext uri="{FF2B5EF4-FFF2-40B4-BE49-F238E27FC236}">
                <a16:creationId xmlns:a16="http://schemas.microsoft.com/office/drawing/2014/main" id="{E8A491E0-E41C-4B0B-812F-BADBED514D23}"/>
              </a:ext>
            </a:extLst>
          </p:cNvPr>
          <p:cNvGrpSpPr/>
          <p:nvPr/>
        </p:nvGrpSpPr>
        <p:grpSpPr>
          <a:xfrm>
            <a:off x="8661106" y="2147559"/>
            <a:ext cx="2850007" cy="3108686"/>
            <a:chOff x="8631948" y="2334115"/>
            <a:chExt cx="2850007" cy="3108686"/>
          </a:xfrm>
        </p:grpSpPr>
        <p:sp>
          <p:nvSpPr>
            <p:cNvPr id="7" name="文本框 6">
              <a:extLst>
                <a:ext uri="{FF2B5EF4-FFF2-40B4-BE49-F238E27FC236}">
                  <a16:creationId xmlns:a16="http://schemas.microsoft.com/office/drawing/2014/main" id="{4461C067-DCA1-4315-A3F7-AF57A40D6D74}"/>
                </a:ext>
              </a:extLst>
            </p:cNvPr>
            <p:cNvSpPr txBox="1"/>
            <p:nvPr/>
          </p:nvSpPr>
          <p:spPr>
            <a:xfrm>
              <a:off x="8631948" y="2795780"/>
              <a:ext cx="2850007" cy="1341073"/>
            </a:xfrm>
            <a:prstGeom prst="rect">
              <a:avLst/>
            </a:prstGeom>
            <a:noFill/>
          </p:spPr>
          <p:txBody>
            <a:bodyPr wrap="square" rtlCol="0">
              <a:spAutoFit/>
            </a:bodyPr>
            <a:lstStyle/>
            <a:p>
              <a:pPr marL="342900" indent="-342900">
                <a:lnSpc>
                  <a:spcPct val="130000"/>
                </a:lnSpc>
                <a:buAutoNum type="arabicPeriod"/>
              </a:pPr>
              <a:r>
                <a:rPr lang="zh-CN" altLang="en-US" sz="1600" spc="100" dirty="0">
                  <a:solidFill>
                    <a:schemeClr val="tx1">
                      <a:lumMod val="75000"/>
                      <a:lumOff val="25000"/>
                    </a:schemeClr>
                  </a:solidFill>
                  <a:cs typeface="+mn-ea"/>
                  <a:sym typeface="+mn-lt"/>
                </a:rPr>
                <a:t>新建仅标题版式</a:t>
              </a:r>
              <a:endParaRPr lang="en-US" altLang="zh-CN" sz="1600" spc="100" dirty="0">
                <a:solidFill>
                  <a:schemeClr val="tx1">
                    <a:lumMod val="75000"/>
                    <a:lumOff val="25000"/>
                  </a:schemeClr>
                </a:solidFill>
                <a:cs typeface="+mn-ea"/>
                <a:sym typeface="+mn-lt"/>
              </a:endParaRPr>
            </a:p>
            <a:p>
              <a:pPr marL="342900" indent="-342900">
                <a:lnSpc>
                  <a:spcPct val="130000"/>
                </a:lnSpc>
                <a:buAutoNum type="arabicPeriod"/>
              </a:pPr>
              <a:r>
                <a:rPr lang="zh-CN" altLang="en-US" sz="1600" spc="100" dirty="0">
                  <a:solidFill>
                    <a:schemeClr val="tx1">
                      <a:lumMod val="75000"/>
                      <a:lumOff val="25000"/>
                    </a:schemeClr>
                  </a:solidFill>
                  <a:cs typeface="+mn-ea"/>
                  <a:sym typeface="+mn-lt"/>
                </a:rPr>
                <a:t>打开</a:t>
              </a:r>
              <a:r>
                <a:rPr lang="en-US" altLang="zh-CN" sz="1600" spc="100" dirty="0" err="1">
                  <a:solidFill>
                    <a:schemeClr val="tx1">
                      <a:lumMod val="75000"/>
                      <a:lumOff val="25000"/>
                    </a:schemeClr>
                  </a:solidFill>
                  <a:cs typeface="+mn-ea"/>
                  <a:sym typeface="+mn-lt"/>
                </a:rPr>
                <a:t>iSlide</a:t>
              </a:r>
              <a:r>
                <a:rPr lang="zh-CN" altLang="en-US" sz="1600" spc="100" dirty="0">
                  <a:solidFill>
                    <a:schemeClr val="tx1">
                      <a:lumMod val="75000"/>
                      <a:lumOff val="25000"/>
                    </a:schemeClr>
                  </a:solidFill>
                  <a:cs typeface="+mn-ea"/>
                  <a:sym typeface="+mn-lt"/>
                </a:rPr>
                <a:t>图示库</a:t>
              </a:r>
              <a:endParaRPr lang="en-US" altLang="zh-CN" sz="1600" spc="100" dirty="0">
                <a:solidFill>
                  <a:schemeClr val="tx1">
                    <a:lumMod val="75000"/>
                    <a:lumOff val="25000"/>
                  </a:schemeClr>
                </a:solidFill>
                <a:cs typeface="+mn-ea"/>
                <a:sym typeface="+mn-lt"/>
              </a:endParaRPr>
            </a:p>
            <a:p>
              <a:pPr marL="342900" indent="-342900">
                <a:lnSpc>
                  <a:spcPct val="130000"/>
                </a:lnSpc>
                <a:buAutoNum type="arabicPeriod"/>
              </a:pPr>
              <a:r>
                <a:rPr lang="zh-CN" altLang="en-US" sz="1600" spc="100" dirty="0">
                  <a:solidFill>
                    <a:schemeClr val="tx1">
                      <a:lumMod val="75000"/>
                      <a:lumOff val="25000"/>
                    </a:schemeClr>
                  </a:solidFill>
                  <a:cs typeface="+mn-ea"/>
                  <a:sym typeface="+mn-lt"/>
                </a:rPr>
                <a:t>选择心仪的样式</a:t>
              </a:r>
              <a:endParaRPr lang="en-US" altLang="zh-CN" sz="1600" spc="100" dirty="0">
                <a:solidFill>
                  <a:schemeClr val="tx1">
                    <a:lumMod val="75000"/>
                    <a:lumOff val="25000"/>
                  </a:schemeClr>
                </a:solidFill>
                <a:cs typeface="+mn-ea"/>
                <a:sym typeface="+mn-lt"/>
              </a:endParaRPr>
            </a:p>
            <a:p>
              <a:pPr marL="342900" indent="-342900">
                <a:lnSpc>
                  <a:spcPct val="130000"/>
                </a:lnSpc>
                <a:buAutoNum type="arabicPeriod"/>
              </a:pPr>
              <a:r>
                <a:rPr lang="zh-CN" altLang="en-US" sz="1600" spc="100" dirty="0">
                  <a:solidFill>
                    <a:schemeClr val="tx1">
                      <a:lumMod val="75000"/>
                      <a:lumOff val="25000"/>
                    </a:schemeClr>
                  </a:solidFill>
                  <a:cs typeface="+mn-ea"/>
                  <a:sym typeface="+mn-lt"/>
                </a:rPr>
                <a:t>下载到本地即可使用</a:t>
              </a:r>
              <a:endParaRPr lang="en-US" altLang="zh-CN" sz="1600" spc="100" dirty="0">
                <a:solidFill>
                  <a:schemeClr val="tx1">
                    <a:lumMod val="75000"/>
                    <a:lumOff val="25000"/>
                  </a:schemeClr>
                </a:solidFill>
                <a:cs typeface="+mn-ea"/>
                <a:sym typeface="+mn-lt"/>
              </a:endParaRPr>
            </a:p>
          </p:txBody>
        </p:sp>
        <p:sp>
          <p:nvSpPr>
            <p:cNvPr id="8" name="文本框 7">
              <a:extLst>
                <a:ext uri="{FF2B5EF4-FFF2-40B4-BE49-F238E27FC236}">
                  <a16:creationId xmlns:a16="http://schemas.microsoft.com/office/drawing/2014/main" id="{E9AC58CA-E192-4C47-BDDE-F735E9D099E7}"/>
                </a:ext>
              </a:extLst>
            </p:cNvPr>
            <p:cNvSpPr txBox="1"/>
            <p:nvPr/>
          </p:nvSpPr>
          <p:spPr>
            <a:xfrm>
              <a:off x="8631948" y="2334115"/>
              <a:ext cx="2850007" cy="461665"/>
            </a:xfrm>
            <a:prstGeom prst="rect">
              <a:avLst/>
            </a:prstGeom>
            <a:noFill/>
          </p:spPr>
          <p:txBody>
            <a:bodyPr wrap="square" rtlCol="0">
              <a:spAutoFit/>
            </a:bodyPr>
            <a:lstStyle/>
            <a:p>
              <a:pPr lvl="0">
                <a:defRPr/>
              </a:pPr>
              <a:r>
                <a:rPr lang="zh-CN" altLang="en-US" sz="2400" b="1" spc="150" dirty="0">
                  <a:solidFill>
                    <a:schemeClr val="accent1"/>
                  </a:solidFill>
                  <a:cs typeface="+mn-ea"/>
                  <a:sym typeface="+mn-lt"/>
                </a:rPr>
                <a:t>解锁</a:t>
              </a:r>
              <a:r>
                <a:rPr lang="en-US" altLang="zh-CN" sz="2400" b="1" spc="150" dirty="0" err="1">
                  <a:solidFill>
                    <a:schemeClr val="accent1"/>
                  </a:solidFill>
                  <a:cs typeface="+mn-ea"/>
                  <a:sym typeface="+mn-lt"/>
                </a:rPr>
                <a:t>iSlide</a:t>
              </a:r>
              <a:r>
                <a:rPr lang="zh-CN" altLang="en-US" sz="2400" b="1" spc="150" dirty="0">
                  <a:solidFill>
                    <a:schemeClr val="accent1"/>
                  </a:solidFill>
                  <a:cs typeface="+mn-ea"/>
                  <a:sym typeface="+mn-lt"/>
                </a:rPr>
                <a:t>版式</a:t>
              </a:r>
            </a:p>
          </p:txBody>
        </p:sp>
        <p:sp>
          <p:nvSpPr>
            <p:cNvPr id="9" name="文本框 8">
              <a:extLst>
                <a:ext uri="{FF2B5EF4-FFF2-40B4-BE49-F238E27FC236}">
                  <a16:creationId xmlns:a16="http://schemas.microsoft.com/office/drawing/2014/main" id="{B0BA8AB4-0288-4AE7-B238-C1CF78019F8E}"/>
                </a:ext>
              </a:extLst>
            </p:cNvPr>
            <p:cNvSpPr txBox="1"/>
            <p:nvPr/>
          </p:nvSpPr>
          <p:spPr>
            <a:xfrm>
              <a:off x="8631948" y="4858026"/>
              <a:ext cx="2850007" cy="584775"/>
            </a:xfrm>
            <a:prstGeom prst="rect">
              <a:avLst/>
            </a:prstGeom>
            <a:noFill/>
          </p:spPr>
          <p:txBody>
            <a:bodyPr wrap="square" rtlCol="0">
              <a:spAutoFit/>
            </a:bodyPr>
            <a:lstStyle/>
            <a:p>
              <a:pPr lvl="0">
                <a:defRPr/>
              </a:pPr>
              <a:r>
                <a:rPr kumimoji="0" lang="zh-CN" altLang="en-US" sz="1600" b="0" i="0" u="none" strike="noStrike" kern="1200" cap="none" spc="150" normalizeH="0" baseline="0" noProof="0">
                  <a:ln>
                    <a:noFill/>
                  </a:ln>
                  <a:solidFill>
                    <a:schemeClr val="accent1"/>
                  </a:solidFill>
                  <a:effectLst/>
                  <a:uLnTx/>
                  <a:uFillTx/>
                  <a:cs typeface="+mn-ea"/>
                  <a:sym typeface="+mn-lt"/>
                </a:rPr>
                <a:t>动图，</a:t>
              </a:r>
              <a:endParaRPr kumimoji="0" lang="en-US" altLang="zh-CN" sz="1600" b="0" i="0" u="none" strike="noStrike" kern="1200" cap="none" spc="150" normalizeH="0" baseline="0" noProof="0">
                <a:ln>
                  <a:noFill/>
                </a:ln>
                <a:solidFill>
                  <a:schemeClr val="accent1"/>
                </a:solidFill>
                <a:effectLst/>
                <a:uLnTx/>
                <a:uFillTx/>
                <a:cs typeface="+mn-ea"/>
                <a:sym typeface="+mn-lt"/>
              </a:endParaRPr>
            </a:p>
            <a:p>
              <a:pPr lvl="0">
                <a:defRPr/>
              </a:pPr>
              <a:r>
                <a:rPr kumimoji="0" lang="zh-CN" altLang="en-US" sz="1600" b="0" i="0" u="none" strike="noStrike" kern="1200" cap="none" spc="150" normalizeH="0" baseline="0" noProof="0">
                  <a:ln>
                    <a:noFill/>
                  </a:ln>
                  <a:solidFill>
                    <a:schemeClr val="accent1"/>
                  </a:solidFill>
                  <a:effectLst/>
                  <a:uLnTx/>
                  <a:uFillTx/>
                  <a:cs typeface="+mn-ea"/>
                  <a:sym typeface="+mn-lt"/>
                </a:rPr>
                <a:t>请放映时观看（</a:t>
              </a:r>
              <a:r>
                <a:rPr lang="en-US" altLang="zh-CN" sz="1600" spc="150">
                  <a:solidFill>
                    <a:schemeClr val="accent1"/>
                  </a:solidFill>
                  <a:cs typeface="+mn-ea"/>
                  <a:sym typeface="+mn-lt"/>
                </a:rPr>
                <a:t>S</a:t>
              </a:r>
              <a:r>
                <a:rPr kumimoji="0" lang="en-US" altLang="zh-CN" sz="1600" b="0" i="0" u="none" strike="noStrike" kern="1200" cap="none" spc="150" normalizeH="0" baseline="0" noProof="0" err="1">
                  <a:ln>
                    <a:noFill/>
                  </a:ln>
                  <a:solidFill>
                    <a:schemeClr val="accent1"/>
                  </a:solidFill>
                  <a:effectLst/>
                  <a:uLnTx/>
                  <a:uFillTx/>
                  <a:cs typeface="+mn-ea"/>
                  <a:sym typeface="+mn-lt"/>
                </a:rPr>
                <a:t>hift</a:t>
              </a:r>
              <a:r>
                <a:rPr kumimoji="0" lang="en-US" altLang="zh-CN" sz="1600" b="0" i="0" u="none" strike="noStrike" kern="1200" cap="none" spc="150" normalizeH="0" baseline="0" noProof="0">
                  <a:ln>
                    <a:noFill/>
                  </a:ln>
                  <a:solidFill>
                    <a:schemeClr val="accent1"/>
                  </a:solidFill>
                  <a:effectLst/>
                  <a:uLnTx/>
                  <a:uFillTx/>
                  <a:cs typeface="+mn-ea"/>
                  <a:sym typeface="+mn-lt"/>
                </a:rPr>
                <a:t> + F5</a:t>
              </a:r>
              <a:r>
                <a:rPr kumimoji="0" lang="zh-CN" altLang="en-US" sz="1600" b="0" i="0" u="none" strike="noStrike" kern="1200" cap="none" spc="150" normalizeH="0" baseline="0" noProof="0">
                  <a:ln>
                    <a:noFill/>
                  </a:ln>
                  <a:solidFill>
                    <a:schemeClr val="accent1"/>
                  </a:solidFill>
                  <a:effectLst/>
                  <a:uLnTx/>
                  <a:uFillTx/>
                  <a:cs typeface="+mn-ea"/>
                  <a:sym typeface="+mn-lt"/>
                </a:rPr>
                <a:t>）  </a:t>
              </a:r>
            </a:p>
          </p:txBody>
        </p:sp>
      </p:grpSp>
      <p:pic>
        <p:nvPicPr>
          <p:cNvPr id="11" name="图片 10">
            <a:extLst>
              <a:ext uri="{FF2B5EF4-FFF2-40B4-BE49-F238E27FC236}">
                <a16:creationId xmlns:a16="http://schemas.microsoft.com/office/drawing/2014/main" id="{C34650C8-37D6-465E-B2B9-42784AFCB568}"/>
              </a:ext>
            </a:extLst>
          </p:cNvPr>
          <p:cNvPicPr>
            <a:picLocks/>
          </p:cNvPicPr>
          <p:nvPr/>
        </p:nvPicPr>
        <p:blipFill>
          <a:blip r:embed="rId2" cstate="screen">
            <a:extLst>
              <a:ext uri="{28A0092B-C50C-407E-A947-70E740481C1C}">
                <a14:useLocalDpi xmlns:a14="http://schemas.microsoft.com/office/drawing/2010/main"/>
              </a:ext>
            </a:extLst>
          </a:blip>
          <a:stretch>
            <a:fillRect/>
          </a:stretch>
        </p:blipFill>
        <p:spPr>
          <a:xfrm>
            <a:off x="515938" y="1662545"/>
            <a:ext cx="7806308" cy="4078714"/>
          </a:xfrm>
          <a:prstGeom prst="rect">
            <a:avLst/>
          </a:prstGeom>
        </p:spPr>
      </p:pic>
    </p:spTree>
    <p:extLst>
      <p:ext uri="{BB962C8B-B14F-4D97-AF65-F5344CB8AC3E}">
        <p14:creationId xmlns:p14="http://schemas.microsoft.com/office/powerpoint/2010/main" val="13273163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a:extLst>
              <a:ext uri="{FF2B5EF4-FFF2-40B4-BE49-F238E27FC236}">
                <a16:creationId xmlns:a16="http://schemas.microsoft.com/office/drawing/2014/main" id="{7CF00687-5653-45CA-AD93-C2E5B699F8C6}"/>
              </a:ext>
            </a:extLst>
          </p:cNvPr>
          <p:cNvPicPr>
            <a:picLocks/>
          </p:cNvPicPr>
          <p:nvPr/>
        </p:nvPicPr>
        <p:blipFill>
          <a:blip r:embed="rId2"/>
          <a:stretch>
            <a:fillRect/>
          </a:stretch>
        </p:blipFill>
        <p:spPr>
          <a:xfrm>
            <a:off x="535930" y="1940087"/>
            <a:ext cx="2535934" cy="3580410"/>
          </a:xfrm>
          <a:prstGeom prst="rect">
            <a:avLst/>
          </a:prstGeom>
        </p:spPr>
      </p:pic>
      <p:pic>
        <p:nvPicPr>
          <p:cNvPr id="17" name="图片 16">
            <a:extLst>
              <a:ext uri="{FF2B5EF4-FFF2-40B4-BE49-F238E27FC236}">
                <a16:creationId xmlns:a16="http://schemas.microsoft.com/office/drawing/2014/main" id="{6417BB84-939D-4F67-A7E6-18F769613FD8}"/>
              </a:ext>
            </a:extLst>
          </p:cNvPr>
          <p:cNvPicPr>
            <a:picLocks/>
          </p:cNvPicPr>
          <p:nvPr/>
        </p:nvPicPr>
        <p:blipFill>
          <a:blip r:embed="rId3"/>
          <a:stretch>
            <a:fillRect/>
          </a:stretch>
        </p:blipFill>
        <p:spPr>
          <a:xfrm>
            <a:off x="3700597" y="1940087"/>
            <a:ext cx="4289683" cy="3580410"/>
          </a:xfrm>
          <a:prstGeom prst="rect">
            <a:avLst/>
          </a:prstGeom>
        </p:spPr>
      </p:pic>
      <p:sp>
        <p:nvSpPr>
          <p:cNvPr id="2" name="标题 1">
            <a:extLst>
              <a:ext uri="{FF2B5EF4-FFF2-40B4-BE49-F238E27FC236}">
                <a16:creationId xmlns:a16="http://schemas.microsoft.com/office/drawing/2014/main" id="{46F36054-9181-483D-A834-5133F8F8511F}"/>
              </a:ext>
            </a:extLst>
          </p:cNvPr>
          <p:cNvSpPr>
            <a:spLocks noGrp="1"/>
          </p:cNvSpPr>
          <p:nvPr>
            <p:ph type="title"/>
          </p:nvPr>
        </p:nvSpPr>
        <p:spPr/>
        <p:txBody>
          <a:bodyPr/>
          <a:lstStyle/>
          <a:p>
            <a:r>
              <a:rPr lang="zh-CN" altLang="en-US" dirty="0">
                <a:latin typeface="+mn-lt"/>
                <a:ea typeface="+mn-ea"/>
                <a:cs typeface="+mn-ea"/>
                <a:sym typeface="+mn-lt"/>
              </a:rPr>
              <a:t>图片编辑技巧</a:t>
            </a:r>
            <a:endParaRPr lang="en-US" dirty="0">
              <a:latin typeface="+mn-lt"/>
              <a:ea typeface="+mn-ea"/>
              <a:cs typeface="+mn-ea"/>
              <a:sym typeface="+mn-lt"/>
            </a:endParaRPr>
          </a:p>
        </p:txBody>
      </p:sp>
      <p:sp>
        <p:nvSpPr>
          <p:cNvPr id="3" name="文本框 2">
            <a:extLst>
              <a:ext uri="{FF2B5EF4-FFF2-40B4-BE49-F238E27FC236}">
                <a16:creationId xmlns:a16="http://schemas.microsoft.com/office/drawing/2014/main" id="{681A098C-5B5E-4810-B235-5E4C6F4B45CB}"/>
              </a:ext>
            </a:extLst>
          </p:cNvPr>
          <p:cNvSpPr txBox="1"/>
          <p:nvPr/>
        </p:nvSpPr>
        <p:spPr>
          <a:xfrm>
            <a:off x="3761226" y="5789316"/>
            <a:ext cx="4669547" cy="246221"/>
          </a:xfrm>
          <a:prstGeom prst="rect">
            <a:avLst/>
          </a:prstGeom>
          <a:noFill/>
        </p:spPr>
        <p:txBody>
          <a:bodyPr wrap="none" lIns="0" tIns="0" rIns="0" bIns="0" rtlCol="0" anchor="ctr">
            <a:spAutoFit/>
          </a:bodyPr>
          <a:lstStyle/>
          <a:p>
            <a:pPr algn="ctr"/>
            <a:r>
              <a:rPr lang="zh-CN" altLang="en-US" sz="1600" spc="300" dirty="0">
                <a:solidFill>
                  <a:schemeClr val="tx1">
                    <a:lumMod val="75000"/>
                    <a:lumOff val="25000"/>
                  </a:schemeClr>
                </a:solidFill>
                <a:cs typeface="+mn-ea"/>
                <a:sym typeface="+mn-lt"/>
              </a:rPr>
              <a:t>更多技巧可关注微信公众号</a:t>
            </a:r>
            <a:r>
              <a:rPr lang="en-US" altLang="zh-CN" sz="1600" b="1" spc="300" dirty="0">
                <a:solidFill>
                  <a:schemeClr val="tx1">
                    <a:lumMod val="75000"/>
                    <a:lumOff val="25000"/>
                  </a:schemeClr>
                </a:solidFill>
                <a:cs typeface="+mn-ea"/>
                <a:sym typeface="+mn-lt"/>
              </a:rPr>
              <a:t>Slidecent</a:t>
            </a:r>
            <a:r>
              <a:rPr lang="zh-CN" altLang="en-US" sz="1600" spc="300" dirty="0">
                <a:solidFill>
                  <a:schemeClr val="tx1">
                    <a:lumMod val="75000"/>
                    <a:lumOff val="25000"/>
                  </a:schemeClr>
                </a:solidFill>
                <a:cs typeface="+mn-ea"/>
                <a:sym typeface="+mn-lt"/>
              </a:rPr>
              <a:t>获取</a:t>
            </a:r>
            <a:endParaRPr lang="en-US" sz="1600" spc="300" dirty="0">
              <a:solidFill>
                <a:schemeClr val="tx1">
                  <a:lumMod val="75000"/>
                  <a:lumOff val="25000"/>
                </a:schemeClr>
              </a:solidFill>
              <a:cs typeface="+mn-ea"/>
              <a:sym typeface="+mn-lt"/>
            </a:endParaRPr>
          </a:p>
        </p:txBody>
      </p:sp>
      <p:sp>
        <p:nvSpPr>
          <p:cNvPr id="4" name="灯片编号占位符 3">
            <a:extLst>
              <a:ext uri="{FF2B5EF4-FFF2-40B4-BE49-F238E27FC236}">
                <a16:creationId xmlns:a16="http://schemas.microsoft.com/office/drawing/2014/main" id="{1CC46B5D-71BD-4DA6-A020-61CD89CE9EAC}"/>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72</a:t>
            </a:fld>
            <a:endParaRPr lang="en-US" dirty="0">
              <a:solidFill>
                <a:srgbClr val="000000">
                  <a:tint val="75000"/>
                </a:srgbClr>
              </a:solidFill>
              <a:cs typeface="+mn-ea"/>
              <a:sym typeface="+mn-lt"/>
            </a:endParaRPr>
          </a:p>
        </p:txBody>
      </p:sp>
      <p:sp>
        <p:nvSpPr>
          <p:cNvPr id="10" name="文本框 9">
            <a:extLst>
              <a:ext uri="{FF2B5EF4-FFF2-40B4-BE49-F238E27FC236}">
                <a16:creationId xmlns:a16="http://schemas.microsoft.com/office/drawing/2014/main" id="{05615BAB-C02E-45DC-BD46-185940C373A9}"/>
              </a:ext>
            </a:extLst>
          </p:cNvPr>
          <p:cNvSpPr txBox="1"/>
          <p:nvPr/>
        </p:nvSpPr>
        <p:spPr>
          <a:xfrm>
            <a:off x="535930" y="1388485"/>
            <a:ext cx="2535934" cy="405624"/>
          </a:xfrm>
          <a:prstGeom prst="rect">
            <a:avLst/>
          </a:prstGeom>
          <a:noFill/>
        </p:spPr>
        <p:txBody>
          <a:bodyPr wrap="none" tIns="0" bIns="0" rtlCol="0" anchor="ctr" anchorCtr="0">
            <a:noAutofit/>
          </a:bodyPr>
          <a:lstStyle/>
          <a:p>
            <a:pPr algn="ctr">
              <a:lnSpc>
                <a:spcPct val="120000"/>
              </a:lnSpc>
            </a:pPr>
            <a:r>
              <a:rPr lang="zh-CN" altLang="en-US" sz="2400" b="1" dirty="0">
                <a:solidFill>
                  <a:schemeClr val="tx1">
                    <a:lumMod val="75000"/>
                    <a:lumOff val="25000"/>
                  </a:schemeClr>
                </a:solidFill>
                <a:cs typeface="+mn-ea"/>
                <a:sym typeface="+mn-lt"/>
              </a:rPr>
              <a:t>图片调光</a:t>
            </a:r>
          </a:p>
        </p:txBody>
      </p:sp>
      <p:sp>
        <p:nvSpPr>
          <p:cNvPr id="13" name="矩形 12">
            <a:extLst>
              <a:ext uri="{FF2B5EF4-FFF2-40B4-BE49-F238E27FC236}">
                <a16:creationId xmlns:a16="http://schemas.microsoft.com/office/drawing/2014/main" id="{C2D12F67-597D-4BC4-9FA5-EA86DC013D20}"/>
              </a:ext>
            </a:extLst>
          </p:cNvPr>
          <p:cNvSpPr/>
          <p:nvPr/>
        </p:nvSpPr>
        <p:spPr>
          <a:xfrm>
            <a:off x="515938" y="1922318"/>
            <a:ext cx="301337" cy="457200"/>
          </a:xfrm>
          <a:prstGeom prst="rect">
            <a:avLst/>
          </a:prstGeom>
          <a:solidFill>
            <a:schemeClr val="accent2">
              <a:alpha val="10000"/>
            </a:schemeClr>
          </a:solid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sp>
        <p:nvSpPr>
          <p:cNvPr id="11" name="文本框 10">
            <a:extLst>
              <a:ext uri="{FF2B5EF4-FFF2-40B4-BE49-F238E27FC236}">
                <a16:creationId xmlns:a16="http://schemas.microsoft.com/office/drawing/2014/main" id="{BE0520FE-A95E-45C8-AC4B-F8A7AC4D2D3B}"/>
              </a:ext>
            </a:extLst>
          </p:cNvPr>
          <p:cNvSpPr txBox="1"/>
          <p:nvPr/>
        </p:nvSpPr>
        <p:spPr>
          <a:xfrm>
            <a:off x="3700597" y="1388485"/>
            <a:ext cx="4289683" cy="405624"/>
          </a:xfrm>
          <a:prstGeom prst="rect">
            <a:avLst/>
          </a:prstGeom>
          <a:noFill/>
        </p:spPr>
        <p:txBody>
          <a:bodyPr wrap="none" tIns="0" bIns="0" rtlCol="0" anchor="ctr" anchorCtr="0">
            <a:noAutofit/>
          </a:bodyPr>
          <a:lstStyle>
            <a:defPPr>
              <a:defRPr lang="en-US"/>
            </a:defPPr>
            <a:lvl1pPr algn="ctr">
              <a:lnSpc>
                <a:spcPct val="120000"/>
              </a:lnSpc>
              <a:defRPr sz="2400" b="1">
                <a:solidFill>
                  <a:schemeClr val="accent1"/>
                </a:solidFill>
                <a:latin typeface="+mj-ea"/>
                <a:ea typeface="+mj-ea"/>
              </a:defRPr>
            </a:lvl1pPr>
          </a:lstStyle>
          <a:p>
            <a:r>
              <a:rPr lang="zh-CN" altLang="en-US" dirty="0">
                <a:solidFill>
                  <a:schemeClr val="tx1">
                    <a:lumMod val="75000"/>
                    <a:lumOff val="25000"/>
                  </a:schemeClr>
                </a:solidFill>
                <a:latin typeface="+mn-lt"/>
                <a:ea typeface="+mn-ea"/>
                <a:cs typeface="+mn-ea"/>
                <a:sym typeface="+mn-lt"/>
              </a:rPr>
              <a:t>图片调色</a:t>
            </a:r>
          </a:p>
        </p:txBody>
      </p:sp>
      <p:sp>
        <p:nvSpPr>
          <p:cNvPr id="14" name="矩形 13">
            <a:extLst>
              <a:ext uri="{FF2B5EF4-FFF2-40B4-BE49-F238E27FC236}">
                <a16:creationId xmlns:a16="http://schemas.microsoft.com/office/drawing/2014/main" id="{A7559866-F267-41C5-908A-B441AE7A69A2}"/>
              </a:ext>
            </a:extLst>
          </p:cNvPr>
          <p:cNvSpPr/>
          <p:nvPr/>
        </p:nvSpPr>
        <p:spPr>
          <a:xfrm>
            <a:off x="3717023" y="1922318"/>
            <a:ext cx="301337" cy="457200"/>
          </a:xfrm>
          <a:prstGeom prst="rect">
            <a:avLst/>
          </a:prstGeom>
          <a:solidFill>
            <a:schemeClr val="accent2">
              <a:alpha val="10000"/>
            </a:schemeClr>
          </a:solid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pic>
        <p:nvPicPr>
          <p:cNvPr id="8" name="图片 7">
            <a:extLst>
              <a:ext uri="{FF2B5EF4-FFF2-40B4-BE49-F238E27FC236}">
                <a16:creationId xmlns:a16="http://schemas.microsoft.com/office/drawing/2014/main" id="{48BD7BE4-2C75-42C1-81F5-0CFC32CB9B94}"/>
              </a:ext>
            </a:extLst>
          </p:cNvPr>
          <p:cNvPicPr>
            <a:picLocks noChangeAspect="1"/>
          </p:cNvPicPr>
          <p:nvPr/>
        </p:nvPicPr>
        <p:blipFill rotWithShape="1">
          <a:blip r:embed="rId4"/>
          <a:srcRect t="8501" b="26278"/>
          <a:stretch/>
        </p:blipFill>
        <p:spPr>
          <a:xfrm>
            <a:off x="8619012" y="1940087"/>
            <a:ext cx="3093563" cy="3580410"/>
          </a:xfrm>
          <a:prstGeom prst="rect">
            <a:avLst/>
          </a:prstGeom>
        </p:spPr>
      </p:pic>
      <p:sp>
        <p:nvSpPr>
          <p:cNvPr id="12" name="文本框 11">
            <a:extLst>
              <a:ext uri="{FF2B5EF4-FFF2-40B4-BE49-F238E27FC236}">
                <a16:creationId xmlns:a16="http://schemas.microsoft.com/office/drawing/2014/main" id="{C409D982-827F-40D5-9D40-634C9B15444C}"/>
              </a:ext>
            </a:extLst>
          </p:cNvPr>
          <p:cNvSpPr txBox="1"/>
          <p:nvPr/>
        </p:nvSpPr>
        <p:spPr>
          <a:xfrm>
            <a:off x="8619012" y="1388485"/>
            <a:ext cx="3093563" cy="405624"/>
          </a:xfrm>
          <a:prstGeom prst="rect">
            <a:avLst/>
          </a:prstGeom>
          <a:noFill/>
        </p:spPr>
        <p:txBody>
          <a:bodyPr wrap="none" tIns="0" bIns="0" rtlCol="0" anchor="ctr" anchorCtr="0">
            <a:noAutofit/>
          </a:bodyPr>
          <a:lstStyle>
            <a:defPPr>
              <a:defRPr lang="en-US"/>
            </a:defPPr>
            <a:lvl1pPr algn="ctr">
              <a:lnSpc>
                <a:spcPct val="120000"/>
              </a:lnSpc>
              <a:defRPr sz="2400" b="1">
                <a:solidFill>
                  <a:schemeClr val="accent1"/>
                </a:solidFill>
                <a:latin typeface="+mj-ea"/>
                <a:ea typeface="+mj-ea"/>
              </a:defRPr>
            </a:lvl1pPr>
          </a:lstStyle>
          <a:p>
            <a:r>
              <a:rPr lang="zh-CN" altLang="en-US" dirty="0">
                <a:solidFill>
                  <a:schemeClr val="tx1">
                    <a:lumMod val="75000"/>
                    <a:lumOff val="25000"/>
                  </a:schemeClr>
                </a:solidFill>
                <a:latin typeface="+mn-lt"/>
                <a:ea typeface="+mn-ea"/>
                <a:cs typeface="+mn-ea"/>
                <a:sym typeface="+mn-lt"/>
              </a:rPr>
              <a:t>图片裁剪</a:t>
            </a:r>
          </a:p>
        </p:txBody>
      </p:sp>
      <p:sp>
        <p:nvSpPr>
          <p:cNvPr id="15" name="矩形 14">
            <a:extLst>
              <a:ext uri="{FF2B5EF4-FFF2-40B4-BE49-F238E27FC236}">
                <a16:creationId xmlns:a16="http://schemas.microsoft.com/office/drawing/2014/main" id="{2E38657E-F3A1-4BD9-8152-6831A42321D8}"/>
              </a:ext>
            </a:extLst>
          </p:cNvPr>
          <p:cNvSpPr/>
          <p:nvPr/>
        </p:nvSpPr>
        <p:spPr>
          <a:xfrm>
            <a:off x="10648445" y="1922317"/>
            <a:ext cx="270165" cy="716973"/>
          </a:xfrm>
          <a:prstGeom prst="rect">
            <a:avLst/>
          </a:prstGeom>
          <a:solidFill>
            <a:schemeClr val="accent2">
              <a:alpha val="10000"/>
            </a:schemeClr>
          </a:solid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grpSp>
        <p:nvGrpSpPr>
          <p:cNvPr id="18" name="组合 17">
            <a:extLst>
              <a:ext uri="{FF2B5EF4-FFF2-40B4-BE49-F238E27FC236}">
                <a16:creationId xmlns:a16="http://schemas.microsoft.com/office/drawing/2014/main" id="{84E2F25C-B746-4CAA-B4C6-5D34B6F48FBD}"/>
              </a:ext>
            </a:extLst>
          </p:cNvPr>
          <p:cNvGrpSpPr/>
          <p:nvPr/>
        </p:nvGrpSpPr>
        <p:grpSpPr>
          <a:xfrm>
            <a:off x="0" y="-715587"/>
            <a:ext cx="676656" cy="602672"/>
            <a:chOff x="0" y="6950133"/>
            <a:chExt cx="676656" cy="602672"/>
          </a:xfrm>
        </p:grpSpPr>
        <p:sp>
          <p:nvSpPr>
            <p:cNvPr id="19" name="矩形 18">
              <a:extLst>
                <a:ext uri="{FF2B5EF4-FFF2-40B4-BE49-F238E27FC236}">
                  <a16:creationId xmlns:a16="http://schemas.microsoft.com/office/drawing/2014/main" id="{841A4DE7-3128-472B-B0BC-2C2D0C41C6A4}"/>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20" name="组合 19">
              <a:extLst>
                <a:ext uri="{FF2B5EF4-FFF2-40B4-BE49-F238E27FC236}">
                  <a16:creationId xmlns:a16="http://schemas.microsoft.com/office/drawing/2014/main" id="{5BCE5D34-CD94-4592-AE71-255A4DEBEC4C}"/>
                </a:ext>
              </a:extLst>
            </p:cNvPr>
            <p:cNvGrpSpPr/>
            <p:nvPr/>
          </p:nvGrpSpPr>
          <p:grpSpPr>
            <a:xfrm>
              <a:off x="47544" y="7038552"/>
              <a:ext cx="581568" cy="425834"/>
              <a:chOff x="84575" y="6977592"/>
              <a:chExt cx="581568" cy="425834"/>
            </a:xfrm>
          </p:grpSpPr>
          <p:grpSp>
            <p:nvGrpSpPr>
              <p:cNvPr id="21" name="组合 20">
                <a:extLst>
                  <a:ext uri="{FF2B5EF4-FFF2-40B4-BE49-F238E27FC236}">
                    <a16:creationId xmlns:a16="http://schemas.microsoft.com/office/drawing/2014/main" id="{4F9E74F6-1DA1-4045-95FD-F93CE143E796}"/>
                  </a:ext>
                </a:extLst>
              </p:cNvPr>
              <p:cNvGrpSpPr/>
              <p:nvPr/>
            </p:nvGrpSpPr>
            <p:grpSpPr>
              <a:xfrm>
                <a:off x="84575" y="6979654"/>
                <a:ext cx="317380" cy="421711"/>
                <a:chOff x="14690033" y="2185397"/>
                <a:chExt cx="583830" cy="775754"/>
              </a:xfrm>
            </p:grpSpPr>
            <p:sp>
              <p:nvSpPr>
                <p:cNvPr id="23" name="iŝļíḑe">
                  <a:extLst>
                    <a:ext uri="{FF2B5EF4-FFF2-40B4-BE49-F238E27FC236}">
                      <a16:creationId xmlns:a16="http://schemas.microsoft.com/office/drawing/2014/main" id="{A3B7B45C-1CDF-46A0-8FB6-6516BAC4AFEE}"/>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şḷíḍé">
                  <a:extLst>
                    <a:ext uri="{FF2B5EF4-FFF2-40B4-BE49-F238E27FC236}">
                      <a16:creationId xmlns:a16="http://schemas.microsoft.com/office/drawing/2014/main" id="{9C761ADD-CB4B-40BD-8A72-16038A472AB2}"/>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Sľïḓe">
                  <a:extLst>
                    <a:ext uri="{FF2B5EF4-FFF2-40B4-BE49-F238E27FC236}">
                      <a16:creationId xmlns:a16="http://schemas.microsoft.com/office/drawing/2014/main" id="{98CD378E-EEC0-403B-B0D3-92CEA06A49ED}"/>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sḻídê">
                  <a:extLst>
                    <a:ext uri="{FF2B5EF4-FFF2-40B4-BE49-F238E27FC236}">
                      <a16:creationId xmlns:a16="http://schemas.microsoft.com/office/drawing/2014/main" id="{76D6E0B5-11C7-4741-89B7-473DB99737BF}"/>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îS1íḋè">
                  <a:extLst>
                    <a:ext uri="{FF2B5EF4-FFF2-40B4-BE49-F238E27FC236}">
                      <a16:creationId xmlns:a16="http://schemas.microsoft.com/office/drawing/2014/main" id="{B426294D-387E-4354-944F-6477093550AD}"/>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şļíde">
                  <a:extLst>
                    <a:ext uri="{FF2B5EF4-FFF2-40B4-BE49-F238E27FC236}">
                      <a16:creationId xmlns:a16="http://schemas.microsoft.com/office/drawing/2014/main" id="{5D6972D3-D98D-46EC-9FBE-B9BAA225A817}"/>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2" name="文本框 21">
                <a:extLst>
                  <a:ext uri="{FF2B5EF4-FFF2-40B4-BE49-F238E27FC236}">
                    <a16:creationId xmlns:a16="http://schemas.microsoft.com/office/drawing/2014/main" id="{3A5DD535-B133-4081-BA90-980EEA0F9D48}"/>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9" name="矩形 28">
            <a:extLst>
              <a:ext uri="{FF2B5EF4-FFF2-40B4-BE49-F238E27FC236}">
                <a16:creationId xmlns:a16="http://schemas.microsoft.com/office/drawing/2014/main" id="{1F941D23-472C-4C47-9CF2-AC19E2404676}"/>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扫码关注微信公众号</a:t>
            </a:r>
            <a:r>
              <a:rPr lang="en-US" altLang="zh-CN" spc="100" dirty="0" err="1">
                <a:solidFill>
                  <a:schemeClr val="tx1">
                    <a:lumMod val="65000"/>
                    <a:lumOff val="35000"/>
                  </a:schemeClr>
                </a:solidFill>
              </a:rPr>
              <a:t>Slidecent</a:t>
            </a:r>
            <a:r>
              <a:rPr lang="zh-CN" altLang="en-US" spc="100" dirty="0">
                <a:solidFill>
                  <a:schemeClr val="tx1">
                    <a:lumMod val="65000"/>
                    <a:lumOff val="35000"/>
                  </a:schemeClr>
                </a:solidFill>
              </a:rPr>
              <a:t>有大量优质资源分享</a:t>
            </a:r>
            <a:endParaRPr lang="en-US" altLang="zh-CN" spc="100" dirty="0">
              <a:solidFill>
                <a:schemeClr val="tx1">
                  <a:lumMod val="65000"/>
                  <a:lumOff val="35000"/>
                </a:schemeClr>
              </a:solidFill>
            </a:endParaRPr>
          </a:p>
        </p:txBody>
      </p:sp>
    </p:spTree>
    <p:extLst>
      <p:ext uri="{BB962C8B-B14F-4D97-AF65-F5344CB8AC3E}">
        <p14:creationId xmlns:p14="http://schemas.microsoft.com/office/powerpoint/2010/main" val="14355176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03F637E2-BFD7-4ED2-A4DA-0003C267A5F1}"/>
              </a:ext>
            </a:extLst>
          </p:cNvPr>
          <p:cNvPicPr>
            <a:picLocks noChangeAspect="1"/>
          </p:cNvPicPr>
          <p:nvPr/>
        </p:nvPicPr>
        <p:blipFill rotWithShape="1">
          <a:blip r:embed="rId2">
            <a:extLst>
              <a:ext uri="{28A0092B-C50C-407E-A947-70E740481C1C}">
                <a14:useLocalDpi xmlns:a14="http://schemas.microsoft.com/office/drawing/2010/main" val="0"/>
              </a:ext>
            </a:extLst>
          </a:blip>
          <a:srcRect l="3445" r="3445"/>
          <a:stretch/>
        </p:blipFill>
        <p:spPr>
          <a:xfrm>
            <a:off x="0" y="3190"/>
            <a:ext cx="12192000" cy="6851620"/>
          </a:xfrm>
          <a:prstGeom prst="rect">
            <a:avLst/>
          </a:prstGeom>
        </p:spPr>
      </p:pic>
      <p:grpSp>
        <p:nvGrpSpPr>
          <p:cNvPr id="16" name="组合 15">
            <a:extLst>
              <a:ext uri="{FF2B5EF4-FFF2-40B4-BE49-F238E27FC236}">
                <a16:creationId xmlns:a16="http://schemas.microsoft.com/office/drawing/2014/main" id="{3C25AA82-4707-468F-AED5-1FD0B8EF3877}"/>
              </a:ext>
            </a:extLst>
          </p:cNvPr>
          <p:cNvGrpSpPr/>
          <p:nvPr/>
        </p:nvGrpSpPr>
        <p:grpSpPr>
          <a:xfrm>
            <a:off x="3823784" y="3429000"/>
            <a:ext cx="4544432" cy="0"/>
            <a:chOff x="3789494" y="3429000"/>
            <a:chExt cx="4544432" cy="0"/>
          </a:xfrm>
        </p:grpSpPr>
        <p:cxnSp>
          <p:nvCxnSpPr>
            <p:cNvPr id="10" name="直接连接符 9">
              <a:extLst>
                <a:ext uri="{FF2B5EF4-FFF2-40B4-BE49-F238E27FC236}">
                  <a16:creationId xmlns:a16="http://schemas.microsoft.com/office/drawing/2014/main" id="{BDC82491-3617-44AD-839F-B1BF949FBDA7}"/>
                </a:ext>
              </a:extLst>
            </p:cNvPr>
            <p:cNvCxnSpPr/>
            <p:nvPr/>
          </p:nvCxnSpPr>
          <p:spPr>
            <a:xfrm>
              <a:off x="3789494" y="3429000"/>
              <a:ext cx="44002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060AD2E4-B1CC-4BE1-9A63-9E36226B6086}"/>
                </a:ext>
              </a:extLst>
            </p:cNvPr>
            <p:cNvCxnSpPr/>
            <p:nvPr/>
          </p:nvCxnSpPr>
          <p:spPr>
            <a:xfrm>
              <a:off x="7893904" y="3429000"/>
              <a:ext cx="440022" cy="0"/>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15" name="组合 14">
            <a:extLst>
              <a:ext uri="{FF2B5EF4-FFF2-40B4-BE49-F238E27FC236}">
                <a16:creationId xmlns:a16="http://schemas.microsoft.com/office/drawing/2014/main" id="{7D6555C2-9988-466D-97C4-2DD56CB90ADF}"/>
              </a:ext>
            </a:extLst>
          </p:cNvPr>
          <p:cNvGrpSpPr/>
          <p:nvPr/>
        </p:nvGrpSpPr>
        <p:grpSpPr>
          <a:xfrm>
            <a:off x="4502727" y="2439434"/>
            <a:ext cx="3186546" cy="1700206"/>
            <a:chOff x="4725433" y="2439434"/>
            <a:chExt cx="2741136" cy="1700206"/>
          </a:xfrm>
        </p:grpSpPr>
        <p:sp>
          <p:nvSpPr>
            <p:cNvPr id="5" name="文本框 4">
              <a:extLst>
                <a:ext uri="{FF2B5EF4-FFF2-40B4-BE49-F238E27FC236}">
                  <a16:creationId xmlns:a16="http://schemas.microsoft.com/office/drawing/2014/main" id="{FBFA9725-3F01-40D1-BF30-778FB082E02D}"/>
                </a:ext>
              </a:extLst>
            </p:cNvPr>
            <p:cNvSpPr txBox="1"/>
            <p:nvPr/>
          </p:nvSpPr>
          <p:spPr>
            <a:xfrm>
              <a:off x="4725433" y="3090446"/>
              <a:ext cx="2741136" cy="677108"/>
            </a:xfrm>
            <a:prstGeom prst="rect">
              <a:avLst/>
            </a:prstGeom>
            <a:noFill/>
          </p:spPr>
          <p:txBody>
            <a:bodyPr wrap="square" lIns="0" tIns="0" rIns="0" bIns="0" rtlCol="0" anchor="ctr">
              <a:spAutoFit/>
            </a:bodyPr>
            <a:lstStyle/>
            <a:p>
              <a:pPr algn="dist"/>
              <a:r>
                <a:rPr lang="zh-CN" altLang="en-US" sz="4400" b="1" dirty="0">
                  <a:solidFill>
                    <a:schemeClr val="accent1"/>
                  </a:solidFill>
                  <a:cs typeface="+mn-ea"/>
                  <a:sym typeface="+mn-lt"/>
                </a:rPr>
                <a:t>设计规范</a:t>
              </a:r>
              <a:endParaRPr lang="en-US" sz="4400" b="1" dirty="0">
                <a:solidFill>
                  <a:schemeClr val="accent1"/>
                </a:solidFill>
                <a:cs typeface="+mn-ea"/>
                <a:sym typeface="+mn-lt"/>
              </a:endParaRPr>
            </a:p>
          </p:txBody>
        </p:sp>
        <p:sp>
          <p:nvSpPr>
            <p:cNvPr id="13" name="文本框 12">
              <a:extLst>
                <a:ext uri="{FF2B5EF4-FFF2-40B4-BE49-F238E27FC236}">
                  <a16:creationId xmlns:a16="http://schemas.microsoft.com/office/drawing/2014/main" id="{AF0DF3BF-F23B-405C-8771-E06DF86D837D}"/>
                </a:ext>
              </a:extLst>
            </p:cNvPr>
            <p:cNvSpPr txBox="1"/>
            <p:nvPr/>
          </p:nvSpPr>
          <p:spPr>
            <a:xfrm>
              <a:off x="5936043" y="2439434"/>
              <a:ext cx="319914" cy="430887"/>
            </a:xfrm>
            <a:prstGeom prst="rect">
              <a:avLst/>
            </a:prstGeom>
            <a:noFill/>
          </p:spPr>
          <p:txBody>
            <a:bodyPr wrap="none" lIns="0" tIns="0" rIns="0" bIns="0" rtlCol="0" anchor="ctr">
              <a:spAutoFit/>
            </a:bodyPr>
            <a:lstStyle/>
            <a:p>
              <a:pPr algn="ctr"/>
              <a:r>
                <a:rPr lang="en-US" altLang="zh-CN" sz="2800" dirty="0">
                  <a:solidFill>
                    <a:schemeClr val="accent1"/>
                  </a:solidFill>
                  <a:latin typeface="Impact" panose="020B0806030902050204" pitchFamily="34" charset="0"/>
                  <a:cs typeface="+mn-ea"/>
                  <a:sym typeface="+mn-lt"/>
                </a:rPr>
                <a:t>02</a:t>
              </a:r>
              <a:endParaRPr lang="en-US" sz="2800" dirty="0">
                <a:solidFill>
                  <a:schemeClr val="accent1"/>
                </a:solidFill>
                <a:latin typeface="Impact" panose="020B0806030902050204" pitchFamily="34" charset="0"/>
                <a:cs typeface="+mn-ea"/>
                <a:sym typeface="+mn-lt"/>
              </a:endParaRPr>
            </a:p>
          </p:txBody>
        </p:sp>
        <p:sp>
          <p:nvSpPr>
            <p:cNvPr id="14" name="文本框 13">
              <a:extLst>
                <a:ext uri="{FF2B5EF4-FFF2-40B4-BE49-F238E27FC236}">
                  <a16:creationId xmlns:a16="http://schemas.microsoft.com/office/drawing/2014/main" id="{1B7B7BDB-AFF2-483A-9296-BEA0C2FB003C}"/>
                </a:ext>
              </a:extLst>
            </p:cNvPr>
            <p:cNvSpPr txBox="1"/>
            <p:nvPr/>
          </p:nvSpPr>
          <p:spPr>
            <a:xfrm>
              <a:off x="4725433" y="3831863"/>
              <a:ext cx="2741136" cy="307777"/>
            </a:xfrm>
            <a:prstGeom prst="rect">
              <a:avLst/>
            </a:prstGeom>
            <a:noFill/>
          </p:spPr>
          <p:txBody>
            <a:bodyPr wrap="square" lIns="0" tIns="0" rIns="0" bIns="0" rtlCol="0" anchor="ctr">
              <a:spAutoFit/>
            </a:bodyPr>
            <a:lstStyle/>
            <a:p>
              <a:pPr algn="dist"/>
              <a:r>
                <a:rPr lang="en-US" altLang="zh-CN" sz="2000" dirty="0">
                  <a:solidFill>
                    <a:schemeClr val="bg1">
                      <a:lumMod val="65000"/>
                    </a:schemeClr>
                  </a:solidFill>
                  <a:cs typeface="+mn-ea"/>
                  <a:sym typeface="+mn-lt"/>
                </a:rPr>
                <a:t>Design Specification</a:t>
              </a:r>
              <a:endParaRPr lang="en-US" sz="2000" dirty="0">
                <a:solidFill>
                  <a:schemeClr val="bg1">
                    <a:lumMod val="65000"/>
                  </a:schemeClr>
                </a:solidFill>
                <a:cs typeface="+mn-ea"/>
                <a:sym typeface="+mn-lt"/>
              </a:endParaRPr>
            </a:p>
          </p:txBody>
        </p:sp>
      </p:grpSp>
      <p:sp>
        <p:nvSpPr>
          <p:cNvPr id="12" name="任意多边形: 形状 11">
            <a:extLst>
              <a:ext uri="{FF2B5EF4-FFF2-40B4-BE49-F238E27FC236}">
                <a16:creationId xmlns:a16="http://schemas.microsoft.com/office/drawing/2014/main" id="{F9F19ED9-F601-4CF2-9716-A11FCBE829B1}"/>
              </a:ext>
            </a:extLst>
          </p:cNvPr>
          <p:cNvSpPr/>
          <p:nvPr/>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7" name="任意多边形: 形状 16">
            <a:extLst>
              <a:ext uri="{FF2B5EF4-FFF2-40B4-BE49-F238E27FC236}">
                <a16:creationId xmlns:a16="http://schemas.microsoft.com/office/drawing/2014/main" id="{44938B8D-F858-441C-99A5-C70DC56C20FB}"/>
              </a:ext>
            </a:extLst>
          </p:cNvPr>
          <p:cNvSpPr/>
          <p:nvPr/>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 fmla="*/ 0 w 550718"/>
              <a:gd name="connsiteY0" fmla="*/ 15239 h 766502"/>
              <a:gd name="connsiteX1" fmla="*/ 471574 w 550718"/>
              <a:gd name="connsiteY1" fmla="*/ 0 h 766502"/>
              <a:gd name="connsiteX2" fmla="*/ 550718 w 550718"/>
              <a:gd name="connsiteY2" fmla="*/ 15239 h 766502"/>
              <a:gd name="connsiteX3" fmla="*/ 550718 w 550718"/>
              <a:gd name="connsiteY3" fmla="*/ 49529 h 766502"/>
              <a:gd name="connsiteX4" fmla="*/ 550718 w 550718"/>
              <a:gd name="connsiteY4" fmla="*/ 112394 h 766502"/>
              <a:gd name="connsiteX5" fmla="*/ 550718 w 550718"/>
              <a:gd name="connsiteY5" fmla="*/ 766502 h 766502"/>
              <a:gd name="connsiteX6" fmla="*/ 332814 w 550718"/>
              <a:gd name="connsiteY6" fmla="*/ 766502 h 766502"/>
              <a:gd name="connsiteX7" fmla="*/ 275359 w 550718"/>
              <a:gd name="connsiteY7" fmla="*/ 654877 h 766502"/>
              <a:gd name="connsiteX8" fmla="*/ 217904 w 550718"/>
              <a:gd name="connsiteY8" fmla="*/ 766502 h 766502"/>
              <a:gd name="connsiteX9" fmla="*/ 0 w 550718"/>
              <a:gd name="connsiteY9" fmla="*/ 766502 h 766502"/>
              <a:gd name="connsiteX10" fmla="*/ 0 w 550718"/>
              <a:gd name="connsiteY10" fmla="*/ 112394 h 766502"/>
              <a:gd name="connsiteX11" fmla="*/ 0 w 550718"/>
              <a:gd name="connsiteY11" fmla="*/ 49529 h 766502"/>
              <a:gd name="connsiteX12" fmla="*/ 0 w 550718"/>
              <a:gd name="connsiteY12" fmla="*/ 15239 h 766502"/>
              <a:gd name="connsiteX0" fmla="*/ 471574 w 563014"/>
              <a:gd name="connsiteY0" fmla="*/ 0 h 766502"/>
              <a:gd name="connsiteX1" fmla="*/ 550718 w 563014"/>
              <a:gd name="connsiteY1" fmla="*/ 15239 h 766502"/>
              <a:gd name="connsiteX2" fmla="*/ 550718 w 563014"/>
              <a:gd name="connsiteY2" fmla="*/ 49529 h 766502"/>
              <a:gd name="connsiteX3" fmla="*/ 550718 w 563014"/>
              <a:gd name="connsiteY3" fmla="*/ 112394 h 766502"/>
              <a:gd name="connsiteX4" fmla="*/ 550718 w 563014"/>
              <a:gd name="connsiteY4" fmla="*/ 766502 h 766502"/>
              <a:gd name="connsiteX5" fmla="*/ 332814 w 563014"/>
              <a:gd name="connsiteY5" fmla="*/ 766502 h 766502"/>
              <a:gd name="connsiteX6" fmla="*/ 275359 w 563014"/>
              <a:gd name="connsiteY6" fmla="*/ 654877 h 766502"/>
              <a:gd name="connsiteX7" fmla="*/ 217904 w 563014"/>
              <a:gd name="connsiteY7" fmla="*/ 766502 h 766502"/>
              <a:gd name="connsiteX8" fmla="*/ 0 w 563014"/>
              <a:gd name="connsiteY8" fmla="*/ 766502 h 766502"/>
              <a:gd name="connsiteX9" fmla="*/ 0 w 563014"/>
              <a:gd name="connsiteY9" fmla="*/ 112394 h 766502"/>
              <a:gd name="connsiteX10" fmla="*/ 0 w 563014"/>
              <a:gd name="connsiteY10" fmla="*/ 49529 h 766502"/>
              <a:gd name="connsiteX11" fmla="*/ 0 w 563014"/>
              <a:gd name="connsiteY11" fmla="*/ 15239 h 766502"/>
              <a:gd name="connsiteX12" fmla="*/ 563014 w 563014"/>
              <a:gd name="connsiteY12" fmla="*/ 91440 h 766502"/>
              <a:gd name="connsiteX0" fmla="*/ 550718 w 563014"/>
              <a:gd name="connsiteY0" fmla="*/ 1132 h 752395"/>
              <a:gd name="connsiteX1" fmla="*/ 550718 w 563014"/>
              <a:gd name="connsiteY1" fmla="*/ 35422 h 752395"/>
              <a:gd name="connsiteX2" fmla="*/ 550718 w 563014"/>
              <a:gd name="connsiteY2" fmla="*/ 98287 h 752395"/>
              <a:gd name="connsiteX3" fmla="*/ 550718 w 563014"/>
              <a:gd name="connsiteY3" fmla="*/ 752395 h 752395"/>
              <a:gd name="connsiteX4" fmla="*/ 332814 w 563014"/>
              <a:gd name="connsiteY4" fmla="*/ 752395 h 752395"/>
              <a:gd name="connsiteX5" fmla="*/ 275359 w 563014"/>
              <a:gd name="connsiteY5" fmla="*/ 640770 h 752395"/>
              <a:gd name="connsiteX6" fmla="*/ 217904 w 563014"/>
              <a:gd name="connsiteY6" fmla="*/ 752395 h 752395"/>
              <a:gd name="connsiteX7" fmla="*/ 0 w 563014"/>
              <a:gd name="connsiteY7" fmla="*/ 752395 h 752395"/>
              <a:gd name="connsiteX8" fmla="*/ 0 w 563014"/>
              <a:gd name="connsiteY8" fmla="*/ 98287 h 752395"/>
              <a:gd name="connsiteX9" fmla="*/ 0 w 563014"/>
              <a:gd name="connsiteY9" fmla="*/ 35422 h 752395"/>
              <a:gd name="connsiteX10" fmla="*/ 0 w 563014"/>
              <a:gd name="connsiteY10" fmla="*/ 1132 h 752395"/>
              <a:gd name="connsiteX11" fmla="*/ 563014 w 563014"/>
              <a:gd name="connsiteY11" fmla="*/ 77333 h 752395"/>
              <a:gd name="connsiteX0" fmla="*/ 550718 w 550718"/>
              <a:gd name="connsiteY0" fmla="*/ 0 h 751263"/>
              <a:gd name="connsiteX1" fmla="*/ 550718 w 550718"/>
              <a:gd name="connsiteY1" fmla="*/ 34290 h 751263"/>
              <a:gd name="connsiteX2" fmla="*/ 550718 w 550718"/>
              <a:gd name="connsiteY2" fmla="*/ 97155 h 751263"/>
              <a:gd name="connsiteX3" fmla="*/ 550718 w 550718"/>
              <a:gd name="connsiteY3" fmla="*/ 751263 h 751263"/>
              <a:gd name="connsiteX4" fmla="*/ 332814 w 550718"/>
              <a:gd name="connsiteY4" fmla="*/ 751263 h 751263"/>
              <a:gd name="connsiteX5" fmla="*/ 275359 w 550718"/>
              <a:gd name="connsiteY5" fmla="*/ 639638 h 751263"/>
              <a:gd name="connsiteX6" fmla="*/ 217904 w 550718"/>
              <a:gd name="connsiteY6" fmla="*/ 751263 h 751263"/>
              <a:gd name="connsiteX7" fmla="*/ 0 w 550718"/>
              <a:gd name="connsiteY7" fmla="*/ 751263 h 751263"/>
              <a:gd name="connsiteX8" fmla="*/ 0 w 550718"/>
              <a:gd name="connsiteY8" fmla="*/ 97155 h 751263"/>
              <a:gd name="connsiteX9" fmla="*/ 0 w 550718"/>
              <a:gd name="connsiteY9" fmla="*/ 34290 h 751263"/>
              <a:gd name="connsiteX10" fmla="*/ 0 w 550718"/>
              <a:gd name="connsiteY10" fmla="*/ 0 h 75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Tree>
    <p:extLst>
      <p:ext uri="{BB962C8B-B14F-4D97-AF65-F5344CB8AC3E}">
        <p14:creationId xmlns:p14="http://schemas.microsoft.com/office/powerpoint/2010/main" val="25940705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5494A7C-EDD7-4741-95A3-3B0A1F219397}"/>
              </a:ext>
            </a:extLst>
          </p:cNvPr>
          <p:cNvSpPr>
            <a:spLocks noGrp="1"/>
          </p:cNvSpPr>
          <p:nvPr>
            <p:ph type="title"/>
          </p:nvPr>
        </p:nvSpPr>
        <p:spPr/>
        <p:txBody>
          <a:bodyPr/>
          <a:lstStyle/>
          <a:p>
            <a:r>
              <a:rPr lang="zh-CN" altLang="en-US" dirty="0">
                <a:latin typeface="+mn-lt"/>
                <a:ea typeface="+mn-ea"/>
                <a:cs typeface="+mn-ea"/>
                <a:sym typeface="+mn-lt"/>
              </a:rPr>
              <a:t>上海大学</a:t>
            </a:r>
            <a:r>
              <a:rPr lang="en-US" altLang="zh-CN" dirty="0">
                <a:latin typeface="+mn-lt"/>
                <a:ea typeface="+mn-ea"/>
                <a:cs typeface="+mn-ea"/>
                <a:sym typeface="+mn-lt"/>
              </a:rPr>
              <a:t>LOGO</a:t>
            </a:r>
            <a:endParaRPr lang="en-US" dirty="0">
              <a:latin typeface="+mn-lt"/>
              <a:ea typeface="+mn-ea"/>
              <a:cs typeface="+mn-ea"/>
              <a:sym typeface="+mn-lt"/>
            </a:endParaRPr>
          </a:p>
        </p:txBody>
      </p:sp>
      <p:grpSp>
        <p:nvGrpSpPr>
          <p:cNvPr id="123" name="组合 122">
            <a:extLst>
              <a:ext uri="{FF2B5EF4-FFF2-40B4-BE49-F238E27FC236}">
                <a16:creationId xmlns:a16="http://schemas.microsoft.com/office/drawing/2014/main" id="{7F6E12EA-4073-4F1A-8167-96699561A296}"/>
              </a:ext>
            </a:extLst>
          </p:cNvPr>
          <p:cNvGrpSpPr/>
          <p:nvPr/>
        </p:nvGrpSpPr>
        <p:grpSpPr>
          <a:xfrm>
            <a:off x="1071057" y="2297033"/>
            <a:ext cx="4751313" cy="2311061"/>
            <a:chOff x="1071057" y="2297033"/>
            <a:chExt cx="4751313" cy="2311061"/>
          </a:xfrm>
        </p:grpSpPr>
        <p:sp>
          <p:nvSpPr>
            <p:cNvPr id="3" name="矩形 2">
              <a:extLst>
                <a:ext uri="{FF2B5EF4-FFF2-40B4-BE49-F238E27FC236}">
                  <a16:creationId xmlns:a16="http://schemas.microsoft.com/office/drawing/2014/main" id="{C732C0A4-99DD-44A8-9A76-38A1904E655C}"/>
                </a:ext>
              </a:extLst>
            </p:cNvPr>
            <p:cNvSpPr/>
            <p:nvPr/>
          </p:nvSpPr>
          <p:spPr>
            <a:xfrm>
              <a:off x="1071057" y="2297033"/>
              <a:ext cx="4751313" cy="2311061"/>
            </a:xfrm>
            <a:prstGeom prst="rect">
              <a:avLst/>
            </a:prstGeom>
            <a:solidFill>
              <a:srgbClr val="FFFFFF"/>
            </a:solidFill>
            <a:ln>
              <a:solidFill>
                <a:schemeClr val="bg1">
                  <a:lumMod val="85000"/>
                </a:schemeClr>
              </a:solidFill>
            </a:ln>
            <a:effectLst>
              <a:outerShdw blurRad="1524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7" name="组合 6">
              <a:extLst>
                <a:ext uri="{FF2B5EF4-FFF2-40B4-BE49-F238E27FC236}">
                  <a16:creationId xmlns:a16="http://schemas.microsoft.com/office/drawing/2014/main" id="{3B57188C-E3CA-49FF-9000-81BCC19BAA4B}"/>
                </a:ext>
              </a:extLst>
            </p:cNvPr>
            <p:cNvGrpSpPr/>
            <p:nvPr/>
          </p:nvGrpSpPr>
          <p:grpSpPr>
            <a:xfrm>
              <a:off x="2122530" y="3002495"/>
              <a:ext cx="2648367" cy="900137"/>
              <a:chOff x="1398368" y="5051425"/>
              <a:chExt cx="3242941" cy="1102222"/>
            </a:xfrm>
          </p:grpSpPr>
          <p:sp>
            <p:nvSpPr>
              <p:cNvPr id="9" name="Freeform 5">
                <a:extLst>
                  <a:ext uri="{FF2B5EF4-FFF2-40B4-BE49-F238E27FC236}">
                    <a16:creationId xmlns:a16="http://schemas.microsoft.com/office/drawing/2014/main" id="{62B28E38-5545-4E23-8736-C3FB8AA67B16}"/>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 name="Freeform 7">
                <a:extLst>
                  <a:ext uri="{FF2B5EF4-FFF2-40B4-BE49-F238E27FC236}">
                    <a16:creationId xmlns:a16="http://schemas.microsoft.com/office/drawing/2014/main" id="{A50C154B-325A-417C-AB33-0F50E1F85670}"/>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 name="Freeform 8">
                <a:extLst>
                  <a:ext uri="{FF2B5EF4-FFF2-40B4-BE49-F238E27FC236}">
                    <a16:creationId xmlns:a16="http://schemas.microsoft.com/office/drawing/2014/main" id="{B34625AB-EC4C-4C55-997F-4DBDD89C305D}"/>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nvGrpSpPr>
              <p:cNvPr id="12" name="组合 11">
                <a:extLst>
                  <a:ext uri="{FF2B5EF4-FFF2-40B4-BE49-F238E27FC236}">
                    <a16:creationId xmlns:a16="http://schemas.microsoft.com/office/drawing/2014/main" id="{5B36C8F0-140A-4782-B161-DDA21911D523}"/>
                  </a:ext>
                </a:extLst>
              </p:cNvPr>
              <p:cNvGrpSpPr/>
              <p:nvPr/>
            </p:nvGrpSpPr>
            <p:grpSpPr>
              <a:xfrm>
                <a:off x="2921957" y="5168150"/>
                <a:ext cx="542765" cy="642593"/>
                <a:chOff x="3102298" y="5183391"/>
                <a:chExt cx="501880" cy="594188"/>
              </a:xfrm>
            </p:grpSpPr>
            <p:sp>
              <p:nvSpPr>
                <p:cNvPr id="53" name="Freeform 6">
                  <a:extLst>
                    <a:ext uri="{FF2B5EF4-FFF2-40B4-BE49-F238E27FC236}">
                      <a16:creationId xmlns:a16="http://schemas.microsoft.com/office/drawing/2014/main" id="{0694A7EA-27F0-4CE8-971E-3C7665F2BB6D}"/>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 name="Freeform 10">
                  <a:extLst>
                    <a:ext uri="{FF2B5EF4-FFF2-40B4-BE49-F238E27FC236}">
                      <a16:creationId xmlns:a16="http://schemas.microsoft.com/office/drawing/2014/main" id="{81C30888-4015-455F-999A-9550FACDA9B7}"/>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5" name="Freeform 13">
                  <a:extLst>
                    <a:ext uri="{FF2B5EF4-FFF2-40B4-BE49-F238E27FC236}">
                      <a16:creationId xmlns:a16="http://schemas.microsoft.com/office/drawing/2014/main" id="{4EADE131-944B-4DFD-BD53-0F0AEA0C5354}"/>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3" name="组合 12">
                <a:extLst>
                  <a:ext uri="{FF2B5EF4-FFF2-40B4-BE49-F238E27FC236}">
                    <a16:creationId xmlns:a16="http://schemas.microsoft.com/office/drawing/2014/main" id="{597AE52B-54DD-4AB3-B5D2-AA8A0565322B}"/>
                  </a:ext>
                </a:extLst>
              </p:cNvPr>
              <p:cNvGrpSpPr/>
              <p:nvPr/>
            </p:nvGrpSpPr>
            <p:grpSpPr>
              <a:xfrm>
                <a:off x="4196892" y="5154476"/>
                <a:ext cx="444417" cy="649987"/>
                <a:chOff x="4257853" y="5169716"/>
                <a:chExt cx="410940" cy="601025"/>
              </a:xfrm>
            </p:grpSpPr>
            <p:sp>
              <p:nvSpPr>
                <p:cNvPr id="48" name="Freeform 9">
                  <a:extLst>
                    <a:ext uri="{FF2B5EF4-FFF2-40B4-BE49-F238E27FC236}">
                      <a16:creationId xmlns:a16="http://schemas.microsoft.com/office/drawing/2014/main" id="{9068AB42-76E1-4FE9-A89C-E243B8F76698}"/>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 name="Freeform 11">
                  <a:extLst>
                    <a:ext uri="{FF2B5EF4-FFF2-40B4-BE49-F238E27FC236}">
                      <a16:creationId xmlns:a16="http://schemas.microsoft.com/office/drawing/2014/main" id="{229F6C4E-8831-4039-B7E1-F7429DE648B4}"/>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 name="Freeform 12">
                  <a:extLst>
                    <a:ext uri="{FF2B5EF4-FFF2-40B4-BE49-F238E27FC236}">
                      <a16:creationId xmlns:a16="http://schemas.microsoft.com/office/drawing/2014/main" id="{F0DACFFC-5A8A-4AEF-9279-61250FCAB478}"/>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 name="Freeform 14">
                  <a:extLst>
                    <a:ext uri="{FF2B5EF4-FFF2-40B4-BE49-F238E27FC236}">
                      <a16:creationId xmlns:a16="http://schemas.microsoft.com/office/drawing/2014/main" id="{2B651F9F-B775-44B3-9558-9B1BE803F0B1}"/>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 name="Freeform 15">
                  <a:extLst>
                    <a:ext uri="{FF2B5EF4-FFF2-40B4-BE49-F238E27FC236}">
                      <a16:creationId xmlns:a16="http://schemas.microsoft.com/office/drawing/2014/main" id="{AB75F0FD-4F45-487A-BDA3-237066EBE625}"/>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sp>
            <p:nvSpPr>
              <p:cNvPr id="14" name="Freeform 16">
                <a:extLst>
                  <a:ext uri="{FF2B5EF4-FFF2-40B4-BE49-F238E27FC236}">
                    <a16:creationId xmlns:a16="http://schemas.microsoft.com/office/drawing/2014/main" id="{1AAC1EAB-6C41-4473-A88C-8C99FFBC8EE6}"/>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 name="Freeform 17">
                <a:extLst>
                  <a:ext uri="{FF2B5EF4-FFF2-40B4-BE49-F238E27FC236}">
                    <a16:creationId xmlns:a16="http://schemas.microsoft.com/office/drawing/2014/main" id="{79D9AA40-5689-46E1-8CE3-70FC779B8DE2}"/>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 name="Oval 18">
                <a:extLst>
                  <a:ext uri="{FF2B5EF4-FFF2-40B4-BE49-F238E27FC236}">
                    <a16:creationId xmlns:a16="http://schemas.microsoft.com/office/drawing/2014/main" id="{86D36795-A5A3-494E-89B1-1DE48E3FECA8}"/>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 name="Freeform 19">
                <a:extLst>
                  <a:ext uri="{FF2B5EF4-FFF2-40B4-BE49-F238E27FC236}">
                    <a16:creationId xmlns:a16="http://schemas.microsoft.com/office/drawing/2014/main" id="{EAAA47C1-DD61-475C-9FEA-AD7A37B366D1}"/>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 name="Freeform 20">
                <a:extLst>
                  <a:ext uri="{FF2B5EF4-FFF2-40B4-BE49-F238E27FC236}">
                    <a16:creationId xmlns:a16="http://schemas.microsoft.com/office/drawing/2014/main" id="{A139C80A-DB39-4699-8B7D-56EDCA1AE68E}"/>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 name="Freeform 21">
                <a:extLst>
                  <a:ext uri="{FF2B5EF4-FFF2-40B4-BE49-F238E27FC236}">
                    <a16:creationId xmlns:a16="http://schemas.microsoft.com/office/drawing/2014/main" id="{6C92FDFD-2B27-44CA-802D-52DB4BA897A3}"/>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 name="Freeform 22">
                <a:extLst>
                  <a:ext uri="{FF2B5EF4-FFF2-40B4-BE49-F238E27FC236}">
                    <a16:creationId xmlns:a16="http://schemas.microsoft.com/office/drawing/2014/main" id="{3F403BBA-C6E9-4909-88A3-513AC479624E}"/>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 name="Freeform 23">
                <a:extLst>
                  <a:ext uri="{FF2B5EF4-FFF2-40B4-BE49-F238E27FC236}">
                    <a16:creationId xmlns:a16="http://schemas.microsoft.com/office/drawing/2014/main" id="{3F18575A-DC9C-444D-B663-467809E4A628}"/>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 name="Freeform 24">
                <a:extLst>
                  <a:ext uri="{FF2B5EF4-FFF2-40B4-BE49-F238E27FC236}">
                    <a16:creationId xmlns:a16="http://schemas.microsoft.com/office/drawing/2014/main" id="{D65EF087-9EE0-43AE-BE1C-C38F3601F134}"/>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 name="Freeform 25">
                <a:extLst>
                  <a:ext uri="{FF2B5EF4-FFF2-40B4-BE49-F238E27FC236}">
                    <a16:creationId xmlns:a16="http://schemas.microsoft.com/office/drawing/2014/main" id="{3CE211CF-2A95-4C30-B52D-9E62B4E4163B}"/>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 name="Freeform 26">
                <a:extLst>
                  <a:ext uri="{FF2B5EF4-FFF2-40B4-BE49-F238E27FC236}">
                    <a16:creationId xmlns:a16="http://schemas.microsoft.com/office/drawing/2014/main" id="{9BC7C00B-B84F-45E0-B5AB-0FC177AAFE40}"/>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 name="Freeform 27">
                <a:extLst>
                  <a:ext uri="{FF2B5EF4-FFF2-40B4-BE49-F238E27FC236}">
                    <a16:creationId xmlns:a16="http://schemas.microsoft.com/office/drawing/2014/main" id="{46317B8E-594B-4D3C-B05E-DC788D605D45}"/>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 name="Freeform 28">
                <a:extLst>
                  <a:ext uri="{FF2B5EF4-FFF2-40B4-BE49-F238E27FC236}">
                    <a16:creationId xmlns:a16="http://schemas.microsoft.com/office/drawing/2014/main" id="{187F5AC4-849F-473E-B78B-797598D328B0}"/>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 name="Freeform 29">
                <a:extLst>
                  <a:ext uri="{FF2B5EF4-FFF2-40B4-BE49-F238E27FC236}">
                    <a16:creationId xmlns:a16="http://schemas.microsoft.com/office/drawing/2014/main" id="{27595D46-1D32-432D-BD66-9CA059898A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 name="Freeform 30">
                <a:extLst>
                  <a:ext uri="{FF2B5EF4-FFF2-40B4-BE49-F238E27FC236}">
                    <a16:creationId xmlns:a16="http://schemas.microsoft.com/office/drawing/2014/main" id="{0343D95C-5009-4F3B-AB12-812D806A6329}"/>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 name="Freeform 31">
                <a:extLst>
                  <a:ext uri="{FF2B5EF4-FFF2-40B4-BE49-F238E27FC236}">
                    <a16:creationId xmlns:a16="http://schemas.microsoft.com/office/drawing/2014/main" id="{FD2CCDAA-E15F-4711-84C5-5B9C0387989C}"/>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 name="Freeform 32">
                <a:extLst>
                  <a:ext uri="{FF2B5EF4-FFF2-40B4-BE49-F238E27FC236}">
                    <a16:creationId xmlns:a16="http://schemas.microsoft.com/office/drawing/2014/main" id="{AE9AB0A0-F03D-40D0-B346-D421EB906CC7}"/>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 name="Freeform 33">
                <a:extLst>
                  <a:ext uri="{FF2B5EF4-FFF2-40B4-BE49-F238E27FC236}">
                    <a16:creationId xmlns:a16="http://schemas.microsoft.com/office/drawing/2014/main" id="{C816E2FE-186B-462C-B49D-97C3217DC039}"/>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 name="Freeform 34">
                <a:extLst>
                  <a:ext uri="{FF2B5EF4-FFF2-40B4-BE49-F238E27FC236}">
                    <a16:creationId xmlns:a16="http://schemas.microsoft.com/office/drawing/2014/main" id="{92654D49-C5A1-4F09-BAE9-2CB551B3ECBB}"/>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 name="Freeform 35">
                <a:extLst>
                  <a:ext uri="{FF2B5EF4-FFF2-40B4-BE49-F238E27FC236}">
                    <a16:creationId xmlns:a16="http://schemas.microsoft.com/office/drawing/2014/main" id="{62D1147A-B970-4350-832E-A8D5B846B8BE}"/>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 name="Freeform 36">
                <a:extLst>
                  <a:ext uri="{FF2B5EF4-FFF2-40B4-BE49-F238E27FC236}">
                    <a16:creationId xmlns:a16="http://schemas.microsoft.com/office/drawing/2014/main" id="{490371E0-1E09-40A5-96FE-A7FF918CD2B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 name="Freeform 37">
                <a:extLst>
                  <a:ext uri="{FF2B5EF4-FFF2-40B4-BE49-F238E27FC236}">
                    <a16:creationId xmlns:a16="http://schemas.microsoft.com/office/drawing/2014/main" id="{1D221BDE-CAA6-44DA-9AD3-54E0F6C26F4D}"/>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 name="Freeform 38">
                <a:extLst>
                  <a:ext uri="{FF2B5EF4-FFF2-40B4-BE49-F238E27FC236}">
                    <a16:creationId xmlns:a16="http://schemas.microsoft.com/office/drawing/2014/main" id="{07DF3BA6-CDA1-472B-8B2A-24248438BE73}"/>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 name="Freeform 39">
                <a:extLst>
                  <a:ext uri="{FF2B5EF4-FFF2-40B4-BE49-F238E27FC236}">
                    <a16:creationId xmlns:a16="http://schemas.microsoft.com/office/drawing/2014/main" id="{4E2B409A-31F8-4D30-BADC-07BCBBAB047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 name="Freeform 40">
                <a:extLst>
                  <a:ext uri="{FF2B5EF4-FFF2-40B4-BE49-F238E27FC236}">
                    <a16:creationId xmlns:a16="http://schemas.microsoft.com/office/drawing/2014/main" id="{9F69B81F-9A56-4994-8B21-FCEE7229915C}"/>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 name="Freeform 41">
                <a:extLst>
                  <a:ext uri="{FF2B5EF4-FFF2-40B4-BE49-F238E27FC236}">
                    <a16:creationId xmlns:a16="http://schemas.microsoft.com/office/drawing/2014/main" id="{78CFA0E4-842F-4D21-A269-42D00C052640}"/>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 name="Freeform 42">
                <a:extLst>
                  <a:ext uri="{FF2B5EF4-FFF2-40B4-BE49-F238E27FC236}">
                    <a16:creationId xmlns:a16="http://schemas.microsoft.com/office/drawing/2014/main" id="{CB6186A0-09A7-41B1-A60B-6FDA250C7E4A}"/>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 name="Freeform 43">
                <a:extLst>
                  <a:ext uri="{FF2B5EF4-FFF2-40B4-BE49-F238E27FC236}">
                    <a16:creationId xmlns:a16="http://schemas.microsoft.com/office/drawing/2014/main" id="{C5923CD3-7173-4E6A-90DB-397D997301A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 name="Freeform 44">
                <a:extLst>
                  <a:ext uri="{FF2B5EF4-FFF2-40B4-BE49-F238E27FC236}">
                    <a16:creationId xmlns:a16="http://schemas.microsoft.com/office/drawing/2014/main" id="{2E011A11-20E0-4A1F-A4B6-69D5DCFF75A5}"/>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 name="Freeform 45">
                <a:extLst>
                  <a:ext uri="{FF2B5EF4-FFF2-40B4-BE49-F238E27FC236}">
                    <a16:creationId xmlns:a16="http://schemas.microsoft.com/office/drawing/2014/main" id="{0B568615-23C2-4990-9AB7-DAD21E53D9B4}"/>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 name="Freeform 46">
                <a:extLst>
                  <a:ext uri="{FF2B5EF4-FFF2-40B4-BE49-F238E27FC236}">
                    <a16:creationId xmlns:a16="http://schemas.microsoft.com/office/drawing/2014/main" id="{24F8B198-4F6F-49A0-95F0-C7350D92B806}"/>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 name="Freeform 47">
                <a:extLst>
                  <a:ext uri="{FF2B5EF4-FFF2-40B4-BE49-F238E27FC236}">
                    <a16:creationId xmlns:a16="http://schemas.microsoft.com/office/drawing/2014/main" id="{3FC4521D-DB59-482E-926A-53912AB5122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 name="Freeform 48">
                <a:extLst>
                  <a:ext uri="{FF2B5EF4-FFF2-40B4-BE49-F238E27FC236}">
                    <a16:creationId xmlns:a16="http://schemas.microsoft.com/office/drawing/2014/main" id="{AC1F8E82-B52D-480F-9CD3-BC703130B630}"/>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 name="Freeform 49">
                <a:extLst>
                  <a:ext uri="{FF2B5EF4-FFF2-40B4-BE49-F238E27FC236}">
                    <a16:creationId xmlns:a16="http://schemas.microsoft.com/office/drawing/2014/main" id="{03DC24B4-5F97-4FD5-8D61-F7D528BB175D}"/>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grpSp>
        <p:nvGrpSpPr>
          <p:cNvPr id="122" name="组合 121">
            <a:extLst>
              <a:ext uri="{FF2B5EF4-FFF2-40B4-BE49-F238E27FC236}">
                <a16:creationId xmlns:a16="http://schemas.microsoft.com/office/drawing/2014/main" id="{BC7A2315-A1EC-41EF-BB7C-F8A9B32388E6}"/>
              </a:ext>
            </a:extLst>
          </p:cNvPr>
          <p:cNvGrpSpPr/>
          <p:nvPr/>
        </p:nvGrpSpPr>
        <p:grpSpPr>
          <a:xfrm>
            <a:off x="6369626" y="2297033"/>
            <a:ext cx="4751313" cy="2311061"/>
            <a:chOff x="6369626" y="2297033"/>
            <a:chExt cx="4751313" cy="2311061"/>
          </a:xfrm>
        </p:grpSpPr>
        <p:sp>
          <p:nvSpPr>
            <p:cNvPr id="56" name="矩形 55">
              <a:extLst>
                <a:ext uri="{FF2B5EF4-FFF2-40B4-BE49-F238E27FC236}">
                  <a16:creationId xmlns:a16="http://schemas.microsoft.com/office/drawing/2014/main" id="{2736AD4C-144E-4F3B-83BA-38CA3104012C}"/>
                </a:ext>
              </a:extLst>
            </p:cNvPr>
            <p:cNvSpPr/>
            <p:nvPr/>
          </p:nvSpPr>
          <p:spPr>
            <a:xfrm>
              <a:off x="6369626" y="2297033"/>
              <a:ext cx="4751313" cy="2311061"/>
            </a:xfrm>
            <a:prstGeom prst="rect">
              <a:avLst/>
            </a:prstGeom>
            <a:solidFill>
              <a:schemeClr val="accent1"/>
            </a:solidFill>
            <a:ln>
              <a:solidFill>
                <a:schemeClr val="bg1">
                  <a:lumMod val="85000"/>
                </a:schemeClr>
              </a:solidFill>
            </a:ln>
            <a:effectLst>
              <a:outerShdw blurRad="1524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57" name="组合 56">
              <a:extLst>
                <a:ext uri="{FF2B5EF4-FFF2-40B4-BE49-F238E27FC236}">
                  <a16:creationId xmlns:a16="http://schemas.microsoft.com/office/drawing/2014/main" id="{D5D6CFBC-FC10-46DE-9A7A-F22316E1F43C}"/>
                </a:ext>
              </a:extLst>
            </p:cNvPr>
            <p:cNvGrpSpPr/>
            <p:nvPr/>
          </p:nvGrpSpPr>
          <p:grpSpPr>
            <a:xfrm>
              <a:off x="7421099" y="3002495"/>
              <a:ext cx="2648367" cy="900137"/>
              <a:chOff x="1398368" y="5051425"/>
              <a:chExt cx="3242941" cy="1102222"/>
            </a:xfrm>
          </p:grpSpPr>
          <p:sp>
            <p:nvSpPr>
              <p:cNvPr id="58" name="Freeform 5">
                <a:extLst>
                  <a:ext uri="{FF2B5EF4-FFF2-40B4-BE49-F238E27FC236}">
                    <a16:creationId xmlns:a16="http://schemas.microsoft.com/office/drawing/2014/main" id="{CADF44EF-1C7C-4718-9D0A-6012FF7F8924}"/>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9" name="Freeform 7">
                <a:extLst>
                  <a:ext uri="{FF2B5EF4-FFF2-40B4-BE49-F238E27FC236}">
                    <a16:creationId xmlns:a16="http://schemas.microsoft.com/office/drawing/2014/main" id="{BFF505E6-3B82-4DA3-861E-82F8101B91A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0" name="Freeform 8">
                <a:extLst>
                  <a:ext uri="{FF2B5EF4-FFF2-40B4-BE49-F238E27FC236}">
                    <a16:creationId xmlns:a16="http://schemas.microsoft.com/office/drawing/2014/main" id="{36FD9BA8-4085-4470-A2A3-A4E6383BD4E6}"/>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nvGrpSpPr>
              <p:cNvPr id="61" name="组合 60">
                <a:extLst>
                  <a:ext uri="{FF2B5EF4-FFF2-40B4-BE49-F238E27FC236}">
                    <a16:creationId xmlns:a16="http://schemas.microsoft.com/office/drawing/2014/main" id="{6D84C386-0BB4-4ADA-B7C2-8FFB62E50223}"/>
                  </a:ext>
                </a:extLst>
              </p:cNvPr>
              <p:cNvGrpSpPr/>
              <p:nvPr/>
            </p:nvGrpSpPr>
            <p:grpSpPr>
              <a:xfrm>
                <a:off x="2921957" y="5168150"/>
                <a:ext cx="542765" cy="642593"/>
                <a:chOff x="3102298" y="5183391"/>
                <a:chExt cx="501880" cy="594188"/>
              </a:xfrm>
            </p:grpSpPr>
            <p:sp>
              <p:nvSpPr>
                <p:cNvPr id="102" name="Freeform 6">
                  <a:extLst>
                    <a:ext uri="{FF2B5EF4-FFF2-40B4-BE49-F238E27FC236}">
                      <a16:creationId xmlns:a16="http://schemas.microsoft.com/office/drawing/2014/main" id="{99DF90E2-0552-4534-A012-5E81B8EE02A3}"/>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3" name="Freeform 10">
                  <a:extLst>
                    <a:ext uri="{FF2B5EF4-FFF2-40B4-BE49-F238E27FC236}">
                      <a16:creationId xmlns:a16="http://schemas.microsoft.com/office/drawing/2014/main" id="{AC178A1D-412A-497A-9BA9-2337828EED59}"/>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4" name="Freeform 13">
                  <a:extLst>
                    <a:ext uri="{FF2B5EF4-FFF2-40B4-BE49-F238E27FC236}">
                      <a16:creationId xmlns:a16="http://schemas.microsoft.com/office/drawing/2014/main" id="{4035AF2C-239C-4ECF-8527-EC9D7A0CFC04}"/>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62" name="组合 61">
                <a:extLst>
                  <a:ext uri="{FF2B5EF4-FFF2-40B4-BE49-F238E27FC236}">
                    <a16:creationId xmlns:a16="http://schemas.microsoft.com/office/drawing/2014/main" id="{5FBCCD3D-4432-481A-9865-5047EE302232}"/>
                  </a:ext>
                </a:extLst>
              </p:cNvPr>
              <p:cNvGrpSpPr/>
              <p:nvPr/>
            </p:nvGrpSpPr>
            <p:grpSpPr>
              <a:xfrm>
                <a:off x="4196892" y="5154476"/>
                <a:ext cx="444417" cy="649987"/>
                <a:chOff x="4257853" y="5169716"/>
                <a:chExt cx="410940" cy="601025"/>
              </a:xfrm>
            </p:grpSpPr>
            <p:sp>
              <p:nvSpPr>
                <p:cNvPr id="97" name="Freeform 9">
                  <a:extLst>
                    <a:ext uri="{FF2B5EF4-FFF2-40B4-BE49-F238E27FC236}">
                      <a16:creationId xmlns:a16="http://schemas.microsoft.com/office/drawing/2014/main" id="{4B9440B0-DF32-46FE-AA5A-F138DBCD0A37}"/>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8" name="Freeform 11">
                  <a:extLst>
                    <a:ext uri="{FF2B5EF4-FFF2-40B4-BE49-F238E27FC236}">
                      <a16:creationId xmlns:a16="http://schemas.microsoft.com/office/drawing/2014/main" id="{AEE9C172-2579-4F5E-8CFC-2BBA6F831A95}"/>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9" name="Freeform 12">
                  <a:extLst>
                    <a:ext uri="{FF2B5EF4-FFF2-40B4-BE49-F238E27FC236}">
                      <a16:creationId xmlns:a16="http://schemas.microsoft.com/office/drawing/2014/main" id="{0B135300-A388-466C-B2D1-3D8E85A1F845}"/>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0" name="Freeform 14">
                  <a:extLst>
                    <a:ext uri="{FF2B5EF4-FFF2-40B4-BE49-F238E27FC236}">
                      <a16:creationId xmlns:a16="http://schemas.microsoft.com/office/drawing/2014/main" id="{F9B4822B-A3DD-4AAC-82DB-DBFE10F54047}"/>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1" name="Freeform 15">
                  <a:extLst>
                    <a:ext uri="{FF2B5EF4-FFF2-40B4-BE49-F238E27FC236}">
                      <a16:creationId xmlns:a16="http://schemas.microsoft.com/office/drawing/2014/main" id="{477FAD8B-B800-477F-A1AD-CAB390E040BB}"/>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sp>
            <p:nvSpPr>
              <p:cNvPr id="63" name="Freeform 16">
                <a:extLst>
                  <a:ext uri="{FF2B5EF4-FFF2-40B4-BE49-F238E27FC236}">
                    <a16:creationId xmlns:a16="http://schemas.microsoft.com/office/drawing/2014/main" id="{D2AEB390-6169-422C-8952-EBBBBC175327}"/>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4" name="Freeform 17">
                <a:extLst>
                  <a:ext uri="{FF2B5EF4-FFF2-40B4-BE49-F238E27FC236}">
                    <a16:creationId xmlns:a16="http://schemas.microsoft.com/office/drawing/2014/main" id="{E3837CD0-B9FC-48C8-BC0D-2A6A251F286B}"/>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5" name="Oval 18">
                <a:extLst>
                  <a:ext uri="{FF2B5EF4-FFF2-40B4-BE49-F238E27FC236}">
                    <a16:creationId xmlns:a16="http://schemas.microsoft.com/office/drawing/2014/main" id="{A3560B3B-91A2-4785-AD0F-F843AF320A4E}"/>
                  </a:ext>
                </a:extLst>
              </p:cNvPr>
              <p:cNvSpPr>
                <a:spLocks noChangeArrowheads="1"/>
              </p:cNvSpPr>
              <p:nvPr/>
            </p:nvSpPr>
            <p:spPr bwMode="auto">
              <a:xfrm>
                <a:off x="1705377" y="5728348"/>
                <a:ext cx="19145" cy="198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6" name="Freeform 19">
                <a:extLst>
                  <a:ext uri="{FF2B5EF4-FFF2-40B4-BE49-F238E27FC236}">
                    <a16:creationId xmlns:a16="http://schemas.microsoft.com/office/drawing/2014/main" id="{924B91E7-95B8-4224-A489-99DC4611C98C}"/>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7" name="Freeform 20">
                <a:extLst>
                  <a:ext uri="{FF2B5EF4-FFF2-40B4-BE49-F238E27FC236}">
                    <a16:creationId xmlns:a16="http://schemas.microsoft.com/office/drawing/2014/main" id="{D97EE41C-6769-4E3B-AF5D-00B7D15F9F89}"/>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8" name="Freeform 21">
                <a:extLst>
                  <a:ext uri="{FF2B5EF4-FFF2-40B4-BE49-F238E27FC236}">
                    <a16:creationId xmlns:a16="http://schemas.microsoft.com/office/drawing/2014/main" id="{52926687-7449-4241-B841-FFB4149CF973}"/>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9" name="Freeform 22">
                <a:extLst>
                  <a:ext uri="{FF2B5EF4-FFF2-40B4-BE49-F238E27FC236}">
                    <a16:creationId xmlns:a16="http://schemas.microsoft.com/office/drawing/2014/main" id="{F04345DC-3C8D-4A9A-81DE-B4F30E8EDD25}"/>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0" name="Freeform 23">
                <a:extLst>
                  <a:ext uri="{FF2B5EF4-FFF2-40B4-BE49-F238E27FC236}">
                    <a16:creationId xmlns:a16="http://schemas.microsoft.com/office/drawing/2014/main" id="{62C821E1-1DBC-4681-8529-838D13A3FE4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1" name="Freeform 24">
                <a:extLst>
                  <a:ext uri="{FF2B5EF4-FFF2-40B4-BE49-F238E27FC236}">
                    <a16:creationId xmlns:a16="http://schemas.microsoft.com/office/drawing/2014/main" id="{BCDA56B7-3DAB-4B57-B3B7-BA516CEB916F}"/>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2" name="Freeform 25">
                <a:extLst>
                  <a:ext uri="{FF2B5EF4-FFF2-40B4-BE49-F238E27FC236}">
                    <a16:creationId xmlns:a16="http://schemas.microsoft.com/office/drawing/2014/main" id="{CFCD2875-ABF6-42F6-889B-1A030DF46C04}"/>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3" name="Freeform 26">
                <a:extLst>
                  <a:ext uri="{FF2B5EF4-FFF2-40B4-BE49-F238E27FC236}">
                    <a16:creationId xmlns:a16="http://schemas.microsoft.com/office/drawing/2014/main" id="{1EAFAB01-2D5D-424F-B12B-E0582C3C901A}"/>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4" name="Freeform 27">
                <a:extLst>
                  <a:ext uri="{FF2B5EF4-FFF2-40B4-BE49-F238E27FC236}">
                    <a16:creationId xmlns:a16="http://schemas.microsoft.com/office/drawing/2014/main" id="{72ECE4C4-D653-4784-B8A2-E491322FA5F3}"/>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5" name="Freeform 28">
                <a:extLst>
                  <a:ext uri="{FF2B5EF4-FFF2-40B4-BE49-F238E27FC236}">
                    <a16:creationId xmlns:a16="http://schemas.microsoft.com/office/drawing/2014/main" id="{CF59358A-3DC9-4CCE-991C-6A1FF332B60D}"/>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6" name="Freeform 29">
                <a:extLst>
                  <a:ext uri="{FF2B5EF4-FFF2-40B4-BE49-F238E27FC236}">
                    <a16:creationId xmlns:a16="http://schemas.microsoft.com/office/drawing/2014/main" id="{3E95B57F-545E-40D2-A641-6C8136D8CD77}"/>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7" name="Freeform 30">
                <a:extLst>
                  <a:ext uri="{FF2B5EF4-FFF2-40B4-BE49-F238E27FC236}">
                    <a16:creationId xmlns:a16="http://schemas.microsoft.com/office/drawing/2014/main" id="{9A91855B-8F47-42B7-BCB3-2FCD1D58138B}"/>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8" name="Freeform 31">
                <a:extLst>
                  <a:ext uri="{FF2B5EF4-FFF2-40B4-BE49-F238E27FC236}">
                    <a16:creationId xmlns:a16="http://schemas.microsoft.com/office/drawing/2014/main" id="{34D2A297-3FE0-4DD6-BF70-062BFEDE4AFF}"/>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9" name="Freeform 32">
                <a:extLst>
                  <a:ext uri="{FF2B5EF4-FFF2-40B4-BE49-F238E27FC236}">
                    <a16:creationId xmlns:a16="http://schemas.microsoft.com/office/drawing/2014/main" id="{AFD9B8EF-B4B4-4D00-8386-71486A38D673}"/>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0" name="Freeform 33">
                <a:extLst>
                  <a:ext uri="{FF2B5EF4-FFF2-40B4-BE49-F238E27FC236}">
                    <a16:creationId xmlns:a16="http://schemas.microsoft.com/office/drawing/2014/main" id="{EA459C83-6991-411A-A53F-14F7DDEADF58}"/>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1" name="Freeform 34">
                <a:extLst>
                  <a:ext uri="{FF2B5EF4-FFF2-40B4-BE49-F238E27FC236}">
                    <a16:creationId xmlns:a16="http://schemas.microsoft.com/office/drawing/2014/main" id="{56A62B72-A67D-4C86-99A7-0CBFFA385677}"/>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2" name="Freeform 35">
                <a:extLst>
                  <a:ext uri="{FF2B5EF4-FFF2-40B4-BE49-F238E27FC236}">
                    <a16:creationId xmlns:a16="http://schemas.microsoft.com/office/drawing/2014/main" id="{87D9CE7E-12B1-4045-A9CA-84EA918EE920}"/>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3" name="Freeform 36">
                <a:extLst>
                  <a:ext uri="{FF2B5EF4-FFF2-40B4-BE49-F238E27FC236}">
                    <a16:creationId xmlns:a16="http://schemas.microsoft.com/office/drawing/2014/main" id="{279F4693-72B7-4DCB-B51E-58805517018D}"/>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4" name="Freeform 37">
                <a:extLst>
                  <a:ext uri="{FF2B5EF4-FFF2-40B4-BE49-F238E27FC236}">
                    <a16:creationId xmlns:a16="http://schemas.microsoft.com/office/drawing/2014/main" id="{014D3BEC-43B7-48A8-8906-317B4F308DC3}"/>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5" name="Freeform 38">
                <a:extLst>
                  <a:ext uri="{FF2B5EF4-FFF2-40B4-BE49-F238E27FC236}">
                    <a16:creationId xmlns:a16="http://schemas.microsoft.com/office/drawing/2014/main" id="{479F2074-1B46-4B8D-B9E3-83CCF7C02382}"/>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6" name="Freeform 39">
                <a:extLst>
                  <a:ext uri="{FF2B5EF4-FFF2-40B4-BE49-F238E27FC236}">
                    <a16:creationId xmlns:a16="http://schemas.microsoft.com/office/drawing/2014/main" id="{BDF264BC-42E2-4A44-9150-EA544810E31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7" name="Freeform 40">
                <a:extLst>
                  <a:ext uri="{FF2B5EF4-FFF2-40B4-BE49-F238E27FC236}">
                    <a16:creationId xmlns:a16="http://schemas.microsoft.com/office/drawing/2014/main" id="{CC0969A6-0595-49E7-94A3-C52552D724D8}"/>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8" name="Freeform 41">
                <a:extLst>
                  <a:ext uri="{FF2B5EF4-FFF2-40B4-BE49-F238E27FC236}">
                    <a16:creationId xmlns:a16="http://schemas.microsoft.com/office/drawing/2014/main" id="{5F935E24-2140-4DDC-8E73-26F83E5A9ECA}"/>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9" name="Freeform 42">
                <a:extLst>
                  <a:ext uri="{FF2B5EF4-FFF2-40B4-BE49-F238E27FC236}">
                    <a16:creationId xmlns:a16="http://schemas.microsoft.com/office/drawing/2014/main" id="{57E80AA4-2B66-4B79-9441-3503579A203B}"/>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0" name="Freeform 43">
                <a:extLst>
                  <a:ext uri="{FF2B5EF4-FFF2-40B4-BE49-F238E27FC236}">
                    <a16:creationId xmlns:a16="http://schemas.microsoft.com/office/drawing/2014/main" id="{C7E9F51D-3F64-45CC-B715-DF725CA8E71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1" name="Freeform 44">
                <a:extLst>
                  <a:ext uri="{FF2B5EF4-FFF2-40B4-BE49-F238E27FC236}">
                    <a16:creationId xmlns:a16="http://schemas.microsoft.com/office/drawing/2014/main" id="{C24D78CA-1A44-463B-9E63-90ABC05A87DC}"/>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2" name="Freeform 45">
                <a:extLst>
                  <a:ext uri="{FF2B5EF4-FFF2-40B4-BE49-F238E27FC236}">
                    <a16:creationId xmlns:a16="http://schemas.microsoft.com/office/drawing/2014/main" id="{43E75EC6-0CBE-4A0D-9CC3-93DB923C7F50}"/>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3" name="Freeform 46">
                <a:extLst>
                  <a:ext uri="{FF2B5EF4-FFF2-40B4-BE49-F238E27FC236}">
                    <a16:creationId xmlns:a16="http://schemas.microsoft.com/office/drawing/2014/main" id="{4ED9809C-B778-4B27-A0A8-B516EEE4F9FE}"/>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4" name="Freeform 47">
                <a:extLst>
                  <a:ext uri="{FF2B5EF4-FFF2-40B4-BE49-F238E27FC236}">
                    <a16:creationId xmlns:a16="http://schemas.microsoft.com/office/drawing/2014/main" id="{5ACC951F-138A-4ECB-A772-BA43F364821C}"/>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5" name="Freeform 48">
                <a:extLst>
                  <a:ext uri="{FF2B5EF4-FFF2-40B4-BE49-F238E27FC236}">
                    <a16:creationId xmlns:a16="http://schemas.microsoft.com/office/drawing/2014/main" id="{0CC4A636-4C8C-4FB8-9DA1-C54E9D91E2C8}"/>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6" name="Freeform 49">
                <a:extLst>
                  <a:ext uri="{FF2B5EF4-FFF2-40B4-BE49-F238E27FC236}">
                    <a16:creationId xmlns:a16="http://schemas.microsoft.com/office/drawing/2014/main" id="{95AEA1D0-183A-46B8-AFAA-45AF0BD9E21B}"/>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sp>
        <p:nvSpPr>
          <p:cNvPr id="106" name="文本框 105">
            <a:extLst>
              <a:ext uri="{FF2B5EF4-FFF2-40B4-BE49-F238E27FC236}">
                <a16:creationId xmlns:a16="http://schemas.microsoft.com/office/drawing/2014/main" id="{9A3BB0A3-DBE2-41C8-8BF7-56A1762D6566}"/>
              </a:ext>
            </a:extLst>
          </p:cNvPr>
          <p:cNvSpPr txBox="1"/>
          <p:nvPr/>
        </p:nvSpPr>
        <p:spPr>
          <a:xfrm>
            <a:off x="1071057" y="4885129"/>
            <a:ext cx="10049885" cy="622478"/>
          </a:xfrm>
          <a:prstGeom prst="rect">
            <a:avLst/>
          </a:prstGeom>
          <a:noFill/>
        </p:spPr>
        <p:txBody>
          <a:bodyPr wrap="square" lIns="0" rIns="0" rtlCol="0">
            <a:spAutoFit/>
          </a:bodyPr>
          <a:lstStyle/>
          <a:p>
            <a:pPr>
              <a:lnSpc>
                <a:spcPct val="120000"/>
              </a:lnSpc>
            </a:pPr>
            <a:r>
              <a:rPr lang="en-US" altLang="zh-CN" sz="1500" dirty="0">
                <a:solidFill>
                  <a:schemeClr val="tx1">
                    <a:lumMod val="75000"/>
                    <a:lumOff val="25000"/>
                  </a:schemeClr>
                </a:solidFill>
                <a:cs typeface="+mn-ea"/>
                <a:sym typeface="+mn-lt"/>
              </a:rPr>
              <a:t>【</a:t>
            </a:r>
            <a:r>
              <a:rPr lang="zh-CN" altLang="en-US" sz="1500" dirty="0">
                <a:solidFill>
                  <a:schemeClr val="tx1">
                    <a:lumMod val="75000"/>
                    <a:lumOff val="25000"/>
                  </a:schemeClr>
                </a:solidFill>
                <a:cs typeface="+mn-ea"/>
                <a:sym typeface="+mn-lt"/>
              </a:rPr>
              <a:t>注释</a:t>
            </a:r>
            <a:r>
              <a:rPr lang="en-US" altLang="zh-CN" sz="1500" dirty="0">
                <a:solidFill>
                  <a:schemeClr val="tx1">
                    <a:lumMod val="75000"/>
                    <a:lumOff val="25000"/>
                  </a:schemeClr>
                </a:solidFill>
                <a:cs typeface="+mn-ea"/>
                <a:sym typeface="+mn-lt"/>
              </a:rPr>
              <a:t>】</a:t>
            </a:r>
          </a:p>
          <a:p>
            <a:pPr>
              <a:lnSpc>
                <a:spcPct val="120000"/>
              </a:lnSpc>
            </a:pPr>
            <a:r>
              <a:rPr lang="zh-CN" altLang="en-US" sz="1500" dirty="0">
                <a:solidFill>
                  <a:schemeClr val="tx1">
                    <a:lumMod val="75000"/>
                    <a:lumOff val="25000"/>
                  </a:schemeClr>
                </a:solidFill>
                <a:cs typeface="+mn-ea"/>
                <a:sym typeface="+mn-lt"/>
              </a:rPr>
              <a:t>模板中所用到的</a:t>
            </a:r>
            <a:r>
              <a:rPr lang="en-US" altLang="zh-CN" sz="1500" dirty="0">
                <a:solidFill>
                  <a:schemeClr val="tx1">
                    <a:lumMod val="75000"/>
                    <a:lumOff val="25000"/>
                  </a:schemeClr>
                </a:solidFill>
                <a:cs typeface="+mn-ea"/>
                <a:sym typeface="+mn-lt"/>
              </a:rPr>
              <a:t>LOGO</a:t>
            </a:r>
            <a:r>
              <a:rPr lang="zh-CN" altLang="en-US" sz="1500" dirty="0">
                <a:solidFill>
                  <a:schemeClr val="tx1">
                    <a:lumMod val="75000"/>
                    <a:lumOff val="25000"/>
                  </a:schemeClr>
                </a:solidFill>
                <a:cs typeface="+mn-ea"/>
                <a:sym typeface="+mn-lt"/>
              </a:rPr>
              <a:t>来源于上海大学</a:t>
            </a:r>
            <a:r>
              <a:rPr lang="en-US" altLang="zh-CN" sz="1500" dirty="0">
                <a:solidFill>
                  <a:schemeClr val="tx1">
                    <a:lumMod val="75000"/>
                    <a:lumOff val="25000"/>
                  </a:schemeClr>
                </a:solidFill>
                <a:cs typeface="+mn-ea"/>
                <a:sym typeface="+mn-lt"/>
              </a:rPr>
              <a:t>VI</a:t>
            </a:r>
            <a:r>
              <a:rPr lang="zh-CN" altLang="en-US" sz="1500" dirty="0">
                <a:solidFill>
                  <a:schemeClr val="tx1">
                    <a:lumMod val="75000"/>
                    <a:lumOff val="25000"/>
                  </a:schemeClr>
                </a:solidFill>
                <a:cs typeface="+mn-ea"/>
                <a:sym typeface="+mn-lt"/>
              </a:rPr>
              <a:t>设计手册</a:t>
            </a:r>
            <a:endParaRPr lang="en-US" altLang="zh-CN" sz="1500" dirty="0">
              <a:solidFill>
                <a:schemeClr val="tx1">
                  <a:lumMod val="75000"/>
                  <a:lumOff val="25000"/>
                </a:schemeClr>
              </a:solidFill>
              <a:cs typeface="+mn-ea"/>
              <a:sym typeface="+mn-lt"/>
            </a:endParaRPr>
          </a:p>
        </p:txBody>
      </p:sp>
      <p:sp>
        <p:nvSpPr>
          <p:cNvPr id="111" name="文本框 110">
            <a:extLst>
              <a:ext uri="{FF2B5EF4-FFF2-40B4-BE49-F238E27FC236}">
                <a16:creationId xmlns:a16="http://schemas.microsoft.com/office/drawing/2014/main" id="{253D15A8-4221-412F-AC30-95E1F82AB873}"/>
              </a:ext>
            </a:extLst>
          </p:cNvPr>
          <p:cNvSpPr txBox="1"/>
          <p:nvPr/>
        </p:nvSpPr>
        <p:spPr>
          <a:xfrm>
            <a:off x="1071057" y="1700213"/>
            <a:ext cx="4751313" cy="405624"/>
          </a:xfrm>
          <a:prstGeom prst="rect">
            <a:avLst/>
          </a:prstGeom>
          <a:noFill/>
        </p:spPr>
        <p:txBody>
          <a:bodyPr wrap="none" tIns="0" bIns="0" rtlCol="0" anchor="ctr" anchorCtr="0">
            <a:noAutofit/>
          </a:bodyPr>
          <a:lstStyle/>
          <a:p>
            <a:pPr algn="ctr">
              <a:lnSpc>
                <a:spcPct val="120000"/>
              </a:lnSpc>
            </a:pPr>
            <a:r>
              <a:rPr lang="zh-CN" altLang="en-US" sz="2400" b="1" dirty="0">
                <a:solidFill>
                  <a:schemeClr val="tx1">
                    <a:lumMod val="75000"/>
                    <a:lumOff val="25000"/>
                  </a:schemeClr>
                </a:solidFill>
                <a:cs typeface="+mn-ea"/>
                <a:sym typeface="+mn-lt"/>
              </a:rPr>
              <a:t>标准色</a:t>
            </a:r>
          </a:p>
        </p:txBody>
      </p:sp>
      <p:sp>
        <p:nvSpPr>
          <p:cNvPr id="112" name="文本框 111">
            <a:extLst>
              <a:ext uri="{FF2B5EF4-FFF2-40B4-BE49-F238E27FC236}">
                <a16:creationId xmlns:a16="http://schemas.microsoft.com/office/drawing/2014/main" id="{9BC564A6-9E93-4906-8648-18AA4533DC27}"/>
              </a:ext>
            </a:extLst>
          </p:cNvPr>
          <p:cNvSpPr txBox="1"/>
          <p:nvPr/>
        </p:nvSpPr>
        <p:spPr>
          <a:xfrm>
            <a:off x="6369626" y="1700213"/>
            <a:ext cx="4751313" cy="405624"/>
          </a:xfrm>
          <a:prstGeom prst="rect">
            <a:avLst/>
          </a:prstGeom>
          <a:noFill/>
        </p:spPr>
        <p:txBody>
          <a:bodyPr wrap="none" tIns="0" bIns="0" rtlCol="0" anchor="ctr" anchorCtr="0">
            <a:noAutofit/>
          </a:bodyPr>
          <a:lstStyle/>
          <a:p>
            <a:pPr algn="ctr">
              <a:lnSpc>
                <a:spcPct val="120000"/>
              </a:lnSpc>
            </a:pPr>
            <a:r>
              <a:rPr lang="zh-CN" altLang="en-US" sz="2400" b="1" dirty="0">
                <a:solidFill>
                  <a:schemeClr val="tx1">
                    <a:lumMod val="75000"/>
                    <a:lumOff val="25000"/>
                  </a:schemeClr>
                </a:solidFill>
                <a:cs typeface="+mn-ea"/>
                <a:sym typeface="+mn-lt"/>
              </a:rPr>
              <a:t>反白稿</a:t>
            </a:r>
          </a:p>
        </p:txBody>
      </p:sp>
      <p:sp>
        <p:nvSpPr>
          <p:cNvPr id="4" name="灯片编号占位符 3">
            <a:extLst>
              <a:ext uri="{FF2B5EF4-FFF2-40B4-BE49-F238E27FC236}">
                <a16:creationId xmlns:a16="http://schemas.microsoft.com/office/drawing/2014/main" id="{51FA140D-848E-4910-B959-42503F740BF1}"/>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74</a:t>
            </a:fld>
            <a:endParaRPr lang="en-US" dirty="0">
              <a:solidFill>
                <a:srgbClr val="000000">
                  <a:tint val="75000"/>
                </a:srgbClr>
              </a:solidFill>
              <a:cs typeface="+mn-ea"/>
              <a:sym typeface="+mn-lt"/>
            </a:endParaRPr>
          </a:p>
        </p:txBody>
      </p:sp>
    </p:spTree>
    <p:extLst>
      <p:ext uri="{BB962C8B-B14F-4D97-AF65-F5344CB8AC3E}">
        <p14:creationId xmlns:p14="http://schemas.microsoft.com/office/powerpoint/2010/main" val="30824796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3A81003-023D-44DE-8B78-347809B44147}"/>
              </a:ext>
            </a:extLst>
          </p:cNvPr>
          <p:cNvSpPr>
            <a:spLocks noGrp="1"/>
          </p:cNvSpPr>
          <p:nvPr>
            <p:ph type="title"/>
          </p:nvPr>
        </p:nvSpPr>
        <p:spPr/>
        <p:txBody>
          <a:bodyPr/>
          <a:lstStyle/>
          <a:p>
            <a:r>
              <a:rPr lang="zh-CN" altLang="en-US" dirty="0">
                <a:latin typeface="+mn-lt"/>
                <a:ea typeface="+mn-ea"/>
                <a:cs typeface="+mn-ea"/>
                <a:sym typeface="+mn-lt"/>
              </a:rPr>
              <a:t>配色方案</a:t>
            </a:r>
            <a:endParaRPr lang="en-US" dirty="0">
              <a:latin typeface="+mn-lt"/>
              <a:ea typeface="+mn-ea"/>
              <a:cs typeface="+mn-ea"/>
              <a:sym typeface="+mn-lt"/>
            </a:endParaRPr>
          </a:p>
        </p:txBody>
      </p:sp>
      <p:sp>
        <p:nvSpPr>
          <p:cNvPr id="53" name="文本框 52">
            <a:extLst>
              <a:ext uri="{FF2B5EF4-FFF2-40B4-BE49-F238E27FC236}">
                <a16:creationId xmlns:a16="http://schemas.microsoft.com/office/drawing/2014/main" id="{219B3515-42FC-4048-8259-555A54D7E694}"/>
              </a:ext>
            </a:extLst>
          </p:cNvPr>
          <p:cNvSpPr txBox="1"/>
          <p:nvPr/>
        </p:nvSpPr>
        <p:spPr>
          <a:xfrm>
            <a:off x="1071057" y="4885129"/>
            <a:ext cx="10049885" cy="899477"/>
          </a:xfrm>
          <a:prstGeom prst="rect">
            <a:avLst/>
          </a:prstGeom>
          <a:noFill/>
        </p:spPr>
        <p:txBody>
          <a:bodyPr wrap="square" lIns="0" rIns="0" rtlCol="0">
            <a:spAutoFit/>
          </a:bodyPr>
          <a:lstStyle/>
          <a:p>
            <a:pPr>
              <a:lnSpc>
                <a:spcPct val="120000"/>
              </a:lnSpc>
            </a:pPr>
            <a:r>
              <a:rPr lang="en-US" altLang="zh-CN" sz="1500" dirty="0">
                <a:solidFill>
                  <a:schemeClr val="tx1">
                    <a:lumMod val="75000"/>
                    <a:lumOff val="25000"/>
                  </a:schemeClr>
                </a:solidFill>
                <a:cs typeface="+mn-ea"/>
                <a:sym typeface="+mn-lt"/>
              </a:rPr>
              <a:t>【</a:t>
            </a:r>
            <a:r>
              <a:rPr lang="zh-CN" altLang="en-US" sz="1500" dirty="0">
                <a:solidFill>
                  <a:schemeClr val="tx1">
                    <a:lumMod val="75000"/>
                    <a:lumOff val="25000"/>
                  </a:schemeClr>
                </a:solidFill>
                <a:cs typeface="+mn-ea"/>
                <a:sym typeface="+mn-lt"/>
              </a:rPr>
              <a:t>注释</a:t>
            </a:r>
            <a:r>
              <a:rPr lang="en-US" altLang="zh-CN" sz="1500" dirty="0">
                <a:solidFill>
                  <a:schemeClr val="tx1">
                    <a:lumMod val="75000"/>
                    <a:lumOff val="25000"/>
                  </a:schemeClr>
                </a:solidFill>
                <a:cs typeface="+mn-ea"/>
                <a:sym typeface="+mn-lt"/>
              </a:rPr>
              <a:t>】</a:t>
            </a:r>
          </a:p>
          <a:p>
            <a:pPr>
              <a:lnSpc>
                <a:spcPct val="120000"/>
              </a:lnSpc>
            </a:pPr>
            <a:r>
              <a:rPr lang="zh-CN" altLang="en-US" sz="1500" dirty="0">
                <a:solidFill>
                  <a:schemeClr val="tx1">
                    <a:lumMod val="75000"/>
                    <a:lumOff val="25000"/>
                  </a:schemeClr>
                </a:solidFill>
                <a:cs typeface="+mn-ea"/>
                <a:sym typeface="+mn-lt"/>
              </a:rPr>
              <a:t>模板中所用到的色彩体系来源于上海大学</a:t>
            </a:r>
            <a:r>
              <a:rPr lang="en-US" altLang="zh-CN" sz="1500" dirty="0">
                <a:solidFill>
                  <a:schemeClr val="tx1">
                    <a:lumMod val="75000"/>
                    <a:lumOff val="25000"/>
                  </a:schemeClr>
                </a:solidFill>
                <a:cs typeface="+mn-ea"/>
                <a:sym typeface="+mn-lt"/>
              </a:rPr>
              <a:t>VI</a:t>
            </a:r>
            <a:r>
              <a:rPr lang="zh-CN" altLang="en-US" sz="1500" dirty="0">
                <a:solidFill>
                  <a:schemeClr val="tx1">
                    <a:lumMod val="75000"/>
                    <a:lumOff val="25000"/>
                  </a:schemeClr>
                </a:solidFill>
                <a:cs typeface="+mn-ea"/>
                <a:sym typeface="+mn-lt"/>
              </a:rPr>
              <a:t>设计手册，基于基础</a:t>
            </a:r>
            <a:r>
              <a:rPr lang="en-US" altLang="zh-CN" sz="1500" dirty="0">
                <a:solidFill>
                  <a:schemeClr val="tx1">
                    <a:lumMod val="75000"/>
                    <a:lumOff val="25000"/>
                  </a:schemeClr>
                </a:solidFill>
                <a:cs typeface="+mn-ea"/>
                <a:sym typeface="+mn-lt"/>
              </a:rPr>
              <a:t>VI</a:t>
            </a:r>
            <a:r>
              <a:rPr lang="zh-CN" altLang="en-US" sz="1500" dirty="0">
                <a:solidFill>
                  <a:schemeClr val="tx1">
                    <a:lumMod val="75000"/>
                    <a:lumOff val="25000"/>
                  </a:schemeClr>
                </a:solidFill>
                <a:cs typeface="+mn-ea"/>
                <a:sym typeface="+mn-lt"/>
              </a:rPr>
              <a:t>系统的范畴，对外传播形成统一运用，从而起到规范作用，请勿随意更改颜色</a:t>
            </a:r>
            <a:endParaRPr lang="en-US" altLang="zh-CN" sz="1500" dirty="0">
              <a:solidFill>
                <a:schemeClr val="tx1">
                  <a:lumMod val="75000"/>
                  <a:lumOff val="25000"/>
                </a:schemeClr>
              </a:solidFill>
              <a:cs typeface="+mn-ea"/>
              <a:sym typeface="+mn-lt"/>
            </a:endParaRPr>
          </a:p>
        </p:txBody>
      </p:sp>
      <p:sp>
        <p:nvSpPr>
          <p:cNvPr id="54" name="文本框 53">
            <a:extLst>
              <a:ext uri="{FF2B5EF4-FFF2-40B4-BE49-F238E27FC236}">
                <a16:creationId xmlns:a16="http://schemas.microsoft.com/office/drawing/2014/main" id="{54A8082E-8919-418F-9EDB-38F4E75B08CB}"/>
              </a:ext>
            </a:extLst>
          </p:cNvPr>
          <p:cNvSpPr txBox="1"/>
          <p:nvPr/>
        </p:nvSpPr>
        <p:spPr>
          <a:xfrm>
            <a:off x="2279662" y="1700213"/>
            <a:ext cx="2898987" cy="405624"/>
          </a:xfrm>
          <a:prstGeom prst="rect">
            <a:avLst/>
          </a:prstGeom>
          <a:noFill/>
        </p:spPr>
        <p:txBody>
          <a:bodyPr wrap="none" tIns="0" bIns="0" rtlCol="0" anchor="ctr" anchorCtr="0">
            <a:noAutofit/>
          </a:bodyPr>
          <a:lstStyle/>
          <a:p>
            <a:pPr algn="ctr">
              <a:lnSpc>
                <a:spcPct val="120000"/>
              </a:lnSpc>
            </a:pPr>
            <a:r>
              <a:rPr lang="zh-CN" altLang="en-US" sz="2400" b="1" dirty="0">
                <a:solidFill>
                  <a:schemeClr val="accent1"/>
                </a:solidFill>
                <a:cs typeface="+mn-ea"/>
                <a:sym typeface="+mn-lt"/>
              </a:rPr>
              <a:t>主色：上大蓝</a:t>
            </a:r>
          </a:p>
        </p:txBody>
      </p:sp>
      <p:grpSp>
        <p:nvGrpSpPr>
          <p:cNvPr id="81" name="组合 80">
            <a:extLst>
              <a:ext uri="{FF2B5EF4-FFF2-40B4-BE49-F238E27FC236}">
                <a16:creationId xmlns:a16="http://schemas.microsoft.com/office/drawing/2014/main" id="{4233D274-07F6-43A2-A050-3CAEC18A3500}"/>
              </a:ext>
            </a:extLst>
          </p:cNvPr>
          <p:cNvGrpSpPr/>
          <p:nvPr/>
        </p:nvGrpSpPr>
        <p:grpSpPr>
          <a:xfrm>
            <a:off x="2279662" y="2297033"/>
            <a:ext cx="2898987" cy="2311061"/>
            <a:chOff x="1369724" y="3005051"/>
            <a:chExt cx="1931920" cy="1189182"/>
          </a:xfrm>
        </p:grpSpPr>
        <p:sp>
          <p:nvSpPr>
            <p:cNvPr id="29" name="矩形 28">
              <a:extLst>
                <a:ext uri="{FF2B5EF4-FFF2-40B4-BE49-F238E27FC236}">
                  <a16:creationId xmlns:a16="http://schemas.microsoft.com/office/drawing/2014/main" id="{A38B63BC-FC34-4273-B391-CBD30817B62F}"/>
                </a:ext>
              </a:extLst>
            </p:cNvPr>
            <p:cNvSpPr/>
            <p:nvPr/>
          </p:nvSpPr>
          <p:spPr>
            <a:xfrm>
              <a:off x="1369724" y="3005051"/>
              <a:ext cx="1931920" cy="8671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76" name="组合 75">
              <a:extLst>
                <a:ext uri="{FF2B5EF4-FFF2-40B4-BE49-F238E27FC236}">
                  <a16:creationId xmlns:a16="http://schemas.microsoft.com/office/drawing/2014/main" id="{3B016211-A2F6-4BC8-AC46-F92599C36F5C}"/>
                </a:ext>
              </a:extLst>
            </p:cNvPr>
            <p:cNvGrpSpPr/>
            <p:nvPr/>
          </p:nvGrpSpPr>
          <p:grpSpPr>
            <a:xfrm>
              <a:off x="1369724" y="3872246"/>
              <a:ext cx="1931920" cy="321987"/>
              <a:chOff x="1369724" y="3872246"/>
              <a:chExt cx="1609934" cy="321987"/>
            </a:xfrm>
          </p:grpSpPr>
          <p:sp>
            <p:nvSpPr>
              <p:cNvPr id="30" name="矩形 14">
                <a:extLst>
                  <a:ext uri="{FF2B5EF4-FFF2-40B4-BE49-F238E27FC236}">
                    <a16:creationId xmlns:a16="http://schemas.microsoft.com/office/drawing/2014/main" id="{FE26B4CA-BA8F-4C5D-91A0-5260FE03B04D}"/>
                  </a:ext>
                </a:extLst>
              </p:cNvPr>
              <p:cNvSpPr/>
              <p:nvPr/>
            </p:nvSpPr>
            <p:spPr>
              <a:xfrm>
                <a:off x="1369724" y="3872246"/>
                <a:ext cx="321987" cy="321987"/>
              </a:xfrm>
              <a:custGeom>
                <a:avLst/>
                <a:gdLst>
                  <a:gd name="connsiteX0" fmla="*/ 0 w 535709"/>
                  <a:gd name="connsiteY0" fmla="*/ 0 h 535709"/>
                  <a:gd name="connsiteX1" fmla="*/ 535709 w 535709"/>
                  <a:gd name="connsiteY1" fmla="*/ 0 h 535709"/>
                  <a:gd name="connsiteX2" fmla="*/ 535709 w 535709"/>
                  <a:gd name="connsiteY2" fmla="*/ 535709 h 535709"/>
                  <a:gd name="connsiteX3" fmla="*/ 0 w 535709"/>
                  <a:gd name="connsiteY3" fmla="*/ 535709 h 535709"/>
                  <a:gd name="connsiteX4" fmla="*/ 0 w 535709"/>
                  <a:gd name="connsiteY4" fmla="*/ 0 h 535709"/>
                  <a:gd name="connsiteX0" fmla="*/ 2179782 w 2715491"/>
                  <a:gd name="connsiteY0" fmla="*/ 3539836 h 4075545"/>
                  <a:gd name="connsiteX1" fmla="*/ 0 w 2715491"/>
                  <a:gd name="connsiteY1" fmla="*/ 0 h 4075545"/>
                  <a:gd name="connsiteX2" fmla="*/ 2715491 w 2715491"/>
                  <a:gd name="connsiteY2" fmla="*/ 3539836 h 4075545"/>
                  <a:gd name="connsiteX3" fmla="*/ 2715491 w 2715491"/>
                  <a:gd name="connsiteY3" fmla="*/ 4075545 h 4075545"/>
                  <a:gd name="connsiteX4" fmla="*/ 2179782 w 2715491"/>
                  <a:gd name="connsiteY4" fmla="*/ 4075545 h 4075545"/>
                  <a:gd name="connsiteX5" fmla="*/ 2179782 w 2715491"/>
                  <a:gd name="connsiteY5" fmla="*/ 3539836 h 4075545"/>
                  <a:gd name="connsiteX0" fmla="*/ 0 w 535709"/>
                  <a:gd name="connsiteY0" fmla="*/ 0 h 535709"/>
                  <a:gd name="connsiteX1" fmla="*/ 535709 w 535709"/>
                  <a:gd name="connsiteY1" fmla="*/ 0 h 535709"/>
                  <a:gd name="connsiteX2" fmla="*/ 535709 w 535709"/>
                  <a:gd name="connsiteY2" fmla="*/ 535709 h 535709"/>
                  <a:gd name="connsiteX3" fmla="*/ 0 w 535709"/>
                  <a:gd name="connsiteY3" fmla="*/ 535709 h 535709"/>
                  <a:gd name="connsiteX4" fmla="*/ 0 w 535709"/>
                  <a:gd name="connsiteY4" fmla="*/ 0 h 53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709" h="535709">
                    <a:moveTo>
                      <a:pt x="0" y="0"/>
                    </a:moveTo>
                    <a:lnTo>
                      <a:pt x="535709" y="0"/>
                    </a:lnTo>
                    <a:lnTo>
                      <a:pt x="535709" y="535709"/>
                    </a:lnTo>
                    <a:lnTo>
                      <a:pt x="0" y="535709"/>
                    </a:lnTo>
                    <a:lnTo>
                      <a:pt x="0"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1" name="任意多边形: 形状 30">
                <a:extLst>
                  <a:ext uri="{FF2B5EF4-FFF2-40B4-BE49-F238E27FC236}">
                    <a16:creationId xmlns:a16="http://schemas.microsoft.com/office/drawing/2014/main" id="{A66050C0-0FD3-4C09-BAFC-8D19483272EF}"/>
                  </a:ext>
                </a:extLst>
              </p:cNvPr>
              <p:cNvSpPr/>
              <p:nvPr/>
            </p:nvSpPr>
            <p:spPr>
              <a:xfrm>
                <a:off x="1691711" y="3872246"/>
                <a:ext cx="321987" cy="321987"/>
              </a:xfrm>
              <a:custGeom>
                <a:avLst/>
                <a:gdLst/>
                <a:ahLst/>
                <a:cxnLst/>
                <a:rect l="0" t="0" r="0" b="0"/>
                <a:pathLst>
                  <a:path w="535710" h="535710">
                    <a:moveTo>
                      <a:pt x="0" y="0"/>
                    </a:moveTo>
                    <a:lnTo>
                      <a:pt x="535709" y="0"/>
                    </a:lnTo>
                    <a:lnTo>
                      <a:pt x="535709" y="535709"/>
                    </a:lnTo>
                    <a:lnTo>
                      <a:pt x="0" y="535709"/>
                    </a:lnTo>
                    <a:close/>
                  </a:path>
                </a:pathLst>
              </a:cu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FFFFFF"/>
                  </a:solidFill>
                  <a:cs typeface="+mn-ea"/>
                  <a:sym typeface="+mn-lt"/>
                </a:endParaRPr>
              </a:p>
            </p:txBody>
          </p:sp>
          <p:sp>
            <p:nvSpPr>
              <p:cNvPr id="32" name="任意多边形: 形状 31">
                <a:extLst>
                  <a:ext uri="{FF2B5EF4-FFF2-40B4-BE49-F238E27FC236}">
                    <a16:creationId xmlns:a16="http://schemas.microsoft.com/office/drawing/2014/main" id="{15CFEC11-586D-40F0-9ECD-3CB24565E3AE}"/>
                  </a:ext>
                </a:extLst>
              </p:cNvPr>
              <p:cNvSpPr/>
              <p:nvPr/>
            </p:nvSpPr>
            <p:spPr>
              <a:xfrm>
                <a:off x="2013698" y="3872246"/>
                <a:ext cx="321987" cy="321987"/>
              </a:xfrm>
              <a:custGeom>
                <a:avLst/>
                <a:gdLst/>
                <a:ahLst/>
                <a:cxnLst/>
                <a:rect l="0" t="0" r="0" b="0"/>
                <a:pathLst>
                  <a:path w="535710" h="535710">
                    <a:moveTo>
                      <a:pt x="0" y="0"/>
                    </a:moveTo>
                    <a:lnTo>
                      <a:pt x="535709" y="0"/>
                    </a:lnTo>
                    <a:lnTo>
                      <a:pt x="535709" y="535709"/>
                    </a:lnTo>
                    <a:lnTo>
                      <a:pt x="0" y="535709"/>
                    </a:lnTo>
                    <a:close/>
                  </a:path>
                </a:pathLst>
              </a:cu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FFFFFF"/>
                  </a:solidFill>
                  <a:cs typeface="+mn-ea"/>
                  <a:sym typeface="+mn-lt"/>
                </a:endParaRPr>
              </a:p>
            </p:txBody>
          </p:sp>
          <p:sp>
            <p:nvSpPr>
              <p:cNvPr id="33" name="任意多边形: 形状 32">
                <a:extLst>
                  <a:ext uri="{FF2B5EF4-FFF2-40B4-BE49-F238E27FC236}">
                    <a16:creationId xmlns:a16="http://schemas.microsoft.com/office/drawing/2014/main" id="{1CFCC7C3-FEBE-42AF-A44B-4F160A062042}"/>
                  </a:ext>
                </a:extLst>
              </p:cNvPr>
              <p:cNvSpPr/>
              <p:nvPr/>
            </p:nvSpPr>
            <p:spPr>
              <a:xfrm>
                <a:off x="2335685" y="3872246"/>
                <a:ext cx="321987" cy="321987"/>
              </a:xfrm>
              <a:custGeom>
                <a:avLst/>
                <a:gdLst/>
                <a:ahLst/>
                <a:cxnLst/>
                <a:rect l="0" t="0" r="0" b="0"/>
                <a:pathLst>
                  <a:path w="535710" h="535710">
                    <a:moveTo>
                      <a:pt x="0" y="0"/>
                    </a:moveTo>
                    <a:lnTo>
                      <a:pt x="535709" y="0"/>
                    </a:lnTo>
                    <a:lnTo>
                      <a:pt x="535709" y="535709"/>
                    </a:lnTo>
                    <a:lnTo>
                      <a:pt x="0" y="535709"/>
                    </a:lnTo>
                    <a:close/>
                  </a:path>
                </a:pathLst>
              </a:cu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FFFFFF"/>
                  </a:solidFill>
                  <a:cs typeface="+mn-ea"/>
                  <a:sym typeface="+mn-lt"/>
                </a:endParaRPr>
              </a:p>
            </p:txBody>
          </p:sp>
          <p:sp>
            <p:nvSpPr>
              <p:cNvPr id="34" name="任意多边形: 形状 33">
                <a:extLst>
                  <a:ext uri="{FF2B5EF4-FFF2-40B4-BE49-F238E27FC236}">
                    <a16:creationId xmlns:a16="http://schemas.microsoft.com/office/drawing/2014/main" id="{F4F66DFA-10FE-4263-8E40-3E0B1BC21249}"/>
                  </a:ext>
                </a:extLst>
              </p:cNvPr>
              <p:cNvSpPr/>
              <p:nvPr/>
            </p:nvSpPr>
            <p:spPr>
              <a:xfrm>
                <a:off x="2657671" y="3872246"/>
                <a:ext cx="321987" cy="321987"/>
              </a:xfrm>
              <a:custGeom>
                <a:avLst/>
                <a:gdLst/>
                <a:ahLst/>
                <a:cxnLst/>
                <a:rect l="0" t="0" r="0" b="0"/>
                <a:pathLst>
                  <a:path w="535710" h="535710">
                    <a:moveTo>
                      <a:pt x="0" y="0"/>
                    </a:moveTo>
                    <a:lnTo>
                      <a:pt x="535709" y="0"/>
                    </a:lnTo>
                    <a:lnTo>
                      <a:pt x="535709" y="535709"/>
                    </a:lnTo>
                    <a:lnTo>
                      <a:pt x="0" y="535709"/>
                    </a:lnTo>
                    <a:close/>
                  </a:path>
                </a:pathLst>
              </a:cu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FFFFFF"/>
                  </a:solidFill>
                  <a:cs typeface="+mn-ea"/>
                  <a:sym typeface="+mn-lt"/>
                </a:endParaRPr>
              </a:p>
            </p:txBody>
          </p:sp>
        </p:grpSp>
      </p:grpSp>
      <p:sp>
        <p:nvSpPr>
          <p:cNvPr id="55" name="文本框 54">
            <a:extLst>
              <a:ext uri="{FF2B5EF4-FFF2-40B4-BE49-F238E27FC236}">
                <a16:creationId xmlns:a16="http://schemas.microsoft.com/office/drawing/2014/main" id="{38C248FC-7B1F-4D3F-AC1B-730D56D12E29}"/>
              </a:ext>
            </a:extLst>
          </p:cNvPr>
          <p:cNvSpPr txBox="1"/>
          <p:nvPr/>
        </p:nvSpPr>
        <p:spPr>
          <a:xfrm>
            <a:off x="7013351" y="1700213"/>
            <a:ext cx="2898987" cy="405624"/>
          </a:xfrm>
          <a:prstGeom prst="rect">
            <a:avLst/>
          </a:prstGeom>
          <a:noFill/>
        </p:spPr>
        <p:txBody>
          <a:bodyPr wrap="none" tIns="0" bIns="0" rtlCol="0" anchor="ctr" anchorCtr="0">
            <a:noAutofit/>
          </a:bodyPr>
          <a:lstStyle/>
          <a:p>
            <a:pPr algn="ctr">
              <a:lnSpc>
                <a:spcPct val="120000"/>
              </a:lnSpc>
            </a:pPr>
            <a:r>
              <a:rPr lang="zh-CN" altLang="en-US" sz="2400" b="1" dirty="0">
                <a:solidFill>
                  <a:schemeClr val="accent2"/>
                </a:solidFill>
                <a:cs typeface="+mn-ea"/>
                <a:sym typeface="+mn-lt"/>
              </a:rPr>
              <a:t>辅色：金菊黄</a:t>
            </a:r>
          </a:p>
        </p:txBody>
      </p:sp>
      <p:grpSp>
        <p:nvGrpSpPr>
          <p:cNvPr id="78" name="组合 77">
            <a:extLst>
              <a:ext uri="{FF2B5EF4-FFF2-40B4-BE49-F238E27FC236}">
                <a16:creationId xmlns:a16="http://schemas.microsoft.com/office/drawing/2014/main" id="{72F6EBF4-D9EB-40FF-BF3D-BBD6E745CB1D}"/>
              </a:ext>
            </a:extLst>
          </p:cNvPr>
          <p:cNvGrpSpPr/>
          <p:nvPr/>
        </p:nvGrpSpPr>
        <p:grpSpPr>
          <a:xfrm>
            <a:off x="7013351" y="2297033"/>
            <a:ext cx="2898987" cy="2311061"/>
            <a:chOff x="5172797" y="3005051"/>
            <a:chExt cx="1931920" cy="1189182"/>
          </a:xfrm>
        </p:grpSpPr>
        <p:sp>
          <p:nvSpPr>
            <p:cNvPr id="59" name="矩形 58">
              <a:extLst>
                <a:ext uri="{FF2B5EF4-FFF2-40B4-BE49-F238E27FC236}">
                  <a16:creationId xmlns:a16="http://schemas.microsoft.com/office/drawing/2014/main" id="{D3725A67-331A-4C12-A2B7-24B245F10164}"/>
                </a:ext>
              </a:extLst>
            </p:cNvPr>
            <p:cNvSpPr/>
            <p:nvPr/>
          </p:nvSpPr>
          <p:spPr>
            <a:xfrm>
              <a:off x="5172797" y="3005051"/>
              <a:ext cx="1931920" cy="8671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77" name="组合 76">
              <a:extLst>
                <a:ext uri="{FF2B5EF4-FFF2-40B4-BE49-F238E27FC236}">
                  <a16:creationId xmlns:a16="http://schemas.microsoft.com/office/drawing/2014/main" id="{F539644C-FBC0-468C-BF0D-6772688DBF9B}"/>
                </a:ext>
              </a:extLst>
            </p:cNvPr>
            <p:cNvGrpSpPr/>
            <p:nvPr/>
          </p:nvGrpSpPr>
          <p:grpSpPr>
            <a:xfrm>
              <a:off x="5172797" y="3872246"/>
              <a:ext cx="1931920" cy="321987"/>
              <a:chOff x="5172797" y="3872246"/>
              <a:chExt cx="1609934" cy="321987"/>
            </a:xfrm>
          </p:grpSpPr>
          <p:sp>
            <p:nvSpPr>
              <p:cNvPr id="60" name="矩形 14">
                <a:extLst>
                  <a:ext uri="{FF2B5EF4-FFF2-40B4-BE49-F238E27FC236}">
                    <a16:creationId xmlns:a16="http://schemas.microsoft.com/office/drawing/2014/main" id="{395F7375-E55A-4005-9A36-A5C57EF7761A}"/>
                  </a:ext>
                </a:extLst>
              </p:cNvPr>
              <p:cNvSpPr/>
              <p:nvPr/>
            </p:nvSpPr>
            <p:spPr>
              <a:xfrm>
                <a:off x="5172797" y="3872246"/>
                <a:ext cx="321987" cy="321987"/>
              </a:xfrm>
              <a:custGeom>
                <a:avLst/>
                <a:gdLst>
                  <a:gd name="connsiteX0" fmla="*/ 0 w 535709"/>
                  <a:gd name="connsiteY0" fmla="*/ 0 h 535709"/>
                  <a:gd name="connsiteX1" fmla="*/ 535709 w 535709"/>
                  <a:gd name="connsiteY1" fmla="*/ 0 h 535709"/>
                  <a:gd name="connsiteX2" fmla="*/ 535709 w 535709"/>
                  <a:gd name="connsiteY2" fmla="*/ 535709 h 535709"/>
                  <a:gd name="connsiteX3" fmla="*/ 0 w 535709"/>
                  <a:gd name="connsiteY3" fmla="*/ 535709 h 535709"/>
                  <a:gd name="connsiteX4" fmla="*/ 0 w 535709"/>
                  <a:gd name="connsiteY4" fmla="*/ 0 h 535709"/>
                  <a:gd name="connsiteX0" fmla="*/ 2179782 w 2715491"/>
                  <a:gd name="connsiteY0" fmla="*/ 3539836 h 4075545"/>
                  <a:gd name="connsiteX1" fmla="*/ 0 w 2715491"/>
                  <a:gd name="connsiteY1" fmla="*/ 0 h 4075545"/>
                  <a:gd name="connsiteX2" fmla="*/ 2715491 w 2715491"/>
                  <a:gd name="connsiteY2" fmla="*/ 3539836 h 4075545"/>
                  <a:gd name="connsiteX3" fmla="*/ 2715491 w 2715491"/>
                  <a:gd name="connsiteY3" fmla="*/ 4075545 h 4075545"/>
                  <a:gd name="connsiteX4" fmla="*/ 2179782 w 2715491"/>
                  <a:gd name="connsiteY4" fmla="*/ 4075545 h 4075545"/>
                  <a:gd name="connsiteX5" fmla="*/ 2179782 w 2715491"/>
                  <a:gd name="connsiteY5" fmla="*/ 3539836 h 4075545"/>
                  <a:gd name="connsiteX0" fmla="*/ 0 w 535709"/>
                  <a:gd name="connsiteY0" fmla="*/ 0 h 535709"/>
                  <a:gd name="connsiteX1" fmla="*/ 535709 w 535709"/>
                  <a:gd name="connsiteY1" fmla="*/ 0 h 535709"/>
                  <a:gd name="connsiteX2" fmla="*/ 535709 w 535709"/>
                  <a:gd name="connsiteY2" fmla="*/ 535709 h 535709"/>
                  <a:gd name="connsiteX3" fmla="*/ 0 w 535709"/>
                  <a:gd name="connsiteY3" fmla="*/ 535709 h 535709"/>
                  <a:gd name="connsiteX4" fmla="*/ 0 w 535709"/>
                  <a:gd name="connsiteY4" fmla="*/ 0 h 535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709" h="535709">
                    <a:moveTo>
                      <a:pt x="0" y="0"/>
                    </a:moveTo>
                    <a:lnTo>
                      <a:pt x="535709" y="0"/>
                    </a:lnTo>
                    <a:lnTo>
                      <a:pt x="535709" y="535709"/>
                    </a:lnTo>
                    <a:lnTo>
                      <a:pt x="0" y="535709"/>
                    </a:lnTo>
                    <a:lnTo>
                      <a:pt x="0" y="0"/>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1" name="任意多边形: 形状 60">
                <a:extLst>
                  <a:ext uri="{FF2B5EF4-FFF2-40B4-BE49-F238E27FC236}">
                    <a16:creationId xmlns:a16="http://schemas.microsoft.com/office/drawing/2014/main" id="{E2A71EC7-88FE-40AB-8FD3-5A8A6EB1C38B}"/>
                  </a:ext>
                </a:extLst>
              </p:cNvPr>
              <p:cNvSpPr/>
              <p:nvPr/>
            </p:nvSpPr>
            <p:spPr>
              <a:xfrm>
                <a:off x="5494784" y="3872246"/>
                <a:ext cx="321987" cy="321987"/>
              </a:xfrm>
              <a:custGeom>
                <a:avLst/>
                <a:gdLst/>
                <a:ahLst/>
                <a:cxnLst/>
                <a:rect l="0" t="0" r="0" b="0"/>
                <a:pathLst>
                  <a:path w="535710" h="535710">
                    <a:moveTo>
                      <a:pt x="0" y="0"/>
                    </a:moveTo>
                    <a:lnTo>
                      <a:pt x="535709" y="0"/>
                    </a:lnTo>
                    <a:lnTo>
                      <a:pt x="535709" y="535709"/>
                    </a:lnTo>
                    <a:lnTo>
                      <a:pt x="0" y="535709"/>
                    </a:lnTo>
                    <a:close/>
                  </a:path>
                </a:pathLst>
              </a:cu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FFFFFF"/>
                  </a:solidFill>
                  <a:cs typeface="+mn-ea"/>
                  <a:sym typeface="+mn-lt"/>
                </a:endParaRPr>
              </a:p>
            </p:txBody>
          </p:sp>
          <p:sp>
            <p:nvSpPr>
              <p:cNvPr id="62" name="任意多边形: 形状 61">
                <a:extLst>
                  <a:ext uri="{FF2B5EF4-FFF2-40B4-BE49-F238E27FC236}">
                    <a16:creationId xmlns:a16="http://schemas.microsoft.com/office/drawing/2014/main" id="{B7C333BA-2040-4941-892D-7134848A8319}"/>
                  </a:ext>
                </a:extLst>
              </p:cNvPr>
              <p:cNvSpPr/>
              <p:nvPr/>
            </p:nvSpPr>
            <p:spPr>
              <a:xfrm>
                <a:off x="5816771" y="3872246"/>
                <a:ext cx="321987" cy="321987"/>
              </a:xfrm>
              <a:custGeom>
                <a:avLst/>
                <a:gdLst/>
                <a:ahLst/>
                <a:cxnLst/>
                <a:rect l="0" t="0" r="0" b="0"/>
                <a:pathLst>
                  <a:path w="535710" h="535710">
                    <a:moveTo>
                      <a:pt x="0" y="0"/>
                    </a:moveTo>
                    <a:lnTo>
                      <a:pt x="535709" y="0"/>
                    </a:lnTo>
                    <a:lnTo>
                      <a:pt x="535709" y="535709"/>
                    </a:lnTo>
                    <a:lnTo>
                      <a:pt x="0" y="535709"/>
                    </a:lnTo>
                    <a:close/>
                  </a:path>
                </a:pathLst>
              </a:cu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FFFFFF"/>
                  </a:solidFill>
                  <a:cs typeface="+mn-ea"/>
                  <a:sym typeface="+mn-lt"/>
                </a:endParaRPr>
              </a:p>
            </p:txBody>
          </p:sp>
          <p:sp>
            <p:nvSpPr>
              <p:cNvPr id="63" name="任意多边形: 形状 62">
                <a:extLst>
                  <a:ext uri="{FF2B5EF4-FFF2-40B4-BE49-F238E27FC236}">
                    <a16:creationId xmlns:a16="http://schemas.microsoft.com/office/drawing/2014/main" id="{EA382622-88E2-4DBF-966D-1EBF57DBC66B}"/>
                  </a:ext>
                </a:extLst>
              </p:cNvPr>
              <p:cNvSpPr/>
              <p:nvPr/>
            </p:nvSpPr>
            <p:spPr>
              <a:xfrm>
                <a:off x="6138758" y="3872246"/>
                <a:ext cx="321987" cy="321987"/>
              </a:xfrm>
              <a:custGeom>
                <a:avLst/>
                <a:gdLst/>
                <a:ahLst/>
                <a:cxnLst/>
                <a:rect l="0" t="0" r="0" b="0"/>
                <a:pathLst>
                  <a:path w="535710" h="535710">
                    <a:moveTo>
                      <a:pt x="0" y="0"/>
                    </a:moveTo>
                    <a:lnTo>
                      <a:pt x="535709" y="0"/>
                    </a:lnTo>
                    <a:lnTo>
                      <a:pt x="535709" y="535709"/>
                    </a:lnTo>
                    <a:lnTo>
                      <a:pt x="0" y="535709"/>
                    </a:lnTo>
                    <a:close/>
                  </a:path>
                </a:pathLst>
              </a:cu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FFFFFF"/>
                  </a:solidFill>
                  <a:cs typeface="+mn-ea"/>
                  <a:sym typeface="+mn-lt"/>
                </a:endParaRPr>
              </a:p>
            </p:txBody>
          </p:sp>
          <p:sp>
            <p:nvSpPr>
              <p:cNvPr id="64" name="任意多边形: 形状 63">
                <a:extLst>
                  <a:ext uri="{FF2B5EF4-FFF2-40B4-BE49-F238E27FC236}">
                    <a16:creationId xmlns:a16="http://schemas.microsoft.com/office/drawing/2014/main" id="{3950EBAF-0117-4CC7-B451-674B7A882EF7}"/>
                  </a:ext>
                </a:extLst>
              </p:cNvPr>
              <p:cNvSpPr/>
              <p:nvPr/>
            </p:nvSpPr>
            <p:spPr>
              <a:xfrm>
                <a:off x="6460744" y="3872246"/>
                <a:ext cx="321987" cy="321987"/>
              </a:xfrm>
              <a:custGeom>
                <a:avLst/>
                <a:gdLst/>
                <a:ahLst/>
                <a:cxnLst/>
                <a:rect l="0" t="0" r="0" b="0"/>
                <a:pathLst>
                  <a:path w="535710" h="535710">
                    <a:moveTo>
                      <a:pt x="0" y="0"/>
                    </a:moveTo>
                    <a:lnTo>
                      <a:pt x="535709" y="0"/>
                    </a:lnTo>
                    <a:lnTo>
                      <a:pt x="535709" y="535709"/>
                    </a:lnTo>
                    <a:lnTo>
                      <a:pt x="0" y="535709"/>
                    </a:lnTo>
                    <a:close/>
                  </a:path>
                </a:pathLst>
              </a:cu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FFFFFF"/>
                  </a:solidFill>
                  <a:cs typeface="+mn-ea"/>
                  <a:sym typeface="+mn-lt"/>
                </a:endParaRPr>
              </a:p>
            </p:txBody>
          </p:sp>
        </p:grpSp>
      </p:grpSp>
      <p:sp>
        <p:nvSpPr>
          <p:cNvPr id="3" name="灯片编号占位符 2">
            <a:extLst>
              <a:ext uri="{FF2B5EF4-FFF2-40B4-BE49-F238E27FC236}">
                <a16:creationId xmlns:a16="http://schemas.microsoft.com/office/drawing/2014/main" id="{56A29FCC-B37E-447D-B213-0CB6CDBB4580}"/>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75</a:t>
            </a:fld>
            <a:endParaRPr lang="en-US" dirty="0">
              <a:solidFill>
                <a:srgbClr val="000000">
                  <a:tint val="75000"/>
                </a:srgbClr>
              </a:solidFill>
              <a:cs typeface="+mn-ea"/>
              <a:sym typeface="+mn-lt"/>
            </a:endParaRPr>
          </a:p>
        </p:txBody>
      </p:sp>
    </p:spTree>
    <p:extLst>
      <p:ext uri="{BB962C8B-B14F-4D97-AF65-F5344CB8AC3E}">
        <p14:creationId xmlns:p14="http://schemas.microsoft.com/office/powerpoint/2010/main" val="156969391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53F4265-E73A-4850-9543-4B42B4BBDEFA}"/>
              </a:ext>
            </a:extLst>
          </p:cNvPr>
          <p:cNvSpPr>
            <a:spLocks noGrp="1"/>
          </p:cNvSpPr>
          <p:nvPr>
            <p:ph type="title"/>
          </p:nvPr>
        </p:nvSpPr>
        <p:spPr/>
        <p:txBody>
          <a:bodyPr/>
          <a:lstStyle/>
          <a:p>
            <a:r>
              <a:rPr lang="zh-CN" altLang="en-US" dirty="0">
                <a:latin typeface="+mn-lt"/>
                <a:ea typeface="+mn-ea"/>
                <a:cs typeface="+mn-ea"/>
                <a:sym typeface="+mn-lt"/>
              </a:rPr>
              <a:t>字体方案</a:t>
            </a:r>
            <a:endParaRPr lang="en-US" dirty="0">
              <a:latin typeface="+mn-lt"/>
              <a:ea typeface="+mn-ea"/>
              <a:cs typeface="+mn-ea"/>
              <a:sym typeface="+mn-lt"/>
            </a:endParaRPr>
          </a:p>
        </p:txBody>
      </p:sp>
      <p:sp>
        <p:nvSpPr>
          <p:cNvPr id="13" name="文本框 12">
            <a:extLst>
              <a:ext uri="{FF2B5EF4-FFF2-40B4-BE49-F238E27FC236}">
                <a16:creationId xmlns:a16="http://schemas.microsoft.com/office/drawing/2014/main" id="{83D41E7E-110B-4907-95DF-D5297C208A29}"/>
              </a:ext>
            </a:extLst>
          </p:cNvPr>
          <p:cNvSpPr txBox="1"/>
          <p:nvPr/>
        </p:nvSpPr>
        <p:spPr>
          <a:xfrm>
            <a:off x="1071057" y="1700213"/>
            <a:ext cx="4751313" cy="405624"/>
          </a:xfrm>
          <a:prstGeom prst="rect">
            <a:avLst/>
          </a:prstGeom>
          <a:noFill/>
        </p:spPr>
        <p:txBody>
          <a:bodyPr wrap="none" tIns="0" bIns="0" rtlCol="0" anchor="ctr" anchorCtr="0">
            <a:noAutofit/>
          </a:bodyPr>
          <a:lstStyle/>
          <a:p>
            <a:pPr algn="ctr">
              <a:lnSpc>
                <a:spcPct val="120000"/>
              </a:lnSpc>
            </a:pPr>
            <a:r>
              <a:rPr lang="zh-CN" altLang="en-US" sz="2400" b="1" dirty="0">
                <a:solidFill>
                  <a:schemeClr val="tx1">
                    <a:lumMod val="75000"/>
                    <a:lumOff val="25000"/>
                  </a:schemeClr>
                </a:solidFill>
                <a:cs typeface="+mn-ea"/>
                <a:sym typeface="+mn-lt"/>
              </a:rPr>
              <a:t>中文</a:t>
            </a:r>
          </a:p>
        </p:txBody>
      </p:sp>
      <p:sp>
        <p:nvSpPr>
          <p:cNvPr id="14" name="文本框 13">
            <a:extLst>
              <a:ext uri="{FF2B5EF4-FFF2-40B4-BE49-F238E27FC236}">
                <a16:creationId xmlns:a16="http://schemas.microsoft.com/office/drawing/2014/main" id="{1F4F9DFD-62C3-40B8-89AD-8DA234085988}"/>
              </a:ext>
            </a:extLst>
          </p:cNvPr>
          <p:cNvSpPr txBox="1"/>
          <p:nvPr/>
        </p:nvSpPr>
        <p:spPr>
          <a:xfrm>
            <a:off x="1071057" y="4885129"/>
            <a:ext cx="10049885" cy="622863"/>
          </a:xfrm>
          <a:prstGeom prst="rect">
            <a:avLst/>
          </a:prstGeom>
          <a:noFill/>
        </p:spPr>
        <p:txBody>
          <a:bodyPr wrap="square" lIns="0" rIns="0" rtlCol="0">
            <a:spAutoFit/>
          </a:bodyPr>
          <a:lstStyle/>
          <a:p>
            <a:pPr>
              <a:lnSpc>
                <a:spcPct val="120000"/>
              </a:lnSpc>
            </a:pPr>
            <a:r>
              <a:rPr lang="en-US" altLang="zh-CN" sz="1500" dirty="0">
                <a:solidFill>
                  <a:schemeClr val="tx1">
                    <a:lumMod val="75000"/>
                    <a:lumOff val="25000"/>
                  </a:schemeClr>
                </a:solidFill>
                <a:cs typeface="+mn-ea"/>
                <a:sym typeface="+mn-lt"/>
              </a:rPr>
              <a:t>【</a:t>
            </a:r>
            <a:r>
              <a:rPr lang="zh-CN" altLang="en-US" sz="1500" dirty="0">
                <a:solidFill>
                  <a:schemeClr val="tx1">
                    <a:lumMod val="75000"/>
                    <a:lumOff val="25000"/>
                  </a:schemeClr>
                </a:solidFill>
                <a:cs typeface="+mn-ea"/>
                <a:sym typeface="+mn-lt"/>
              </a:rPr>
              <a:t>注释</a:t>
            </a:r>
            <a:r>
              <a:rPr lang="en-US" altLang="zh-CN" sz="1500" dirty="0">
                <a:solidFill>
                  <a:schemeClr val="tx1">
                    <a:lumMod val="75000"/>
                    <a:lumOff val="25000"/>
                  </a:schemeClr>
                </a:solidFill>
                <a:cs typeface="+mn-ea"/>
                <a:sym typeface="+mn-lt"/>
              </a:rPr>
              <a:t>】</a:t>
            </a:r>
          </a:p>
          <a:p>
            <a:pPr>
              <a:lnSpc>
                <a:spcPct val="120000"/>
              </a:lnSpc>
            </a:pPr>
            <a:r>
              <a:rPr lang="zh-CN" altLang="en-US" sz="1500" dirty="0">
                <a:solidFill>
                  <a:schemeClr val="tx1">
                    <a:lumMod val="75000"/>
                    <a:lumOff val="25000"/>
                  </a:schemeClr>
                </a:solidFill>
                <a:cs typeface="+mn-ea"/>
                <a:sym typeface="+mn-lt"/>
              </a:rPr>
              <a:t>阿里巴巴普惠体为特殊字体，下载字体安装包后方可正常显示</a:t>
            </a:r>
          </a:p>
        </p:txBody>
      </p:sp>
      <p:sp>
        <p:nvSpPr>
          <p:cNvPr id="16" name="文本框 15">
            <a:extLst>
              <a:ext uri="{FF2B5EF4-FFF2-40B4-BE49-F238E27FC236}">
                <a16:creationId xmlns:a16="http://schemas.microsoft.com/office/drawing/2014/main" id="{F3E28638-8FFC-4EE4-8181-2F3D4DBF4180}"/>
              </a:ext>
            </a:extLst>
          </p:cNvPr>
          <p:cNvSpPr txBox="1"/>
          <p:nvPr/>
        </p:nvSpPr>
        <p:spPr>
          <a:xfrm>
            <a:off x="6369626" y="1700213"/>
            <a:ext cx="4751313" cy="405624"/>
          </a:xfrm>
          <a:prstGeom prst="rect">
            <a:avLst/>
          </a:prstGeom>
          <a:noFill/>
        </p:spPr>
        <p:txBody>
          <a:bodyPr wrap="none" tIns="0" bIns="0" rtlCol="0" anchor="ctr" anchorCtr="0">
            <a:noAutofit/>
          </a:bodyPr>
          <a:lstStyle/>
          <a:p>
            <a:pPr algn="ctr">
              <a:lnSpc>
                <a:spcPct val="120000"/>
              </a:lnSpc>
            </a:pPr>
            <a:r>
              <a:rPr lang="zh-CN" altLang="en-US" sz="2400" b="1" dirty="0">
                <a:solidFill>
                  <a:schemeClr val="tx1">
                    <a:lumMod val="75000"/>
                    <a:lumOff val="25000"/>
                  </a:schemeClr>
                </a:solidFill>
                <a:cs typeface="+mn-ea"/>
                <a:sym typeface="+mn-lt"/>
              </a:rPr>
              <a:t>英文</a:t>
            </a:r>
          </a:p>
        </p:txBody>
      </p:sp>
      <p:cxnSp>
        <p:nvCxnSpPr>
          <p:cNvPr id="4" name="直接连接符 3">
            <a:extLst>
              <a:ext uri="{FF2B5EF4-FFF2-40B4-BE49-F238E27FC236}">
                <a16:creationId xmlns:a16="http://schemas.microsoft.com/office/drawing/2014/main" id="{DC19DED6-25BC-4783-A5F4-4C30DADC8A0D}"/>
              </a:ext>
            </a:extLst>
          </p:cNvPr>
          <p:cNvCxnSpPr/>
          <p:nvPr/>
        </p:nvCxnSpPr>
        <p:spPr>
          <a:xfrm>
            <a:off x="1071057" y="2199356"/>
            <a:ext cx="47513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0D43DB71-A56E-4C8C-BC8B-AB89A5C6D859}"/>
              </a:ext>
            </a:extLst>
          </p:cNvPr>
          <p:cNvCxnSpPr/>
          <p:nvPr/>
        </p:nvCxnSpPr>
        <p:spPr>
          <a:xfrm>
            <a:off x="6369626" y="2199356"/>
            <a:ext cx="47513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52BD1383-0DFA-48EC-B28A-152D20560811}"/>
              </a:ext>
            </a:extLst>
          </p:cNvPr>
          <p:cNvSpPr txBox="1"/>
          <p:nvPr/>
        </p:nvSpPr>
        <p:spPr>
          <a:xfrm>
            <a:off x="1071057" y="2539871"/>
            <a:ext cx="3195105" cy="461665"/>
          </a:xfrm>
          <a:prstGeom prst="rect">
            <a:avLst/>
          </a:prstGeom>
          <a:noFill/>
        </p:spPr>
        <p:txBody>
          <a:bodyPr wrap="none" rtlCol="0">
            <a:noAutofit/>
          </a:bodyPr>
          <a:lstStyle/>
          <a:p>
            <a:r>
              <a:rPr lang="zh-CN" altLang="en-US" sz="2400" b="1" dirty="0">
                <a:solidFill>
                  <a:schemeClr val="tx1">
                    <a:lumMod val="75000"/>
                    <a:lumOff val="25000"/>
                  </a:schemeClr>
                </a:solidFill>
                <a:cs typeface="+mn-ea"/>
                <a:sym typeface="+mn-lt"/>
              </a:rPr>
              <a:t>标题：阿里巴巴普惠体 </a:t>
            </a:r>
            <a:r>
              <a:rPr lang="en-US" altLang="zh-CN" sz="2400" b="1" dirty="0">
                <a:solidFill>
                  <a:schemeClr val="tx1">
                    <a:lumMod val="75000"/>
                    <a:lumOff val="25000"/>
                  </a:schemeClr>
                </a:solidFill>
                <a:cs typeface="+mn-ea"/>
                <a:sym typeface="+mn-lt"/>
              </a:rPr>
              <a:t>(</a:t>
            </a:r>
            <a:r>
              <a:rPr lang="zh-CN" altLang="en-US" sz="2400" b="1" dirty="0">
                <a:solidFill>
                  <a:schemeClr val="tx1">
                    <a:lumMod val="75000"/>
                    <a:lumOff val="25000"/>
                  </a:schemeClr>
                </a:solidFill>
                <a:cs typeface="+mn-ea"/>
                <a:sym typeface="+mn-lt"/>
              </a:rPr>
              <a:t>加粗</a:t>
            </a:r>
            <a:r>
              <a:rPr lang="en-US" altLang="zh-CN" sz="2400" b="1" dirty="0">
                <a:solidFill>
                  <a:schemeClr val="tx1">
                    <a:lumMod val="75000"/>
                    <a:lumOff val="25000"/>
                  </a:schemeClr>
                </a:solidFill>
                <a:cs typeface="+mn-ea"/>
                <a:sym typeface="+mn-lt"/>
              </a:rPr>
              <a:t>)</a:t>
            </a:r>
            <a:endParaRPr lang="zh-CN" altLang="en-US" sz="2400" b="1" dirty="0">
              <a:solidFill>
                <a:schemeClr val="tx1">
                  <a:lumMod val="75000"/>
                  <a:lumOff val="25000"/>
                </a:schemeClr>
              </a:solidFill>
              <a:cs typeface="+mn-ea"/>
              <a:sym typeface="+mn-lt"/>
            </a:endParaRPr>
          </a:p>
        </p:txBody>
      </p:sp>
      <p:sp>
        <p:nvSpPr>
          <p:cNvPr id="20" name="文本框 19">
            <a:extLst>
              <a:ext uri="{FF2B5EF4-FFF2-40B4-BE49-F238E27FC236}">
                <a16:creationId xmlns:a16="http://schemas.microsoft.com/office/drawing/2014/main" id="{C0BC8AC6-A64F-4E6A-9C37-2223D5591CE6}"/>
              </a:ext>
            </a:extLst>
          </p:cNvPr>
          <p:cNvSpPr txBox="1"/>
          <p:nvPr/>
        </p:nvSpPr>
        <p:spPr>
          <a:xfrm>
            <a:off x="1071057" y="3173716"/>
            <a:ext cx="3195105" cy="461665"/>
          </a:xfrm>
          <a:prstGeom prst="rect">
            <a:avLst/>
          </a:prstGeom>
          <a:noFill/>
        </p:spPr>
        <p:txBody>
          <a:bodyPr wrap="none" rtlCol="0">
            <a:noAutofit/>
          </a:bodyPr>
          <a:lstStyle/>
          <a:p>
            <a:r>
              <a:rPr lang="zh-CN" altLang="en-US" sz="2400" dirty="0">
                <a:solidFill>
                  <a:schemeClr val="tx1">
                    <a:lumMod val="75000"/>
                    <a:lumOff val="25000"/>
                  </a:schemeClr>
                </a:solidFill>
                <a:cs typeface="+mn-ea"/>
                <a:sym typeface="+mn-lt"/>
              </a:rPr>
              <a:t>正文：阿里巴巴普惠体 </a:t>
            </a:r>
          </a:p>
        </p:txBody>
      </p:sp>
      <p:sp>
        <p:nvSpPr>
          <p:cNvPr id="21" name="文本框 20">
            <a:extLst>
              <a:ext uri="{FF2B5EF4-FFF2-40B4-BE49-F238E27FC236}">
                <a16:creationId xmlns:a16="http://schemas.microsoft.com/office/drawing/2014/main" id="{78137074-97A8-4EC7-B98C-C289E51E2178}"/>
              </a:ext>
            </a:extLst>
          </p:cNvPr>
          <p:cNvSpPr txBox="1"/>
          <p:nvPr/>
        </p:nvSpPr>
        <p:spPr>
          <a:xfrm>
            <a:off x="6369626" y="2539871"/>
            <a:ext cx="4751313" cy="461665"/>
          </a:xfrm>
          <a:prstGeom prst="rect">
            <a:avLst/>
          </a:prstGeom>
          <a:noFill/>
        </p:spPr>
        <p:txBody>
          <a:bodyPr wrap="none" rtlCol="0">
            <a:noAutofit/>
          </a:bodyPr>
          <a:lstStyle/>
          <a:p>
            <a:r>
              <a:rPr lang="zh-CN" altLang="en-US" sz="2400" b="1" dirty="0">
                <a:solidFill>
                  <a:schemeClr val="tx1">
                    <a:lumMod val="75000"/>
                    <a:lumOff val="25000"/>
                  </a:schemeClr>
                </a:solidFill>
                <a:cs typeface="+mn-ea"/>
                <a:sym typeface="+mn-lt"/>
              </a:rPr>
              <a:t>标题：</a:t>
            </a:r>
            <a:r>
              <a:rPr lang="en-US" altLang="zh-CN" sz="2400" b="1" dirty="0">
                <a:solidFill>
                  <a:schemeClr val="tx1">
                    <a:lumMod val="75000"/>
                    <a:lumOff val="25000"/>
                  </a:schemeClr>
                </a:solidFill>
                <a:cs typeface="+mn-ea"/>
                <a:sym typeface="+mn-lt"/>
              </a:rPr>
              <a:t>Aril (</a:t>
            </a:r>
            <a:r>
              <a:rPr lang="zh-CN" altLang="en-US" sz="2400" b="1" dirty="0">
                <a:solidFill>
                  <a:schemeClr val="tx1">
                    <a:lumMod val="75000"/>
                    <a:lumOff val="25000"/>
                  </a:schemeClr>
                </a:solidFill>
                <a:cs typeface="+mn-ea"/>
                <a:sym typeface="+mn-lt"/>
              </a:rPr>
              <a:t>加粗</a:t>
            </a:r>
            <a:r>
              <a:rPr lang="en-US" altLang="zh-CN" sz="2400" b="1" dirty="0">
                <a:solidFill>
                  <a:schemeClr val="tx1">
                    <a:lumMod val="75000"/>
                    <a:lumOff val="25000"/>
                  </a:schemeClr>
                </a:solidFill>
                <a:cs typeface="+mn-ea"/>
                <a:sym typeface="+mn-lt"/>
              </a:rPr>
              <a:t>)</a:t>
            </a:r>
            <a:endParaRPr lang="zh-CN" altLang="en-US" sz="2400" b="1" dirty="0">
              <a:solidFill>
                <a:schemeClr val="tx1">
                  <a:lumMod val="75000"/>
                  <a:lumOff val="25000"/>
                </a:schemeClr>
              </a:solidFill>
              <a:cs typeface="+mn-ea"/>
              <a:sym typeface="+mn-lt"/>
            </a:endParaRPr>
          </a:p>
        </p:txBody>
      </p:sp>
      <p:sp>
        <p:nvSpPr>
          <p:cNvPr id="23" name="文本框 22">
            <a:extLst>
              <a:ext uri="{FF2B5EF4-FFF2-40B4-BE49-F238E27FC236}">
                <a16:creationId xmlns:a16="http://schemas.microsoft.com/office/drawing/2014/main" id="{EAC216A1-9011-47A4-AC90-B3F2D1727D75}"/>
              </a:ext>
            </a:extLst>
          </p:cNvPr>
          <p:cNvSpPr txBox="1"/>
          <p:nvPr/>
        </p:nvSpPr>
        <p:spPr>
          <a:xfrm>
            <a:off x="6369626" y="3173716"/>
            <a:ext cx="4751313" cy="461665"/>
          </a:xfrm>
          <a:prstGeom prst="rect">
            <a:avLst/>
          </a:prstGeom>
          <a:noFill/>
        </p:spPr>
        <p:txBody>
          <a:bodyPr wrap="none" rtlCol="0">
            <a:noAutofit/>
          </a:bodyPr>
          <a:lstStyle/>
          <a:p>
            <a:r>
              <a:rPr lang="zh-CN" altLang="en-US" sz="2400" dirty="0">
                <a:solidFill>
                  <a:schemeClr val="tx1">
                    <a:lumMod val="75000"/>
                    <a:lumOff val="25000"/>
                  </a:schemeClr>
                </a:solidFill>
                <a:cs typeface="+mn-ea"/>
                <a:sym typeface="+mn-lt"/>
              </a:rPr>
              <a:t>正文：</a:t>
            </a:r>
            <a:r>
              <a:rPr lang="en-US" altLang="zh-CN" sz="2400" dirty="0" err="1">
                <a:solidFill>
                  <a:schemeClr val="tx1">
                    <a:lumMod val="75000"/>
                    <a:lumOff val="25000"/>
                  </a:schemeClr>
                </a:solidFill>
                <a:cs typeface="+mn-ea"/>
                <a:sym typeface="+mn-lt"/>
              </a:rPr>
              <a:t>Aril+</a:t>
            </a:r>
            <a:r>
              <a:rPr lang="en-US" altLang="zh-CN" sz="2400" dirty="0" err="1">
                <a:solidFill>
                  <a:schemeClr val="tx1">
                    <a:lumMod val="75000"/>
                    <a:lumOff val="25000"/>
                  </a:schemeClr>
                </a:solidFill>
                <a:latin typeface="Impact" panose="020B0806030902050204" pitchFamily="34" charset="0"/>
                <a:cs typeface="+mn-ea"/>
                <a:sym typeface="+mn-lt"/>
              </a:rPr>
              <a:t>Impact</a:t>
            </a:r>
            <a:r>
              <a:rPr lang="zh-CN" altLang="en-US" sz="2400" dirty="0">
                <a:solidFill>
                  <a:schemeClr val="tx1">
                    <a:lumMod val="75000"/>
                    <a:lumOff val="25000"/>
                  </a:schemeClr>
                </a:solidFill>
                <a:cs typeface="+mn-ea"/>
                <a:sym typeface="+mn-lt"/>
              </a:rPr>
              <a:t>（用于强调）</a:t>
            </a:r>
          </a:p>
        </p:txBody>
      </p:sp>
      <p:sp>
        <p:nvSpPr>
          <p:cNvPr id="3" name="灯片编号占位符 2">
            <a:extLst>
              <a:ext uri="{FF2B5EF4-FFF2-40B4-BE49-F238E27FC236}">
                <a16:creationId xmlns:a16="http://schemas.microsoft.com/office/drawing/2014/main" id="{E5E28BF1-E658-4EC8-B4AC-DD3C9ACF7C71}"/>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76</a:t>
            </a:fld>
            <a:endParaRPr lang="en-US" dirty="0">
              <a:solidFill>
                <a:srgbClr val="000000">
                  <a:tint val="75000"/>
                </a:srgbClr>
              </a:solidFill>
              <a:cs typeface="+mn-ea"/>
              <a:sym typeface="+mn-lt"/>
            </a:endParaRPr>
          </a:p>
        </p:txBody>
      </p:sp>
    </p:spTree>
    <p:extLst>
      <p:ext uri="{BB962C8B-B14F-4D97-AF65-F5344CB8AC3E}">
        <p14:creationId xmlns:p14="http://schemas.microsoft.com/office/powerpoint/2010/main" val="215762088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53F4265-E73A-4850-9543-4B42B4BBDEFA}"/>
              </a:ext>
            </a:extLst>
          </p:cNvPr>
          <p:cNvSpPr>
            <a:spLocks noGrp="1"/>
          </p:cNvSpPr>
          <p:nvPr>
            <p:ph type="title"/>
          </p:nvPr>
        </p:nvSpPr>
        <p:spPr/>
        <p:txBody>
          <a:bodyPr/>
          <a:lstStyle/>
          <a:p>
            <a:r>
              <a:rPr lang="zh-CN" altLang="en-US" dirty="0">
                <a:latin typeface="+mn-lt"/>
                <a:ea typeface="+mn-ea"/>
                <a:cs typeface="+mn-ea"/>
                <a:sym typeface="+mn-lt"/>
              </a:rPr>
              <a:t>字体规范</a:t>
            </a:r>
            <a:endParaRPr lang="en-US" dirty="0">
              <a:latin typeface="+mn-lt"/>
              <a:ea typeface="+mn-ea"/>
              <a:cs typeface="+mn-ea"/>
              <a:sym typeface="+mn-lt"/>
            </a:endParaRPr>
          </a:p>
        </p:txBody>
      </p:sp>
      <p:sp>
        <p:nvSpPr>
          <p:cNvPr id="18" name="文本框 17">
            <a:extLst>
              <a:ext uri="{FF2B5EF4-FFF2-40B4-BE49-F238E27FC236}">
                <a16:creationId xmlns:a16="http://schemas.microsoft.com/office/drawing/2014/main" id="{C1AF411C-CCC9-41F8-9E2E-6257B23111C5}"/>
              </a:ext>
            </a:extLst>
          </p:cNvPr>
          <p:cNvSpPr txBox="1"/>
          <p:nvPr/>
        </p:nvSpPr>
        <p:spPr>
          <a:xfrm>
            <a:off x="1071058" y="4472976"/>
            <a:ext cx="4172273" cy="1356719"/>
          </a:xfrm>
          <a:prstGeom prst="rect">
            <a:avLst/>
          </a:prstGeom>
          <a:noFill/>
        </p:spPr>
        <p:txBody>
          <a:bodyPr wrap="square" tIns="0" bIns="0" rtlCol="0">
            <a:noAutofit/>
          </a:bodyPr>
          <a:lstStyle/>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中文字体建议使用阿里巴巴普惠体 </a:t>
            </a:r>
            <a:endPar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endParaRP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行距</a:t>
            </a:r>
            <a:r>
              <a:rPr lang="zh-CN" altLang="en-US" spc="100" dirty="0">
                <a:solidFill>
                  <a:schemeClr val="tx1">
                    <a:lumMod val="75000"/>
                    <a:lumOff val="25000"/>
                  </a:schemeClr>
                </a:solidFill>
                <a:cs typeface="+mn-ea"/>
                <a:sym typeface="+mn-lt"/>
              </a:rPr>
              <a:t>建议为</a:t>
            </a:r>
            <a:r>
              <a:rPr lang="en-US" altLang="zh-CN" spc="100" dirty="0">
                <a:solidFill>
                  <a:schemeClr val="tx1">
                    <a:lumMod val="75000"/>
                    <a:lumOff val="25000"/>
                  </a:schemeClr>
                </a:solidFill>
                <a:cs typeface="+mn-ea"/>
                <a:sym typeface="+mn-lt"/>
              </a:rPr>
              <a:t>1.2~1.3</a:t>
            </a: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字体间距为</a:t>
            </a:r>
            <a:r>
              <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rPr>
              <a:t>1</a:t>
            </a: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字号建议为</a:t>
            </a:r>
            <a:r>
              <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rPr>
              <a:t>16~24</a:t>
            </a:r>
            <a:endPar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endParaRPr>
          </a:p>
        </p:txBody>
      </p:sp>
      <p:sp>
        <p:nvSpPr>
          <p:cNvPr id="24" name="文本框 23">
            <a:extLst>
              <a:ext uri="{FF2B5EF4-FFF2-40B4-BE49-F238E27FC236}">
                <a16:creationId xmlns:a16="http://schemas.microsoft.com/office/drawing/2014/main" id="{ABB798CD-4F29-46EA-98CF-FDF282BA8140}"/>
              </a:ext>
            </a:extLst>
          </p:cNvPr>
          <p:cNvSpPr txBox="1"/>
          <p:nvPr/>
        </p:nvSpPr>
        <p:spPr>
          <a:xfrm>
            <a:off x="1071056" y="4016459"/>
            <a:ext cx="4172273" cy="369332"/>
          </a:xfrm>
          <a:prstGeom prst="rect">
            <a:avLst/>
          </a:prstGeom>
          <a:noFill/>
        </p:spPr>
        <p:txBody>
          <a:bodyPr wrap="square" t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tx1">
                    <a:lumMod val="75000"/>
                    <a:lumOff val="25000"/>
                  </a:schemeClr>
                </a:solidFill>
                <a:effectLst/>
                <a:uLnTx/>
                <a:uFillTx/>
                <a:cs typeface="+mn-ea"/>
                <a:sym typeface="+mn-lt"/>
              </a:rPr>
              <a:t>中文正文字体规范：</a:t>
            </a:r>
          </a:p>
        </p:txBody>
      </p:sp>
      <p:sp>
        <p:nvSpPr>
          <p:cNvPr id="25" name="文本框 24">
            <a:extLst>
              <a:ext uri="{FF2B5EF4-FFF2-40B4-BE49-F238E27FC236}">
                <a16:creationId xmlns:a16="http://schemas.microsoft.com/office/drawing/2014/main" id="{B0033159-4DB7-47F5-A662-22A76981C987}"/>
              </a:ext>
            </a:extLst>
          </p:cNvPr>
          <p:cNvSpPr txBox="1"/>
          <p:nvPr/>
        </p:nvSpPr>
        <p:spPr>
          <a:xfrm>
            <a:off x="1071058" y="1925590"/>
            <a:ext cx="4172273" cy="1356719"/>
          </a:xfrm>
          <a:prstGeom prst="rect">
            <a:avLst/>
          </a:prstGeom>
          <a:noFill/>
        </p:spPr>
        <p:txBody>
          <a:bodyPr wrap="square" tIns="0" bIns="0" rtlCol="0">
            <a:noAutofit/>
          </a:bodyPr>
          <a:lstStyle/>
          <a:p>
            <a:pPr marL="285750" lvl="0" indent="-285750">
              <a:spcAft>
                <a:spcPts val="600"/>
              </a:spcAft>
              <a:buFont typeface="Arial" panose="020B0604020202020204" pitchFamily="34" charset="0"/>
              <a:buChar char="•"/>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建议</a:t>
            </a:r>
            <a:r>
              <a:rPr lang="zh-CN" altLang="en-US" spc="100" dirty="0">
                <a:solidFill>
                  <a:schemeClr val="tx1">
                    <a:lumMod val="75000"/>
                    <a:lumOff val="25000"/>
                  </a:schemeClr>
                </a:solidFill>
                <a:cs typeface="+mn-ea"/>
                <a:sym typeface="+mn-lt"/>
              </a:rPr>
              <a:t>使用阿里巴巴普惠体 </a:t>
            </a:r>
            <a:endParaRPr lang="en-US" altLang="zh-CN" spc="100" dirty="0">
              <a:solidFill>
                <a:schemeClr val="tx1">
                  <a:lumMod val="75000"/>
                  <a:lumOff val="25000"/>
                </a:schemeClr>
              </a:solidFill>
              <a:cs typeface="+mn-ea"/>
              <a:sym typeface="+mn-lt"/>
            </a:endParaRPr>
          </a:p>
          <a:p>
            <a:pPr marL="285750" lvl="0" indent="-285750">
              <a:spcAft>
                <a:spcPts val="600"/>
              </a:spcAft>
              <a:buFont typeface="Arial" panose="020B0604020202020204" pitchFamily="34" charset="0"/>
              <a:buChar char="•"/>
              <a:defRPr/>
            </a:pPr>
            <a:r>
              <a:rPr lang="zh-CN" altLang="en-US" spc="100" dirty="0">
                <a:solidFill>
                  <a:schemeClr val="tx1">
                    <a:lumMod val="75000"/>
                    <a:lumOff val="25000"/>
                  </a:schemeClr>
                </a:solidFill>
                <a:cs typeface="+mn-ea"/>
                <a:sym typeface="+mn-lt"/>
              </a:rPr>
              <a:t>字体</a:t>
            </a: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间距为</a:t>
            </a:r>
            <a:r>
              <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rPr>
              <a:t>1</a:t>
            </a: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加粗或加大，与正文区分</a:t>
            </a:r>
            <a:endPar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endParaRP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标题字号</a:t>
            </a:r>
            <a:r>
              <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rPr>
              <a:t>26</a:t>
            </a:r>
            <a:endPar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endParaRPr>
          </a:p>
        </p:txBody>
      </p:sp>
      <p:sp>
        <p:nvSpPr>
          <p:cNvPr id="26" name="文本框 25">
            <a:extLst>
              <a:ext uri="{FF2B5EF4-FFF2-40B4-BE49-F238E27FC236}">
                <a16:creationId xmlns:a16="http://schemas.microsoft.com/office/drawing/2014/main" id="{4A6D254F-5D00-4EFF-9903-AF8DA3967332}"/>
              </a:ext>
            </a:extLst>
          </p:cNvPr>
          <p:cNvSpPr txBox="1"/>
          <p:nvPr/>
        </p:nvSpPr>
        <p:spPr>
          <a:xfrm>
            <a:off x="1071056" y="1469073"/>
            <a:ext cx="4172273" cy="369332"/>
          </a:xfrm>
          <a:prstGeom prst="rect">
            <a:avLst/>
          </a:prstGeom>
          <a:noFill/>
        </p:spPr>
        <p:txBody>
          <a:bodyPr wrap="square" t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tx1">
                    <a:lumMod val="75000"/>
                    <a:lumOff val="25000"/>
                  </a:schemeClr>
                </a:solidFill>
                <a:effectLst/>
                <a:uLnTx/>
                <a:uFillTx/>
                <a:cs typeface="+mn-ea"/>
                <a:sym typeface="+mn-lt"/>
              </a:rPr>
              <a:t>中文标题字体规范：</a:t>
            </a:r>
            <a:endParaRPr kumimoji="0" lang="zh-CN" altLang="en-US" sz="2400" b="1" strike="noStrike" kern="1200" cap="none" spc="0" normalizeH="0" noProof="0" dirty="0">
              <a:ln>
                <a:noFill/>
              </a:ln>
              <a:solidFill>
                <a:schemeClr val="tx1">
                  <a:lumMod val="75000"/>
                  <a:lumOff val="25000"/>
                </a:schemeClr>
              </a:solidFill>
              <a:effectLst/>
              <a:uLnTx/>
              <a:uFillTx/>
              <a:cs typeface="+mn-ea"/>
              <a:sym typeface="+mn-lt"/>
            </a:endParaRPr>
          </a:p>
        </p:txBody>
      </p:sp>
      <p:sp>
        <p:nvSpPr>
          <p:cNvPr id="28" name="文本框 27">
            <a:extLst>
              <a:ext uri="{FF2B5EF4-FFF2-40B4-BE49-F238E27FC236}">
                <a16:creationId xmlns:a16="http://schemas.microsoft.com/office/drawing/2014/main" id="{D22A64F8-84FF-4058-9861-771542912232}"/>
              </a:ext>
            </a:extLst>
          </p:cNvPr>
          <p:cNvSpPr txBox="1"/>
          <p:nvPr/>
        </p:nvSpPr>
        <p:spPr>
          <a:xfrm>
            <a:off x="7741613" y="4472976"/>
            <a:ext cx="3379328" cy="1356719"/>
          </a:xfrm>
          <a:prstGeom prst="rect">
            <a:avLst/>
          </a:prstGeom>
          <a:noFill/>
        </p:spPr>
        <p:txBody>
          <a:bodyPr wrap="square" tIns="0" bIns="0" rtlCol="0">
            <a:noAutofit/>
          </a:bodyPr>
          <a:lstStyle/>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建议使用</a:t>
            </a:r>
            <a:r>
              <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rPr>
              <a:t>Arial</a:t>
            </a: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必要时使用</a:t>
            </a:r>
            <a:r>
              <a:rPr kumimoji="0" lang="en-US" altLang="zh-CN" b="0" i="0" u="none" strike="noStrike" kern="1200" cap="none" spc="100" normalizeH="0" baseline="0" noProof="0" dirty="0">
                <a:ln>
                  <a:noFill/>
                </a:ln>
                <a:solidFill>
                  <a:schemeClr val="tx1">
                    <a:lumMod val="75000"/>
                    <a:lumOff val="25000"/>
                  </a:schemeClr>
                </a:solidFill>
                <a:effectLst/>
                <a:uLnTx/>
                <a:uFillTx/>
                <a:latin typeface="Impact" panose="020B0806030902050204" pitchFamily="34" charset="0"/>
                <a:cs typeface="+mn-ea"/>
                <a:sym typeface="+mn-lt"/>
              </a:rPr>
              <a:t>Impact</a:t>
            </a:r>
            <a:r>
              <a:rPr lang="zh-CN" altLang="en-US" spc="100" dirty="0">
                <a:solidFill>
                  <a:schemeClr val="tx1">
                    <a:lumMod val="75000"/>
                    <a:lumOff val="25000"/>
                  </a:schemeClr>
                </a:solidFill>
                <a:cs typeface="+mn-ea"/>
                <a:sym typeface="+mn-lt"/>
              </a:rPr>
              <a:t>强调</a:t>
            </a:r>
            <a:endPar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endParaRP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行距选择默认</a:t>
            </a:r>
            <a:endPar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endParaRP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字体间距默认</a:t>
            </a:r>
            <a:endPar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endParaRPr>
          </a:p>
        </p:txBody>
      </p:sp>
      <p:sp>
        <p:nvSpPr>
          <p:cNvPr id="29" name="文本框 28">
            <a:extLst>
              <a:ext uri="{FF2B5EF4-FFF2-40B4-BE49-F238E27FC236}">
                <a16:creationId xmlns:a16="http://schemas.microsoft.com/office/drawing/2014/main" id="{929048A8-7772-4AC4-BD75-066453EE6672}"/>
              </a:ext>
            </a:extLst>
          </p:cNvPr>
          <p:cNvSpPr txBox="1"/>
          <p:nvPr/>
        </p:nvSpPr>
        <p:spPr>
          <a:xfrm>
            <a:off x="7741611" y="4016459"/>
            <a:ext cx="3379328" cy="369332"/>
          </a:xfrm>
          <a:prstGeom prst="rect">
            <a:avLst/>
          </a:prstGeom>
          <a:noFill/>
        </p:spPr>
        <p:txBody>
          <a:bodyPr wrap="square" t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tx1">
                    <a:lumMod val="75000"/>
                    <a:lumOff val="25000"/>
                  </a:schemeClr>
                </a:solidFill>
                <a:effectLst/>
                <a:uLnTx/>
                <a:uFillTx/>
                <a:cs typeface="+mn-ea"/>
                <a:sym typeface="+mn-lt"/>
              </a:rPr>
              <a:t>西文正文字体规范：</a:t>
            </a:r>
          </a:p>
        </p:txBody>
      </p:sp>
      <p:sp>
        <p:nvSpPr>
          <p:cNvPr id="30" name="文本框 29">
            <a:extLst>
              <a:ext uri="{FF2B5EF4-FFF2-40B4-BE49-F238E27FC236}">
                <a16:creationId xmlns:a16="http://schemas.microsoft.com/office/drawing/2014/main" id="{91B52DA3-8564-4BEF-8B5F-C48D55D9F461}"/>
              </a:ext>
            </a:extLst>
          </p:cNvPr>
          <p:cNvSpPr txBox="1"/>
          <p:nvPr/>
        </p:nvSpPr>
        <p:spPr>
          <a:xfrm>
            <a:off x="7741611" y="1925590"/>
            <a:ext cx="3379328" cy="1356719"/>
          </a:xfrm>
          <a:prstGeom prst="rect">
            <a:avLst/>
          </a:prstGeom>
          <a:noFill/>
        </p:spPr>
        <p:txBody>
          <a:bodyPr wrap="square" tIns="0" bIns="0" rtlCol="0">
            <a:noAutofit/>
          </a:bodyPr>
          <a:lstStyle/>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建议使用</a:t>
            </a:r>
            <a:r>
              <a:rPr lang="en-US" altLang="zh-CN" spc="100" dirty="0">
                <a:solidFill>
                  <a:schemeClr val="tx1">
                    <a:lumMod val="75000"/>
                    <a:lumOff val="25000"/>
                  </a:schemeClr>
                </a:solidFill>
                <a:cs typeface="+mn-ea"/>
                <a:sym typeface="+mn-lt"/>
              </a:rPr>
              <a:t>Arial </a:t>
            </a: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行距选择默认</a:t>
            </a:r>
            <a:endPar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endParaRP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字体间距为默认</a:t>
            </a:r>
            <a:endParaRPr kumimoji="0" lang="en-US" altLang="zh-CN" b="0" i="0" u="none" strike="noStrike" kern="1200" cap="none" spc="100" normalizeH="0" baseline="0" noProof="0" dirty="0">
              <a:ln>
                <a:noFill/>
              </a:ln>
              <a:solidFill>
                <a:schemeClr val="tx1">
                  <a:lumMod val="75000"/>
                  <a:lumOff val="25000"/>
                </a:schemeClr>
              </a:solidFill>
              <a:effectLst/>
              <a:uLnTx/>
              <a:uFillTx/>
              <a:cs typeface="+mn-ea"/>
              <a:sym typeface="+mn-lt"/>
            </a:endParaRPr>
          </a:p>
          <a:p>
            <a:pPr marL="285750" marR="0" lvl="0" indent="-285750" algn="l" defTabSz="914400" rtl="0" eaLnBrk="1" fontAlgn="auto" latinLnBrk="0" hangingPunct="1">
              <a:spcAft>
                <a:spcPts val="600"/>
              </a:spcAft>
              <a:buClrTx/>
              <a:buSzTx/>
              <a:buFont typeface="Arial" panose="020B0604020202020204" pitchFamily="34" charset="0"/>
              <a:buChar char="•"/>
              <a:tabLst/>
              <a:defRPr/>
            </a:pPr>
            <a:r>
              <a:rPr kumimoji="0" lang="zh-CN" altLang="en-US" b="0" i="0" u="none" strike="noStrike" kern="1200" cap="none" spc="100" normalizeH="0" baseline="0" noProof="0" dirty="0">
                <a:ln>
                  <a:noFill/>
                </a:ln>
                <a:solidFill>
                  <a:schemeClr val="tx1">
                    <a:lumMod val="75000"/>
                    <a:lumOff val="25000"/>
                  </a:schemeClr>
                </a:solidFill>
                <a:effectLst/>
                <a:uLnTx/>
                <a:uFillTx/>
                <a:cs typeface="+mn-ea"/>
                <a:sym typeface="+mn-lt"/>
              </a:rPr>
              <a:t>加粗或加大，与正文区分</a:t>
            </a:r>
          </a:p>
        </p:txBody>
      </p:sp>
      <p:sp>
        <p:nvSpPr>
          <p:cNvPr id="31" name="文本框 30">
            <a:extLst>
              <a:ext uri="{FF2B5EF4-FFF2-40B4-BE49-F238E27FC236}">
                <a16:creationId xmlns:a16="http://schemas.microsoft.com/office/drawing/2014/main" id="{5A08D687-F483-41B9-BE66-459CA8633E0E}"/>
              </a:ext>
            </a:extLst>
          </p:cNvPr>
          <p:cNvSpPr txBox="1"/>
          <p:nvPr/>
        </p:nvSpPr>
        <p:spPr>
          <a:xfrm>
            <a:off x="7741611" y="1469073"/>
            <a:ext cx="3379328" cy="369332"/>
          </a:xfrm>
          <a:prstGeom prst="rect">
            <a:avLst/>
          </a:prstGeom>
          <a:noFill/>
        </p:spPr>
        <p:txBody>
          <a:bodyPr wrap="square" t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tx1">
                    <a:lumMod val="75000"/>
                    <a:lumOff val="25000"/>
                  </a:schemeClr>
                </a:solidFill>
                <a:effectLst/>
                <a:uLnTx/>
                <a:uFillTx/>
                <a:cs typeface="+mn-ea"/>
                <a:sym typeface="+mn-lt"/>
              </a:rPr>
              <a:t>西文标题字体规范：</a:t>
            </a:r>
          </a:p>
        </p:txBody>
      </p:sp>
      <p:sp>
        <p:nvSpPr>
          <p:cNvPr id="3" name="灯片编号占位符 2">
            <a:extLst>
              <a:ext uri="{FF2B5EF4-FFF2-40B4-BE49-F238E27FC236}">
                <a16:creationId xmlns:a16="http://schemas.microsoft.com/office/drawing/2014/main" id="{0C52DD6D-2474-4F9A-8E89-51BF60CFCF8C}"/>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77</a:t>
            </a:fld>
            <a:endParaRPr lang="en-US" dirty="0">
              <a:solidFill>
                <a:srgbClr val="000000">
                  <a:tint val="75000"/>
                </a:srgbClr>
              </a:solidFill>
              <a:cs typeface="+mn-ea"/>
              <a:sym typeface="+mn-lt"/>
            </a:endParaRPr>
          </a:p>
        </p:txBody>
      </p:sp>
    </p:spTree>
    <p:extLst>
      <p:ext uri="{BB962C8B-B14F-4D97-AF65-F5344CB8AC3E}">
        <p14:creationId xmlns:p14="http://schemas.microsoft.com/office/powerpoint/2010/main" val="12894939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2EDF1AB-F6EC-414F-BE0A-A39B31B0615D}"/>
              </a:ext>
            </a:extLst>
          </p:cNvPr>
          <p:cNvSpPr>
            <a:spLocks noGrp="1"/>
          </p:cNvSpPr>
          <p:nvPr>
            <p:ph type="title"/>
          </p:nvPr>
        </p:nvSpPr>
        <p:spPr/>
        <p:txBody>
          <a:bodyPr/>
          <a:lstStyle/>
          <a:p>
            <a:r>
              <a:rPr lang="zh-CN" altLang="en-US" dirty="0">
                <a:latin typeface="+mn-lt"/>
                <a:ea typeface="+mn-ea"/>
                <a:cs typeface="+mn-ea"/>
                <a:sym typeface="+mn-lt"/>
              </a:rPr>
              <a:t>图片来源</a:t>
            </a:r>
            <a:r>
              <a:rPr lang="en-US" altLang="zh-CN" dirty="0">
                <a:latin typeface="+mn-lt"/>
                <a:ea typeface="+mn-ea"/>
                <a:cs typeface="+mn-ea"/>
                <a:sym typeface="+mn-lt"/>
              </a:rPr>
              <a:t>1</a:t>
            </a:r>
            <a:r>
              <a:rPr lang="zh-CN" altLang="en-US" dirty="0">
                <a:latin typeface="+mn-lt"/>
                <a:ea typeface="+mn-ea"/>
                <a:cs typeface="+mn-ea"/>
                <a:sym typeface="+mn-lt"/>
              </a:rPr>
              <a:t>：上海大学研究生联合会</a:t>
            </a:r>
            <a:endParaRPr lang="en-US" dirty="0">
              <a:latin typeface="+mn-lt"/>
              <a:ea typeface="+mn-ea"/>
              <a:cs typeface="+mn-ea"/>
              <a:sym typeface="+mn-lt"/>
            </a:endParaRPr>
          </a:p>
        </p:txBody>
      </p:sp>
      <p:sp>
        <p:nvSpPr>
          <p:cNvPr id="3" name="文本框 2">
            <a:extLst>
              <a:ext uri="{FF2B5EF4-FFF2-40B4-BE49-F238E27FC236}">
                <a16:creationId xmlns:a16="http://schemas.microsoft.com/office/drawing/2014/main" id="{D2A27934-7F16-4F6E-B96E-CD3B45D244C5}"/>
              </a:ext>
            </a:extLst>
          </p:cNvPr>
          <p:cNvSpPr txBox="1"/>
          <p:nvPr/>
        </p:nvSpPr>
        <p:spPr>
          <a:xfrm>
            <a:off x="518810" y="5728605"/>
            <a:ext cx="11193766" cy="400733"/>
          </a:xfrm>
          <a:prstGeom prst="rect">
            <a:avLst/>
          </a:prstGeom>
          <a:noFill/>
        </p:spPr>
        <p:txBody>
          <a:bodyPr wrap="square" lIns="0" tIns="0" rIns="0" bIns="0" rtlCol="0" anchor="ctr">
            <a:noAutofit/>
          </a:bodyPr>
          <a:lstStyle/>
          <a:p>
            <a:r>
              <a:rPr lang="zh-CN" altLang="en-US" dirty="0">
                <a:solidFill>
                  <a:schemeClr val="tx1">
                    <a:lumMod val="75000"/>
                    <a:lumOff val="25000"/>
                  </a:schemeClr>
                </a:solidFill>
                <a:cs typeface="+mn-ea"/>
                <a:sym typeface="+mn-lt"/>
              </a:rPr>
              <a:t>感谢</a:t>
            </a:r>
            <a:r>
              <a:rPr lang="zh-CN" altLang="en-US" b="1" dirty="0">
                <a:solidFill>
                  <a:schemeClr val="tx1">
                    <a:lumMod val="75000"/>
                    <a:lumOff val="25000"/>
                  </a:schemeClr>
                </a:solidFill>
                <a:cs typeface="+mn-ea"/>
                <a:sym typeface="+mn-lt"/>
              </a:rPr>
              <a:t>上海大学研究生联合会</a:t>
            </a:r>
            <a:r>
              <a:rPr lang="zh-CN" altLang="en-US" dirty="0">
                <a:solidFill>
                  <a:schemeClr val="tx1">
                    <a:lumMod val="75000"/>
                    <a:lumOff val="25000"/>
                  </a:schemeClr>
                </a:solidFill>
                <a:cs typeface="+mn-ea"/>
                <a:sym typeface="+mn-lt"/>
              </a:rPr>
              <a:t>为本次设计提供高质量的校园图片素材，本套素材供学习使用，不可商用</a:t>
            </a:r>
          </a:p>
        </p:txBody>
      </p:sp>
      <p:pic>
        <p:nvPicPr>
          <p:cNvPr id="9" name="图片 8">
            <a:extLst>
              <a:ext uri="{FF2B5EF4-FFF2-40B4-BE49-F238E27FC236}">
                <a16:creationId xmlns:a16="http://schemas.microsoft.com/office/drawing/2014/main" id="{DE762FAE-12CA-444A-8A56-532E4CDFE48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25779" b="5995"/>
          <a:stretch/>
        </p:blipFill>
        <p:spPr>
          <a:xfrm>
            <a:off x="515938" y="3378688"/>
            <a:ext cx="5408451" cy="2075603"/>
          </a:xfrm>
          <a:prstGeom prst="rect">
            <a:avLst/>
          </a:prstGeom>
        </p:spPr>
      </p:pic>
      <p:pic>
        <p:nvPicPr>
          <p:cNvPr id="7" name="图片 6">
            <a:extLst>
              <a:ext uri="{FF2B5EF4-FFF2-40B4-BE49-F238E27FC236}">
                <a16:creationId xmlns:a16="http://schemas.microsoft.com/office/drawing/2014/main" id="{AA25C0BF-1C45-4582-B6B0-C379B18A028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1975" b="9799"/>
          <a:stretch/>
        </p:blipFill>
        <p:spPr>
          <a:xfrm>
            <a:off x="6304124" y="1213139"/>
            <a:ext cx="5408451" cy="2075603"/>
          </a:xfrm>
          <a:prstGeom prst="rect">
            <a:avLst/>
          </a:prstGeom>
        </p:spPr>
      </p:pic>
      <p:pic>
        <p:nvPicPr>
          <p:cNvPr id="5" name="图片 4">
            <a:extLst>
              <a:ext uri="{FF2B5EF4-FFF2-40B4-BE49-F238E27FC236}">
                <a16:creationId xmlns:a16="http://schemas.microsoft.com/office/drawing/2014/main" id="{A9198C3C-8994-449A-80E0-4275C0A7D1E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0065" b="11693"/>
          <a:stretch/>
        </p:blipFill>
        <p:spPr>
          <a:xfrm>
            <a:off x="515938" y="1213139"/>
            <a:ext cx="5407152" cy="2075603"/>
          </a:xfrm>
          <a:prstGeom prst="rect">
            <a:avLst/>
          </a:prstGeom>
        </p:spPr>
      </p:pic>
      <p:pic>
        <p:nvPicPr>
          <p:cNvPr id="11" name="图片 10">
            <a:extLst>
              <a:ext uri="{FF2B5EF4-FFF2-40B4-BE49-F238E27FC236}">
                <a16:creationId xmlns:a16="http://schemas.microsoft.com/office/drawing/2014/main" id="{378DDE10-D6DD-473B-8FF8-7CFC7F65EBB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22736" b="9039"/>
          <a:stretch/>
        </p:blipFill>
        <p:spPr>
          <a:xfrm>
            <a:off x="6304124" y="3378688"/>
            <a:ext cx="5408451" cy="2075603"/>
          </a:xfrm>
          <a:prstGeom prst="rect">
            <a:avLst/>
          </a:prstGeom>
        </p:spPr>
      </p:pic>
      <p:sp>
        <p:nvSpPr>
          <p:cNvPr id="4" name="灯片编号占位符 3">
            <a:extLst>
              <a:ext uri="{FF2B5EF4-FFF2-40B4-BE49-F238E27FC236}">
                <a16:creationId xmlns:a16="http://schemas.microsoft.com/office/drawing/2014/main" id="{51EF05E3-AB21-47FF-AE3A-75B12E43B61B}"/>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78</a:t>
            </a:fld>
            <a:endParaRPr lang="en-US" dirty="0">
              <a:solidFill>
                <a:srgbClr val="000000">
                  <a:tint val="75000"/>
                </a:srgbClr>
              </a:solidFill>
              <a:cs typeface="+mn-ea"/>
              <a:sym typeface="+mn-lt"/>
            </a:endParaRPr>
          </a:p>
        </p:txBody>
      </p:sp>
    </p:spTree>
    <p:extLst>
      <p:ext uri="{BB962C8B-B14F-4D97-AF65-F5344CB8AC3E}">
        <p14:creationId xmlns:p14="http://schemas.microsoft.com/office/powerpoint/2010/main" val="224233513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2498C9C-599A-40CF-AB3A-9461D8577048}"/>
              </a:ext>
            </a:extLst>
          </p:cNvPr>
          <p:cNvSpPr>
            <a:spLocks noGrp="1"/>
          </p:cNvSpPr>
          <p:nvPr>
            <p:ph type="title"/>
          </p:nvPr>
        </p:nvSpPr>
        <p:spPr/>
        <p:txBody>
          <a:bodyPr/>
          <a:lstStyle/>
          <a:p>
            <a:r>
              <a:rPr lang="zh-CN" altLang="en-US" dirty="0">
                <a:latin typeface="+mn-lt"/>
                <a:ea typeface="+mn-ea"/>
                <a:cs typeface="+mn-ea"/>
                <a:sym typeface="+mn-lt"/>
              </a:rPr>
              <a:t>图片来源</a:t>
            </a:r>
            <a:r>
              <a:rPr lang="en-US" altLang="zh-CN" dirty="0">
                <a:latin typeface="+mn-lt"/>
                <a:ea typeface="+mn-ea"/>
                <a:cs typeface="+mn-ea"/>
                <a:sym typeface="+mn-lt"/>
              </a:rPr>
              <a:t>2</a:t>
            </a:r>
            <a:r>
              <a:rPr lang="zh-CN" altLang="en-US" dirty="0">
                <a:latin typeface="+mn-lt"/>
                <a:ea typeface="+mn-ea"/>
                <a:cs typeface="+mn-ea"/>
                <a:sym typeface="+mn-lt"/>
              </a:rPr>
              <a:t>：模板作者林利蒙</a:t>
            </a:r>
            <a:endParaRPr lang="en-US" dirty="0">
              <a:latin typeface="+mn-lt"/>
              <a:ea typeface="+mn-ea"/>
              <a:cs typeface="+mn-ea"/>
              <a:sym typeface="+mn-lt"/>
            </a:endParaRPr>
          </a:p>
        </p:txBody>
      </p:sp>
      <p:sp>
        <p:nvSpPr>
          <p:cNvPr id="4" name="文本框 3">
            <a:extLst>
              <a:ext uri="{FF2B5EF4-FFF2-40B4-BE49-F238E27FC236}">
                <a16:creationId xmlns:a16="http://schemas.microsoft.com/office/drawing/2014/main" id="{9D79AD3D-2C8C-424E-B330-FCF33F552058}"/>
              </a:ext>
            </a:extLst>
          </p:cNvPr>
          <p:cNvSpPr txBox="1"/>
          <p:nvPr/>
        </p:nvSpPr>
        <p:spPr>
          <a:xfrm>
            <a:off x="518809" y="1213773"/>
            <a:ext cx="863182" cy="1034406"/>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2400" b="1">
                <a:cs typeface="+mn-ea"/>
                <a:sym typeface="+mn-lt"/>
              </a:rPr>
              <a:t>春</a:t>
            </a:r>
            <a:endParaRPr lang="en-US" sz="2400" b="1" dirty="0">
              <a:cs typeface="+mn-ea"/>
              <a:sym typeface="+mn-lt"/>
            </a:endParaRPr>
          </a:p>
        </p:txBody>
      </p:sp>
      <p:sp>
        <p:nvSpPr>
          <p:cNvPr id="5" name="文本框 4">
            <a:extLst>
              <a:ext uri="{FF2B5EF4-FFF2-40B4-BE49-F238E27FC236}">
                <a16:creationId xmlns:a16="http://schemas.microsoft.com/office/drawing/2014/main" id="{7B53D512-90FB-425E-B963-364481F3E9EF}"/>
              </a:ext>
            </a:extLst>
          </p:cNvPr>
          <p:cNvSpPr txBox="1"/>
          <p:nvPr/>
        </p:nvSpPr>
        <p:spPr>
          <a:xfrm>
            <a:off x="518809" y="2323698"/>
            <a:ext cx="863182" cy="1034406"/>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2400" b="1">
                <a:cs typeface="+mn-ea"/>
                <a:sym typeface="+mn-lt"/>
              </a:rPr>
              <a:t>夏</a:t>
            </a:r>
            <a:endParaRPr lang="en-US" sz="2400" b="1" dirty="0">
              <a:cs typeface="+mn-ea"/>
              <a:sym typeface="+mn-lt"/>
            </a:endParaRPr>
          </a:p>
        </p:txBody>
      </p:sp>
      <p:sp>
        <p:nvSpPr>
          <p:cNvPr id="6" name="文本框 5">
            <a:extLst>
              <a:ext uri="{FF2B5EF4-FFF2-40B4-BE49-F238E27FC236}">
                <a16:creationId xmlns:a16="http://schemas.microsoft.com/office/drawing/2014/main" id="{A85B2BCB-1408-42F7-BD00-CE78C7CAEB68}"/>
              </a:ext>
            </a:extLst>
          </p:cNvPr>
          <p:cNvSpPr txBox="1"/>
          <p:nvPr/>
        </p:nvSpPr>
        <p:spPr>
          <a:xfrm>
            <a:off x="518809" y="3433623"/>
            <a:ext cx="863182" cy="1034406"/>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2400" b="1">
                <a:cs typeface="+mn-ea"/>
                <a:sym typeface="+mn-lt"/>
              </a:rPr>
              <a:t>秋</a:t>
            </a:r>
            <a:endParaRPr lang="en-US" sz="2400" b="1" dirty="0">
              <a:cs typeface="+mn-ea"/>
              <a:sym typeface="+mn-lt"/>
            </a:endParaRPr>
          </a:p>
        </p:txBody>
      </p:sp>
      <p:sp>
        <p:nvSpPr>
          <p:cNvPr id="7" name="文本框 6">
            <a:extLst>
              <a:ext uri="{FF2B5EF4-FFF2-40B4-BE49-F238E27FC236}">
                <a16:creationId xmlns:a16="http://schemas.microsoft.com/office/drawing/2014/main" id="{907B8158-58F3-44A7-A726-F28C79275B9E}"/>
              </a:ext>
            </a:extLst>
          </p:cNvPr>
          <p:cNvSpPr txBox="1"/>
          <p:nvPr/>
        </p:nvSpPr>
        <p:spPr>
          <a:xfrm>
            <a:off x="518809" y="4543549"/>
            <a:ext cx="863182" cy="1034406"/>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2400" b="1">
                <a:cs typeface="+mn-ea"/>
                <a:sym typeface="+mn-lt"/>
              </a:rPr>
              <a:t>冬</a:t>
            </a:r>
            <a:endParaRPr lang="en-US" sz="2400" b="1" dirty="0">
              <a:cs typeface="+mn-ea"/>
              <a:sym typeface="+mn-lt"/>
            </a:endParaRPr>
          </a:p>
        </p:txBody>
      </p:sp>
      <p:pic>
        <p:nvPicPr>
          <p:cNvPr id="45" name="图片 44">
            <a:extLst>
              <a:ext uri="{FF2B5EF4-FFF2-40B4-BE49-F238E27FC236}">
                <a16:creationId xmlns:a16="http://schemas.microsoft.com/office/drawing/2014/main" id="{1F071C2B-109E-4F4A-A370-3DCDAC462C5A}"/>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521633" y="1213773"/>
            <a:ext cx="1551609" cy="1034406"/>
          </a:xfrm>
          <a:prstGeom prst="rect">
            <a:avLst/>
          </a:prstGeom>
          <a:ln>
            <a:solidFill>
              <a:schemeClr val="bg1">
                <a:lumMod val="85000"/>
              </a:schemeClr>
            </a:solidFill>
          </a:ln>
        </p:spPr>
      </p:pic>
      <p:pic>
        <p:nvPicPr>
          <p:cNvPr id="3" name="图片 2">
            <a:extLst>
              <a:ext uri="{FF2B5EF4-FFF2-40B4-BE49-F238E27FC236}">
                <a16:creationId xmlns:a16="http://schemas.microsoft.com/office/drawing/2014/main" id="{0F85C5C8-B056-4F31-9207-E937EA7F56BC}"/>
              </a:ext>
            </a:extLst>
          </p:cNvPr>
          <p:cNvPicPr preferRelativeResize="0">
            <a:picLocks/>
          </p:cNvPicPr>
          <p:nvPr/>
        </p:nvPicPr>
        <p:blipFill>
          <a:blip r:embed="rId3" cstate="screen">
            <a:extLst>
              <a:ext uri="{28A0092B-C50C-407E-A947-70E740481C1C}">
                <a14:useLocalDpi xmlns:a14="http://schemas.microsoft.com/office/drawing/2010/main"/>
              </a:ext>
            </a:extLst>
          </a:blip>
          <a:stretch>
            <a:fillRect/>
          </a:stretch>
        </p:blipFill>
        <p:spPr>
          <a:xfrm>
            <a:off x="3252172" y="1213773"/>
            <a:ext cx="1551609" cy="1034406"/>
          </a:xfrm>
          <a:prstGeom prst="rect">
            <a:avLst/>
          </a:prstGeom>
          <a:ln>
            <a:solidFill>
              <a:schemeClr val="bg1">
                <a:lumMod val="85000"/>
              </a:schemeClr>
            </a:solidFill>
          </a:ln>
        </p:spPr>
      </p:pic>
      <p:pic>
        <p:nvPicPr>
          <p:cNvPr id="47" name="图片 46">
            <a:extLst>
              <a:ext uri="{FF2B5EF4-FFF2-40B4-BE49-F238E27FC236}">
                <a16:creationId xmlns:a16="http://schemas.microsoft.com/office/drawing/2014/main" id="{7B1BBA5D-90A2-4A9E-AB3A-42F04DC06C70}"/>
              </a:ext>
            </a:extLst>
          </p:cNvPr>
          <p:cNvPicPr preferRelativeResize="0">
            <a:picLocks/>
          </p:cNvPicPr>
          <p:nvPr/>
        </p:nvPicPr>
        <p:blipFill>
          <a:blip r:embed="rId4" cstate="screen">
            <a:extLst>
              <a:ext uri="{28A0092B-C50C-407E-A947-70E740481C1C}">
                <a14:useLocalDpi xmlns:a14="http://schemas.microsoft.com/office/drawing/2010/main"/>
              </a:ext>
            </a:extLst>
          </a:blip>
          <a:stretch>
            <a:fillRect/>
          </a:stretch>
        </p:blipFill>
        <p:spPr>
          <a:xfrm>
            <a:off x="4982711" y="1213773"/>
            <a:ext cx="1551609" cy="1034406"/>
          </a:xfrm>
          <a:prstGeom prst="rect">
            <a:avLst/>
          </a:prstGeom>
          <a:ln>
            <a:solidFill>
              <a:schemeClr val="bg1">
                <a:lumMod val="85000"/>
              </a:schemeClr>
            </a:solidFill>
          </a:ln>
        </p:spPr>
      </p:pic>
      <p:pic>
        <p:nvPicPr>
          <p:cNvPr id="49" name="图片 48">
            <a:extLst>
              <a:ext uri="{FF2B5EF4-FFF2-40B4-BE49-F238E27FC236}">
                <a16:creationId xmlns:a16="http://schemas.microsoft.com/office/drawing/2014/main" id="{014C9404-BE6F-463C-A022-1D7166AB9A90}"/>
              </a:ext>
            </a:extLst>
          </p:cNvPr>
          <p:cNvPicPr preferRelativeResize="0">
            <a:picLocks/>
          </p:cNvPicPr>
          <p:nvPr/>
        </p:nvPicPr>
        <p:blipFill>
          <a:blip r:embed="rId5" cstate="screen">
            <a:extLst>
              <a:ext uri="{28A0092B-C50C-407E-A947-70E740481C1C}">
                <a14:useLocalDpi xmlns:a14="http://schemas.microsoft.com/office/drawing/2010/main"/>
              </a:ext>
            </a:extLst>
          </a:blip>
          <a:stretch>
            <a:fillRect/>
          </a:stretch>
        </p:blipFill>
        <p:spPr>
          <a:xfrm>
            <a:off x="6713250" y="1213773"/>
            <a:ext cx="1551609" cy="1034406"/>
          </a:xfrm>
          <a:prstGeom prst="rect">
            <a:avLst/>
          </a:prstGeom>
          <a:ln>
            <a:solidFill>
              <a:schemeClr val="bg1">
                <a:lumMod val="85000"/>
              </a:schemeClr>
            </a:solidFill>
          </a:ln>
        </p:spPr>
      </p:pic>
      <p:pic>
        <p:nvPicPr>
          <p:cNvPr id="51" name="图片 50">
            <a:extLst>
              <a:ext uri="{FF2B5EF4-FFF2-40B4-BE49-F238E27FC236}">
                <a16:creationId xmlns:a16="http://schemas.microsoft.com/office/drawing/2014/main" id="{5D8EB2FD-AEE0-4498-9917-91263BE805EE}"/>
              </a:ext>
            </a:extLst>
          </p:cNvPr>
          <p:cNvPicPr preferRelativeResize="0">
            <a:picLocks/>
          </p:cNvPicPr>
          <p:nvPr/>
        </p:nvPicPr>
        <p:blipFill>
          <a:blip r:embed="rId6" cstate="screen">
            <a:extLst>
              <a:ext uri="{28A0092B-C50C-407E-A947-70E740481C1C}">
                <a14:useLocalDpi xmlns:a14="http://schemas.microsoft.com/office/drawing/2010/main"/>
              </a:ext>
            </a:extLst>
          </a:blip>
          <a:stretch>
            <a:fillRect/>
          </a:stretch>
        </p:blipFill>
        <p:spPr>
          <a:xfrm>
            <a:off x="8443789" y="1213773"/>
            <a:ext cx="1551609" cy="1034406"/>
          </a:xfrm>
          <a:prstGeom prst="rect">
            <a:avLst/>
          </a:prstGeom>
          <a:ln>
            <a:solidFill>
              <a:schemeClr val="bg1">
                <a:lumMod val="85000"/>
              </a:schemeClr>
            </a:solidFill>
          </a:ln>
        </p:spPr>
      </p:pic>
      <p:pic>
        <p:nvPicPr>
          <p:cNvPr id="43" name="图片 42">
            <a:extLst>
              <a:ext uri="{FF2B5EF4-FFF2-40B4-BE49-F238E27FC236}">
                <a16:creationId xmlns:a16="http://schemas.microsoft.com/office/drawing/2014/main" id="{6F3CD323-0899-4117-B54E-2E6AEBBD9ACC}"/>
              </a:ext>
            </a:extLst>
          </p:cNvPr>
          <p:cNvPicPr preferRelativeResize="0">
            <a:picLocks/>
          </p:cNvPicPr>
          <p:nvPr/>
        </p:nvPicPr>
        <p:blipFill>
          <a:blip r:embed="rId7" cstate="screen">
            <a:extLst>
              <a:ext uri="{28A0092B-C50C-407E-A947-70E740481C1C}">
                <a14:useLocalDpi xmlns:a14="http://schemas.microsoft.com/office/drawing/2010/main"/>
              </a:ext>
            </a:extLst>
          </a:blip>
          <a:stretch>
            <a:fillRect/>
          </a:stretch>
        </p:blipFill>
        <p:spPr>
          <a:xfrm>
            <a:off x="10174329" y="1213773"/>
            <a:ext cx="1551609" cy="1034406"/>
          </a:xfrm>
          <a:prstGeom prst="rect">
            <a:avLst/>
          </a:prstGeom>
          <a:ln>
            <a:solidFill>
              <a:schemeClr val="bg1">
                <a:lumMod val="85000"/>
              </a:schemeClr>
            </a:solidFill>
          </a:ln>
        </p:spPr>
      </p:pic>
      <p:pic>
        <p:nvPicPr>
          <p:cNvPr id="106" name="图片 105">
            <a:extLst>
              <a:ext uri="{FF2B5EF4-FFF2-40B4-BE49-F238E27FC236}">
                <a16:creationId xmlns:a16="http://schemas.microsoft.com/office/drawing/2014/main" id="{1A5EA74A-7D29-4C72-9DAA-37D592814756}"/>
              </a:ext>
            </a:extLst>
          </p:cNvPr>
          <p:cNvPicPr preferRelativeResize="0">
            <a:picLocks/>
          </p:cNvPicPr>
          <p:nvPr/>
        </p:nvPicPr>
        <p:blipFill rotWithShape="1">
          <a:blip r:embed="rId8" cstate="screen">
            <a:extLst>
              <a:ext uri="{28A0092B-C50C-407E-A947-70E740481C1C}">
                <a14:useLocalDpi xmlns:a14="http://schemas.microsoft.com/office/drawing/2010/main"/>
              </a:ext>
            </a:extLst>
          </a:blip>
          <a:srcRect/>
          <a:stretch/>
        </p:blipFill>
        <p:spPr>
          <a:xfrm>
            <a:off x="1521633" y="2323698"/>
            <a:ext cx="1551609" cy="1034406"/>
          </a:xfrm>
          <a:prstGeom prst="rect">
            <a:avLst/>
          </a:prstGeom>
        </p:spPr>
      </p:pic>
      <p:pic>
        <p:nvPicPr>
          <p:cNvPr id="105" name="图片 104">
            <a:extLst>
              <a:ext uri="{FF2B5EF4-FFF2-40B4-BE49-F238E27FC236}">
                <a16:creationId xmlns:a16="http://schemas.microsoft.com/office/drawing/2014/main" id="{06A84911-7ABC-4BF1-9110-C113F4E23E7F}"/>
              </a:ext>
            </a:extLst>
          </p:cNvPr>
          <p:cNvPicPr preferRelativeResize="0">
            <a:picLocks/>
          </p:cNvPicPr>
          <p:nvPr/>
        </p:nvPicPr>
        <p:blipFill rotWithShape="1">
          <a:blip r:embed="rId9" cstate="screen">
            <a:extLst>
              <a:ext uri="{28A0092B-C50C-407E-A947-70E740481C1C}">
                <a14:useLocalDpi xmlns:a14="http://schemas.microsoft.com/office/drawing/2010/main"/>
              </a:ext>
            </a:extLst>
          </a:blip>
          <a:srcRect/>
          <a:stretch/>
        </p:blipFill>
        <p:spPr>
          <a:xfrm>
            <a:off x="3252172" y="2323698"/>
            <a:ext cx="1551609" cy="1034406"/>
          </a:xfrm>
          <a:prstGeom prst="rect">
            <a:avLst/>
          </a:prstGeom>
        </p:spPr>
      </p:pic>
      <p:pic>
        <p:nvPicPr>
          <p:cNvPr id="108" name="图片 107">
            <a:extLst>
              <a:ext uri="{FF2B5EF4-FFF2-40B4-BE49-F238E27FC236}">
                <a16:creationId xmlns:a16="http://schemas.microsoft.com/office/drawing/2014/main" id="{58D4B804-4047-44C6-A452-55EF880A6B36}"/>
              </a:ext>
            </a:extLst>
          </p:cNvPr>
          <p:cNvPicPr preferRelativeResize="0">
            <a:picLocks/>
          </p:cNvPicPr>
          <p:nvPr/>
        </p:nvPicPr>
        <p:blipFill rotWithShape="1">
          <a:blip r:embed="rId10" cstate="screen">
            <a:extLst>
              <a:ext uri="{28A0092B-C50C-407E-A947-70E740481C1C}">
                <a14:useLocalDpi xmlns:a14="http://schemas.microsoft.com/office/drawing/2010/main"/>
              </a:ext>
            </a:extLst>
          </a:blip>
          <a:srcRect/>
          <a:stretch/>
        </p:blipFill>
        <p:spPr>
          <a:xfrm>
            <a:off x="4982711" y="2323698"/>
            <a:ext cx="1551609" cy="1034406"/>
          </a:xfrm>
          <a:prstGeom prst="rect">
            <a:avLst/>
          </a:prstGeom>
        </p:spPr>
      </p:pic>
      <p:pic>
        <p:nvPicPr>
          <p:cNvPr id="61" name="图片 60">
            <a:extLst>
              <a:ext uri="{FF2B5EF4-FFF2-40B4-BE49-F238E27FC236}">
                <a16:creationId xmlns:a16="http://schemas.microsoft.com/office/drawing/2014/main" id="{90C6DF06-6294-42D1-95EE-21DA47564800}"/>
              </a:ext>
            </a:extLst>
          </p:cNvPr>
          <p:cNvPicPr preferRelativeResize="0">
            <a:picLocks/>
          </p:cNvPicPr>
          <p:nvPr/>
        </p:nvPicPr>
        <p:blipFill>
          <a:blip r:embed="rId11" cstate="screen">
            <a:extLst>
              <a:ext uri="{28A0092B-C50C-407E-A947-70E740481C1C}">
                <a14:useLocalDpi xmlns:a14="http://schemas.microsoft.com/office/drawing/2010/main"/>
              </a:ext>
            </a:extLst>
          </a:blip>
          <a:stretch>
            <a:fillRect/>
          </a:stretch>
        </p:blipFill>
        <p:spPr>
          <a:xfrm>
            <a:off x="6713250" y="2323698"/>
            <a:ext cx="1551609" cy="1034406"/>
          </a:xfrm>
          <a:prstGeom prst="rect">
            <a:avLst/>
          </a:prstGeom>
          <a:ln>
            <a:solidFill>
              <a:schemeClr val="bg1">
                <a:lumMod val="85000"/>
              </a:schemeClr>
            </a:solidFill>
          </a:ln>
        </p:spPr>
      </p:pic>
      <p:pic>
        <p:nvPicPr>
          <p:cNvPr id="77" name="图片 76">
            <a:extLst>
              <a:ext uri="{FF2B5EF4-FFF2-40B4-BE49-F238E27FC236}">
                <a16:creationId xmlns:a16="http://schemas.microsoft.com/office/drawing/2014/main" id="{768035CF-6980-4D9F-B584-D381C4D71409}"/>
              </a:ext>
            </a:extLst>
          </p:cNvPr>
          <p:cNvPicPr preferRelativeResize="0">
            <a:picLocks/>
          </p:cNvPicPr>
          <p:nvPr/>
        </p:nvPicPr>
        <p:blipFill>
          <a:blip r:embed="rId12" cstate="screen">
            <a:extLst>
              <a:ext uri="{28A0092B-C50C-407E-A947-70E740481C1C}">
                <a14:useLocalDpi xmlns:a14="http://schemas.microsoft.com/office/drawing/2010/main"/>
              </a:ext>
            </a:extLst>
          </a:blip>
          <a:stretch>
            <a:fillRect/>
          </a:stretch>
        </p:blipFill>
        <p:spPr>
          <a:xfrm>
            <a:off x="8443789" y="2323698"/>
            <a:ext cx="1551609" cy="1034406"/>
          </a:xfrm>
          <a:prstGeom prst="rect">
            <a:avLst/>
          </a:prstGeom>
        </p:spPr>
      </p:pic>
      <p:pic>
        <p:nvPicPr>
          <p:cNvPr id="63" name="图片 62">
            <a:extLst>
              <a:ext uri="{FF2B5EF4-FFF2-40B4-BE49-F238E27FC236}">
                <a16:creationId xmlns:a16="http://schemas.microsoft.com/office/drawing/2014/main" id="{9ECA5A15-DB97-405D-86E2-AC8AD2CDD94E}"/>
              </a:ext>
            </a:extLst>
          </p:cNvPr>
          <p:cNvPicPr preferRelativeResize="0">
            <a:picLocks/>
          </p:cNvPicPr>
          <p:nvPr/>
        </p:nvPicPr>
        <p:blipFill>
          <a:blip r:embed="rId13" cstate="screen">
            <a:extLst>
              <a:ext uri="{28A0092B-C50C-407E-A947-70E740481C1C}">
                <a14:useLocalDpi xmlns:a14="http://schemas.microsoft.com/office/drawing/2010/main"/>
              </a:ext>
            </a:extLst>
          </a:blip>
          <a:stretch>
            <a:fillRect/>
          </a:stretch>
        </p:blipFill>
        <p:spPr>
          <a:xfrm>
            <a:off x="10174329" y="2323698"/>
            <a:ext cx="1551609" cy="1034406"/>
          </a:xfrm>
          <a:prstGeom prst="rect">
            <a:avLst/>
          </a:prstGeom>
          <a:ln>
            <a:solidFill>
              <a:schemeClr val="bg1">
                <a:lumMod val="85000"/>
              </a:schemeClr>
            </a:solidFill>
          </a:ln>
        </p:spPr>
      </p:pic>
      <p:pic>
        <p:nvPicPr>
          <p:cNvPr id="71" name="图片 70">
            <a:extLst>
              <a:ext uri="{FF2B5EF4-FFF2-40B4-BE49-F238E27FC236}">
                <a16:creationId xmlns:a16="http://schemas.microsoft.com/office/drawing/2014/main" id="{E74ED49A-31C2-40AA-BD53-45BC38492325}"/>
              </a:ext>
            </a:extLst>
          </p:cNvPr>
          <p:cNvPicPr preferRelativeResize="0">
            <a:picLocks/>
          </p:cNvPicPr>
          <p:nvPr/>
        </p:nvPicPr>
        <p:blipFill>
          <a:blip r:embed="rId14" cstate="screen">
            <a:extLst>
              <a:ext uri="{28A0092B-C50C-407E-A947-70E740481C1C}">
                <a14:useLocalDpi xmlns:a14="http://schemas.microsoft.com/office/drawing/2010/main"/>
              </a:ext>
            </a:extLst>
          </a:blip>
          <a:stretch>
            <a:fillRect/>
          </a:stretch>
        </p:blipFill>
        <p:spPr>
          <a:xfrm>
            <a:off x="10174329" y="3433623"/>
            <a:ext cx="1551609" cy="1034406"/>
          </a:xfrm>
          <a:prstGeom prst="rect">
            <a:avLst/>
          </a:prstGeom>
        </p:spPr>
      </p:pic>
      <p:pic>
        <p:nvPicPr>
          <p:cNvPr id="104" name="图片 103">
            <a:extLst>
              <a:ext uri="{FF2B5EF4-FFF2-40B4-BE49-F238E27FC236}">
                <a16:creationId xmlns:a16="http://schemas.microsoft.com/office/drawing/2014/main" id="{B601EE28-B8E9-40BE-B927-E97AE6F899DA}"/>
              </a:ext>
            </a:extLst>
          </p:cNvPr>
          <p:cNvPicPr preferRelativeResize="0">
            <a:picLocks/>
          </p:cNvPicPr>
          <p:nvPr/>
        </p:nvPicPr>
        <p:blipFill>
          <a:blip r:embed="rId15" cstate="screen">
            <a:extLst>
              <a:ext uri="{28A0092B-C50C-407E-A947-70E740481C1C}">
                <a14:useLocalDpi xmlns:a14="http://schemas.microsoft.com/office/drawing/2010/main"/>
              </a:ext>
            </a:extLst>
          </a:blip>
          <a:stretch>
            <a:fillRect/>
          </a:stretch>
        </p:blipFill>
        <p:spPr>
          <a:xfrm>
            <a:off x="3252172" y="3433623"/>
            <a:ext cx="1551609" cy="1034406"/>
          </a:xfrm>
          <a:prstGeom prst="rect">
            <a:avLst/>
          </a:prstGeom>
        </p:spPr>
      </p:pic>
      <p:pic>
        <p:nvPicPr>
          <p:cNvPr id="75" name="图片 74">
            <a:extLst>
              <a:ext uri="{FF2B5EF4-FFF2-40B4-BE49-F238E27FC236}">
                <a16:creationId xmlns:a16="http://schemas.microsoft.com/office/drawing/2014/main" id="{300D4B5A-078E-4CE0-A02D-0C5623046F82}"/>
              </a:ext>
            </a:extLst>
          </p:cNvPr>
          <p:cNvPicPr preferRelativeResize="0">
            <a:picLocks/>
          </p:cNvPicPr>
          <p:nvPr/>
        </p:nvPicPr>
        <p:blipFill>
          <a:blip r:embed="rId16" cstate="screen">
            <a:extLst>
              <a:ext uri="{28A0092B-C50C-407E-A947-70E740481C1C}">
                <a14:useLocalDpi xmlns:a14="http://schemas.microsoft.com/office/drawing/2010/main"/>
              </a:ext>
            </a:extLst>
          </a:blip>
          <a:stretch>
            <a:fillRect/>
          </a:stretch>
        </p:blipFill>
        <p:spPr>
          <a:xfrm>
            <a:off x="4982711" y="3433623"/>
            <a:ext cx="1551609" cy="1034406"/>
          </a:xfrm>
          <a:prstGeom prst="rect">
            <a:avLst/>
          </a:prstGeom>
        </p:spPr>
      </p:pic>
      <p:pic>
        <p:nvPicPr>
          <p:cNvPr id="73" name="图片 72">
            <a:extLst>
              <a:ext uri="{FF2B5EF4-FFF2-40B4-BE49-F238E27FC236}">
                <a16:creationId xmlns:a16="http://schemas.microsoft.com/office/drawing/2014/main" id="{7B2ADB61-01DB-4B9B-A99F-5B0FD9C78B74}"/>
              </a:ext>
            </a:extLst>
          </p:cNvPr>
          <p:cNvPicPr preferRelativeResize="0">
            <a:picLocks/>
          </p:cNvPicPr>
          <p:nvPr/>
        </p:nvPicPr>
        <p:blipFill>
          <a:blip r:embed="rId17" cstate="screen">
            <a:extLst>
              <a:ext uri="{28A0092B-C50C-407E-A947-70E740481C1C}">
                <a14:useLocalDpi xmlns:a14="http://schemas.microsoft.com/office/drawing/2010/main"/>
              </a:ext>
            </a:extLst>
          </a:blip>
          <a:stretch>
            <a:fillRect/>
          </a:stretch>
        </p:blipFill>
        <p:spPr>
          <a:xfrm>
            <a:off x="6713250" y="3433623"/>
            <a:ext cx="1551609" cy="1034406"/>
          </a:xfrm>
          <a:prstGeom prst="rect">
            <a:avLst/>
          </a:prstGeom>
        </p:spPr>
      </p:pic>
      <p:pic>
        <p:nvPicPr>
          <p:cNvPr id="113" name="图片 112">
            <a:extLst>
              <a:ext uri="{FF2B5EF4-FFF2-40B4-BE49-F238E27FC236}">
                <a16:creationId xmlns:a16="http://schemas.microsoft.com/office/drawing/2014/main" id="{0442CECA-02E0-417B-8FD6-EA29882D3795}"/>
              </a:ext>
            </a:extLst>
          </p:cNvPr>
          <p:cNvPicPr preferRelativeResize="0">
            <a:picLocks/>
          </p:cNvPicPr>
          <p:nvPr/>
        </p:nvPicPr>
        <p:blipFill>
          <a:blip r:embed="rId18" cstate="screen">
            <a:extLst>
              <a:ext uri="{28A0092B-C50C-407E-A947-70E740481C1C}">
                <a14:useLocalDpi xmlns:a14="http://schemas.microsoft.com/office/drawing/2010/main"/>
              </a:ext>
            </a:extLst>
          </a:blip>
          <a:stretch>
            <a:fillRect/>
          </a:stretch>
        </p:blipFill>
        <p:spPr>
          <a:xfrm>
            <a:off x="8443789" y="3433623"/>
            <a:ext cx="1551609" cy="1034406"/>
          </a:xfrm>
          <a:prstGeom prst="rect">
            <a:avLst/>
          </a:prstGeom>
        </p:spPr>
      </p:pic>
      <p:pic>
        <p:nvPicPr>
          <p:cNvPr id="109" name="图片 108">
            <a:extLst>
              <a:ext uri="{FF2B5EF4-FFF2-40B4-BE49-F238E27FC236}">
                <a16:creationId xmlns:a16="http://schemas.microsoft.com/office/drawing/2014/main" id="{6F768F9A-D57B-4B42-A1E7-228FBB7D0B54}"/>
              </a:ext>
            </a:extLst>
          </p:cNvPr>
          <p:cNvPicPr preferRelativeResize="0">
            <a:picLocks/>
          </p:cNvPicPr>
          <p:nvPr/>
        </p:nvPicPr>
        <p:blipFill rotWithShape="1">
          <a:blip r:embed="rId19" cstate="screen">
            <a:extLst>
              <a:ext uri="{28A0092B-C50C-407E-A947-70E740481C1C}">
                <a14:useLocalDpi xmlns:a14="http://schemas.microsoft.com/office/drawing/2010/main"/>
              </a:ext>
            </a:extLst>
          </a:blip>
          <a:srcRect/>
          <a:stretch/>
        </p:blipFill>
        <p:spPr>
          <a:xfrm>
            <a:off x="1521633" y="3433623"/>
            <a:ext cx="1551609" cy="1034406"/>
          </a:xfrm>
          <a:prstGeom prst="rect">
            <a:avLst/>
          </a:prstGeom>
        </p:spPr>
      </p:pic>
      <p:pic>
        <p:nvPicPr>
          <p:cNvPr id="95" name="图片 94">
            <a:extLst>
              <a:ext uri="{FF2B5EF4-FFF2-40B4-BE49-F238E27FC236}">
                <a16:creationId xmlns:a16="http://schemas.microsoft.com/office/drawing/2014/main" id="{7CEC71A9-F9B6-4549-B1C0-CE8FDC84731A}"/>
              </a:ext>
            </a:extLst>
          </p:cNvPr>
          <p:cNvPicPr preferRelativeResize="0">
            <a:picLocks/>
          </p:cNvPicPr>
          <p:nvPr/>
        </p:nvPicPr>
        <p:blipFill>
          <a:blip r:embed="rId20" cstate="screen">
            <a:extLst>
              <a:ext uri="{28A0092B-C50C-407E-A947-70E740481C1C}">
                <a14:useLocalDpi xmlns:a14="http://schemas.microsoft.com/office/drawing/2010/main"/>
              </a:ext>
            </a:extLst>
          </a:blip>
          <a:stretch>
            <a:fillRect/>
          </a:stretch>
        </p:blipFill>
        <p:spPr>
          <a:xfrm>
            <a:off x="1521633" y="4543549"/>
            <a:ext cx="1551609" cy="1034406"/>
          </a:xfrm>
          <a:prstGeom prst="rect">
            <a:avLst/>
          </a:prstGeom>
        </p:spPr>
      </p:pic>
      <p:pic>
        <p:nvPicPr>
          <p:cNvPr id="93" name="图片 92">
            <a:extLst>
              <a:ext uri="{FF2B5EF4-FFF2-40B4-BE49-F238E27FC236}">
                <a16:creationId xmlns:a16="http://schemas.microsoft.com/office/drawing/2014/main" id="{DB32DB24-3F28-4D6F-A612-6ECD28563FF0}"/>
              </a:ext>
            </a:extLst>
          </p:cNvPr>
          <p:cNvPicPr preferRelativeResize="0">
            <a:picLocks/>
          </p:cNvPicPr>
          <p:nvPr/>
        </p:nvPicPr>
        <p:blipFill>
          <a:blip r:embed="rId21" cstate="screen">
            <a:extLst>
              <a:ext uri="{28A0092B-C50C-407E-A947-70E740481C1C}">
                <a14:useLocalDpi xmlns:a14="http://schemas.microsoft.com/office/drawing/2010/main"/>
              </a:ext>
            </a:extLst>
          </a:blip>
          <a:stretch>
            <a:fillRect/>
          </a:stretch>
        </p:blipFill>
        <p:spPr>
          <a:xfrm>
            <a:off x="3252172" y="4543549"/>
            <a:ext cx="1551609" cy="1034406"/>
          </a:xfrm>
          <a:prstGeom prst="rect">
            <a:avLst/>
          </a:prstGeom>
        </p:spPr>
      </p:pic>
      <p:pic>
        <p:nvPicPr>
          <p:cNvPr id="87" name="图片 86">
            <a:extLst>
              <a:ext uri="{FF2B5EF4-FFF2-40B4-BE49-F238E27FC236}">
                <a16:creationId xmlns:a16="http://schemas.microsoft.com/office/drawing/2014/main" id="{CDAE62D5-F61A-45B2-B40E-2DA60C34E0DB}"/>
              </a:ext>
            </a:extLst>
          </p:cNvPr>
          <p:cNvPicPr preferRelativeResize="0">
            <a:picLocks/>
          </p:cNvPicPr>
          <p:nvPr/>
        </p:nvPicPr>
        <p:blipFill>
          <a:blip r:embed="rId22" cstate="screen">
            <a:extLst>
              <a:ext uri="{28A0092B-C50C-407E-A947-70E740481C1C}">
                <a14:useLocalDpi xmlns:a14="http://schemas.microsoft.com/office/drawing/2010/main"/>
              </a:ext>
            </a:extLst>
          </a:blip>
          <a:stretch>
            <a:fillRect/>
          </a:stretch>
        </p:blipFill>
        <p:spPr>
          <a:xfrm>
            <a:off x="4982711" y="4543549"/>
            <a:ext cx="1551609" cy="1034406"/>
          </a:xfrm>
          <a:prstGeom prst="rect">
            <a:avLst/>
          </a:prstGeom>
        </p:spPr>
      </p:pic>
      <p:pic>
        <p:nvPicPr>
          <p:cNvPr id="111" name="图片 110">
            <a:extLst>
              <a:ext uri="{FF2B5EF4-FFF2-40B4-BE49-F238E27FC236}">
                <a16:creationId xmlns:a16="http://schemas.microsoft.com/office/drawing/2014/main" id="{3BF1D454-5357-498C-9541-A0575537EF4A}"/>
              </a:ext>
            </a:extLst>
          </p:cNvPr>
          <p:cNvPicPr preferRelativeResize="0">
            <a:picLocks/>
          </p:cNvPicPr>
          <p:nvPr/>
        </p:nvPicPr>
        <p:blipFill>
          <a:blip r:embed="rId23" cstate="screen">
            <a:extLst>
              <a:ext uri="{28A0092B-C50C-407E-A947-70E740481C1C}">
                <a14:useLocalDpi xmlns:a14="http://schemas.microsoft.com/office/drawing/2010/main"/>
              </a:ext>
            </a:extLst>
          </a:blip>
          <a:stretch>
            <a:fillRect/>
          </a:stretch>
        </p:blipFill>
        <p:spPr>
          <a:xfrm>
            <a:off x="6713250" y="4543549"/>
            <a:ext cx="1551609" cy="1034406"/>
          </a:xfrm>
          <a:prstGeom prst="rect">
            <a:avLst/>
          </a:prstGeom>
        </p:spPr>
      </p:pic>
      <p:pic>
        <p:nvPicPr>
          <p:cNvPr id="97" name="图片 96">
            <a:extLst>
              <a:ext uri="{FF2B5EF4-FFF2-40B4-BE49-F238E27FC236}">
                <a16:creationId xmlns:a16="http://schemas.microsoft.com/office/drawing/2014/main" id="{DA0EC95D-F385-404C-839E-2A2197A817FC}"/>
              </a:ext>
            </a:extLst>
          </p:cNvPr>
          <p:cNvPicPr preferRelativeResize="0">
            <a:picLocks/>
          </p:cNvPicPr>
          <p:nvPr/>
        </p:nvPicPr>
        <p:blipFill>
          <a:blip r:embed="rId24" cstate="screen">
            <a:extLst>
              <a:ext uri="{28A0092B-C50C-407E-A947-70E740481C1C}">
                <a14:useLocalDpi xmlns:a14="http://schemas.microsoft.com/office/drawing/2010/main"/>
              </a:ext>
            </a:extLst>
          </a:blip>
          <a:stretch>
            <a:fillRect/>
          </a:stretch>
        </p:blipFill>
        <p:spPr>
          <a:xfrm>
            <a:off x="8443789" y="4543549"/>
            <a:ext cx="1551609" cy="1034406"/>
          </a:xfrm>
          <a:prstGeom prst="rect">
            <a:avLst/>
          </a:prstGeom>
        </p:spPr>
      </p:pic>
      <p:pic>
        <p:nvPicPr>
          <p:cNvPr id="89" name="图片 88">
            <a:extLst>
              <a:ext uri="{FF2B5EF4-FFF2-40B4-BE49-F238E27FC236}">
                <a16:creationId xmlns:a16="http://schemas.microsoft.com/office/drawing/2014/main" id="{46923F62-31C6-4B9A-9A23-1A6AB82ECEC3}"/>
              </a:ext>
            </a:extLst>
          </p:cNvPr>
          <p:cNvPicPr preferRelativeResize="0">
            <a:picLocks/>
          </p:cNvPicPr>
          <p:nvPr/>
        </p:nvPicPr>
        <p:blipFill>
          <a:blip r:embed="rId25" cstate="screen">
            <a:extLst>
              <a:ext uri="{28A0092B-C50C-407E-A947-70E740481C1C}">
                <a14:useLocalDpi xmlns:a14="http://schemas.microsoft.com/office/drawing/2010/main"/>
              </a:ext>
            </a:extLst>
          </a:blip>
          <a:stretch>
            <a:fillRect/>
          </a:stretch>
        </p:blipFill>
        <p:spPr>
          <a:xfrm>
            <a:off x="10174329" y="4543549"/>
            <a:ext cx="1551609" cy="1034406"/>
          </a:xfrm>
          <a:prstGeom prst="rect">
            <a:avLst/>
          </a:prstGeom>
        </p:spPr>
      </p:pic>
      <p:sp>
        <p:nvSpPr>
          <p:cNvPr id="8" name="灯片编号占位符 7">
            <a:extLst>
              <a:ext uri="{FF2B5EF4-FFF2-40B4-BE49-F238E27FC236}">
                <a16:creationId xmlns:a16="http://schemas.microsoft.com/office/drawing/2014/main" id="{C2EBF0DE-D99B-4D0A-B3B4-6D517D5A6FF4}"/>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79</a:t>
            </a:fld>
            <a:endParaRPr lang="en-US" dirty="0">
              <a:solidFill>
                <a:srgbClr val="000000">
                  <a:tint val="75000"/>
                </a:srgbClr>
              </a:solidFill>
              <a:cs typeface="+mn-ea"/>
              <a:sym typeface="+mn-lt"/>
            </a:endParaRPr>
          </a:p>
        </p:txBody>
      </p:sp>
      <p:sp>
        <p:nvSpPr>
          <p:cNvPr id="34" name="文本框 33">
            <a:extLst>
              <a:ext uri="{FF2B5EF4-FFF2-40B4-BE49-F238E27FC236}">
                <a16:creationId xmlns:a16="http://schemas.microsoft.com/office/drawing/2014/main" id="{F2166B57-07D0-4420-BDB5-3ABF09C333F3}"/>
              </a:ext>
            </a:extLst>
          </p:cNvPr>
          <p:cNvSpPr txBox="1"/>
          <p:nvPr/>
        </p:nvSpPr>
        <p:spPr>
          <a:xfrm>
            <a:off x="518810" y="5728605"/>
            <a:ext cx="11193766" cy="400733"/>
          </a:xfrm>
          <a:prstGeom prst="rect">
            <a:avLst/>
          </a:prstGeom>
          <a:noFill/>
        </p:spPr>
        <p:txBody>
          <a:bodyPr wrap="square" lIns="0" tIns="0" rIns="0" bIns="0" rtlCol="0" anchor="ctr">
            <a:noAutofit/>
          </a:bodyPr>
          <a:lstStyle/>
          <a:p>
            <a:r>
              <a:rPr lang="zh-CN" altLang="en-US" dirty="0">
                <a:solidFill>
                  <a:schemeClr val="tx1">
                    <a:lumMod val="75000"/>
                    <a:lumOff val="25000"/>
                  </a:schemeClr>
                </a:solidFill>
                <a:cs typeface="+mn-ea"/>
                <a:sym typeface="+mn-lt"/>
              </a:rPr>
              <a:t>感谢</a:t>
            </a:r>
            <a:r>
              <a:rPr lang="zh-CN" altLang="en-US" b="1" dirty="0">
                <a:solidFill>
                  <a:schemeClr val="tx1">
                    <a:lumMod val="75000"/>
                    <a:lumOff val="25000"/>
                  </a:schemeClr>
                </a:solidFill>
                <a:cs typeface="+mn-ea"/>
                <a:sym typeface="+mn-lt"/>
              </a:rPr>
              <a:t>模板作者林利蒙</a:t>
            </a:r>
            <a:r>
              <a:rPr lang="zh-CN" altLang="en-US" dirty="0">
                <a:solidFill>
                  <a:schemeClr val="tx1">
                    <a:lumMod val="75000"/>
                    <a:lumOff val="25000"/>
                  </a:schemeClr>
                </a:solidFill>
                <a:cs typeface="+mn-ea"/>
                <a:sym typeface="+mn-lt"/>
              </a:rPr>
              <a:t>为本次设计提供高质量的校园图片素材，本套素材供学习使用，不可商用</a:t>
            </a:r>
          </a:p>
        </p:txBody>
      </p:sp>
    </p:spTree>
    <p:extLst>
      <p:ext uri="{BB962C8B-B14F-4D97-AF65-F5344CB8AC3E}">
        <p14:creationId xmlns:p14="http://schemas.microsoft.com/office/powerpoint/2010/main" val="1772186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76A213C-922C-482D-AA88-7EC244BCC133}"/>
              </a:ext>
            </a:extLst>
          </p:cNvPr>
          <p:cNvSpPr>
            <a:spLocks noGrp="1"/>
          </p:cNvSpPr>
          <p:nvPr>
            <p:ph type="ctrTitle"/>
          </p:nvPr>
        </p:nvSpPr>
        <p:spPr/>
        <p:txBody>
          <a:bodyPr/>
          <a:lstStyle/>
          <a:p>
            <a:pPr algn="dist"/>
            <a:r>
              <a:rPr lang="zh-CN" altLang="en-US" dirty="0">
                <a:sym typeface="+mn-lt"/>
              </a:rPr>
              <a:t>上海大学汇报答辩通用模板</a:t>
            </a:r>
            <a:endParaRPr lang="en-US" dirty="0">
              <a:sym typeface="+mn-lt"/>
            </a:endParaRPr>
          </a:p>
        </p:txBody>
      </p:sp>
      <p:sp>
        <p:nvSpPr>
          <p:cNvPr id="3" name="副标题 2">
            <a:extLst>
              <a:ext uri="{FF2B5EF4-FFF2-40B4-BE49-F238E27FC236}">
                <a16:creationId xmlns:a16="http://schemas.microsoft.com/office/drawing/2014/main" id="{BB456EBA-9EB3-4389-A034-3E16DC54C233}"/>
              </a:ext>
            </a:extLst>
          </p:cNvPr>
          <p:cNvSpPr>
            <a:spLocks noGrp="1"/>
          </p:cNvSpPr>
          <p:nvPr>
            <p:ph type="subTitle" idx="1"/>
          </p:nvPr>
        </p:nvSpPr>
        <p:spPr/>
        <p:txBody>
          <a:bodyPr/>
          <a:lstStyle/>
          <a:p>
            <a:r>
              <a:rPr lang="en-US" altLang="zh-CN" dirty="0">
                <a:sym typeface="+mn-lt"/>
              </a:rPr>
              <a:t>GENERAL REPORTING TEMPLATE FOR SHANGHAI UNIVERSITY</a:t>
            </a:r>
          </a:p>
        </p:txBody>
      </p:sp>
      <p:sp>
        <p:nvSpPr>
          <p:cNvPr id="5" name="内容占位符 4">
            <a:extLst>
              <a:ext uri="{FF2B5EF4-FFF2-40B4-BE49-F238E27FC236}">
                <a16:creationId xmlns:a16="http://schemas.microsoft.com/office/drawing/2014/main" id="{5645E4E6-CBC8-4D3A-A589-A0DDB609C018}"/>
              </a:ext>
            </a:extLst>
          </p:cNvPr>
          <p:cNvSpPr>
            <a:spLocks noGrp="1"/>
          </p:cNvSpPr>
          <p:nvPr>
            <p:ph sz="quarter" idx="12"/>
          </p:nvPr>
        </p:nvSpPr>
        <p:spPr/>
        <p:txBody>
          <a:bodyPr/>
          <a:lstStyle/>
          <a:p>
            <a:r>
              <a:rPr lang="zh-CN" altLang="en-US" dirty="0">
                <a:sym typeface="+mn-lt"/>
              </a:rPr>
              <a:t>答辩人：林利蒙</a:t>
            </a:r>
            <a:endParaRPr lang="en-US" altLang="zh-CN" dirty="0">
              <a:sym typeface="+mn-lt"/>
            </a:endParaRPr>
          </a:p>
        </p:txBody>
      </p:sp>
      <p:sp>
        <p:nvSpPr>
          <p:cNvPr id="4" name="内容占位符 3">
            <a:extLst>
              <a:ext uri="{FF2B5EF4-FFF2-40B4-BE49-F238E27FC236}">
                <a16:creationId xmlns:a16="http://schemas.microsoft.com/office/drawing/2014/main" id="{7FB2E5CF-52BC-4CA8-8C72-5708FE33E9F6}"/>
              </a:ext>
            </a:extLst>
          </p:cNvPr>
          <p:cNvSpPr>
            <a:spLocks noGrp="1"/>
          </p:cNvSpPr>
          <p:nvPr>
            <p:ph sz="quarter" idx="11"/>
          </p:nvPr>
        </p:nvSpPr>
        <p:spPr/>
        <p:txBody>
          <a:bodyPr/>
          <a:lstStyle/>
          <a:p>
            <a:r>
              <a:rPr lang="zh-CN" altLang="en-US" dirty="0">
                <a:sym typeface="+mn-lt"/>
              </a:rPr>
              <a:t>指导教师：林利蒙</a:t>
            </a:r>
            <a:endParaRPr lang="en-US" altLang="zh-CN" dirty="0">
              <a:sym typeface="+mn-lt"/>
            </a:endParaRPr>
          </a:p>
        </p:txBody>
      </p:sp>
      <p:grpSp>
        <p:nvGrpSpPr>
          <p:cNvPr id="6" name="组合 5">
            <a:extLst>
              <a:ext uri="{FF2B5EF4-FFF2-40B4-BE49-F238E27FC236}">
                <a16:creationId xmlns:a16="http://schemas.microsoft.com/office/drawing/2014/main" id="{E8341A83-9CD2-4CB1-9E11-BE2C6A51CDDF}"/>
              </a:ext>
            </a:extLst>
          </p:cNvPr>
          <p:cNvGrpSpPr/>
          <p:nvPr/>
        </p:nvGrpSpPr>
        <p:grpSpPr>
          <a:xfrm>
            <a:off x="0" y="6950133"/>
            <a:ext cx="676656" cy="602672"/>
            <a:chOff x="0" y="6950133"/>
            <a:chExt cx="676656" cy="602672"/>
          </a:xfrm>
        </p:grpSpPr>
        <p:sp>
          <p:nvSpPr>
            <p:cNvPr id="7" name="矩形 6">
              <a:extLst>
                <a:ext uri="{FF2B5EF4-FFF2-40B4-BE49-F238E27FC236}">
                  <a16:creationId xmlns:a16="http://schemas.microsoft.com/office/drawing/2014/main" id="{0ED6AFB8-ECC9-456D-B1E7-B5C617441758}"/>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8" name="组合 7">
              <a:extLst>
                <a:ext uri="{FF2B5EF4-FFF2-40B4-BE49-F238E27FC236}">
                  <a16:creationId xmlns:a16="http://schemas.microsoft.com/office/drawing/2014/main" id="{034E67BD-40BA-4916-AEFD-574479A9298E}"/>
                </a:ext>
              </a:extLst>
            </p:cNvPr>
            <p:cNvGrpSpPr/>
            <p:nvPr/>
          </p:nvGrpSpPr>
          <p:grpSpPr>
            <a:xfrm>
              <a:off x="47544" y="7038552"/>
              <a:ext cx="581568" cy="425834"/>
              <a:chOff x="84575" y="6977592"/>
              <a:chExt cx="581568" cy="425834"/>
            </a:xfrm>
          </p:grpSpPr>
          <p:grpSp>
            <p:nvGrpSpPr>
              <p:cNvPr id="9" name="组合 8">
                <a:extLst>
                  <a:ext uri="{FF2B5EF4-FFF2-40B4-BE49-F238E27FC236}">
                    <a16:creationId xmlns:a16="http://schemas.microsoft.com/office/drawing/2014/main" id="{4133D3AE-208D-43D7-BEA1-251B1A1BA058}"/>
                  </a:ext>
                </a:extLst>
              </p:cNvPr>
              <p:cNvGrpSpPr/>
              <p:nvPr/>
            </p:nvGrpSpPr>
            <p:grpSpPr>
              <a:xfrm>
                <a:off x="84575" y="6979654"/>
                <a:ext cx="317380" cy="421711"/>
                <a:chOff x="14690033" y="2185397"/>
                <a:chExt cx="583830" cy="775754"/>
              </a:xfrm>
            </p:grpSpPr>
            <p:sp>
              <p:nvSpPr>
                <p:cNvPr id="11" name="iŝļíḑe">
                  <a:extLst>
                    <a:ext uri="{FF2B5EF4-FFF2-40B4-BE49-F238E27FC236}">
                      <a16:creationId xmlns:a16="http://schemas.microsoft.com/office/drawing/2014/main" id="{E48A3236-EE13-4903-BBDE-44188E1FD9FE}"/>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şḷíḍé">
                  <a:extLst>
                    <a:ext uri="{FF2B5EF4-FFF2-40B4-BE49-F238E27FC236}">
                      <a16:creationId xmlns:a16="http://schemas.microsoft.com/office/drawing/2014/main" id="{4534CF7C-52DE-49E8-BD8A-8A318C2872B6}"/>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ľïḓe">
                  <a:extLst>
                    <a:ext uri="{FF2B5EF4-FFF2-40B4-BE49-F238E27FC236}">
                      <a16:creationId xmlns:a16="http://schemas.microsoft.com/office/drawing/2014/main" id="{ECCE6232-9C4F-4041-8E09-DB7F5E3AD8A2}"/>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ḻídê">
                  <a:extLst>
                    <a:ext uri="{FF2B5EF4-FFF2-40B4-BE49-F238E27FC236}">
                      <a16:creationId xmlns:a16="http://schemas.microsoft.com/office/drawing/2014/main" id="{DC825BEC-85A2-414B-B72C-486A2F7CC8B7}"/>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S1íḋè">
                  <a:extLst>
                    <a:ext uri="{FF2B5EF4-FFF2-40B4-BE49-F238E27FC236}">
                      <a16:creationId xmlns:a16="http://schemas.microsoft.com/office/drawing/2014/main" id="{27DDDB9E-5F84-4274-834F-987825207399}"/>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şļíde">
                  <a:extLst>
                    <a:ext uri="{FF2B5EF4-FFF2-40B4-BE49-F238E27FC236}">
                      <a16:creationId xmlns:a16="http://schemas.microsoft.com/office/drawing/2014/main" id="{C66B342E-5380-4C59-BD2B-E355A134B72D}"/>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 name="文本框 9">
                <a:extLst>
                  <a:ext uri="{FF2B5EF4-FFF2-40B4-BE49-F238E27FC236}">
                    <a16:creationId xmlns:a16="http://schemas.microsoft.com/office/drawing/2014/main" id="{FE68E442-E5B9-4959-9C9C-3D665FE7C0C4}"/>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a:extLst>
              <a:ext uri="{FF2B5EF4-FFF2-40B4-BE49-F238E27FC236}">
                <a16:creationId xmlns:a16="http://schemas.microsoft.com/office/drawing/2014/main" id="{D0679CC9-B6BD-49FD-ABD1-805E7D119C00}"/>
              </a:ext>
            </a:extLst>
          </p:cNvPr>
          <p:cNvSpPr/>
          <p:nvPr/>
        </p:nvSpPr>
        <p:spPr bwMode="auto">
          <a:xfrm>
            <a:off x="812015" y="6950133"/>
            <a:ext cx="3447981"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zh-CN" spc="100" dirty="0">
                <a:solidFill>
                  <a:schemeClr val="tx1">
                    <a:lumMod val="65000"/>
                    <a:lumOff val="35000"/>
                  </a:schemeClr>
                </a:solidFill>
              </a:rPr>
              <a:t>Ctrl + </a:t>
            </a:r>
            <a:r>
              <a:rPr lang="zh-CN" altLang="en-US" spc="100" dirty="0">
                <a:solidFill>
                  <a:schemeClr val="tx1">
                    <a:lumMod val="65000"/>
                    <a:lumOff val="35000"/>
                  </a:schemeClr>
                </a:solidFill>
              </a:rPr>
              <a:t>鼠标滚轮 </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放大缩小</a:t>
            </a:r>
          </a:p>
        </p:txBody>
      </p:sp>
      <p:sp>
        <p:nvSpPr>
          <p:cNvPr id="18" name="矩形 17">
            <a:extLst>
              <a:ext uri="{FF2B5EF4-FFF2-40B4-BE49-F238E27FC236}">
                <a16:creationId xmlns:a16="http://schemas.microsoft.com/office/drawing/2014/main" id="{3114DD05-C2B6-4B6A-AE54-9F3DB659FF83}"/>
              </a:ext>
            </a:extLst>
          </p:cNvPr>
          <p:cNvSpPr/>
          <p:nvPr/>
        </p:nvSpPr>
        <p:spPr bwMode="auto">
          <a:xfrm>
            <a:off x="4395355" y="6950133"/>
            <a:ext cx="7796644"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面类型</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165203420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03F637E2-BFD7-4ED2-A4DA-0003C267A5F1}"/>
              </a:ext>
            </a:extLst>
          </p:cNvPr>
          <p:cNvPicPr>
            <a:picLocks noChangeAspect="1"/>
          </p:cNvPicPr>
          <p:nvPr/>
        </p:nvPicPr>
        <p:blipFill rotWithShape="1">
          <a:blip r:embed="rId2">
            <a:extLst>
              <a:ext uri="{28A0092B-C50C-407E-A947-70E740481C1C}">
                <a14:useLocalDpi xmlns:a14="http://schemas.microsoft.com/office/drawing/2010/main" val="0"/>
              </a:ext>
            </a:extLst>
          </a:blip>
          <a:srcRect l="3445" r="3445"/>
          <a:stretch/>
        </p:blipFill>
        <p:spPr>
          <a:xfrm>
            <a:off x="0" y="3190"/>
            <a:ext cx="12192000" cy="6851620"/>
          </a:xfrm>
          <a:prstGeom prst="rect">
            <a:avLst/>
          </a:prstGeom>
        </p:spPr>
      </p:pic>
      <p:grpSp>
        <p:nvGrpSpPr>
          <p:cNvPr id="7" name="组合 6">
            <a:extLst>
              <a:ext uri="{FF2B5EF4-FFF2-40B4-BE49-F238E27FC236}">
                <a16:creationId xmlns:a16="http://schemas.microsoft.com/office/drawing/2014/main" id="{B29F5DAC-0F3B-426E-AAEF-BD6856F5E9DF}"/>
              </a:ext>
            </a:extLst>
          </p:cNvPr>
          <p:cNvGrpSpPr/>
          <p:nvPr/>
        </p:nvGrpSpPr>
        <p:grpSpPr>
          <a:xfrm>
            <a:off x="3823784" y="3429000"/>
            <a:ext cx="4544432" cy="0"/>
            <a:chOff x="3789494" y="3429000"/>
            <a:chExt cx="4544432" cy="0"/>
          </a:xfrm>
        </p:grpSpPr>
        <p:cxnSp>
          <p:nvCxnSpPr>
            <p:cNvPr id="9" name="直接连接符 8">
              <a:extLst>
                <a:ext uri="{FF2B5EF4-FFF2-40B4-BE49-F238E27FC236}">
                  <a16:creationId xmlns:a16="http://schemas.microsoft.com/office/drawing/2014/main" id="{D1DA20AC-D626-4433-BACF-BB21D47D1AA1}"/>
                </a:ext>
              </a:extLst>
            </p:cNvPr>
            <p:cNvCxnSpPr/>
            <p:nvPr/>
          </p:nvCxnSpPr>
          <p:spPr>
            <a:xfrm>
              <a:off x="3789494" y="3429000"/>
              <a:ext cx="44002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623AF33B-DE79-44D7-A8ED-A094947CFB93}"/>
                </a:ext>
              </a:extLst>
            </p:cNvPr>
            <p:cNvCxnSpPr/>
            <p:nvPr/>
          </p:nvCxnSpPr>
          <p:spPr>
            <a:xfrm>
              <a:off x="7893904" y="3429000"/>
              <a:ext cx="440022" cy="0"/>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14" name="组合 13">
            <a:extLst>
              <a:ext uri="{FF2B5EF4-FFF2-40B4-BE49-F238E27FC236}">
                <a16:creationId xmlns:a16="http://schemas.microsoft.com/office/drawing/2014/main" id="{7D0079A4-4AFE-4ABE-A886-FAAB66BC2B24}"/>
              </a:ext>
            </a:extLst>
          </p:cNvPr>
          <p:cNvGrpSpPr/>
          <p:nvPr/>
        </p:nvGrpSpPr>
        <p:grpSpPr>
          <a:xfrm>
            <a:off x="4502727" y="2439434"/>
            <a:ext cx="3186546" cy="1700206"/>
            <a:chOff x="4725433" y="2439434"/>
            <a:chExt cx="2741136" cy="1700206"/>
          </a:xfrm>
        </p:grpSpPr>
        <p:sp>
          <p:nvSpPr>
            <p:cNvPr id="15" name="文本框 14">
              <a:extLst>
                <a:ext uri="{FF2B5EF4-FFF2-40B4-BE49-F238E27FC236}">
                  <a16:creationId xmlns:a16="http://schemas.microsoft.com/office/drawing/2014/main" id="{A101A0BB-76C2-496F-983B-569FD140D585}"/>
                </a:ext>
              </a:extLst>
            </p:cNvPr>
            <p:cNvSpPr txBox="1"/>
            <p:nvPr/>
          </p:nvSpPr>
          <p:spPr>
            <a:xfrm>
              <a:off x="4725433" y="3090446"/>
              <a:ext cx="2741136" cy="677108"/>
            </a:xfrm>
            <a:prstGeom prst="rect">
              <a:avLst/>
            </a:prstGeom>
            <a:noFill/>
          </p:spPr>
          <p:txBody>
            <a:bodyPr wrap="square" lIns="0" tIns="0" rIns="0" bIns="0" rtlCol="0" anchor="ctr">
              <a:spAutoFit/>
            </a:bodyPr>
            <a:lstStyle/>
            <a:p>
              <a:pPr algn="dist"/>
              <a:r>
                <a:rPr lang="zh-CN" altLang="en-US" sz="4400" b="1" dirty="0">
                  <a:solidFill>
                    <a:schemeClr val="accent1"/>
                  </a:solidFill>
                  <a:cs typeface="+mn-ea"/>
                  <a:sym typeface="+mn-lt"/>
                </a:rPr>
                <a:t>资源分享</a:t>
              </a:r>
              <a:endParaRPr lang="en-US" sz="4400" b="1" dirty="0">
                <a:solidFill>
                  <a:schemeClr val="accent1"/>
                </a:solidFill>
                <a:cs typeface="+mn-ea"/>
                <a:sym typeface="+mn-lt"/>
              </a:endParaRPr>
            </a:p>
          </p:txBody>
        </p:sp>
        <p:sp>
          <p:nvSpPr>
            <p:cNvPr id="16" name="文本框 15">
              <a:extLst>
                <a:ext uri="{FF2B5EF4-FFF2-40B4-BE49-F238E27FC236}">
                  <a16:creationId xmlns:a16="http://schemas.microsoft.com/office/drawing/2014/main" id="{DEF7963F-2862-41CE-9CAB-DAE27B80A93E}"/>
                </a:ext>
              </a:extLst>
            </p:cNvPr>
            <p:cNvSpPr txBox="1"/>
            <p:nvPr/>
          </p:nvSpPr>
          <p:spPr>
            <a:xfrm>
              <a:off x="5931216" y="2439434"/>
              <a:ext cx="329566" cy="430887"/>
            </a:xfrm>
            <a:prstGeom prst="rect">
              <a:avLst/>
            </a:prstGeom>
            <a:noFill/>
          </p:spPr>
          <p:txBody>
            <a:bodyPr wrap="none" lIns="0" tIns="0" rIns="0" bIns="0" rtlCol="0" anchor="ctr">
              <a:spAutoFit/>
            </a:bodyPr>
            <a:lstStyle/>
            <a:p>
              <a:pPr algn="ctr"/>
              <a:r>
                <a:rPr lang="en-US" altLang="zh-CN" sz="2800" dirty="0">
                  <a:solidFill>
                    <a:schemeClr val="accent1"/>
                  </a:solidFill>
                  <a:latin typeface="Impact" panose="020B0806030902050204" pitchFamily="34" charset="0"/>
                  <a:cs typeface="+mn-ea"/>
                  <a:sym typeface="+mn-lt"/>
                </a:rPr>
                <a:t>03</a:t>
              </a:r>
              <a:endParaRPr lang="en-US" sz="2800" dirty="0">
                <a:solidFill>
                  <a:schemeClr val="accent1"/>
                </a:solidFill>
                <a:latin typeface="Impact" panose="020B0806030902050204" pitchFamily="34" charset="0"/>
                <a:cs typeface="+mn-ea"/>
                <a:sym typeface="+mn-lt"/>
              </a:endParaRPr>
            </a:p>
          </p:txBody>
        </p:sp>
        <p:sp>
          <p:nvSpPr>
            <p:cNvPr id="17" name="文本框 16">
              <a:extLst>
                <a:ext uri="{FF2B5EF4-FFF2-40B4-BE49-F238E27FC236}">
                  <a16:creationId xmlns:a16="http://schemas.microsoft.com/office/drawing/2014/main" id="{81462856-4A81-43EF-BC2D-859052B5A8C6}"/>
                </a:ext>
              </a:extLst>
            </p:cNvPr>
            <p:cNvSpPr txBox="1"/>
            <p:nvPr/>
          </p:nvSpPr>
          <p:spPr>
            <a:xfrm>
              <a:off x="4725433" y="3831863"/>
              <a:ext cx="2741136" cy="307777"/>
            </a:xfrm>
            <a:prstGeom prst="rect">
              <a:avLst/>
            </a:prstGeom>
            <a:noFill/>
          </p:spPr>
          <p:txBody>
            <a:bodyPr wrap="square" lIns="0" tIns="0" rIns="0" bIns="0" rtlCol="0" anchor="ctr">
              <a:spAutoFit/>
            </a:bodyPr>
            <a:lstStyle/>
            <a:p>
              <a:pPr algn="dist"/>
              <a:r>
                <a:rPr lang="en-US" altLang="zh-CN" sz="2000" dirty="0">
                  <a:solidFill>
                    <a:schemeClr val="bg1">
                      <a:lumMod val="65000"/>
                    </a:schemeClr>
                  </a:solidFill>
                  <a:cs typeface="+mn-ea"/>
                  <a:sym typeface="+mn-lt"/>
                </a:rPr>
                <a:t>Sharing Resources</a:t>
              </a:r>
              <a:endParaRPr lang="en-US" sz="2000" dirty="0">
                <a:solidFill>
                  <a:schemeClr val="bg1">
                    <a:lumMod val="65000"/>
                  </a:schemeClr>
                </a:solidFill>
                <a:cs typeface="+mn-ea"/>
                <a:sym typeface="+mn-lt"/>
              </a:endParaRPr>
            </a:p>
          </p:txBody>
        </p:sp>
      </p:grpSp>
      <p:sp>
        <p:nvSpPr>
          <p:cNvPr id="10" name="任意多边形: 形状 9">
            <a:extLst>
              <a:ext uri="{FF2B5EF4-FFF2-40B4-BE49-F238E27FC236}">
                <a16:creationId xmlns:a16="http://schemas.microsoft.com/office/drawing/2014/main" id="{97E93DD5-7D0B-45AF-A484-595A031321F1}"/>
              </a:ext>
            </a:extLst>
          </p:cNvPr>
          <p:cNvSpPr/>
          <p:nvPr/>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 name="任意多边形: 形状 10">
            <a:extLst>
              <a:ext uri="{FF2B5EF4-FFF2-40B4-BE49-F238E27FC236}">
                <a16:creationId xmlns:a16="http://schemas.microsoft.com/office/drawing/2014/main" id="{F81B8AE6-977E-4AC5-9479-0CFBB32DC4BD}"/>
              </a:ext>
            </a:extLst>
          </p:cNvPr>
          <p:cNvSpPr/>
          <p:nvPr/>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 fmla="*/ 0 w 550718"/>
              <a:gd name="connsiteY0" fmla="*/ 15239 h 766502"/>
              <a:gd name="connsiteX1" fmla="*/ 471574 w 550718"/>
              <a:gd name="connsiteY1" fmla="*/ 0 h 766502"/>
              <a:gd name="connsiteX2" fmla="*/ 550718 w 550718"/>
              <a:gd name="connsiteY2" fmla="*/ 15239 h 766502"/>
              <a:gd name="connsiteX3" fmla="*/ 550718 w 550718"/>
              <a:gd name="connsiteY3" fmla="*/ 49529 h 766502"/>
              <a:gd name="connsiteX4" fmla="*/ 550718 w 550718"/>
              <a:gd name="connsiteY4" fmla="*/ 112394 h 766502"/>
              <a:gd name="connsiteX5" fmla="*/ 550718 w 550718"/>
              <a:gd name="connsiteY5" fmla="*/ 766502 h 766502"/>
              <a:gd name="connsiteX6" fmla="*/ 332814 w 550718"/>
              <a:gd name="connsiteY6" fmla="*/ 766502 h 766502"/>
              <a:gd name="connsiteX7" fmla="*/ 275359 w 550718"/>
              <a:gd name="connsiteY7" fmla="*/ 654877 h 766502"/>
              <a:gd name="connsiteX8" fmla="*/ 217904 w 550718"/>
              <a:gd name="connsiteY8" fmla="*/ 766502 h 766502"/>
              <a:gd name="connsiteX9" fmla="*/ 0 w 550718"/>
              <a:gd name="connsiteY9" fmla="*/ 766502 h 766502"/>
              <a:gd name="connsiteX10" fmla="*/ 0 w 550718"/>
              <a:gd name="connsiteY10" fmla="*/ 112394 h 766502"/>
              <a:gd name="connsiteX11" fmla="*/ 0 w 550718"/>
              <a:gd name="connsiteY11" fmla="*/ 49529 h 766502"/>
              <a:gd name="connsiteX12" fmla="*/ 0 w 550718"/>
              <a:gd name="connsiteY12" fmla="*/ 15239 h 766502"/>
              <a:gd name="connsiteX0" fmla="*/ 471574 w 563014"/>
              <a:gd name="connsiteY0" fmla="*/ 0 h 766502"/>
              <a:gd name="connsiteX1" fmla="*/ 550718 w 563014"/>
              <a:gd name="connsiteY1" fmla="*/ 15239 h 766502"/>
              <a:gd name="connsiteX2" fmla="*/ 550718 w 563014"/>
              <a:gd name="connsiteY2" fmla="*/ 49529 h 766502"/>
              <a:gd name="connsiteX3" fmla="*/ 550718 w 563014"/>
              <a:gd name="connsiteY3" fmla="*/ 112394 h 766502"/>
              <a:gd name="connsiteX4" fmla="*/ 550718 w 563014"/>
              <a:gd name="connsiteY4" fmla="*/ 766502 h 766502"/>
              <a:gd name="connsiteX5" fmla="*/ 332814 w 563014"/>
              <a:gd name="connsiteY5" fmla="*/ 766502 h 766502"/>
              <a:gd name="connsiteX6" fmla="*/ 275359 w 563014"/>
              <a:gd name="connsiteY6" fmla="*/ 654877 h 766502"/>
              <a:gd name="connsiteX7" fmla="*/ 217904 w 563014"/>
              <a:gd name="connsiteY7" fmla="*/ 766502 h 766502"/>
              <a:gd name="connsiteX8" fmla="*/ 0 w 563014"/>
              <a:gd name="connsiteY8" fmla="*/ 766502 h 766502"/>
              <a:gd name="connsiteX9" fmla="*/ 0 w 563014"/>
              <a:gd name="connsiteY9" fmla="*/ 112394 h 766502"/>
              <a:gd name="connsiteX10" fmla="*/ 0 w 563014"/>
              <a:gd name="connsiteY10" fmla="*/ 49529 h 766502"/>
              <a:gd name="connsiteX11" fmla="*/ 0 w 563014"/>
              <a:gd name="connsiteY11" fmla="*/ 15239 h 766502"/>
              <a:gd name="connsiteX12" fmla="*/ 563014 w 563014"/>
              <a:gd name="connsiteY12" fmla="*/ 91440 h 766502"/>
              <a:gd name="connsiteX0" fmla="*/ 550718 w 563014"/>
              <a:gd name="connsiteY0" fmla="*/ 1132 h 752395"/>
              <a:gd name="connsiteX1" fmla="*/ 550718 w 563014"/>
              <a:gd name="connsiteY1" fmla="*/ 35422 h 752395"/>
              <a:gd name="connsiteX2" fmla="*/ 550718 w 563014"/>
              <a:gd name="connsiteY2" fmla="*/ 98287 h 752395"/>
              <a:gd name="connsiteX3" fmla="*/ 550718 w 563014"/>
              <a:gd name="connsiteY3" fmla="*/ 752395 h 752395"/>
              <a:gd name="connsiteX4" fmla="*/ 332814 w 563014"/>
              <a:gd name="connsiteY4" fmla="*/ 752395 h 752395"/>
              <a:gd name="connsiteX5" fmla="*/ 275359 w 563014"/>
              <a:gd name="connsiteY5" fmla="*/ 640770 h 752395"/>
              <a:gd name="connsiteX6" fmla="*/ 217904 w 563014"/>
              <a:gd name="connsiteY6" fmla="*/ 752395 h 752395"/>
              <a:gd name="connsiteX7" fmla="*/ 0 w 563014"/>
              <a:gd name="connsiteY7" fmla="*/ 752395 h 752395"/>
              <a:gd name="connsiteX8" fmla="*/ 0 w 563014"/>
              <a:gd name="connsiteY8" fmla="*/ 98287 h 752395"/>
              <a:gd name="connsiteX9" fmla="*/ 0 w 563014"/>
              <a:gd name="connsiteY9" fmla="*/ 35422 h 752395"/>
              <a:gd name="connsiteX10" fmla="*/ 0 w 563014"/>
              <a:gd name="connsiteY10" fmla="*/ 1132 h 752395"/>
              <a:gd name="connsiteX11" fmla="*/ 563014 w 563014"/>
              <a:gd name="connsiteY11" fmla="*/ 77333 h 752395"/>
              <a:gd name="connsiteX0" fmla="*/ 550718 w 550718"/>
              <a:gd name="connsiteY0" fmla="*/ 0 h 751263"/>
              <a:gd name="connsiteX1" fmla="*/ 550718 w 550718"/>
              <a:gd name="connsiteY1" fmla="*/ 34290 h 751263"/>
              <a:gd name="connsiteX2" fmla="*/ 550718 w 550718"/>
              <a:gd name="connsiteY2" fmla="*/ 97155 h 751263"/>
              <a:gd name="connsiteX3" fmla="*/ 550718 w 550718"/>
              <a:gd name="connsiteY3" fmla="*/ 751263 h 751263"/>
              <a:gd name="connsiteX4" fmla="*/ 332814 w 550718"/>
              <a:gd name="connsiteY4" fmla="*/ 751263 h 751263"/>
              <a:gd name="connsiteX5" fmla="*/ 275359 w 550718"/>
              <a:gd name="connsiteY5" fmla="*/ 639638 h 751263"/>
              <a:gd name="connsiteX6" fmla="*/ 217904 w 550718"/>
              <a:gd name="connsiteY6" fmla="*/ 751263 h 751263"/>
              <a:gd name="connsiteX7" fmla="*/ 0 w 550718"/>
              <a:gd name="connsiteY7" fmla="*/ 751263 h 751263"/>
              <a:gd name="connsiteX8" fmla="*/ 0 w 550718"/>
              <a:gd name="connsiteY8" fmla="*/ 97155 h 751263"/>
              <a:gd name="connsiteX9" fmla="*/ 0 w 550718"/>
              <a:gd name="connsiteY9" fmla="*/ 34290 h 751263"/>
              <a:gd name="connsiteX10" fmla="*/ 0 w 550718"/>
              <a:gd name="connsiteY10" fmla="*/ 0 h 75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Tree>
    <p:extLst>
      <p:ext uri="{BB962C8B-B14F-4D97-AF65-F5344CB8AC3E}">
        <p14:creationId xmlns:p14="http://schemas.microsoft.com/office/powerpoint/2010/main" val="196901992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3BFB6AB-286B-4F71-BA69-E87D2AB859FA}"/>
              </a:ext>
            </a:extLst>
          </p:cNvPr>
          <p:cNvSpPr>
            <a:spLocks noGrp="1"/>
          </p:cNvSpPr>
          <p:nvPr>
            <p:ph type="title"/>
          </p:nvPr>
        </p:nvSpPr>
        <p:spPr/>
        <p:txBody>
          <a:bodyPr/>
          <a:lstStyle/>
          <a:p>
            <a:r>
              <a:rPr lang="zh-CN" altLang="en-US" dirty="0">
                <a:latin typeface="+mn-lt"/>
                <a:ea typeface="+mn-ea"/>
                <a:cs typeface="+mn-ea"/>
                <a:sym typeface="+mn-lt"/>
              </a:rPr>
              <a:t>学术类图标素材分享（彩色版）</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DBDE7EE4-96C2-4BEA-8140-28C381FD8058}"/>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81</a:t>
            </a:fld>
            <a:endParaRPr lang="en-US" dirty="0">
              <a:solidFill>
                <a:srgbClr val="000000">
                  <a:tint val="75000"/>
                </a:srgbClr>
              </a:solidFill>
              <a:cs typeface="+mn-ea"/>
              <a:sym typeface="+mn-lt"/>
            </a:endParaRPr>
          </a:p>
        </p:txBody>
      </p:sp>
      <p:grpSp>
        <p:nvGrpSpPr>
          <p:cNvPr id="4" name="组合 3">
            <a:extLst>
              <a:ext uri="{FF2B5EF4-FFF2-40B4-BE49-F238E27FC236}">
                <a16:creationId xmlns:a16="http://schemas.microsoft.com/office/drawing/2014/main" id="{746A9DA0-9AB6-43EC-A9DF-49463560175F}"/>
              </a:ext>
            </a:extLst>
          </p:cNvPr>
          <p:cNvGrpSpPr/>
          <p:nvPr/>
        </p:nvGrpSpPr>
        <p:grpSpPr>
          <a:xfrm>
            <a:off x="529546" y="1196975"/>
            <a:ext cx="11132909" cy="4932363"/>
            <a:chOff x="1075892" y="1402557"/>
            <a:chExt cx="10040217" cy="4448253"/>
          </a:xfrm>
        </p:grpSpPr>
        <p:grpSp>
          <p:nvGrpSpPr>
            <p:cNvPr id="5" name="组合 4">
              <a:extLst>
                <a:ext uri="{FF2B5EF4-FFF2-40B4-BE49-F238E27FC236}">
                  <a16:creationId xmlns:a16="http://schemas.microsoft.com/office/drawing/2014/main" id="{1141216D-81F1-4563-915C-2014991026F7}"/>
                </a:ext>
              </a:extLst>
            </p:cNvPr>
            <p:cNvGrpSpPr/>
            <p:nvPr/>
          </p:nvGrpSpPr>
          <p:grpSpPr>
            <a:xfrm>
              <a:off x="1075892" y="1402557"/>
              <a:ext cx="888420" cy="887512"/>
              <a:chOff x="2527300" y="3495675"/>
              <a:chExt cx="1554163" cy="1552575"/>
            </a:xfrm>
          </p:grpSpPr>
          <p:sp>
            <p:nvSpPr>
              <p:cNvPr id="548" name="Oval 5">
                <a:extLst>
                  <a:ext uri="{FF2B5EF4-FFF2-40B4-BE49-F238E27FC236}">
                    <a16:creationId xmlns:a16="http://schemas.microsoft.com/office/drawing/2014/main" id="{5626B2F1-8779-4CC3-ABB1-59F66B776CF8}"/>
                  </a:ext>
                </a:extLst>
              </p:cNvPr>
              <p:cNvSpPr>
                <a:spLocks noChangeArrowheads="1"/>
              </p:cNvSpPr>
              <p:nvPr/>
            </p:nvSpPr>
            <p:spPr bwMode="auto">
              <a:xfrm>
                <a:off x="2527300" y="3495675"/>
                <a:ext cx="1554163" cy="1552575"/>
              </a:xfrm>
              <a:prstGeom prst="ellipse">
                <a:avLst/>
              </a:pr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9" name="Freeform 6">
                <a:extLst>
                  <a:ext uri="{FF2B5EF4-FFF2-40B4-BE49-F238E27FC236}">
                    <a16:creationId xmlns:a16="http://schemas.microsoft.com/office/drawing/2014/main" id="{A82A6B1A-D9C2-40B4-8A93-094851B031FC}"/>
                  </a:ext>
                </a:extLst>
              </p:cNvPr>
              <p:cNvSpPr>
                <a:spLocks/>
              </p:cNvSpPr>
              <p:nvPr/>
            </p:nvSpPr>
            <p:spPr bwMode="auto">
              <a:xfrm>
                <a:off x="2922588" y="4470400"/>
                <a:ext cx="373063" cy="290513"/>
              </a:xfrm>
              <a:custGeom>
                <a:avLst/>
                <a:gdLst>
                  <a:gd name="T0" fmla="*/ 0 w 235"/>
                  <a:gd name="T1" fmla="*/ 0 h 183"/>
                  <a:gd name="T2" fmla="*/ 34 w 235"/>
                  <a:gd name="T3" fmla="*/ 183 h 183"/>
                  <a:gd name="T4" fmla="*/ 235 w 235"/>
                  <a:gd name="T5" fmla="*/ 89 h 183"/>
                  <a:gd name="T6" fmla="*/ 0 w 235"/>
                  <a:gd name="T7" fmla="*/ 0 h 183"/>
                </a:gdLst>
                <a:ahLst/>
                <a:cxnLst>
                  <a:cxn ang="0">
                    <a:pos x="T0" y="T1"/>
                  </a:cxn>
                  <a:cxn ang="0">
                    <a:pos x="T2" y="T3"/>
                  </a:cxn>
                  <a:cxn ang="0">
                    <a:pos x="T4" y="T5"/>
                  </a:cxn>
                  <a:cxn ang="0">
                    <a:pos x="T6" y="T7"/>
                  </a:cxn>
                </a:cxnLst>
                <a:rect l="0" t="0" r="r" b="b"/>
                <a:pathLst>
                  <a:path w="235" h="183">
                    <a:moveTo>
                      <a:pt x="0" y="0"/>
                    </a:moveTo>
                    <a:lnTo>
                      <a:pt x="34" y="183"/>
                    </a:lnTo>
                    <a:lnTo>
                      <a:pt x="235" y="89"/>
                    </a:lnTo>
                    <a:lnTo>
                      <a:pt x="0" y="0"/>
                    </a:lnTo>
                    <a:close/>
                  </a:path>
                </a:pathLst>
              </a:custGeom>
              <a:solidFill>
                <a:srgbClr val="8FAA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50" name="Freeform 7">
                <a:extLst>
                  <a:ext uri="{FF2B5EF4-FFF2-40B4-BE49-F238E27FC236}">
                    <a16:creationId xmlns:a16="http://schemas.microsoft.com/office/drawing/2014/main" id="{9A951131-09FD-414F-AC07-6F171DE5B799}"/>
                  </a:ext>
                </a:extLst>
              </p:cNvPr>
              <p:cNvSpPr>
                <a:spLocks/>
              </p:cNvSpPr>
              <p:nvPr/>
            </p:nvSpPr>
            <p:spPr bwMode="auto">
              <a:xfrm>
                <a:off x="2663825" y="3883025"/>
                <a:ext cx="1200150" cy="868363"/>
              </a:xfrm>
              <a:custGeom>
                <a:avLst/>
                <a:gdLst>
                  <a:gd name="T0" fmla="*/ 0 w 756"/>
                  <a:gd name="T1" fmla="*/ 287 h 547"/>
                  <a:gd name="T2" fmla="*/ 511 w 756"/>
                  <a:gd name="T3" fmla="*/ 547 h 547"/>
                  <a:gd name="T4" fmla="*/ 756 w 756"/>
                  <a:gd name="T5" fmla="*/ 0 h 547"/>
                  <a:gd name="T6" fmla="*/ 0 w 756"/>
                  <a:gd name="T7" fmla="*/ 287 h 547"/>
                </a:gdLst>
                <a:ahLst/>
                <a:cxnLst>
                  <a:cxn ang="0">
                    <a:pos x="T0" y="T1"/>
                  </a:cxn>
                  <a:cxn ang="0">
                    <a:pos x="T2" y="T3"/>
                  </a:cxn>
                  <a:cxn ang="0">
                    <a:pos x="T4" y="T5"/>
                  </a:cxn>
                  <a:cxn ang="0">
                    <a:pos x="T6" y="T7"/>
                  </a:cxn>
                </a:cxnLst>
                <a:rect l="0" t="0" r="r" b="b"/>
                <a:pathLst>
                  <a:path w="756" h="547">
                    <a:moveTo>
                      <a:pt x="0" y="287"/>
                    </a:moveTo>
                    <a:lnTo>
                      <a:pt x="511" y="547"/>
                    </a:lnTo>
                    <a:lnTo>
                      <a:pt x="756" y="0"/>
                    </a:lnTo>
                    <a:lnTo>
                      <a:pt x="0" y="287"/>
                    </a:lnTo>
                    <a:close/>
                  </a:path>
                </a:pathLst>
              </a:custGeom>
              <a:solidFill>
                <a:srgbClr val="DD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51" name="Freeform 8">
                <a:extLst>
                  <a:ext uri="{FF2B5EF4-FFF2-40B4-BE49-F238E27FC236}">
                    <a16:creationId xmlns:a16="http://schemas.microsoft.com/office/drawing/2014/main" id="{42D16CEA-44F2-45B8-AA07-AA4FB4B84A5D}"/>
                  </a:ext>
                </a:extLst>
              </p:cNvPr>
              <p:cNvSpPr>
                <a:spLocks/>
              </p:cNvSpPr>
              <p:nvPr/>
            </p:nvSpPr>
            <p:spPr bwMode="auto">
              <a:xfrm>
                <a:off x="2919413" y="3883025"/>
                <a:ext cx="944563" cy="723900"/>
              </a:xfrm>
              <a:custGeom>
                <a:avLst/>
                <a:gdLst>
                  <a:gd name="T0" fmla="*/ 0 w 595"/>
                  <a:gd name="T1" fmla="*/ 370 h 456"/>
                  <a:gd name="T2" fmla="*/ 171 w 595"/>
                  <a:gd name="T3" fmla="*/ 456 h 456"/>
                  <a:gd name="T4" fmla="*/ 595 w 595"/>
                  <a:gd name="T5" fmla="*/ 0 h 456"/>
                  <a:gd name="T6" fmla="*/ 0 w 595"/>
                  <a:gd name="T7" fmla="*/ 370 h 456"/>
                </a:gdLst>
                <a:ahLst/>
                <a:cxnLst>
                  <a:cxn ang="0">
                    <a:pos x="T0" y="T1"/>
                  </a:cxn>
                  <a:cxn ang="0">
                    <a:pos x="T2" y="T3"/>
                  </a:cxn>
                  <a:cxn ang="0">
                    <a:pos x="T4" y="T5"/>
                  </a:cxn>
                  <a:cxn ang="0">
                    <a:pos x="T6" y="T7"/>
                  </a:cxn>
                </a:cxnLst>
                <a:rect l="0" t="0" r="r" b="b"/>
                <a:pathLst>
                  <a:path w="595" h="456">
                    <a:moveTo>
                      <a:pt x="0" y="370"/>
                    </a:moveTo>
                    <a:lnTo>
                      <a:pt x="171" y="456"/>
                    </a:lnTo>
                    <a:lnTo>
                      <a:pt x="595" y="0"/>
                    </a:lnTo>
                    <a:lnTo>
                      <a:pt x="0" y="370"/>
                    </a:lnTo>
                    <a:close/>
                  </a:path>
                </a:pathLst>
              </a:custGeom>
              <a:solidFill>
                <a:srgbClr val="B4D3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52" name="Freeform 9">
                <a:extLst>
                  <a:ext uri="{FF2B5EF4-FFF2-40B4-BE49-F238E27FC236}">
                    <a16:creationId xmlns:a16="http://schemas.microsoft.com/office/drawing/2014/main" id="{95098CB9-B64B-4165-8A3D-79B736BD2F9D}"/>
                  </a:ext>
                </a:extLst>
              </p:cNvPr>
              <p:cNvSpPr>
                <a:spLocks/>
              </p:cNvSpPr>
              <p:nvPr/>
            </p:nvSpPr>
            <p:spPr bwMode="auto">
              <a:xfrm>
                <a:off x="2919413" y="4470400"/>
                <a:ext cx="271463" cy="290513"/>
              </a:xfrm>
              <a:custGeom>
                <a:avLst/>
                <a:gdLst>
                  <a:gd name="T0" fmla="*/ 0 w 171"/>
                  <a:gd name="T1" fmla="*/ 0 h 183"/>
                  <a:gd name="T2" fmla="*/ 36 w 171"/>
                  <a:gd name="T3" fmla="*/ 183 h 183"/>
                  <a:gd name="T4" fmla="*/ 171 w 171"/>
                  <a:gd name="T5" fmla="*/ 86 h 183"/>
                  <a:gd name="T6" fmla="*/ 0 w 171"/>
                  <a:gd name="T7" fmla="*/ 0 h 183"/>
                </a:gdLst>
                <a:ahLst/>
                <a:cxnLst>
                  <a:cxn ang="0">
                    <a:pos x="T0" y="T1"/>
                  </a:cxn>
                  <a:cxn ang="0">
                    <a:pos x="T2" y="T3"/>
                  </a:cxn>
                  <a:cxn ang="0">
                    <a:pos x="T4" y="T5"/>
                  </a:cxn>
                  <a:cxn ang="0">
                    <a:pos x="T6" y="T7"/>
                  </a:cxn>
                </a:cxnLst>
                <a:rect l="0" t="0" r="r" b="b"/>
                <a:pathLst>
                  <a:path w="171" h="183">
                    <a:moveTo>
                      <a:pt x="0" y="0"/>
                    </a:moveTo>
                    <a:lnTo>
                      <a:pt x="36" y="183"/>
                    </a:lnTo>
                    <a:lnTo>
                      <a:pt x="171" y="86"/>
                    </a:lnTo>
                    <a:lnTo>
                      <a:pt x="0" y="0"/>
                    </a:lnTo>
                    <a:close/>
                  </a:path>
                </a:pathLst>
              </a:custGeom>
              <a:solidFill>
                <a:srgbClr val="B4D3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6" name="组合 5">
              <a:extLst>
                <a:ext uri="{FF2B5EF4-FFF2-40B4-BE49-F238E27FC236}">
                  <a16:creationId xmlns:a16="http://schemas.microsoft.com/office/drawing/2014/main" id="{542A9483-42A3-4A54-9213-2C1DD8999CE0}"/>
                </a:ext>
              </a:extLst>
            </p:cNvPr>
            <p:cNvGrpSpPr/>
            <p:nvPr/>
          </p:nvGrpSpPr>
          <p:grpSpPr>
            <a:xfrm>
              <a:off x="2906251" y="1402557"/>
              <a:ext cx="888420" cy="887512"/>
              <a:chOff x="631825" y="5181600"/>
              <a:chExt cx="1554163" cy="1552575"/>
            </a:xfrm>
          </p:grpSpPr>
          <p:sp>
            <p:nvSpPr>
              <p:cNvPr id="516" name="Oval 10">
                <a:extLst>
                  <a:ext uri="{FF2B5EF4-FFF2-40B4-BE49-F238E27FC236}">
                    <a16:creationId xmlns:a16="http://schemas.microsoft.com/office/drawing/2014/main" id="{9A3F3926-53CD-48C3-A6E3-1F6DBD1EA7C8}"/>
                  </a:ext>
                </a:extLst>
              </p:cNvPr>
              <p:cNvSpPr>
                <a:spLocks noChangeArrowheads="1"/>
              </p:cNvSpPr>
              <p:nvPr/>
            </p:nvSpPr>
            <p:spPr bwMode="auto">
              <a:xfrm>
                <a:off x="631825" y="5181600"/>
                <a:ext cx="1554163" cy="1552575"/>
              </a:xfrm>
              <a:prstGeom prst="ellipse">
                <a:avLst/>
              </a:pr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7" name="Freeform 11">
                <a:extLst>
                  <a:ext uri="{FF2B5EF4-FFF2-40B4-BE49-F238E27FC236}">
                    <a16:creationId xmlns:a16="http://schemas.microsoft.com/office/drawing/2014/main" id="{9AF45C51-825B-4316-8F47-A879C0A05101}"/>
                  </a:ext>
                </a:extLst>
              </p:cNvPr>
              <p:cNvSpPr>
                <a:spLocks/>
              </p:cNvSpPr>
              <p:nvPr/>
            </p:nvSpPr>
            <p:spPr bwMode="auto">
              <a:xfrm>
                <a:off x="1468438" y="5353050"/>
                <a:ext cx="34925" cy="87313"/>
              </a:xfrm>
              <a:custGeom>
                <a:avLst/>
                <a:gdLst>
                  <a:gd name="T0" fmla="*/ 4 w 12"/>
                  <a:gd name="T1" fmla="*/ 30 h 31"/>
                  <a:gd name="T2" fmla="*/ 12 w 12"/>
                  <a:gd name="T3" fmla="*/ 3 h 31"/>
                  <a:gd name="T4" fmla="*/ 11 w 12"/>
                  <a:gd name="T5" fmla="*/ 0 h 31"/>
                  <a:gd name="T6" fmla="*/ 0 w 12"/>
                  <a:gd name="T7" fmla="*/ 31 h 31"/>
                  <a:gd name="T8" fmla="*/ 4 w 12"/>
                  <a:gd name="T9" fmla="*/ 30 h 31"/>
                </a:gdLst>
                <a:ahLst/>
                <a:cxnLst>
                  <a:cxn ang="0">
                    <a:pos x="T0" y="T1"/>
                  </a:cxn>
                  <a:cxn ang="0">
                    <a:pos x="T2" y="T3"/>
                  </a:cxn>
                  <a:cxn ang="0">
                    <a:pos x="T4" y="T5"/>
                  </a:cxn>
                  <a:cxn ang="0">
                    <a:pos x="T6" y="T7"/>
                  </a:cxn>
                  <a:cxn ang="0">
                    <a:pos x="T8" y="T9"/>
                  </a:cxn>
                </a:cxnLst>
                <a:rect l="0" t="0" r="r" b="b"/>
                <a:pathLst>
                  <a:path w="12" h="31">
                    <a:moveTo>
                      <a:pt x="4" y="30"/>
                    </a:moveTo>
                    <a:cubicBezTo>
                      <a:pt x="4" y="20"/>
                      <a:pt x="7" y="7"/>
                      <a:pt x="12" y="3"/>
                    </a:cubicBezTo>
                    <a:cubicBezTo>
                      <a:pt x="11" y="0"/>
                      <a:pt x="11" y="0"/>
                      <a:pt x="11" y="0"/>
                    </a:cubicBezTo>
                    <a:cubicBezTo>
                      <a:pt x="2" y="6"/>
                      <a:pt x="0" y="21"/>
                      <a:pt x="0" y="31"/>
                    </a:cubicBezTo>
                    <a:lnTo>
                      <a:pt x="4" y="30"/>
                    </a:lnTo>
                    <a:close/>
                  </a:path>
                </a:pathLst>
              </a:custGeom>
              <a:solidFill>
                <a:srgbClr val="4F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8" name="Freeform 12">
                <a:extLst>
                  <a:ext uri="{FF2B5EF4-FFF2-40B4-BE49-F238E27FC236}">
                    <a16:creationId xmlns:a16="http://schemas.microsoft.com/office/drawing/2014/main" id="{AE76008F-3EE0-4482-BE4F-12E08EC26808}"/>
                  </a:ext>
                </a:extLst>
              </p:cNvPr>
              <p:cNvSpPr>
                <a:spLocks/>
              </p:cNvSpPr>
              <p:nvPr/>
            </p:nvSpPr>
            <p:spPr bwMode="auto">
              <a:xfrm>
                <a:off x="1471613" y="5410200"/>
                <a:ext cx="204788" cy="358775"/>
              </a:xfrm>
              <a:custGeom>
                <a:avLst/>
                <a:gdLst>
                  <a:gd name="T0" fmla="*/ 0 w 72"/>
                  <a:gd name="T1" fmla="*/ 119 h 126"/>
                  <a:gd name="T2" fmla="*/ 66 w 72"/>
                  <a:gd name="T3" fmla="*/ 67 h 126"/>
                  <a:gd name="T4" fmla="*/ 45 w 72"/>
                  <a:gd name="T5" fmla="*/ 7 h 126"/>
                  <a:gd name="T6" fmla="*/ 1 w 72"/>
                  <a:gd name="T7" fmla="*/ 9 h 126"/>
                  <a:gd name="T8" fmla="*/ 0 w 72"/>
                  <a:gd name="T9" fmla="*/ 119 h 126"/>
                </a:gdLst>
                <a:ahLst/>
                <a:cxnLst>
                  <a:cxn ang="0">
                    <a:pos x="T0" y="T1"/>
                  </a:cxn>
                  <a:cxn ang="0">
                    <a:pos x="T2" y="T3"/>
                  </a:cxn>
                  <a:cxn ang="0">
                    <a:pos x="T4" y="T5"/>
                  </a:cxn>
                  <a:cxn ang="0">
                    <a:pos x="T6" y="T7"/>
                  </a:cxn>
                  <a:cxn ang="0">
                    <a:pos x="T8" y="T9"/>
                  </a:cxn>
                </a:cxnLst>
                <a:rect l="0" t="0" r="r" b="b"/>
                <a:pathLst>
                  <a:path w="72" h="126">
                    <a:moveTo>
                      <a:pt x="0" y="119"/>
                    </a:moveTo>
                    <a:cubicBezTo>
                      <a:pt x="29" y="126"/>
                      <a:pt x="60" y="101"/>
                      <a:pt x="66" y="67"/>
                    </a:cubicBezTo>
                    <a:cubicBezTo>
                      <a:pt x="72" y="33"/>
                      <a:pt x="61" y="15"/>
                      <a:pt x="45" y="7"/>
                    </a:cubicBezTo>
                    <a:cubicBezTo>
                      <a:pt x="31" y="0"/>
                      <a:pt x="3" y="11"/>
                      <a:pt x="1" y="9"/>
                    </a:cubicBezTo>
                    <a:lnTo>
                      <a:pt x="0" y="119"/>
                    </a:lnTo>
                    <a:close/>
                  </a:path>
                </a:pathLst>
              </a:custGeom>
              <a:solidFill>
                <a:srgbClr val="C90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9" name="Freeform 13">
                <a:extLst>
                  <a:ext uri="{FF2B5EF4-FFF2-40B4-BE49-F238E27FC236}">
                    <a16:creationId xmlns:a16="http://schemas.microsoft.com/office/drawing/2014/main" id="{92D6F0D0-40F1-41AF-B2B4-4A2D24439ECB}"/>
                  </a:ext>
                </a:extLst>
              </p:cNvPr>
              <p:cNvSpPr>
                <a:spLocks/>
              </p:cNvSpPr>
              <p:nvPr/>
            </p:nvSpPr>
            <p:spPr bwMode="auto">
              <a:xfrm>
                <a:off x="1274763" y="5410200"/>
                <a:ext cx="200025" cy="355600"/>
              </a:xfrm>
              <a:custGeom>
                <a:avLst/>
                <a:gdLst>
                  <a:gd name="T0" fmla="*/ 70 w 70"/>
                  <a:gd name="T1" fmla="*/ 9 h 125"/>
                  <a:gd name="T2" fmla="*/ 26 w 70"/>
                  <a:gd name="T3" fmla="*/ 8 h 125"/>
                  <a:gd name="T4" fmla="*/ 8 w 70"/>
                  <a:gd name="T5" fmla="*/ 69 h 125"/>
                  <a:gd name="T6" fmla="*/ 69 w 70"/>
                  <a:gd name="T7" fmla="*/ 119 h 125"/>
                  <a:gd name="T8" fmla="*/ 70 w 70"/>
                  <a:gd name="T9" fmla="*/ 9 h 125"/>
                </a:gdLst>
                <a:ahLst/>
                <a:cxnLst>
                  <a:cxn ang="0">
                    <a:pos x="T0" y="T1"/>
                  </a:cxn>
                  <a:cxn ang="0">
                    <a:pos x="T2" y="T3"/>
                  </a:cxn>
                  <a:cxn ang="0">
                    <a:pos x="T4" y="T5"/>
                  </a:cxn>
                  <a:cxn ang="0">
                    <a:pos x="T6" y="T7"/>
                  </a:cxn>
                  <a:cxn ang="0">
                    <a:pos x="T8" y="T9"/>
                  </a:cxn>
                </a:cxnLst>
                <a:rect l="0" t="0" r="r" b="b"/>
                <a:pathLst>
                  <a:path w="70" h="125">
                    <a:moveTo>
                      <a:pt x="70" y="9"/>
                    </a:moveTo>
                    <a:cubicBezTo>
                      <a:pt x="68" y="11"/>
                      <a:pt x="40" y="0"/>
                      <a:pt x="26" y="8"/>
                    </a:cubicBezTo>
                    <a:cubicBezTo>
                      <a:pt x="11" y="17"/>
                      <a:pt x="0" y="35"/>
                      <a:pt x="8" y="69"/>
                    </a:cubicBezTo>
                    <a:cubicBezTo>
                      <a:pt x="16" y="103"/>
                      <a:pt x="38" y="125"/>
                      <a:pt x="69" y="119"/>
                    </a:cubicBezTo>
                    <a:lnTo>
                      <a:pt x="70" y="9"/>
                    </a:lnTo>
                    <a:close/>
                  </a:path>
                </a:pathLst>
              </a:custGeom>
              <a:solidFill>
                <a:srgbClr val="DB1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0" name="Freeform 14">
                <a:extLst>
                  <a:ext uri="{FF2B5EF4-FFF2-40B4-BE49-F238E27FC236}">
                    <a16:creationId xmlns:a16="http://schemas.microsoft.com/office/drawing/2014/main" id="{9B9D9FCB-82C1-4D9D-A81C-3212511A1A41}"/>
                  </a:ext>
                </a:extLst>
              </p:cNvPr>
              <p:cNvSpPr>
                <a:spLocks/>
              </p:cNvSpPr>
              <p:nvPr/>
            </p:nvSpPr>
            <p:spPr bwMode="auto">
              <a:xfrm>
                <a:off x="1374775" y="5313363"/>
                <a:ext cx="125413" cy="53975"/>
              </a:xfrm>
              <a:custGeom>
                <a:avLst/>
                <a:gdLst>
                  <a:gd name="T0" fmla="*/ 44 w 44"/>
                  <a:gd name="T1" fmla="*/ 19 h 19"/>
                  <a:gd name="T2" fmla="*/ 27 w 44"/>
                  <a:gd name="T3" fmla="*/ 4 h 19"/>
                  <a:gd name="T4" fmla="*/ 0 w 44"/>
                  <a:gd name="T5" fmla="*/ 1 h 19"/>
                  <a:gd name="T6" fmla="*/ 0 w 44"/>
                  <a:gd name="T7" fmla="*/ 2 h 19"/>
                  <a:gd name="T8" fmla="*/ 44 w 44"/>
                  <a:gd name="T9" fmla="*/ 19 h 19"/>
                </a:gdLst>
                <a:ahLst/>
                <a:cxnLst>
                  <a:cxn ang="0">
                    <a:pos x="T0" y="T1"/>
                  </a:cxn>
                  <a:cxn ang="0">
                    <a:pos x="T2" y="T3"/>
                  </a:cxn>
                  <a:cxn ang="0">
                    <a:pos x="T4" y="T5"/>
                  </a:cxn>
                  <a:cxn ang="0">
                    <a:pos x="T6" y="T7"/>
                  </a:cxn>
                  <a:cxn ang="0">
                    <a:pos x="T8" y="T9"/>
                  </a:cxn>
                </a:cxnLst>
                <a:rect l="0" t="0" r="r" b="b"/>
                <a:pathLst>
                  <a:path w="44" h="19">
                    <a:moveTo>
                      <a:pt x="44" y="19"/>
                    </a:moveTo>
                    <a:cubicBezTo>
                      <a:pt x="44" y="19"/>
                      <a:pt x="40" y="9"/>
                      <a:pt x="27" y="4"/>
                    </a:cubicBezTo>
                    <a:cubicBezTo>
                      <a:pt x="15" y="0"/>
                      <a:pt x="0" y="1"/>
                      <a:pt x="0" y="1"/>
                    </a:cubicBezTo>
                    <a:cubicBezTo>
                      <a:pt x="0" y="1"/>
                      <a:pt x="0" y="2"/>
                      <a:pt x="0" y="2"/>
                    </a:cubicBezTo>
                    <a:cubicBezTo>
                      <a:pt x="12" y="10"/>
                      <a:pt x="28" y="14"/>
                      <a:pt x="44" y="19"/>
                    </a:cubicBezTo>
                    <a:close/>
                  </a:path>
                </a:pathLst>
              </a:custGeom>
              <a:solidFill>
                <a:srgbClr val="128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1" name="Freeform 15">
                <a:extLst>
                  <a:ext uri="{FF2B5EF4-FFF2-40B4-BE49-F238E27FC236}">
                    <a16:creationId xmlns:a16="http://schemas.microsoft.com/office/drawing/2014/main" id="{2D9AF5D0-D317-437A-B35D-C6CFC87EFA5B}"/>
                  </a:ext>
                </a:extLst>
              </p:cNvPr>
              <p:cNvSpPr>
                <a:spLocks/>
              </p:cNvSpPr>
              <p:nvPr/>
            </p:nvSpPr>
            <p:spPr bwMode="auto">
              <a:xfrm>
                <a:off x="1374775" y="5318125"/>
                <a:ext cx="125413" cy="103188"/>
              </a:xfrm>
              <a:custGeom>
                <a:avLst/>
                <a:gdLst>
                  <a:gd name="T0" fmla="*/ 0 w 44"/>
                  <a:gd name="T1" fmla="*/ 0 h 36"/>
                  <a:gd name="T2" fmla="*/ 6 w 44"/>
                  <a:gd name="T3" fmla="*/ 12 h 36"/>
                  <a:gd name="T4" fmla="*/ 44 w 44"/>
                  <a:gd name="T5" fmla="*/ 17 h 36"/>
                  <a:gd name="T6" fmla="*/ 0 w 44"/>
                  <a:gd name="T7" fmla="*/ 0 h 36"/>
                </a:gdLst>
                <a:ahLst/>
                <a:cxnLst>
                  <a:cxn ang="0">
                    <a:pos x="T0" y="T1"/>
                  </a:cxn>
                  <a:cxn ang="0">
                    <a:pos x="T2" y="T3"/>
                  </a:cxn>
                  <a:cxn ang="0">
                    <a:pos x="T4" y="T5"/>
                  </a:cxn>
                  <a:cxn ang="0">
                    <a:pos x="T6" y="T7"/>
                  </a:cxn>
                </a:cxnLst>
                <a:rect l="0" t="0" r="r" b="b"/>
                <a:pathLst>
                  <a:path w="44" h="36">
                    <a:moveTo>
                      <a:pt x="0" y="0"/>
                    </a:moveTo>
                    <a:cubicBezTo>
                      <a:pt x="0" y="2"/>
                      <a:pt x="2" y="7"/>
                      <a:pt x="6" y="12"/>
                    </a:cubicBezTo>
                    <a:cubicBezTo>
                      <a:pt x="30" y="36"/>
                      <a:pt x="43" y="18"/>
                      <a:pt x="44" y="17"/>
                    </a:cubicBezTo>
                    <a:cubicBezTo>
                      <a:pt x="28" y="12"/>
                      <a:pt x="12" y="8"/>
                      <a:pt x="0" y="0"/>
                    </a:cubicBezTo>
                    <a:close/>
                  </a:path>
                </a:pathLst>
              </a:custGeom>
              <a:solidFill>
                <a:srgbClr val="0E77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2" name="Rectangle 16">
                <a:extLst>
                  <a:ext uri="{FF2B5EF4-FFF2-40B4-BE49-F238E27FC236}">
                    <a16:creationId xmlns:a16="http://schemas.microsoft.com/office/drawing/2014/main" id="{3D7E7AD2-9AA1-4D9F-800E-EDC4FD6C0D3F}"/>
                  </a:ext>
                </a:extLst>
              </p:cNvPr>
              <p:cNvSpPr>
                <a:spLocks noChangeArrowheads="1"/>
              </p:cNvSpPr>
              <p:nvPr/>
            </p:nvSpPr>
            <p:spPr bwMode="auto">
              <a:xfrm>
                <a:off x="908050" y="6238875"/>
                <a:ext cx="904875" cy="227013"/>
              </a:xfrm>
              <a:prstGeom prst="rect">
                <a:avLst/>
              </a:prstGeom>
              <a:solidFill>
                <a:srgbClr val="FF1D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3" name="Rectangle 17">
                <a:extLst>
                  <a:ext uri="{FF2B5EF4-FFF2-40B4-BE49-F238E27FC236}">
                    <a16:creationId xmlns:a16="http://schemas.microsoft.com/office/drawing/2014/main" id="{D7037BC3-A475-44EA-9B77-02373F54A8AD}"/>
                  </a:ext>
                </a:extLst>
              </p:cNvPr>
              <p:cNvSpPr>
                <a:spLocks noChangeArrowheads="1"/>
              </p:cNvSpPr>
              <p:nvPr/>
            </p:nvSpPr>
            <p:spPr bwMode="auto">
              <a:xfrm>
                <a:off x="1681163" y="6238875"/>
                <a:ext cx="17463" cy="227013"/>
              </a:xfrm>
              <a:prstGeom prst="rect">
                <a:avLst/>
              </a:prstGeom>
              <a:solidFill>
                <a:srgbClr val="BE1E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4" name="Rectangle 18">
                <a:extLst>
                  <a:ext uri="{FF2B5EF4-FFF2-40B4-BE49-F238E27FC236}">
                    <a16:creationId xmlns:a16="http://schemas.microsoft.com/office/drawing/2014/main" id="{D6B88AA8-2722-4A74-94C1-99CC6E73E820}"/>
                  </a:ext>
                </a:extLst>
              </p:cNvPr>
              <p:cNvSpPr>
                <a:spLocks noChangeArrowheads="1"/>
              </p:cNvSpPr>
              <p:nvPr/>
            </p:nvSpPr>
            <p:spPr bwMode="auto">
              <a:xfrm>
                <a:off x="1651000" y="6238875"/>
                <a:ext cx="17463" cy="227013"/>
              </a:xfrm>
              <a:prstGeom prst="rect">
                <a:avLst/>
              </a:prstGeom>
              <a:solidFill>
                <a:srgbClr val="BE1E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5" name="Rectangle 19">
                <a:extLst>
                  <a:ext uri="{FF2B5EF4-FFF2-40B4-BE49-F238E27FC236}">
                    <a16:creationId xmlns:a16="http://schemas.microsoft.com/office/drawing/2014/main" id="{05544748-3814-4CD0-94B2-A2ADEFA25A4A}"/>
                  </a:ext>
                </a:extLst>
              </p:cNvPr>
              <p:cNvSpPr>
                <a:spLocks noChangeArrowheads="1"/>
              </p:cNvSpPr>
              <p:nvPr/>
            </p:nvSpPr>
            <p:spPr bwMode="auto">
              <a:xfrm>
                <a:off x="1612900" y="6238875"/>
                <a:ext cx="17463" cy="227013"/>
              </a:xfrm>
              <a:prstGeom prst="rect">
                <a:avLst/>
              </a:prstGeom>
              <a:solidFill>
                <a:srgbClr val="BE1E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6" name="Rectangle 20">
                <a:extLst>
                  <a:ext uri="{FF2B5EF4-FFF2-40B4-BE49-F238E27FC236}">
                    <a16:creationId xmlns:a16="http://schemas.microsoft.com/office/drawing/2014/main" id="{E96DE703-A630-45D7-B9D2-73BC958B08F2}"/>
                  </a:ext>
                </a:extLst>
              </p:cNvPr>
              <p:cNvSpPr>
                <a:spLocks noChangeArrowheads="1"/>
              </p:cNvSpPr>
              <p:nvPr/>
            </p:nvSpPr>
            <p:spPr bwMode="auto">
              <a:xfrm>
                <a:off x="1030288" y="5924550"/>
                <a:ext cx="474663" cy="171450"/>
              </a:xfrm>
              <a:prstGeom prst="rect">
                <a:avLst/>
              </a:prstGeom>
              <a:solidFill>
                <a:srgbClr val="F9EE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7" name="Rectangle 21">
                <a:extLst>
                  <a:ext uri="{FF2B5EF4-FFF2-40B4-BE49-F238E27FC236}">
                    <a16:creationId xmlns:a16="http://schemas.microsoft.com/office/drawing/2014/main" id="{A43E4850-9092-4D37-BB73-DCAA24DCD9BF}"/>
                  </a:ext>
                </a:extLst>
              </p:cNvPr>
              <p:cNvSpPr>
                <a:spLocks noChangeArrowheads="1"/>
              </p:cNvSpPr>
              <p:nvPr/>
            </p:nvSpPr>
            <p:spPr bwMode="auto">
              <a:xfrm>
                <a:off x="1030288" y="5924550"/>
                <a:ext cx="474663"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8" name="Rectangle 22">
                <a:extLst>
                  <a:ext uri="{FF2B5EF4-FFF2-40B4-BE49-F238E27FC236}">
                    <a16:creationId xmlns:a16="http://schemas.microsoft.com/office/drawing/2014/main" id="{77B8E265-43D3-44AF-931C-E54ED0709625}"/>
                  </a:ext>
                </a:extLst>
              </p:cNvPr>
              <p:cNvSpPr>
                <a:spLocks noChangeArrowheads="1"/>
              </p:cNvSpPr>
              <p:nvPr/>
            </p:nvSpPr>
            <p:spPr bwMode="auto">
              <a:xfrm>
                <a:off x="1030288" y="6002338"/>
                <a:ext cx="474663" cy="4763"/>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9" name="Rectangle 23">
                <a:extLst>
                  <a:ext uri="{FF2B5EF4-FFF2-40B4-BE49-F238E27FC236}">
                    <a16:creationId xmlns:a16="http://schemas.microsoft.com/office/drawing/2014/main" id="{651EE84D-D81C-4287-9B44-F294B7AE84B9}"/>
                  </a:ext>
                </a:extLst>
              </p:cNvPr>
              <p:cNvSpPr>
                <a:spLocks noChangeArrowheads="1"/>
              </p:cNvSpPr>
              <p:nvPr/>
            </p:nvSpPr>
            <p:spPr bwMode="auto">
              <a:xfrm>
                <a:off x="1030288" y="6002338"/>
                <a:ext cx="474663"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0" name="Rectangle 24">
                <a:extLst>
                  <a:ext uri="{FF2B5EF4-FFF2-40B4-BE49-F238E27FC236}">
                    <a16:creationId xmlns:a16="http://schemas.microsoft.com/office/drawing/2014/main" id="{74DBEB9B-99EA-4165-B34C-D9991151F97E}"/>
                  </a:ext>
                </a:extLst>
              </p:cNvPr>
              <p:cNvSpPr>
                <a:spLocks noChangeArrowheads="1"/>
              </p:cNvSpPr>
              <p:nvPr/>
            </p:nvSpPr>
            <p:spPr bwMode="auto">
              <a:xfrm>
                <a:off x="1030288" y="6049963"/>
                <a:ext cx="474663" cy="6350"/>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1" name="Rectangle 25">
                <a:extLst>
                  <a:ext uri="{FF2B5EF4-FFF2-40B4-BE49-F238E27FC236}">
                    <a16:creationId xmlns:a16="http://schemas.microsoft.com/office/drawing/2014/main" id="{525A62CE-0309-411F-8F14-D851A656DB0F}"/>
                  </a:ext>
                </a:extLst>
              </p:cNvPr>
              <p:cNvSpPr>
                <a:spLocks noChangeArrowheads="1"/>
              </p:cNvSpPr>
              <p:nvPr/>
            </p:nvSpPr>
            <p:spPr bwMode="auto">
              <a:xfrm>
                <a:off x="1030288" y="6049963"/>
                <a:ext cx="474663"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2" name="Rectangle 26">
                <a:extLst>
                  <a:ext uri="{FF2B5EF4-FFF2-40B4-BE49-F238E27FC236}">
                    <a16:creationId xmlns:a16="http://schemas.microsoft.com/office/drawing/2014/main" id="{44211633-F2B7-4219-A2A0-79F1F5FA8236}"/>
                  </a:ext>
                </a:extLst>
              </p:cNvPr>
              <p:cNvSpPr>
                <a:spLocks noChangeArrowheads="1"/>
              </p:cNvSpPr>
              <p:nvPr/>
            </p:nvSpPr>
            <p:spPr bwMode="auto">
              <a:xfrm>
                <a:off x="1030288" y="6034088"/>
                <a:ext cx="474663" cy="1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3" name="Rectangle 27">
                <a:extLst>
                  <a:ext uri="{FF2B5EF4-FFF2-40B4-BE49-F238E27FC236}">
                    <a16:creationId xmlns:a16="http://schemas.microsoft.com/office/drawing/2014/main" id="{6AC8EC75-338B-41A1-B764-6446449E7AD3}"/>
                  </a:ext>
                </a:extLst>
              </p:cNvPr>
              <p:cNvSpPr>
                <a:spLocks noChangeArrowheads="1"/>
              </p:cNvSpPr>
              <p:nvPr/>
            </p:nvSpPr>
            <p:spPr bwMode="auto">
              <a:xfrm>
                <a:off x="1030288" y="6034088"/>
                <a:ext cx="4746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4" name="Rectangle 28">
                <a:extLst>
                  <a:ext uri="{FF2B5EF4-FFF2-40B4-BE49-F238E27FC236}">
                    <a16:creationId xmlns:a16="http://schemas.microsoft.com/office/drawing/2014/main" id="{20197C2E-F13D-4CE1-BE34-44EB312778F5}"/>
                  </a:ext>
                </a:extLst>
              </p:cNvPr>
              <p:cNvSpPr>
                <a:spLocks noChangeArrowheads="1"/>
              </p:cNvSpPr>
              <p:nvPr/>
            </p:nvSpPr>
            <p:spPr bwMode="auto">
              <a:xfrm>
                <a:off x="1030288" y="5984875"/>
                <a:ext cx="474663" cy="3175"/>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5" name="Rectangle 29">
                <a:extLst>
                  <a:ext uri="{FF2B5EF4-FFF2-40B4-BE49-F238E27FC236}">
                    <a16:creationId xmlns:a16="http://schemas.microsoft.com/office/drawing/2014/main" id="{0DF98F49-6B3F-4A75-AFF2-03CEDF679E4C}"/>
                  </a:ext>
                </a:extLst>
              </p:cNvPr>
              <p:cNvSpPr>
                <a:spLocks noChangeArrowheads="1"/>
              </p:cNvSpPr>
              <p:nvPr/>
            </p:nvSpPr>
            <p:spPr bwMode="auto">
              <a:xfrm>
                <a:off x="1030288" y="5984875"/>
                <a:ext cx="47466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6" name="Rectangle 30">
                <a:extLst>
                  <a:ext uri="{FF2B5EF4-FFF2-40B4-BE49-F238E27FC236}">
                    <a16:creationId xmlns:a16="http://schemas.microsoft.com/office/drawing/2014/main" id="{94FC20AF-493E-40E2-99F2-BB92AD3129E2}"/>
                  </a:ext>
                </a:extLst>
              </p:cNvPr>
              <p:cNvSpPr>
                <a:spLocks noChangeArrowheads="1"/>
              </p:cNvSpPr>
              <p:nvPr/>
            </p:nvSpPr>
            <p:spPr bwMode="auto">
              <a:xfrm>
                <a:off x="1030288" y="5937250"/>
                <a:ext cx="474663" cy="1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7" name="Rectangle 31">
                <a:extLst>
                  <a:ext uri="{FF2B5EF4-FFF2-40B4-BE49-F238E27FC236}">
                    <a16:creationId xmlns:a16="http://schemas.microsoft.com/office/drawing/2014/main" id="{7D9B8CE7-3A38-4D19-B88F-69BB4D5C716E}"/>
                  </a:ext>
                </a:extLst>
              </p:cNvPr>
              <p:cNvSpPr>
                <a:spLocks noChangeArrowheads="1"/>
              </p:cNvSpPr>
              <p:nvPr/>
            </p:nvSpPr>
            <p:spPr bwMode="auto">
              <a:xfrm>
                <a:off x="1030288" y="5937250"/>
                <a:ext cx="4746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8" name="Rectangle 32">
                <a:extLst>
                  <a:ext uri="{FF2B5EF4-FFF2-40B4-BE49-F238E27FC236}">
                    <a16:creationId xmlns:a16="http://schemas.microsoft.com/office/drawing/2014/main" id="{8DD9D791-387F-41AD-B170-55CC804C2690}"/>
                  </a:ext>
                </a:extLst>
              </p:cNvPr>
              <p:cNvSpPr>
                <a:spLocks noChangeArrowheads="1"/>
              </p:cNvSpPr>
              <p:nvPr/>
            </p:nvSpPr>
            <p:spPr bwMode="auto">
              <a:xfrm>
                <a:off x="1030288" y="6084888"/>
                <a:ext cx="474663" cy="3175"/>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9" name="Rectangle 33">
                <a:extLst>
                  <a:ext uri="{FF2B5EF4-FFF2-40B4-BE49-F238E27FC236}">
                    <a16:creationId xmlns:a16="http://schemas.microsoft.com/office/drawing/2014/main" id="{6C22C4FA-B553-4FA9-BF8D-098266ACF69C}"/>
                  </a:ext>
                </a:extLst>
              </p:cNvPr>
              <p:cNvSpPr>
                <a:spLocks noChangeArrowheads="1"/>
              </p:cNvSpPr>
              <p:nvPr/>
            </p:nvSpPr>
            <p:spPr bwMode="auto">
              <a:xfrm>
                <a:off x="1030288" y="6084888"/>
                <a:ext cx="47466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0" name="Rectangle 34">
                <a:extLst>
                  <a:ext uri="{FF2B5EF4-FFF2-40B4-BE49-F238E27FC236}">
                    <a16:creationId xmlns:a16="http://schemas.microsoft.com/office/drawing/2014/main" id="{D9759C14-C0F4-47F2-9156-FC9C1E32702C}"/>
                  </a:ext>
                </a:extLst>
              </p:cNvPr>
              <p:cNvSpPr>
                <a:spLocks noChangeArrowheads="1"/>
              </p:cNvSpPr>
              <p:nvPr/>
            </p:nvSpPr>
            <p:spPr bwMode="auto">
              <a:xfrm>
                <a:off x="1030288" y="5951538"/>
                <a:ext cx="474663" cy="1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1" name="Rectangle 35">
                <a:extLst>
                  <a:ext uri="{FF2B5EF4-FFF2-40B4-BE49-F238E27FC236}">
                    <a16:creationId xmlns:a16="http://schemas.microsoft.com/office/drawing/2014/main" id="{9A0AD755-2358-44E8-A447-568DB6A39498}"/>
                  </a:ext>
                </a:extLst>
              </p:cNvPr>
              <p:cNvSpPr>
                <a:spLocks noChangeArrowheads="1"/>
              </p:cNvSpPr>
              <p:nvPr/>
            </p:nvSpPr>
            <p:spPr bwMode="auto">
              <a:xfrm>
                <a:off x="1030288" y="5951538"/>
                <a:ext cx="4746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2" name="Rectangle 36">
                <a:extLst>
                  <a:ext uri="{FF2B5EF4-FFF2-40B4-BE49-F238E27FC236}">
                    <a16:creationId xmlns:a16="http://schemas.microsoft.com/office/drawing/2014/main" id="{CC10DA1E-7ED8-4A94-AEF2-1889209D21B0}"/>
                  </a:ext>
                </a:extLst>
              </p:cNvPr>
              <p:cNvSpPr>
                <a:spLocks noChangeArrowheads="1"/>
              </p:cNvSpPr>
              <p:nvPr/>
            </p:nvSpPr>
            <p:spPr bwMode="auto">
              <a:xfrm>
                <a:off x="879475" y="6118225"/>
                <a:ext cx="1058863" cy="120650"/>
              </a:xfrm>
              <a:prstGeom prst="rect">
                <a:avLst/>
              </a:prstGeom>
              <a:solidFill>
                <a:srgbClr val="14B6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3" name="Rectangle 37">
                <a:extLst>
                  <a:ext uri="{FF2B5EF4-FFF2-40B4-BE49-F238E27FC236}">
                    <a16:creationId xmlns:a16="http://schemas.microsoft.com/office/drawing/2014/main" id="{C014FC50-7428-4776-BDD1-315333DDC480}"/>
                  </a:ext>
                </a:extLst>
              </p:cNvPr>
              <p:cNvSpPr>
                <a:spLocks noChangeArrowheads="1"/>
              </p:cNvSpPr>
              <p:nvPr/>
            </p:nvSpPr>
            <p:spPr bwMode="auto">
              <a:xfrm>
                <a:off x="1835150" y="6118225"/>
                <a:ext cx="28575" cy="120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4" name="Rectangle 38">
                <a:extLst>
                  <a:ext uri="{FF2B5EF4-FFF2-40B4-BE49-F238E27FC236}">
                    <a16:creationId xmlns:a16="http://schemas.microsoft.com/office/drawing/2014/main" id="{D04A8BEA-4F31-44A5-9461-41452811AA6B}"/>
                  </a:ext>
                </a:extLst>
              </p:cNvPr>
              <p:cNvSpPr>
                <a:spLocks noChangeArrowheads="1"/>
              </p:cNvSpPr>
              <p:nvPr/>
            </p:nvSpPr>
            <p:spPr bwMode="auto">
              <a:xfrm>
                <a:off x="1101725" y="5751513"/>
                <a:ext cx="588963" cy="150813"/>
              </a:xfrm>
              <a:prstGeom prst="rect">
                <a:avLst/>
              </a:prstGeom>
              <a:solidFill>
                <a:srgbClr val="2B5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5" name="Rectangle 39">
                <a:extLst>
                  <a:ext uri="{FF2B5EF4-FFF2-40B4-BE49-F238E27FC236}">
                    <a16:creationId xmlns:a16="http://schemas.microsoft.com/office/drawing/2014/main" id="{2B504A88-617F-490E-8912-688F197B3529}"/>
                  </a:ext>
                </a:extLst>
              </p:cNvPr>
              <p:cNvSpPr>
                <a:spLocks noChangeArrowheads="1"/>
              </p:cNvSpPr>
              <p:nvPr/>
            </p:nvSpPr>
            <p:spPr bwMode="auto">
              <a:xfrm>
                <a:off x="1633538" y="5751513"/>
                <a:ext cx="14288" cy="150813"/>
              </a:xfrm>
              <a:prstGeom prst="rect">
                <a:avLst/>
              </a:prstGeom>
              <a:solidFill>
                <a:srgbClr val="14B6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6" name="Freeform 40">
                <a:extLst>
                  <a:ext uri="{FF2B5EF4-FFF2-40B4-BE49-F238E27FC236}">
                    <a16:creationId xmlns:a16="http://schemas.microsoft.com/office/drawing/2014/main" id="{9228AE89-D1CA-4553-A8DE-C704EB3C027C}"/>
                  </a:ext>
                </a:extLst>
              </p:cNvPr>
              <p:cNvSpPr>
                <a:spLocks/>
              </p:cNvSpPr>
              <p:nvPr/>
            </p:nvSpPr>
            <p:spPr bwMode="auto">
              <a:xfrm>
                <a:off x="1012825" y="5902325"/>
                <a:ext cx="530225" cy="215900"/>
              </a:xfrm>
              <a:custGeom>
                <a:avLst/>
                <a:gdLst>
                  <a:gd name="T0" fmla="*/ 186 w 186"/>
                  <a:gd name="T1" fmla="*/ 38 h 76"/>
                  <a:gd name="T2" fmla="*/ 183 w 186"/>
                  <a:gd name="T3" fmla="*/ 0 h 76"/>
                  <a:gd name="T4" fmla="*/ 183 w 186"/>
                  <a:gd name="T5" fmla="*/ 0 h 76"/>
                  <a:gd name="T6" fmla="*/ 182 w 186"/>
                  <a:gd name="T7" fmla="*/ 0 h 76"/>
                  <a:gd name="T8" fmla="*/ 182 w 186"/>
                  <a:gd name="T9" fmla="*/ 0 h 76"/>
                  <a:gd name="T10" fmla="*/ 182 w 186"/>
                  <a:gd name="T11" fmla="*/ 0 h 76"/>
                  <a:gd name="T12" fmla="*/ 0 w 186"/>
                  <a:gd name="T13" fmla="*/ 0 h 76"/>
                  <a:gd name="T14" fmla="*/ 0 w 186"/>
                  <a:gd name="T15" fmla="*/ 8 h 76"/>
                  <a:gd name="T16" fmla="*/ 173 w 186"/>
                  <a:gd name="T17" fmla="*/ 8 h 76"/>
                  <a:gd name="T18" fmla="*/ 173 w 186"/>
                  <a:gd name="T19" fmla="*/ 68 h 76"/>
                  <a:gd name="T20" fmla="*/ 0 w 186"/>
                  <a:gd name="T21" fmla="*/ 68 h 76"/>
                  <a:gd name="T22" fmla="*/ 0 w 186"/>
                  <a:gd name="T23" fmla="*/ 76 h 76"/>
                  <a:gd name="T24" fmla="*/ 183 w 186"/>
                  <a:gd name="T25" fmla="*/ 76 h 76"/>
                  <a:gd name="T26" fmla="*/ 183 w 186"/>
                  <a:gd name="T27" fmla="*/ 76 h 76"/>
                  <a:gd name="T28" fmla="*/ 186 w 186"/>
                  <a:gd name="T29"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6" h="76">
                    <a:moveTo>
                      <a:pt x="186" y="38"/>
                    </a:moveTo>
                    <a:cubicBezTo>
                      <a:pt x="186" y="19"/>
                      <a:pt x="184" y="3"/>
                      <a:pt x="183" y="0"/>
                    </a:cubicBezTo>
                    <a:cubicBezTo>
                      <a:pt x="183" y="0"/>
                      <a:pt x="183" y="0"/>
                      <a:pt x="183" y="0"/>
                    </a:cubicBezTo>
                    <a:cubicBezTo>
                      <a:pt x="182" y="0"/>
                      <a:pt x="182" y="0"/>
                      <a:pt x="182" y="0"/>
                    </a:cubicBezTo>
                    <a:cubicBezTo>
                      <a:pt x="182" y="0"/>
                      <a:pt x="182" y="0"/>
                      <a:pt x="182" y="0"/>
                    </a:cubicBezTo>
                    <a:cubicBezTo>
                      <a:pt x="182" y="0"/>
                      <a:pt x="182" y="0"/>
                      <a:pt x="182" y="0"/>
                    </a:cubicBezTo>
                    <a:cubicBezTo>
                      <a:pt x="0" y="0"/>
                      <a:pt x="0" y="0"/>
                      <a:pt x="0" y="0"/>
                    </a:cubicBezTo>
                    <a:cubicBezTo>
                      <a:pt x="0" y="8"/>
                      <a:pt x="0" y="8"/>
                      <a:pt x="0" y="8"/>
                    </a:cubicBezTo>
                    <a:cubicBezTo>
                      <a:pt x="173" y="8"/>
                      <a:pt x="173" y="8"/>
                      <a:pt x="173" y="8"/>
                    </a:cubicBezTo>
                    <a:cubicBezTo>
                      <a:pt x="173" y="68"/>
                      <a:pt x="173" y="68"/>
                      <a:pt x="173" y="68"/>
                    </a:cubicBezTo>
                    <a:cubicBezTo>
                      <a:pt x="0" y="68"/>
                      <a:pt x="0" y="68"/>
                      <a:pt x="0" y="68"/>
                    </a:cubicBezTo>
                    <a:cubicBezTo>
                      <a:pt x="0" y="76"/>
                      <a:pt x="0" y="76"/>
                      <a:pt x="0" y="76"/>
                    </a:cubicBezTo>
                    <a:cubicBezTo>
                      <a:pt x="183" y="76"/>
                      <a:pt x="183" y="76"/>
                      <a:pt x="183" y="76"/>
                    </a:cubicBezTo>
                    <a:cubicBezTo>
                      <a:pt x="183" y="76"/>
                      <a:pt x="183" y="76"/>
                      <a:pt x="183" y="76"/>
                    </a:cubicBezTo>
                    <a:cubicBezTo>
                      <a:pt x="184" y="73"/>
                      <a:pt x="186" y="57"/>
                      <a:pt x="186" y="38"/>
                    </a:cubicBezTo>
                    <a:close/>
                  </a:path>
                </a:pathLst>
              </a:custGeom>
              <a:solidFill>
                <a:srgbClr val="5D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7" name="Freeform 41">
                <a:extLst>
                  <a:ext uri="{FF2B5EF4-FFF2-40B4-BE49-F238E27FC236}">
                    <a16:creationId xmlns:a16="http://schemas.microsoft.com/office/drawing/2014/main" id="{535DA90C-A468-4986-A834-D9BEEEDEEE2D}"/>
                  </a:ext>
                </a:extLst>
              </p:cNvPr>
              <p:cNvSpPr>
                <a:spLocks/>
              </p:cNvSpPr>
              <p:nvPr/>
            </p:nvSpPr>
            <p:spPr bwMode="auto">
              <a:xfrm>
                <a:off x="1425575" y="6034088"/>
                <a:ext cx="42863" cy="122238"/>
              </a:xfrm>
              <a:custGeom>
                <a:avLst/>
                <a:gdLst>
                  <a:gd name="T0" fmla="*/ 0 w 27"/>
                  <a:gd name="T1" fmla="*/ 0 h 77"/>
                  <a:gd name="T2" fmla="*/ 0 w 27"/>
                  <a:gd name="T3" fmla="*/ 77 h 77"/>
                  <a:gd name="T4" fmla="*/ 13 w 27"/>
                  <a:gd name="T5" fmla="*/ 64 h 77"/>
                  <a:gd name="T6" fmla="*/ 27 w 27"/>
                  <a:gd name="T7" fmla="*/ 77 h 77"/>
                  <a:gd name="T8" fmla="*/ 27 w 27"/>
                  <a:gd name="T9" fmla="*/ 0 h 77"/>
                  <a:gd name="T10" fmla="*/ 0 w 27"/>
                  <a:gd name="T11" fmla="*/ 0 h 77"/>
                </a:gdLst>
                <a:ahLst/>
                <a:cxnLst>
                  <a:cxn ang="0">
                    <a:pos x="T0" y="T1"/>
                  </a:cxn>
                  <a:cxn ang="0">
                    <a:pos x="T2" y="T3"/>
                  </a:cxn>
                  <a:cxn ang="0">
                    <a:pos x="T4" y="T5"/>
                  </a:cxn>
                  <a:cxn ang="0">
                    <a:pos x="T6" y="T7"/>
                  </a:cxn>
                  <a:cxn ang="0">
                    <a:pos x="T8" y="T9"/>
                  </a:cxn>
                  <a:cxn ang="0">
                    <a:pos x="T10" y="T11"/>
                  </a:cxn>
                </a:cxnLst>
                <a:rect l="0" t="0" r="r" b="b"/>
                <a:pathLst>
                  <a:path w="27" h="77">
                    <a:moveTo>
                      <a:pt x="0" y="0"/>
                    </a:moveTo>
                    <a:lnTo>
                      <a:pt x="0" y="77"/>
                    </a:lnTo>
                    <a:lnTo>
                      <a:pt x="13" y="64"/>
                    </a:lnTo>
                    <a:lnTo>
                      <a:pt x="27" y="77"/>
                    </a:lnTo>
                    <a:lnTo>
                      <a:pt x="27" y="0"/>
                    </a:lnTo>
                    <a:lnTo>
                      <a:pt x="0" y="0"/>
                    </a:ln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7" name="组合 6">
              <a:extLst>
                <a:ext uri="{FF2B5EF4-FFF2-40B4-BE49-F238E27FC236}">
                  <a16:creationId xmlns:a16="http://schemas.microsoft.com/office/drawing/2014/main" id="{67ABC142-3A0F-455A-98E8-3F9693B1EBD0}"/>
                </a:ext>
              </a:extLst>
            </p:cNvPr>
            <p:cNvGrpSpPr/>
            <p:nvPr/>
          </p:nvGrpSpPr>
          <p:grpSpPr>
            <a:xfrm>
              <a:off x="4736611" y="1402557"/>
              <a:ext cx="888420" cy="887512"/>
              <a:chOff x="10002838" y="123825"/>
              <a:chExt cx="1554163" cy="1552575"/>
            </a:xfrm>
          </p:grpSpPr>
          <p:sp>
            <p:nvSpPr>
              <p:cNvPr id="503" name="Oval 42">
                <a:extLst>
                  <a:ext uri="{FF2B5EF4-FFF2-40B4-BE49-F238E27FC236}">
                    <a16:creationId xmlns:a16="http://schemas.microsoft.com/office/drawing/2014/main" id="{05BDEAA1-466D-4CB3-B5F5-A1BC2A9156CF}"/>
                  </a:ext>
                </a:extLst>
              </p:cNvPr>
              <p:cNvSpPr>
                <a:spLocks noChangeArrowheads="1"/>
              </p:cNvSpPr>
              <p:nvPr/>
            </p:nvSpPr>
            <p:spPr bwMode="auto">
              <a:xfrm>
                <a:off x="10002838" y="123825"/>
                <a:ext cx="1554163" cy="1552575"/>
              </a:xfrm>
              <a:prstGeom prst="ellipse">
                <a:avLst/>
              </a:pr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4" name="Freeform 43">
                <a:extLst>
                  <a:ext uri="{FF2B5EF4-FFF2-40B4-BE49-F238E27FC236}">
                    <a16:creationId xmlns:a16="http://schemas.microsoft.com/office/drawing/2014/main" id="{01D430D6-CD14-444F-BF4C-777441B51A1F}"/>
                  </a:ext>
                </a:extLst>
              </p:cNvPr>
              <p:cNvSpPr>
                <a:spLocks/>
              </p:cNvSpPr>
              <p:nvPr/>
            </p:nvSpPr>
            <p:spPr bwMode="auto">
              <a:xfrm>
                <a:off x="10382250" y="360363"/>
                <a:ext cx="855663" cy="455613"/>
              </a:xfrm>
              <a:custGeom>
                <a:avLst/>
                <a:gdLst>
                  <a:gd name="T0" fmla="*/ 301 w 301"/>
                  <a:gd name="T1" fmla="*/ 40 h 160"/>
                  <a:gd name="T2" fmla="*/ 260 w 301"/>
                  <a:gd name="T3" fmla="*/ 0 h 160"/>
                  <a:gd name="T4" fmla="*/ 166 w 301"/>
                  <a:gd name="T5" fmla="*/ 0 h 160"/>
                  <a:gd name="T6" fmla="*/ 41 w 301"/>
                  <a:gd name="T7" fmla="*/ 0 h 160"/>
                  <a:gd name="T8" fmla="*/ 0 w 301"/>
                  <a:gd name="T9" fmla="*/ 40 h 160"/>
                  <a:gd name="T10" fmla="*/ 0 w 301"/>
                  <a:gd name="T11" fmla="*/ 43 h 160"/>
                  <a:gd name="T12" fmla="*/ 0 w 301"/>
                  <a:gd name="T13" fmla="*/ 46 h 160"/>
                  <a:gd name="T14" fmla="*/ 0 w 301"/>
                  <a:gd name="T15" fmla="*/ 47 h 160"/>
                  <a:gd name="T16" fmla="*/ 0 w 301"/>
                  <a:gd name="T17" fmla="*/ 47 h 160"/>
                  <a:gd name="T18" fmla="*/ 41 w 301"/>
                  <a:gd name="T19" fmla="*/ 87 h 160"/>
                  <a:gd name="T20" fmla="*/ 89 w 301"/>
                  <a:gd name="T21" fmla="*/ 87 h 160"/>
                  <a:gd name="T22" fmla="*/ 89 w 301"/>
                  <a:gd name="T23" fmla="*/ 160 h 160"/>
                  <a:gd name="T24" fmla="*/ 301 w 301"/>
                  <a:gd name="T25" fmla="*/ 160 h 160"/>
                  <a:gd name="T26" fmla="*/ 301 w 301"/>
                  <a:gd name="T27" fmla="*/ 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1" h="160">
                    <a:moveTo>
                      <a:pt x="301" y="40"/>
                    </a:moveTo>
                    <a:cubicBezTo>
                      <a:pt x="300" y="18"/>
                      <a:pt x="282" y="0"/>
                      <a:pt x="260" y="0"/>
                    </a:cubicBezTo>
                    <a:cubicBezTo>
                      <a:pt x="166" y="0"/>
                      <a:pt x="166" y="0"/>
                      <a:pt x="166" y="0"/>
                    </a:cubicBezTo>
                    <a:cubicBezTo>
                      <a:pt x="41" y="0"/>
                      <a:pt x="41" y="0"/>
                      <a:pt x="41" y="0"/>
                    </a:cubicBezTo>
                    <a:cubicBezTo>
                      <a:pt x="18" y="0"/>
                      <a:pt x="0" y="18"/>
                      <a:pt x="0" y="40"/>
                    </a:cubicBezTo>
                    <a:cubicBezTo>
                      <a:pt x="0" y="43"/>
                      <a:pt x="0" y="43"/>
                      <a:pt x="0" y="43"/>
                    </a:cubicBezTo>
                    <a:cubicBezTo>
                      <a:pt x="0" y="46"/>
                      <a:pt x="0" y="46"/>
                      <a:pt x="0" y="46"/>
                    </a:cubicBezTo>
                    <a:cubicBezTo>
                      <a:pt x="0" y="47"/>
                      <a:pt x="0" y="47"/>
                      <a:pt x="0" y="47"/>
                    </a:cubicBezTo>
                    <a:cubicBezTo>
                      <a:pt x="0" y="47"/>
                      <a:pt x="0" y="47"/>
                      <a:pt x="0" y="47"/>
                    </a:cubicBezTo>
                    <a:cubicBezTo>
                      <a:pt x="1" y="69"/>
                      <a:pt x="19" y="87"/>
                      <a:pt x="41" y="87"/>
                    </a:cubicBezTo>
                    <a:cubicBezTo>
                      <a:pt x="89" y="87"/>
                      <a:pt x="89" y="87"/>
                      <a:pt x="89" y="87"/>
                    </a:cubicBezTo>
                    <a:cubicBezTo>
                      <a:pt x="89" y="160"/>
                      <a:pt x="89" y="160"/>
                      <a:pt x="89" y="160"/>
                    </a:cubicBezTo>
                    <a:cubicBezTo>
                      <a:pt x="301" y="160"/>
                      <a:pt x="301" y="160"/>
                      <a:pt x="301" y="160"/>
                    </a:cubicBezTo>
                    <a:cubicBezTo>
                      <a:pt x="301" y="40"/>
                      <a:pt x="301" y="40"/>
                      <a:pt x="301" y="40"/>
                    </a:cubicBezTo>
                  </a:path>
                </a:pathLst>
              </a:custGeom>
              <a:solidFill>
                <a:srgbClr val="F9EE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5" name="Freeform 44">
                <a:extLst>
                  <a:ext uri="{FF2B5EF4-FFF2-40B4-BE49-F238E27FC236}">
                    <a16:creationId xmlns:a16="http://schemas.microsoft.com/office/drawing/2014/main" id="{FAA1D15A-9D29-467C-8FEE-E5FF08FC4EE5}"/>
                  </a:ext>
                </a:extLst>
              </p:cNvPr>
              <p:cNvSpPr>
                <a:spLocks/>
              </p:cNvSpPr>
              <p:nvPr/>
            </p:nvSpPr>
            <p:spPr bwMode="auto">
              <a:xfrm>
                <a:off x="10375900" y="396875"/>
                <a:ext cx="38100" cy="52388"/>
              </a:xfrm>
              <a:custGeom>
                <a:avLst/>
                <a:gdLst>
                  <a:gd name="T0" fmla="*/ 13 w 13"/>
                  <a:gd name="T1" fmla="*/ 0 h 18"/>
                  <a:gd name="T2" fmla="*/ 0 w 13"/>
                  <a:gd name="T3" fmla="*/ 0 h 18"/>
                  <a:gd name="T4" fmla="*/ 0 w 13"/>
                  <a:gd name="T5" fmla="*/ 18 h 18"/>
                  <a:gd name="T6" fmla="*/ 3 w 13"/>
                  <a:gd name="T7" fmla="*/ 18 h 18"/>
                  <a:gd name="T8" fmla="*/ 13 w 13"/>
                  <a:gd name="T9" fmla="*/ 0 h 18"/>
                </a:gdLst>
                <a:ahLst/>
                <a:cxnLst>
                  <a:cxn ang="0">
                    <a:pos x="T0" y="T1"/>
                  </a:cxn>
                  <a:cxn ang="0">
                    <a:pos x="T2" y="T3"/>
                  </a:cxn>
                  <a:cxn ang="0">
                    <a:pos x="T4" y="T5"/>
                  </a:cxn>
                  <a:cxn ang="0">
                    <a:pos x="T6" y="T7"/>
                  </a:cxn>
                  <a:cxn ang="0">
                    <a:pos x="T8" y="T9"/>
                  </a:cxn>
                </a:cxnLst>
                <a:rect l="0" t="0" r="r" b="b"/>
                <a:pathLst>
                  <a:path w="13" h="18">
                    <a:moveTo>
                      <a:pt x="13" y="0"/>
                    </a:moveTo>
                    <a:cubicBezTo>
                      <a:pt x="0" y="0"/>
                      <a:pt x="0" y="0"/>
                      <a:pt x="0" y="0"/>
                    </a:cubicBezTo>
                    <a:cubicBezTo>
                      <a:pt x="0" y="18"/>
                      <a:pt x="0" y="18"/>
                      <a:pt x="0" y="18"/>
                    </a:cubicBezTo>
                    <a:cubicBezTo>
                      <a:pt x="3" y="18"/>
                      <a:pt x="3" y="18"/>
                      <a:pt x="3" y="18"/>
                    </a:cubicBezTo>
                    <a:cubicBezTo>
                      <a:pt x="5" y="11"/>
                      <a:pt x="8" y="5"/>
                      <a:pt x="13" y="0"/>
                    </a:cubicBezTo>
                  </a:path>
                </a:pathLst>
              </a:custGeom>
              <a:solidFill>
                <a:srgbClr val="F9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6" name="Freeform 45">
                <a:extLst>
                  <a:ext uri="{FF2B5EF4-FFF2-40B4-BE49-F238E27FC236}">
                    <a16:creationId xmlns:a16="http://schemas.microsoft.com/office/drawing/2014/main" id="{9368895F-AEF5-49BB-9383-94868825611B}"/>
                  </a:ext>
                </a:extLst>
              </p:cNvPr>
              <p:cNvSpPr>
                <a:spLocks/>
              </p:cNvSpPr>
              <p:nvPr/>
            </p:nvSpPr>
            <p:spPr bwMode="auto">
              <a:xfrm>
                <a:off x="10385425" y="396875"/>
                <a:ext cx="852488" cy="168275"/>
              </a:xfrm>
              <a:custGeom>
                <a:avLst/>
                <a:gdLst>
                  <a:gd name="T0" fmla="*/ 241 w 300"/>
                  <a:gd name="T1" fmla="*/ 0 h 59"/>
                  <a:gd name="T2" fmla="*/ 239 w 300"/>
                  <a:gd name="T3" fmla="*/ 0 h 59"/>
                  <a:gd name="T4" fmla="*/ 10 w 300"/>
                  <a:gd name="T5" fmla="*/ 0 h 59"/>
                  <a:gd name="T6" fmla="*/ 0 w 300"/>
                  <a:gd name="T7" fmla="*/ 18 h 59"/>
                  <a:gd name="T8" fmla="*/ 259 w 300"/>
                  <a:gd name="T9" fmla="*/ 18 h 59"/>
                  <a:gd name="T10" fmla="*/ 300 w 300"/>
                  <a:gd name="T11" fmla="*/ 59 h 59"/>
                  <a:gd name="T12" fmla="*/ 300 w 300"/>
                  <a:gd name="T13" fmla="*/ 59 h 59"/>
                  <a:gd name="T14" fmla="*/ 241 w 300"/>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9">
                    <a:moveTo>
                      <a:pt x="241" y="0"/>
                    </a:moveTo>
                    <a:cubicBezTo>
                      <a:pt x="241" y="0"/>
                      <a:pt x="240" y="0"/>
                      <a:pt x="239" y="0"/>
                    </a:cubicBezTo>
                    <a:cubicBezTo>
                      <a:pt x="10" y="0"/>
                      <a:pt x="10" y="0"/>
                      <a:pt x="10" y="0"/>
                    </a:cubicBezTo>
                    <a:cubicBezTo>
                      <a:pt x="5" y="5"/>
                      <a:pt x="2" y="11"/>
                      <a:pt x="0" y="18"/>
                    </a:cubicBezTo>
                    <a:cubicBezTo>
                      <a:pt x="259" y="18"/>
                      <a:pt x="259" y="18"/>
                      <a:pt x="259" y="18"/>
                    </a:cubicBezTo>
                    <a:cubicBezTo>
                      <a:pt x="281" y="18"/>
                      <a:pt x="299" y="36"/>
                      <a:pt x="300" y="59"/>
                    </a:cubicBezTo>
                    <a:cubicBezTo>
                      <a:pt x="300" y="59"/>
                      <a:pt x="300" y="59"/>
                      <a:pt x="300" y="59"/>
                    </a:cubicBezTo>
                    <a:cubicBezTo>
                      <a:pt x="300" y="25"/>
                      <a:pt x="297" y="0"/>
                      <a:pt x="241" y="0"/>
                    </a:cubicBezTo>
                  </a:path>
                </a:pathLst>
              </a:custGeom>
              <a:solidFill>
                <a:srgbClr val="F3DE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7" name="Freeform 46">
                <a:extLst>
                  <a:ext uri="{FF2B5EF4-FFF2-40B4-BE49-F238E27FC236}">
                    <a16:creationId xmlns:a16="http://schemas.microsoft.com/office/drawing/2014/main" id="{1A456D79-727A-48C9-98B5-DF7FAFD1271D}"/>
                  </a:ext>
                </a:extLst>
              </p:cNvPr>
              <p:cNvSpPr>
                <a:spLocks/>
              </p:cNvSpPr>
              <p:nvPr/>
            </p:nvSpPr>
            <p:spPr bwMode="auto">
              <a:xfrm>
                <a:off x="10375900" y="496888"/>
                <a:ext cx="23813" cy="53975"/>
              </a:xfrm>
              <a:custGeom>
                <a:avLst/>
                <a:gdLst>
                  <a:gd name="T0" fmla="*/ 2 w 8"/>
                  <a:gd name="T1" fmla="*/ 0 h 19"/>
                  <a:gd name="T2" fmla="*/ 0 w 8"/>
                  <a:gd name="T3" fmla="*/ 0 h 19"/>
                  <a:gd name="T4" fmla="*/ 0 w 8"/>
                  <a:gd name="T5" fmla="*/ 19 h 19"/>
                  <a:gd name="T6" fmla="*/ 8 w 8"/>
                  <a:gd name="T7" fmla="*/ 19 h 19"/>
                  <a:gd name="T8" fmla="*/ 2 w 8"/>
                  <a:gd name="T9" fmla="*/ 0 h 19"/>
                </a:gdLst>
                <a:ahLst/>
                <a:cxnLst>
                  <a:cxn ang="0">
                    <a:pos x="T0" y="T1"/>
                  </a:cxn>
                  <a:cxn ang="0">
                    <a:pos x="T2" y="T3"/>
                  </a:cxn>
                  <a:cxn ang="0">
                    <a:pos x="T4" y="T5"/>
                  </a:cxn>
                  <a:cxn ang="0">
                    <a:pos x="T6" y="T7"/>
                  </a:cxn>
                  <a:cxn ang="0">
                    <a:pos x="T8" y="T9"/>
                  </a:cxn>
                </a:cxnLst>
                <a:rect l="0" t="0" r="r" b="b"/>
                <a:pathLst>
                  <a:path w="8" h="19">
                    <a:moveTo>
                      <a:pt x="2" y="0"/>
                    </a:moveTo>
                    <a:cubicBezTo>
                      <a:pt x="0" y="0"/>
                      <a:pt x="0" y="0"/>
                      <a:pt x="0" y="0"/>
                    </a:cubicBezTo>
                    <a:cubicBezTo>
                      <a:pt x="0" y="19"/>
                      <a:pt x="0" y="19"/>
                      <a:pt x="0" y="19"/>
                    </a:cubicBezTo>
                    <a:cubicBezTo>
                      <a:pt x="8" y="19"/>
                      <a:pt x="8" y="19"/>
                      <a:pt x="8" y="19"/>
                    </a:cubicBezTo>
                    <a:cubicBezTo>
                      <a:pt x="4" y="13"/>
                      <a:pt x="2" y="7"/>
                      <a:pt x="2" y="0"/>
                    </a:cubicBezTo>
                  </a:path>
                </a:pathLst>
              </a:custGeom>
              <a:solidFill>
                <a:srgbClr val="F9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8" name="Freeform 47">
                <a:extLst>
                  <a:ext uri="{FF2B5EF4-FFF2-40B4-BE49-F238E27FC236}">
                    <a16:creationId xmlns:a16="http://schemas.microsoft.com/office/drawing/2014/main" id="{D9AAE5FF-1A3B-4405-A432-278CF5F0CBA6}"/>
                  </a:ext>
                </a:extLst>
              </p:cNvPr>
              <p:cNvSpPr>
                <a:spLocks/>
              </p:cNvSpPr>
              <p:nvPr/>
            </p:nvSpPr>
            <p:spPr bwMode="auto">
              <a:xfrm>
                <a:off x="10382250" y="496888"/>
                <a:ext cx="855663" cy="168275"/>
              </a:xfrm>
              <a:custGeom>
                <a:avLst/>
                <a:gdLst>
                  <a:gd name="T0" fmla="*/ 242 w 301"/>
                  <a:gd name="T1" fmla="*/ 0 h 59"/>
                  <a:gd name="T2" fmla="*/ 240 w 301"/>
                  <a:gd name="T3" fmla="*/ 0 h 59"/>
                  <a:gd name="T4" fmla="*/ 0 w 301"/>
                  <a:gd name="T5" fmla="*/ 0 h 59"/>
                  <a:gd name="T6" fmla="*/ 6 w 301"/>
                  <a:gd name="T7" fmla="*/ 19 h 59"/>
                  <a:gd name="T8" fmla="*/ 260 w 301"/>
                  <a:gd name="T9" fmla="*/ 19 h 59"/>
                  <a:gd name="T10" fmla="*/ 301 w 301"/>
                  <a:gd name="T11" fmla="*/ 59 h 59"/>
                  <a:gd name="T12" fmla="*/ 301 w 301"/>
                  <a:gd name="T13" fmla="*/ 59 h 59"/>
                  <a:gd name="T14" fmla="*/ 242 w 301"/>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59">
                    <a:moveTo>
                      <a:pt x="242" y="0"/>
                    </a:moveTo>
                    <a:cubicBezTo>
                      <a:pt x="242" y="0"/>
                      <a:pt x="241" y="0"/>
                      <a:pt x="240" y="0"/>
                    </a:cubicBezTo>
                    <a:cubicBezTo>
                      <a:pt x="0" y="0"/>
                      <a:pt x="0" y="0"/>
                      <a:pt x="0" y="0"/>
                    </a:cubicBezTo>
                    <a:cubicBezTo>
                      <a:pt x="0" y="7"/>
                      <a:pt x="2" y="13"/>
                      <a:pt x="6" y="19"/>
                    </a:cubicBezTo>
                    <a:cubicBezTo>
                      <a:pt x="260" y="19"/>
                      <a:pt x="260" y="19"/>
                      <a:pt x="260" y="19"/>
                    </a:cubicBezTo>
                    <a:cubicBezTo>
                      <a:pt x="282" y="19"/>
                      <a:pt x="300" y="37"/>
                      <a:pt x="301" y="59"/>
                    </a:cubicBezTo>
                    <a:cubicBezTo>
                      <a:pt x="301" y="59"/>
                      <a:pt x="301" y="59"/>
                      <a:pt x="301" y="59"/>
                    </a:cubicBezTo>
                    <a:cubicBezTo>
                      <a:pt x="301" y="26"/>
                      <a:pt x="298" y="0"/>
                      <a:pt x="242" y="0"/>
                    </a:cubicBezTo>
                  </a:path>
                </a:pathLst>
              </a:custGeom>
              <a:solidFill>
                <a:srgbClr val="F3DE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9" name="Freeform 48">
                <a:extLst>
                  <a:ext uri="{FF2B5EF4-FFF2-40B4-BE49-F238E27FC236}">
                    <a16:creationId xmlns:a16="http://schemas.microsoft.com/office/drawing/2014/main" id="{D56336E5-FFB2-402C-9F22-2A5A278A3AFE}"/>
                  </a:ext>
                </a:extLst>
              </p:cNvPr>
              <p:cNvSpPr>
                <a:spLocks/>
              </p:cNvSpPr>
              <p:nvPr/>
            </p:nvSpPr>
            <p:spPr bwMode="auto">
              <a:xfrm>
                <a:off x="10325100" y="303213"/>
                <a:ext cx="912813" cy="1139825"/>
              </a:xfrm>
              <a:custGeom>
                <a:avLst/>
                <a:gdLst>
                  <a:gd name="T0" fmla="*/ 260 w 321"/>
                  <a:gd name="T1" fmla="*/ 107 h 400"/>
                  <a:gd name="T2" fmla="*/ 260 w 321"/>
                  <a:gd name="T3" fmla="*/ 107 h 400"/>
                  <a:gd name="T4" fmla="*/ 195 w 321"/>
                  <a:gd name="T5" fmla="*/ 107 h 400"/>
                  <a:gd name="T6" fmla="*/ 61 w 321"/>
                  <a:gd name="T7" fmla="*/ 107 h 400"/>
                  <a:gd name="T8" fmla="*/ 20 w 321"/>
                  <a:gd name="T9" fmla="*/ 67 h 400"/>
                  <a:gd name="T10" fmla="*/ 20 w 321"/>
                  <a:gd name="T11" fmla="*/ 67 h 400"/>
                  <a:gd name="T12" fmla="*/ 20 w 321"/>
                  <a:gd name="T13" fmla="*/ 66 h 400"/>
                  <a:gd name="T14" fmla="*/ 20 w 321"/>
                  <a:gd name="T15" fmla="*/ 63 h 400"/>
                  <a:gd name="T16" fmla="*/ 20 w 321"/>
                  <a:gd name="T17" fmla="*/ 60 h 400"/>
                  <a:gd name="T18" fmla="*/ 61 w 321"/>
                  <a:gd name="T19" fmla="*/ 20 h 400"/>
                  <a:gd name="T20" fmla="*/ 186 w 321"/>
                  <a:gd name="T21" fmla="*/ 20 h 400"/>
                  <a:gd name="T22" fmla="*/ 280 w 321"/>
                  <a:gd name="T23" fmla="*/ 20 h 400"/>
                  <a:gd name="T24" fmla="*/ 321 w 321"/>
                  <a:gd name="T25" fmla="*/ 60 h 400"/>
                  <a:gd name="T26" fmla="*/ 260 w 321"/>
                  <a:gd name="T27" fmla="*/ 1 h 400"/>
                  <a:gd name="T28" fmla="*/ 61 w 321"/>
                  <a:gd name="T29" fmla="*/ 1 h 400"/>
                  <a:gd name="T30" fmla="*/ 0 w 321"/>
                  <a:gd name="T31" fmla="*/ 62 h 400"/>
                  <a:gd name="T32" fmla="*/ 0 w 321"/>
                  <a:gd name="T33" fmla="*/ 106 h 400"/>
                  <a:gd name="T34" fmla="*/ 0 w 321"/>
                  <a:gd name="T35" fmla="*/ 106 h 400"/>
                  <a:gd name="T36" fmla="*/ 0 w 321"/>
                  <a:gd name="T37" fmla="*/ 339 h 400"/>
                  <a:gd name="T38" fmla="*/ 61 w 321"/>
                  <a:gd name="T39" fmla="*/ 400 h 400"/>
                  <a:gd name="T40" fmla="*/ 260 w 321"/>
                  <a:gd name="T41" fmla="*/ 400 h 400"/>
                  <a:gd name="T42" fmla="*/ 321 w 321"/>
                  <a:gd name="T43" fmla="*/ 339 h 400"/>
                  <a:gd name="T44" fmla="*/ 321 w 321"/>
                  <a:gd name="T45" fmla="*/ 151 h 400"/>
                  <a:gd name="T46" fmla="*/ 260 w 321"/>
                  <a:gd name="T47" fmla="*/ 10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1" h="400">
                    <a:moveTo>
                      <a:pt x="260" y="107"/>
                    </a:moveTo>
                    <a:cubicBezTo>
                      <a:pt x="260" y="107"/>
                      <a:pt x="260" y="107"/>
                      <a:pt x="260" y="107"/>
                    </a:cubicBezTo>
                    <a:cubicBezTo>
                      <a:pt x="195" y="107"/>
                      <a:pt x="195" y="107"/>
                      <a:pt x="195" y="107"/>
                    </a:cubicBezTo>
                    <a:cubicBezTo>
                      <a:pt x="61" y="107"/>
                      <a:pt x="61" y="107"/>
                      <a:pt x="61" y="107"/>
                    </a:cubicBezTo>
                    <a:cubicBezTo>
                      <a:pt x="39" y="107"/>
                      <a:pt x="21" y="89"/>
                      <a:pt x="20" y="67"/>
                    </a:cubicBezTo>
                    <a:cubicBezTo>
                      <a:pt x="20" y="67"/>
                      <a:pt x="20" y="67"/>
                      <a:pt x="20" y="67"/>
                    </a:cubicBezTo>
                    <a:cubicBezTo>
                      <a:pt x="20" y="66"/>
                      <a:pt x="20" y="66"/>
                      <a:pt x="20" y="66"/>
                    </a:cubicBezTo>
                    <a:cubicBezTo>
                      <a:pt x="20" y="63"/>
                      <a:pt x="20" y="63"/>
                      <a:pt x="20" y="63"/>
                    </a:cubicBezTo>
                    <a:cubicBezTo>
                      <a:pt x="20" y="60"/>
                      <a:pt x="20" y="60"/>
                      <a:pt x="20" y="60"/>
                    </a:cubicBezTo>
                    <a:cubicBezTo>
                      <a:pt x="20" y="38"/>
                      <a:pt x="38" y="20"/>
                      <a:pt x="61" y="20"/>
                    </a:cubicBezTo>
                    <a:cubicBezTo>
                      <a:pt x="186" y="20"/>
                      <a:pt x="186" y="20"/>
                      <a:pt x="186" y="20"/>
                    </a:cubicBezTo>
                    <a:cubicBezTo>
                      <a:pt x="280" y="20"/>
                      <a:pt x="280" y="20"/>
                      <a:pt x="280" y="20"/>
                    </a:cubicBezTo>
                    <a:cubicBezTo>
                      <a:pt x="302" y="20"/>
                      <a:pt x="320" y="38"/>
                      <a:pt x="321" y="60"/>
                    </a:cubicBezTo>
                    <a:cubicBezTo>
                      <a:pt x="321" y="26"/>
                      <a:pt x="318" y="0"/>
                      <a:pt x="260" y="1"/>
                    </a:cubicBezTo>
                    <a:cubicBezTo>
                      <a:pt x="61" y="1"/>
                      <a:pt x="61" y="1"/>
                      <a:pt x="61" y="1"/>
                    </a:cubicBezTo>
                    <a:cubicBezTo>
                      <a:pt x="27" y="1"/>
                      <a:pt x="0" y="28"/>
                      <a:pt x="0" y="62"/>
                    </a:cubicBezTo>
                    <a:cubicBezTo>
                      <a:pt x="0" y="106"/>
                      <a:pt x="0" y="106"/>
                      <a:pt x="0" y="106"/>
                    </a:cubicBezTo>
                    <a:cubicBezTo>
                      <a:pt x="0" y="106"/>
                      <a:pt x="0" y="106"/>
                      <a:pt x="0" y="106"/>
                    </a:cubicBezTo>
                    <a:cubicBezTo>
                      <a:pt x="0" y="339"/>
                      <a:pt x="0" y="339"/>
                      <a:pt x="0" y="339"/>
                    </a:cubicBezTo>
                    <a:cubicBezTo>
                      <a:pt x="0" y="373"/>
                      <a:pt x="27" y="400"/>
                      <a:pt x="61" y="400"/>
                    </a:cubicBezTo>
                    <a:cubicBezTo>
                      <a:pt x="260" y="400"/>
                      <a:pt x="260" y="400"/>
                      <a:pt x="260" y="400"/>
                    </a:cubicBezTo>
                    <a:cubicBezTo>
                      <a:pt x="294" y="400"/>
                      <a:pt x="321" y="373"/>
                      <a:pt x="321" y="339"/>
                    </a:cubicBezTo>
                    <a:cubicBezTo>
                      <a:pt x="321" y="151"/>
                      <a:pt x="321" y="151"/>
                      <a:pt x="321" y="151"/>
                    </a:cubicBezTo>
                    <a:cubicBezTo>
                      <a:pt x="321" y="117"/>
                      <a:pt x="294" y="107"/>
                      <a:pt x="260" y="107"/>
                    </a:cubicBezTo>
                    <a:close/>
                  </a:path>
                </a:pathLst>
              </a:custGeom>
              <a:solidFill>
                <a:srgbClr val="1839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0" name="Freeform 49">
                <a:extLst>
                  <a:ext uri="{FF2B5EF4-FFF2-40B4-BE49-F238E27FC236}">
                    <a16:creationId xmlns:a16="http://schemas.microsoft.com/office/drawing/2014/main" id="{72D18D5B-A27C-467E-8F02-03FCC3E253A6}"/>
                  </a:ext>
                </a:extLst>
              </p:cNvPr>
              <p:cNvSpPr>
                <a:spLocks/>
              </p:cNvSpPr>
              <p:nvPr/>
            </p:nvSpPr>
            <p:spPr bwMode="auto">
              <a:xfrm>
                <a:off x="10325100" y="508000"/>
                <a:ext cx="912813" cy="985838"/>
              </a:xfrm>
              <a:custGeom>
                <a:avLst/>
                <a:gdLst>
                  <a:gd name="T0" fmla="*/ 321 w 321"/>
                  <a:gd name="T1" fmla="*/ 285 h 346"/>
                  <a:gd name="T2" fmla="*/ 260 w 321"/>
                  <a:gd name="T3" fmla="*/ 346 h 346"/>
                  <a:gd name="T4" fmla="*/ 61 w 321"/>
                  <a:gd name="T5" fmla="*/ 346 h 346"/>
                  <a:gd name="T6" fmla="*/ 0 w 321"/>
                  <a:gd name="T7" fmla="*/ 285 h 346"/>
                  <a:gd name="T8" fmla="*/ 0 w 321"/>
                  <a:gd name="T9" fmla="*/ 0 h 346"/>
                  <a:gd name="T10" fmla="*/ 61 w 321"/>
                  <a:gd name="T11" fmla="*/ 53 h 346"/>
                  <a:gd name="T12" fmla="*/ 260 w 321"/>
                  <a:gd name="T13" fmla="*/ 53 h 346"/>
                  <a:gd name="T14" fmla="*/ 321 w 321"/>
                  <a:gd name="T15" fmla="*/ 99 h 346"/>
                  <a:gd name="T16" fmla="*/ 321 w 321"/>
                  <a:gd name="T17" fmla="*/ 28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1" h="346">
                    <a:moveTo>
                      <a:pt x="321" y="285"/>
                    </a:moveTo>
                    <a:cubicBezTo>
                      <a:pt x="321" y="319"/>
                      <a:pt x="293" y="346"/>
                      <a:pt x="260" y="346"/>
                    </a:cubicBezTo>
                    <a:cubicBezTo>
                      <a:pt x="61" y="346"/>
                      <a:pt x="61" y="346"/>
                      <a:pt x="61" y="346"/>
                    </a:cubicBezTo>
                    <a:cubicBezTo>
                      <a:pt x="27" y="346"/>
                      <a:pt x="0" y="319"/>
                      <a:pt x="0" y="285"/>
                    </a:cubicBezTo>
                    <a:cubicBezTo>
                      <a:pt x="0" y="0"/>
                      <a:pt x="0" y="0"/>
                      <a:pt x="0" y="0"/>
                    </a:cubicBezTo>
                    <a:cubicBezTo>
                      <a:pt x="0" y="0"/>
                      <a:pt x="3" y="52"/>
                      <a:pt x="61" y="53"/>
                    </a:cubicBezTo>
                    <a:cubicBezTo>
                      <a:pt x="260" y="53"/>
                      <a:pt x="260" y="53"/>
                      <a:pt x="260" y="53"/>
                    </a:cubicBezTo>
                    <a:cubicBezTo>
                      <a:pt x="293" y="53"/>
                      <a:pt x="321" y="66"/>
                      <a:pt x="321" y="99"/>
                    </a:cubicBezTo>
                    <a:lnTo>
                      <a:pt x="321" y="285"/>
                    </a:lnTo>
                    <a:close/>
                  </a:path>
                </a:pathLst>
              </a:custGeom>
              <a:solidFill>
                <a:srgbClr val="225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1" name="Freeform 50">
                <a:extLst>
                  <a:ext uri="{FF2B5EF4-FFF2-40B4-BE49-F238E27FC236}">
                    <a16:creationId xmlns:a16="http://schemas.microsoft.com/office/drawing/2014/main" id="{0D40EFCB-C1EE-4DB8-B8B0-27BC3E9539E0}"/>
                  </a:ext>
                </a:extLst>
              </p:cNvPr>
              <p:cNvSpPr>
                <a:spLocks noEditPoints="1"/>
              </p:cNvSpPr>
              <p:nvPr/>
            </p:nvSpPr>
            <p:spPr bwMode="auto">
              <a:xfrm>
                <a:off x="10507663" y="947738"/>
                <a:ext cx="184150" cy="219075"/>
              </a:xfrm>
              <a:custGeom>
                <a:avLst/>
                <a:gdLst>
                  <a:gd name="T0" fmla="*/ 18 w 65"/>
                  <a:gd name="T1" fmla="*/ 53 h 77"/>
                  <a:gd name="T2" fmla="*/ 10 w 65"/>
                  <a:gd name="T3" fmla="*/ 77 h 77"/>
                  <a:gd name="T4" fmla="*/ 0 w 65"/>
                  <a:gd name="T5" fmla="*/ 77 h 77"/>
                  <a:gd name="T6" fmla="*/ 26 w 65"/>
                  <a:gd name="T7" fmla="*/ 0 h 77"/>
                  <a:gd name="T8" fmla="*/ 38 w 65"/>
                  <a:gd name="T9" fmla="*/ 0 h 77"/>
                  <a:gd name="T10" fmla="*/ 65 w 65"/>
                  <a:gd name="T11" fmla="*/ 77 h 77"/>
                  <a:gd name="T12" fmla="*/ 54 w 65"/>
                  <a:gd name="T13" fmla="*/ 77 h 77"/>
                  <a:gd name="T14" fmla="*/ 46 w 65"/>
                  <a:gd name="T15" fmla="*/ 53 h 77"/>
                  <a:gd name="T16" fmla="*/ 18 w 65"/>
                  <a:gd name="T17" fmla="*/ 53 h 77"/>
                  <a:gd name="T18" fmla="*/ 44 w 65"/>
                  <a:gd name="T19" fmla="*/ 45 h 77"/>
                  <a:gd name="T20" fmla="*/ 36 w 65"/>
                  <a:gd name="T21" fmla="*/ 23 h 77"/>
                  <a:gd name="T22" fmla="*/ 32 w 65"/>
                  <a:gd name="T23" fmla="*/ 9 h 77"/>
                  <a:gd name="T24" fmla="*/ 32 w 65"/>
                  <a:gd name="T25" fmla="*/ 9 h 77"/>
                  <a:gd name="T26" fmla="*/ 28 w 65"/>
                  <a:gd name="T27" fmla="*/ 23 h 77"/>
                  <a:gd name="T28" fmla="*/ 20 w 65"/>
                  <a:gd name="T29" fmla="*/ 45 h 77"/>
                  <a:gd name="T30" fmla="*/ 44 w 65"/>
                  <a:gd name="T31"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77">
                    <a:moveTo>
                      <a:pt x="18" y="53"/>
                    </a:moveTo>
                    <a:cubicBezTo>
                      <a:pt x="10" y="77"/>
                      <a:pt x="10" y="77"/>
                      <a:pt x="10" y="77"/>
                    </a:cubicBezTo>
                    <a:cubicBezTo>
                      <a:pt x="0" y="77"/>
                      <a:pt x="0" y="77"/>
                      <a:pt x="0" y="77"/>
                    </a:cubicBezTo>
                    <a:cubicBezTo>
                      <a:pt x="26" y="0"/>
                      <a:pt x="26" y="0"/>
                      <a:pt x="26" y="0"/>
                    </a:cubicBezTo>
                    <a:cubicBezTo>
                      <a:pt x="38" y="0"/>
                      <a:pt x="38" y="0"/>
                      <a:pt x="38" y="0"/>
                    </a:cubicBezTo>
                    <a:cubicBezTo>
                      <a:pt x="65" y="77"/>
                      <a:pt x="65" y="77"/>
                      <a:pt x="65" y="77"/>
                    </a:cubicBezTo>
                    <a:cubicBezTo>
                      <a:pt x="54" y="77"/>
                      <a:pt x="54" y="77"/>
                      <a:pt x="54" y="77"/>
                    </a:cubicBezTo>
                    <a:cubicBezTo>
                      <a:pt x="46" y="53"/>
                      <a:pt x="46" y="53"/>
                      <a:pt x="46" y="53"/>
                    </a:cubicBezTo>
                    <a:lnTo>
                      <a:pt x="18" y="53"/>
                    </a:lnTo>
                    <a:close/>
                    <a:moveTo>
                      <a:pt x="44" y="45"/>
                    </a:moveTo>
                    <a:cubicBezTo>
                      <a:pt x="36" y="23"/>
                      <a:pt x="36" y="23"/>
                      <a:pt x="36" y="23"/>
                    </a:cubicBezTo>
                    <a:cubicBezTo>
                      <a:pt x="34" y="18"/>
                      <a:pt x="33" y="13"/>
                      <a:pt x="32" y="9"/>
                    </a:cubicBezTo>
                    <a:cubicBezTo>
                      <a:pt x="32" y="9"/>
                      <a:pt x="32" y="9"/>
                      <a:pt x="32" y="9"/>
                    </a:cubicBezTo>
                    <a:cubicBezTo>
                      <a:pt x="31" y="13"/>
                      <a:pt x="29" y="18"/>
                      <a:pt x="28" y="23"/>
                    </a:cubicBezTo>
                    <a:cubicBezTo>
                      <a:pt x="20" y="45"/>
                      <a:pt x="20" y="45"/>
                      <a:pt x="20" y="45"/>
                    </a:cubicBezTo>
                    <a:lnTo>
                      <a:pt x="44" y="45"/>
                    </a:lnTo>
                    <a:close/>
                  </a:path>
                </a:pathLst>
              </a:custGeom>
              <a:solidFill>
                <a:srgbClr val="F9EE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2" name="Freeform 51">
                <a:extLst>
                  <a:ext uri="{FF2B5EF4-FFF2-40B4-BE49-F238E27FC236}">
                    <a16:creationId xmlns:a16="http://schemas.microsoft.com/office/drawing/2014/main" id="{03D36A46-021D-4F48-B75A-0172E7552AFE}"/>
                  </a:ext>
                </a:extLst>
              </p:cNvPr>
              <p:cNvSpPr>
                <a:spLocks noEditPoints="1"/>
              </p:cNvSpPr>
              <p:nvPr/>
            </p:nvSpPr>
            <p:spPr bwMode="auto">
              <a:xfrm>
                <a:off x="10723563" y="944563"/>
                <a:ext cx="139700" cy="225425"/>
              </a:xfrm>
              <a:custGeom>
                <a:avLst/>
                <a:gdLst>
                  <a:gd name="T0" fmla="*/ 0 w 49"/>
                  <a:gd name="T1" fmla="*/ 2 h 79"/>
                  <a:gd name="T2" fmla="*/ 18 w 49"/>
                  <a:gd name="T3" fmla="*/ 0 h 79"/>
                  <a:gd name="T4" fmla="*/ 39 w 49"/>
                  <a:gd name="T5" fmla="*/ 6 h 79"/>
                  <a:gd name="T6" fmla="*/ 46 w 49"/>
                  <a:gd name="T7" fmla="*/ 20 h 79"/>
                  <a:gd name="T8" fmla="*/ 33 w 49"/>
                  <a:gd name="T9" fmla="*/ 37 h 79"/>
                  <a:gd name="T10" fmla="*/ 33 w 49"/>
                  <a:gd name="T11" fmla="*/ 37 h 79"/>
                  <a:gd name="T12" fmla="*/ 49 w 49"/>
                  <a:gd name="T13" fmla="*/ 56 h 79"/>
                  <a:gd name="T14" fmla="*/ 42 w 49"/>
                  <a:gd name="T15" fmla="*/ 72 h 79"/>
                  <a:gd name="T16" fmla="*/ 15 w 49"/>
                  <a:gd name="T17" fmla="*/ 79 h 79"/>
                  <a:gd name="T18" fmla="*/ 0 w 49"/>
                  <a:gd name="T19" fmla="*/ 78 h 79"/>
                  <a:gd name="T20" fmla="*/ 0 w 49"/>
                  <a:gd name="T21" fmla="*/ 2 h 79"/>
                  <a:gd name="T22" fmla="*/ 10 w 49"/>
                  <a:gd name="T23" fmla="*/ 34 h 79"/>
                  <a:gd name="T24" fmla="*/ 19 w 49"/>
                  <a:gd name="T25" fmla="*/ 34 h 79"/>
                  <a:gd name="T26" fmla="*/ 36 w 49"/>
                  <a:gd name="T27" fmla="*/ 21 h 79"/>
                  <a:gd name="T28" fmla="*/ 19 w 49"/>
                  <a:gd name="T29" fmla="*/ 8 h 79"/>
                  <a:gd name="T30" fmla="*/ 10 w 49"/>
                  <a:gd name="T31" fmla="*/ 9 h 79"/>
                  <a:gd name="T32" fmla="*/ 10 w 49"/>
                  <a:gd name="T33" fmla="*/ 34 h 79"/>
                  <a:gd name="T34" fmla="*/ 10 w 49"/>
                  <a:gd name="T35" fmla="*/ 71 h 79"/>
                  <a:gd name="T36" fmla="*/ 18 w 49"/>
                  <a:gd name="T37" fmla="*/ 71 h 79"/>
                  <a:gd name="T38" fmla="*/ 38 w 49"/>
                  <a:gd name="T39" fmla="*/ 56 h 79"/>
                  <a:gd name="T40" fmla="*/ 18 w 49"/>
                  <a:gd name="T41" fmla="*/ 41 h 79"/>
                  <a:gd name="T42" fmla="*/ 10 w 49"/>
                  <a:gd name="T43" fmla="*/ 41 h 79"/>
                  <a:gd name="T44" fmla="*/ 10 w 49"/>
                  <a:gd name="T45" fmla="*/ 7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79">
                    <a:moveTo>
                      <a:pt x="0" y="2"/>
                    </a:moveTo>
                    <a:cubicBezTo>
                      <a:pt x="4" y="1"/>
                      <a:pt x="11" y="0"/>
                      <a:pt x="18" y="0"/>
                    </a:cubicBezTo>
                    <a:cubicBezTo>
                      <a:pt x="28" y="0"/>
                      <a:pt x="35" y="2"/>
                      <a:pt x="39" y="6"/>
                    </a:cubicBezTo>
                    <a:cubicBezTo>
                      <a:pt x="44" y="9"/>
                      <a:pt x="46" y="14"/>
                      <a:pt x="46" y="20"/>
                    </a:cubicBezTo>
                    <a:cubicBezTo>
                      <a:pt x="46" y="27"/>
                      <a:pt x="41" y="34"/>
                      <a:pt x="33" y="37"/>
                    </a:cubicBezTo>
                    <a:cubicBezTo>
                      <a:pt x="33" y="37"/>
                      <a:pt x="33" y="37"/>
                      <a:pt x="33" y="37"/>
                    </a:cubicBezTo>
                    <a:cubicBezTo>
                      <a:pt x="40" y="39"/>
                      <a:pt x="49" y="45"/>
                      <a:pt x="49" y="56"/>
                    </a:cubicBezTo>
                    <a:cubicBezTo>
                      <a:pt x="49" y="63"/>
                      <a:pt x="46" y="68"/>
                      <a:pt x="42" y="72"/>
                    </a:cubicBezTo>
                    <a:cubicBezTo>
                      <a:pt x="37" y="77"/>
                      <a:pt x="28" y="79"/>
                      <a:pt x="15" y="79"/>
                    </a:cubicBezTo>
                    <a:cubicBezTo>
                      <a:pt x="8" y="79"/>
                      <a:pt x="3" y="79"/>
                      <a:pt x="0" y="78"/>
                    </a:cubicBezTo>
                    <a:lnTo>
                      <a:pt x="0" y="2"/>
                    </a:lnTo>
                    <a:close/>
                    <a:moveTo>
                      <a:pt x="10" y="34"/>
                    </a:moveTo>
                    <a:cubicBezTo>
                      <a:pt x="19" y="34"/>
                      <a:pt x="19" y="34"/>
                      <a:pt x="19" y="34"/>
                    </a:cubicBezTo>
                    <a:cubicBezTo>
                      <a:pt x="30" y="34"/>
                      <a:pt x="36" y="28"/>
                      <a:pt x="36" y="21"/>
                    </a:cubicBezTo>
                    <a:cubicBezTo>
                      <a:pt x="36" y="12"/>
                      <a:pt x="29" y="8"/>
                      <a:pt x="19" y="8"/>
                    </a:cubicBezTo>
                    <a:cubicBezTo>
                      <a:pt x="14" y="8"/>
                      <a:pt x="12" y="8"/>
                      <a:pt x="10" y="9"/>
                    </a:cubicBezTo>
                    <a:lnTo>
                      <a:pt x="10" y="34"/>
                    </a:lnTo>
                    <a:close/>
                    <a:moveTo>
                      <a:pt x="10" y="71"/>
                    </a:moveTo>
                    <a:cubicBezTo>
                      <a:pt x="12" y="71"/>
                      <a:pt x="15" y="71"/>
                      <a:pt x="18" y="71"/>
                    </a:cubicBezTo>
                    <a:cubicBezTo>
                      <a:pt x="29" y="71"/>
                      <a:pt x="38" y="67"/>
                      <a:pt x="38" y="56"/>
                    </a:cubicBezTo>
                    <a:cubicBezTo>
                      <a:pt x="38" y="46"/>
                      <a:pt x="29" y="41"/>
                      <a:pt x="18" y="41"/>
                    </a:cubicBezTo>
                    <a:cubicBezTo>
                      <a:pt x="10" y="41"/>
                      <a:pt x="10" y="41"/>
                      <a:pt x="10" y="41"/>
                    </a:cubicBezTo>
                    <a:lnTo>
                      <a:pt x="10" y="71"/>
                    </a:lnTo>
                    <a:close/>
                  </a:path>
                </a:pathLst>
              </a:custGeom>
              <a:solidFill>
                <a:srgbClr val="F9EE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3" name="Freeform 52">
                <a:extLst>
                  <a:ext uri="{FF2B5EF4-FFF2-40B4-BE49-F238E27FC236}">
                    <a16:creationId xmlns:a16="http://schemas.microsoft.com/office/drawing/2014/main" id="{54832807-0481-4E06-B8B5-042E6E05D3C1}"/>
                  </a:ext>
                </a:extLst>
              </p:cNvPr>
              <p:cNvSpPr>
                <a:spLocks/>
              </p:cNvSpPr>
              <p:nvPr/>
            </p:nvSpPr>
            <p:spPr bwMode="auto">
              <a:xfrm>
                <a:off x="10888663" y="944563"/>
                <a:ext cx="168275" cy="227013"/>
              </a:xfrm>
              <a:custGeom>
                <a:avLst/>
                <a:gdLst>
                  <a:gd name="T0" fmla="*/ 58 w 59"/>
                  <a:gd name="T1" fmla="*/ 76 h 80"/>
                  <a:gd name="T2" fmla="*/ 38 w 59"/>
                  <a:gd name="T3" fmla="*/ 80 h 80"/>
                  <a:gd name="T4" fmla="*/ 0 w 59"/>
                  <a:gd name="T5" fmla="*/ 40 h 80"/>
                  <a:gd name="T6" fmla="*/ 40 w 59"/>
                  <a:gd name="T7" fmla="*/ 0 h 80"/>
                  <a:gd name="T8" fmla="*/ 59 w 59"/>
                  <a:gd name="T9" fmla="*/ 3 h 80"/>
                  <a:gd name="T10" fmla="*/ 56 w 59"/>
                  <a:gd name="T11" fmla="*/ 11 h 80"/>
                  <a:gd name="T12" fmla="*/ 41 w 59"/>
                  <a:gd name="T13" fmla="*/ 8 h 80"/>
                  <a:gd name="T14" fmla="*/ 10 w 59"/>
                  <a:gd name="T15" fmla="*/ 40 h 80"/>
                  <a:gd name="T16" fmla="*/ 40 w 59"/>
                  <a:gd name="T17" fmla="*/ 71 h 80"/>
                  <a:gd name="T18" fmla="*/ 56 w 59"/>
                  <a:gd name="T19" fmla="*/ 68 h 80"/>
                  <a:gd name="T20" fmla="*/ 58 w 59"/>
                  <a:gd name="T21"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0">
                    <a:moveTo>
                      <a:pt x="58" y="76"/>
                    </a:moveTo>
                    <a:cubicBezTo>
                      <a:pt x="55" y="78"/>
                      <a:pt x="47" y="80"/>
                      <a:pt x="38" y="80"/>
                    </a:cubicBezTo>
                    <a:cubicBezTo>
                      <a:pt x="16" y="80"/>
                      <a:pt x="0" y="66"/>
                      <a:pt x="0" y="40"/>
                    </a:cubicBezTo>
                    <a:cubicBezTo>
                      <a:pt x="0" y="16"/>
                      <a:pt x="16" y="0"/>
                      <a:pt x="40" y="0"/>
                    </a:cubicBezTo>
                    <a:cubicBezTo>
                      <a:pt x="50" y="0"/>
                      <a:pt x="56" y="2"/>
                      <a:pt x="59" y="3"/>
                    </a:cubicBezTo>
                    <a:cubicBezTo>
                      <a:pt x="56" y="11"/>
                      <a:pt x="56" y="11"/>
                      <a:pt x="56" y="11"/>
                    </a:cubicBezTo>
                    <a:cubicBezTo>
                      <a:pt x="52" y="9"/>
                      <a:pt x="47" y="8"/>
                      <a:pt x="41" y="8"/>
                    </a:cubicBezTo>
                    <a:cubicBezTo>
                      <a:pt x="22" y="8"/>
                      <a:pt x="10" y="20"/>
                      <a:pt x="10" y="40"/>
                    </a:cubicBezTo>
                    <a:cubicBezTo>
                      <a:pt x="10" y="59"/>
                      <a:pt x="21" y="71"/>
                      <a:pt x="40" y="71"/>
                    </a:cubicBezTo>
                    <a:cubicBezTo>
                      <a:pt x="46" y="71"/>
                      <a:pt x="52" y="70"/>
                      <a:pt x="56" y="68"/>
                    </a:cubicBezTo>
                    <a:lnTo>
                      <a:pt x="58" y="76"/>
                    </a:lnTo>
                    <a:close/>
                  </a:path>
                </a:pathLst>
              </a:custGeom>
              <a:solidFill>
                <a:srgbClr val="F9EE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4" name="Freeform 53">
                <a:extLst>
                  <a:ext uri="{FF2B5EF4-FFF2-40B4-BE49-F238E27FC236}">
                    <a16:creationId xmlns:a16="http://schemas.microsoft.com/office/drawing/2014/main" id="{F7A9E5F7-71D4-49A5-9909-14F806C9FA6C}"/>
                  </a:ext>
                </a:extLst>
              </p:cNvPr>
              <p:cNvSpPr>
                <a:spLocks/>
              </p:cNvSpPr>
              <p:nvPr/>
            </p:nvSpPr>
            <p:spPr bwMode="auto">
              <a:xfrm>
                <a:off x="10507663" y="496888"/>
                <a:ext cx="133350" cy="111125"/>
              </a:xfrm>
              <a:custGeom>
                <a:avLst/>
                <a:gdLst>
                  <a:gd name="T0" fmla="*/ 84 w 84"/>
                  <a:gd name="T1" fmla="*/ 70 h 70"/>
                  <a:gd name="T2" fmla="*/ 80 w 84"/>
                  <a:gd name="T3" fmla="*/ 0 h 70"/>
                  <a:gd name="T4" fmla="*/ 7 w 84"/>
                  <a:gd name="T5" fmla="*/ 0 h 70"/>
                  <a:gd name="T6" fmla="*/ 0 w 84"/>
                  <a:gd name="T7" fmla="*/ 70 h 70"/>
                  <a:gd name="T8" fmla="*/ 84 w 84"/>
                  <a:gd name="T9" fmla="*/ 70 h 70"/>
                </a:gdLst>
                <a:ahLst/>
                <a:cxnLst>
                  <a:cxn ang="0">
                    <a:pos x="T0" y="T1"/>
                  </a:cxn>
                  <a:cxn ang="0">
                    <a:pos x="T2" y="T3"/>
                  </a:cxn>
                  <a:cxn ang="0">
                    <a:pos x="T4" y="T5"/>
                  </a:cxn>
                  <a:cxn ang="0">
                    <a:pos x="T6" y="T7"/>
                  </a:cxn>
                  <a:cxn ang="0">
                    <a:pos x="T8" y="T9"/>
                  </a:cxn>
                </a:cxnLst>
                <a:rect l="0" t="0" r="r" b="b"/>
                <a:pathLst>
                  <a:path w="84" h="70">
                    <a:moveTo>
                      <a:pt x="84" y="70"/>
                    </a:moveTo>
                    <a:lnTo>
                      <a:pt x="80" y="0"/>
                    </a:lnTo>
                    <a:lnTo>
                      <a:pt x="7" y="0"/>
                    </a:lnTo>
                    <a:lnTo>
                      <a:pt x="0" y="70"/>
                    </a:lnTo>
                    <a:lnTo>
                      <a:pt x="84" y="70"/>
                    </a:lnTo>
                    <a:close/>
                  </a:path>
                </a:pathLst>
              </a:custGeom>
              <a:solidFill>
                <a:srgbClr val="B700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5" name="Freeform 54">
                <a:extLst>
                  <a:ext uri="{FF2B5EF4-FFF2-40B4-BE49-F238E27FC236}">
                    <a16:creationId xmlns:a16="http://schemas.microsoft.com/office/drawing/2014/main" id="{4B1921FC-0AF3-4DCC-8EBE-2021C81D58B6}"/>
                  </a:ext>
                </a:extLst>
              </p:cNvPr>
              <p:cNvSpPr>
                <a:spLocks/>
              </p:cNvSpPr>
              <p:nvPr/>
            </p:nvSpPr>
            <p:spPr bwMode="auto">
              <a:xfrm>
                <a:off x="10507663" y="608013"/>
                <a:ext cx="133350" cy="304800"/>
              </a:xfrm>
              <a:custGeom>
                <a:avLst/>
                <a:gdLst>
                  <a:gd name="T0" fmla="*/ 0 w 84"/>
                  <a:gd name="T1" fmla="*/ 0 h 192"/>
                  <a:gd name="T2" fmla="*/ 0 w 84"/>
                  <a:gd name="T3" fmla="*/ 192 h 192"/>
                  <a:gd name="T4" fmla="*/ 41 w 84"/>
                  <a:gd name="T5" fmla="*/ 163 h 192"/>
                  <a:gd name="T6" fmla="*/ 84 w 84"/>
                  <a:gd name="T7" fmla="*/ 192 h 192"/>
                  <a:gd name="T8" fmla="*/ 84 w 84"/>
                  <a:gd name="T9" fmla="*/ 0 h 192"/>
                  <a:gd name="T10" fmla="*/ 0 w 84"/>
                  <a:gd name="T11" fmla="*/ 0 h 192"/>
                </a:gdLst>
                <a:ahLst/>
                <a:cxnLst>
                  <a:cxn ang="0">
                    <a:pos x="T0" y="T1"/>
                  </a:cxn>
                  <a:cxn ang="0">
                    <a:pos x="T2" y="T3"/>
                  </a:cxn>
                  <a:cxn ang="0">
                    <a:pos x="T4" y="T5"/>
                  </a:cxn>
                  <a:cxn ang="0">
                    <a:pos x="T6" y="T7"/>
                  </a:cxn>
                  <a:cxn ang="0">
                    <a:pos x="T8" y="T9"/>
                  </a:cxn>
                  <a:cxn ang="0">
                    <a:pos x="T10" y="T11"/>
                  </a:cxn>
                </a:cxnLst>
                <a:rect l="0" t="0" r="r" b="b"/>
                <a:pathLst>
                  <a:path w="84" h="192">
                    <a:moveTo>
                      <a:pt x="0" y="0"/>
                    </a:moveTo>
                    <a:lnTo>
                      <a:pt x="0" y="192"/>
                    </a:lnTo>
                    <a:lnTo>
                      <a:pt x="41" y="163"/>
                    </a:lnTo>
                    <a:lnTo>
                      <a:pt x="84" y="192"/>
                    </a:lnTo>
                    <a:lnTo>
                      <a:pt x="84" y="0"/>
                    </a:lnTo>
                    <a:lnTo>
                      <a:pt x="0" y="0"/>
                    </a:ln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8" name="组合 7">
              <a:extLst>
                <a:ext uri="{FF2B5EF4-FFF2-40B4-BE49-F238E27FC236}">
                  <a16:creationId xmlns:a16="http://schemas.microsoft.com/office/drawing/2014/main" id="{69D0DE93-F53E-497F-9922-3FBCAC842702}"/>
                </a:ext>
              </a:extLst>
            </p:cNvPr>
            <p:cNvGrpSpPr/>
            <p:nvPr/>
          </p:nvGrpSpPr>
          <p:grpSpPr>
            <a:xfrm>
              <a:off x="6566970" y="1402557"/>
              <a:ext cx="888420" cy="887512"/>
              <a:chOff x="8213725" y="3495675"/>
              <a:chExt cx="1554163" cy="1552575"/>
            </a:xfrm>
          </p:grpSpPr>
          <p:sp>
            <p:nvSpPr>
              <p:cNvPr id="487" name="Oval 55">
                <a:extLst>
                  <a:ext uri="{FF2B5EF4-FFF2-40B4-BE49-F238E27FC236}">
                    <a16:creationId xmlns:a16="http://schemas.microsoft.com/office/drawing/2014/main" id="{FA4F1031-2C13-475E-AD75-1D9C98686A57}"/>
                  </a:ext>
                </a:extLst>
              </p:cNvPr>
              <p:cNvSpPr>
                <a:spLocks noChangeArrowheads="1"/>
              </p:cNvSpPr>
              <p:nvPr/>
            </p:nvSpPr>
            <p:spPr bwMode="auto">
              <a:xfrm>
                <a:off x="8213725" y="3495675"/>
                <a:ext cx="1554163" cy="1552575"/>
              </a:xfrm>
              <a:prstGeom prst="ellipse">
                <a:avLst/>
              </a:pr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8" name="Freeform 56">
                <a:extLst>
                  <a:ext uri="{FF2B5EF4-FFF2-40B4-BE49-F238E27FC236}">
                    <a16:creationId xmlns:a16="http://schemas.microsoft.com/office/drawing/2014/main" id="{C9B2315E-E706-4960-9BC8-B149670794B2}"/>
                  </a:ext>
                </a:extLst>
              </p:cNvPr>
              <p:cNvSpPr>
                <a:spLocks/>
              </p:cNvSpPr>
              <p:nvPr/>
            </p:nvSpPr>
            <p:spPr bwMode="auto">
              <a:xfrm>
                <a:off x="8515350" y="3649663"/>
                <a:ext cx="952500" cy="1244600"/>
              </a:xfrm>
              <a:custGeom>
                <a:avLst/>
                <a:gdLst>
                  <a:gd name="T0" fmla="*/ 335 w 335"/>
                  <a:gd name="T1" fmla="*/ 391 h 437"/>
                  <a:gd name="T2" fmla="*/ 289 w 335"/>
                  <a:gd name="T3" fmla="*/ 437 h 437"/>
                  <a:gd name="T4" fmla="*/ 45 w 335"/>
                  <a:gd name="T5" fmla="*/ 437 h 437"/>
                  <a:gd name="T6" fmla="*/ 0 w 335"/>
                  <a:gd name="T7" fmla="*/ 391 h 437"/>
                  <a:gd name="T8" fmla="*/ 0 w 335"/>
                  <a:gd name="T9" fmla="*/ 46 h 437"/>
                  <a:gd name="T10" fmla="*/ 45 w 335"/>
                  <a:gd name="T11" fmla="*/ 0 h 437"/>
                  <a:gd name="T12" fmla="*/ 289 w 335"/>
                  <a:gd name="T13" fmla="*/ 0 h 437"/>
                  <a:gd name="T14" fmla="*/ 335 w 335"/>
                  <a:gd name="T15" fmla="*/ 46 h 437"/>
                  <a:gd name="T16" fmla="*/ 335 w 335"/>
                  <a:gd name="T17" fmla="*/ 39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437">
                    <a:moveTo>
                      <a:pt x="335" y="391"/>
                    </a:moveTo>
                    <a:cubicBezTo>
                      <a:pt x="335" y="416"/>
                      <a:pt x="315" y="437"/>
                      <a:pt x="289" y="437"/>
                    </a:cubicBezTo>
                    <a:cubicBezTo>
                      <a:pt x="45" y="437"/>
                      <a:pt x="45" y="437"/>
                      <a:pt x="45" y="437"/>
                    </a:cubicBezTo>
                    <a:cubicBezTo>
                      <a:pt x="20" y="437"/>
                      <a:pt x="0" y="416"/>
                      <a:pt x="0" y="391"/>
                    </a:cubicBezTo>
                    <a:cubicBezTo>
                      <a:pt x="0" y="46"/>
                      <a:pt x="0" y="46"/>
                      <a:pt x="0" y="46"/>
                    </a:cubicBezTo>
                    <a:cubicBezTo>
                      <a:pt x="0" y="21"/>
                      <a:pt x="20" y="0"/>
                      <a:pt x="45" y="0"/>
                    </a:cubicBezTo>
                    <a:cubicBezTo>
                      <a:pt x="289" y="0"/>
                      <a:pt x="289" y="0"/>
                      <a:pt x="289" y="0"/>
                    </a:cubicBezTo>
                    <a:cubicBezTo>
                      <a:pt x="315" y="0"/>
                      <a:pt x="335" y="21"/>
                      <a:pt x="335" y="46"/>
                    </a:cubicBezTo>
                    <a:lnTo>
                      <a:pt x="335" y="391"/>
                    </a:lnTo>
                    <a:close/>
                  </a:path>
                </a:pathLst>
              </a:custGeom>
              <a:solidFill>
                <a:srgbClr val="094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9" name="Freeform 57">
                <a:extLst>
                  <a:ext uri="{FF2B5EF4-FFF2-40B4-BE49-F238E27FC236}">
                    <a16:creationId xmlns:a16="http://schemas.microsoft.com/office/drawing/2014/main" id="{4CB64424-78BB-4D07-8C4F-690A965871E4}"/>
                  </a:ext>
                </a:extLst>
              </p:cNvPr>
              <p:cNvSpPr>
                <a:spLocks/>
              </p:cNvSpPr>
              <p:nvPr/>
            </p:nvSpPr>
            <p:spPr bwMode="auto">
              <a:xfrm>
                <a:off x="8594725" y="3843338"/>
                <a:ext cx="793750" cy="971550"/>
              </a:xfrm>
              <a:custGeom>
                <a:avLst/>
                <a:gdLst>
                  <a:gd name="T0" fmla="*/ 233 w 279"/>
                  <a:gd name="T1" fmla="*/ 0 h 341"/>
                  <a:gd name="T2" fmla="*/ 45 w 279"/>
                  <a:gd name="T3" fmla="*/ 0 h 341"/>
                  <a:gd name="T4" fmla="*/ 0 w 279"/>
                  <a:gd name="T5" fmla="*/ 46 h 341"/>
                  <a:gd name="T6" fmla="*/ 0 w 279"/>
                  <a:gd name="T7" fmla="*/ 295 h 341"/>
                  <a:gd name="T8" fmla="*/ 45 w 279"/>
                  <a:gd name="T9" fmla="*/ 341 h 341"/>
                  <a:gd name="T10" fmla="*/ 233 w 279"/>
                  <a:gd name="T11" fmla="*/ 341 h 341"/>
                  <a:gd name="T12" fmla="*/ 279 w 279"/>
                  <a:gd name="T13" fmla="*/ 295 h 341"/>
                  <a:gd name="T14" fmla="*/ 279 w 279"/>
                  <a:gd name="T15" fmla="*/ 46 h 341"/>
                  <a:gd name="T16" fmla="*/ 233 w 279"/>
                  <a:gd name="T17"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341">
                    <a:moveTo>
                      <a:pt x="233" y="0"/>
                    </a:moveTo>
                    <a:cubicBezTo>
                      <a:pt x="45" y="0"/>
                      <a:pt x="45" y="0"/>
                      <a:pt x="45" y="0"/>
                    </a:cubicBezTo>
                    <a:cubicBezTo>
                      <a:pt x="20" y="0"/>
                      <a:pt x="0" y="21"/>
                      <a:pt x="0" y="46"/>
                    </a:cubicBezTo>
                    <a:cubicBezTo>
                      <a:pt x="0" y="295"/>
                      <a:pt x="0" y="295"/>
                      <a:pt x="0" y="295"/>
                    </a:cubicBezTo>
                    <a:cubicBezTo>
                      <a:pt x="0" y="320"/>
                      <a:pt x="20" y="341"/>
                      <a:pt x="45" y="341"/>
                    </a:cubicBezTo>
                    <a:cubicBezTo>
                      <a:pt x="233" y="341"/>
                      <a:pt x="233" y="341"/>
                      <a:pt x="233" y="341"/>
                    </a:cubicBezTo>
                    <a:cubicBezTo>
                      <a:pt x="258" y="341"/>
                      <a:pt x="279" y="320"/>
                      <a:pt x="279" y="295"/>
                    </a:cubicBezTo>
                    <a:cubicBezTo>
                      <a:pt x="279" y="46"/>
                      <a:pt x="279" y="46"/>
                      <a:pt x="279" y="46"/>
                    </a:cubicBezTo>
                    <a:cubicBezTo>
                      <a:pt x="279" y="21"/>
                      <a:pt x="258" y="0"/>
                      <a:pt x="233" y="0"/>
                    </a:cubicBezTo>
                    <a:close/>
                  </a:path>
                </a:pathLst>
              </a:custGeom>
              <a:solidFill>
                <a:srgbClr val="D6C7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0" name="Freeform 58">
                <a:extLst>
                  <a:ext uri="{FF2B5EF4-FFF2-40B4-BE49-F238E27FC236}">
                    <a16:creationId xmlns:a16="http://schemas.microsoft.com/office/drawing/2014/main" id="{389F7C74-8AE2-42E6-A63B-5880E2143F65}"/>
                  </a:ext>
                </a:extLst>
              </p:cNvPr>
              <p:cNvSpPr>
                <a:spLocks/>
              </p:cNvSpPr>
              <p:nvPr/>
            </p:nvSpPr>
            <p:spPr bwMode="auto">
              <a:xfrm>
                <a:off x="8594725" y="3829050"/>
                <a:ext cx="793750" cy="968375"/>
              </a:xfrm>
              <a:custGeom>
                <a:avLst/>
                <a:gdLst>
                  <a:gd name="T0" fmla="*/ 233 w 279"/>
                  <a:gd name="T1" fmla="*/ 0 h 340"/>
                  <a:gd name="T2" fmla="*/ 45 w 279"/>
                  <a:gd name="T3" fmla="*/ 0 h 340"/>
                  <a:gd name="T4" fmla="*/ 0 w 279"/>
                  <a:gd name="T5" fmla="*/ 46 h 340"/>
                  <a:gd name="T6" fmla="*/ 0 w 279"/>
                  <a:gd name="T7" fmla="*/ 295 h 340"/>
                  <a:gd name="T8" fmla="*/ 45 w 279"/>
                  <a:gd name="T9" fmla="*/ 340 h 340"/>
                  <a:gd name="T10" fmla="*/ 233 w 279"/>
                  <a:gd name="T11" fmla="*/ 340 h 340"/>
                  <a:gd name="T12" fmla="*/ 279 w 279"/>
                  <a:gd name="T13" fmla="*/ 295 h 340"/>
                  <a:gd name="T14" fmla="*/ 279 w 279"/>
                  <a:gd name="T15" fmla="*/ 46 h 340"/>
                  <a:gd name="T16" fmla="*/ 233 w 279"/>
                  <a:gd name="T1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340">
                    <a:moveTo>
                      <a:pt x="233" y="0"/>
                    </a:moveTo>
                    <a:cubicBezTo>
                      <a:pt x="45" y="0"/>
                      <a:pt x="45" y="0"/>
                      <a:pt x="45" y="0"/>
                    </a:cubicBezTo>
                    <a:cubicBezTo>
                      <a:pt x="20" y="0"/>
                      <a:pt x="0" y="21"/>
                      <a:pt x="0" y="46"/>
                    </a:cubicBezTo>
                    <a:cubicBezTo>
                      <a:pt x="0" y="295"/>
                      <a:pt x="0" y="295"/>
                      <a:pt x="0" y="295"/>
                    </a:cubicBezTo>
                    <a:cubicBezTo>
                      <a:pt x="0" y="320"/>
                      <a:pt x="20" y="340"/>
                      <a:pt x="45" y="340"/>
                    </a:cubicBezTo>
                    <a:cubicBezTo>
                      <a:pt x="233" y="340"/>
                      <a:pt x="233" y="340"/>
                      <a:pt x="233" y="340"/>
                    </a:cubicBezTo>
                    <a:cubicBezTo>
                      <a:pt x="258" y="340"/>
                      <a:pt x="279" y="320"/>
                      <a:pt x="279" y="295"/>
                    </a:cubicBezTo>
                    <a:cubicBezTo>
                      <a:pt x="279" y="46"/>
                      <a:pt x="279" y="46"/>
                      <a:pt x="279" y="46"/>
                    </a:cubicBezTo>
                    <a:cubicBezTo>
                      <a:pt x="279" y="21"/>
                      <a:pt x="258" y="0"/>
                      <a:pt x="233" y="0"/>
                    </a:cubicBezTo>
                    <a:close/>
                  </a:path>
                </a:pathLst>
              </a:custGeom>
              <a:solidFill>
                <a:srgbClr val="F7E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1" name="Freeform 59">
                <a:extLst>
                  <a:ext uri="{FF2B5EF4-FFF2-40B4-BE49-F238E27FC236}">
                    <a16:creationId xmlns:a16="http://schemas.microsoft.com/office/drawing/2014/main" id="{DF1166B8-4E71-4E62-AEC5-D0DA6C568F89}"/>
                  </a:ext>
                </a:extLst>
              </p:cNvPr>
              <p:cNvSpPr>
                <a:spLocks/>
              </p:cNvSpPr>
              <p:nvPr/>
            </p:nvSpPr>
            <p:spPr bwMode="auto">
              <a:xfrm>
                <a:off x="8594725" y="3817938"/>
                <a:ext cx="793750" cy="968375"/>
              </a:xfrm>
              <a:custGeom>
                <a:avLst/>
                <a:gdLst>
                  <a:gd name="T0" fmla="*/ 233 w 279"/>
                  <a:gd name="T1" fmla="*/ 0 h 340"/>
                  <a:gd name="T2" fmla="*/ 45 w 279"/>
                  <a:gd name="T3" fmla="*/ 0 h 340"/>
                  <a:gd name="T4" fmla="*/ 0 w 279"/>
                  <a:gd name="T5" fmla="*/ 45 h 340"/>
                  <a:gd name="T6" fmla="*/ 0 w 279"/>
                  <a:gd name="T7" fmla="*/ 294 h 340"/>
                  <a:gd name="T8" fmla="*/ 45 w 279"/>
                  <a:gd name="T9" fmla="*/ 340 h 340"/>
                  <a:gd name="T10" fmla="*/ 233 w 279"/>
                  <a:gd name="T11" fmla="*/ 340 h 340"/>
                  <a:gd name="T12" fmla="*/ 279 w 279"/>
                  <a:gd name="T13" fmla="*/ 294 h 340"/>
                  <a:gd name="T14" fmla="*/ 279 w 279"/>
                  <a:gd name="T15" fmla="*/ 45 h 340"/>
                  <a:gd name="T16" fmla="*/ 233 w 279"/>
                  <a:gd name="T1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340">
                    <a:moveTo>
                      <a:pt x="233" y="0"/>
                    </a:moveTo>
                    <a:cubicBezTo>
                      <a:pt x="45" y="0"/>
                      <a:pt x="45" y="0"/>
                      <a:pt x="45" y="0"/>
                    </a:cubicBezTo>
                    <a:cubicBezTo>
                      <a:pt x="20" y="0"/>
                      <a:pt x="0" y="20"/>
                      <a:pt x="0" y="45"/>
                    </a:cubicBezTo>
                    <a:cubicBezTo>
                      <a:pt x="0" y="294"/>
                      <a:pt x="0" y="294"/>
                      <a:pt x="0" y="294"/>
                    </a:cubicBezTo>
                    <a:cubicBezTo>
                      <a:pt x="0" y="319"/>
                      <a:pt x="20" y="340"/>
                      <a:pt x="45" y="340"/>
                    </a:cubicBezTo>
                    <a:cubicBezTo>
                      <a:pt x="233" y="340"/>
                      <a:pt x="233" y="340"/>
                      <a:pt x="233" y="340"/>
                    </a:cubicBezTo>
                    <a:cubicBezTo>
                      <a:pt x="258" y="340"/>
                      <a:pt x="279" y="319"/>
                      <a:pt x="279" y="294"/>
                    </a:cubicBezTo>
                    <a:cubicBezTo>
                      <a:pt x="279" y="45"/>
                      <a:pt x="279" y="45"/>
                      <a:pt x="279" y="45"/>
                    </a:cubicBezTo>
                    <a:cubicBezTo>
                      <a:pt x="279" y="20"/>
                      <a:pt x="258" y="0"/>
                      <a:pt x="233" y="0"/>
                    </a:cubicBezTo>
                    <a:close/>
                  </a:path>
                </a:pathLst>
              </a:custGeom>
              <a:solidFill>
                <a:srgbClr val="FFF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2" name="Freeform 60">
                <a:extLst>
                  <a:ext uri="{FF2B5EF4-FFF2-40B4-BE49-F238E27FC236}">
                    <a16:creationId xmlns:a16="http://schemas.microsoft.com/office/drawing/2014/main" id="{6E430C88-DA14-47D2-B838-F816229B49E0}"/>
                  </a:ext>
                </a:extLst>
              </p:cNvPr>
              <p:cNvSpPr>
                <a:spLocks/>
              </p:cNvSpPr>
              <p:nvPr/>
            </p:nvSpPr>
            <p:spPr bwMode="auto">
              <a:xfrm>
                <a:off x="8820150" y="3783013"/>
                <a:ext cx="341313" cy="103188"/>
              </a:xfrm>
              <a:custGeom>
                <a:avLst/>
                <a:gdLst>
                  <a:gd name="T0" fmla="*/ 65 w 120"/>
                  <a:gd name="T1" fmla="*/ 23 h 36"/>
                  <a:gd name="T2" fmla="*/ 27 w 120"/>
                  <a:gd name="T3" fmla="*/ 14 h 36"/>
                  <a:gd name="T4" fmla="*/ 10 w 120"/>
                  <a:gd name="T5" fmla="*/ 0 h 36"/>
                  <a:gd name="T6" fmla="*/ 0 w 120"/>
                  <a:gd name="T7" fmla="*/ 17 h 36"/>
                  <a:gd name="T8" fmla="*/ 20 w 120"/>
                  <a:gd name="T9" fmla="*/ 36 h 36"/>
                  <a:gd name="T10" fmla="*/ 101 w 120"/>
                  <a:gd name="T11" fmla="*/ 36 h 36"/>
                  <a:gd name="T12" fmla="*/ 120 w 120"/>
                  <a:gd name="T13" fmla="*/ 17 h 36"/>
                  <a:gd name="T14" fmla="*/ 118 w 120"/>
                  <a:gd name="T15" fmla="*/ 7 h 36"/>
                  <a:gd name="T16" fmla="*/ 65 w 120"/>
                  <a:gd name="T17"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36">
                    <a:moveTo>
                      <a:pt x="65" y="23"/>
                    </a:moveTo>
                    <a:cubicBezTo>
                      <a:pt x="52" y="23"/>
                      <a:pt x="39" y="21"/>
                      <a:pt x="27" y="14"/>
                    </a:cubicBezTo>
                    <a:cubicBezTo>
                      <a:pt x="21" y="11"/>
                      <a:pt x="14" y="6"/>
                      <a:pt x="10" y="0"/>
                    </a:cubicBezTo>
                    <a:cubicBezTo>
                      <a:pt x="4" y="4"/>
                      <a:pt x="0" y="10"/>
                      <a:pt x="0" y="17"/>
                    </a:cubicBezTo>
                    <a:cubicBezTo>
                      <a:pt x="0" y="28"/>
                      <a:pt x="9" y="36"/>
                      <a:pt x="20" y="36"/>
                    </a:cubicBezTo>
                    <a:cubicBezTo>
                      <a:pt x="101" y="36"/>
                      <a:pt x="101" y="36"/>
                      <a:pt x="101" y="36"/>
                    </a:cubicBezTo>
                    <a:cubicBezTo>
                      <a:pt x="111" y="36"/>
                      <a:pt x="120" y="28"/>
                      <a:pt x="120" y="17"/>
                    </a:cubicBezTo>
                    <a:cubicBezTo>
                      <a:pt x="120" y="13"/>
                      <a:pt x="119" y="10"/>
                      <a:pt x="118" y="7"/>
                    </a:cubicBezTo>
                    <a:cubicBezTo>
                      <a:pt x="105" y="21"/>
                      <a:pt x="83" y="25"/>
                      <a:pt x="65" y="23"/>
                    </a:cubicBezTo>
                    <a:close/>
                  </a:path>
                </a:pathLst>
              </a:custGeom>
              <a:solidFill>
                <a:srgbClr val="ACB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3" name="Freeform 61">
                <a:extLst>
                  <a:ext uri="{FF2B5EF4-FFF2-40B4-BE49-F238E27FC236}">
                    <a16:creationId xmlns:a16="http://schemas.microsoft.com/office/drawing/2014/main" id="{B6F4935E-86A0-481C-952B-DA4348BD4699}"/>
                  </a:ext>
                </a:extLst>
              </p:cNvPr>
              <p:cNvSpPr>
                <a:spLocks noEditPoints="1"/>
              </p:cNvSpPr>
              <p:nvPr/>
            </p:nvSpPr>
            <p:spPr bwMode="auto">
              <a:xfrm>
                <a:off x="8820150" y="3700463"/>
                <a:ext cx="341313" cy="174625"/>
              </a:xfrm>
              <a:custGeom>
                <a:avLst/>
                <a:gdLst>
                  <a:gd name="T0" fmla="*/ 101 w 120"/>
                  <a:gd name="T1" fmla="*/ 22 h 61"/>
                  <a:gd name="T2" fmla="*/ 83 w 120"/>
                  <a:gd name="T3" fmla="*/ 22 h 61"/>
                  <a:gd name="T4" fmla="*/ 83 w 120"/>
                  <a:gd name="T5" fmla="*/ 20 h 61"/>
                  <a:gd name="T6" fmla="*/ 60 w 120"/>
                  <a:gd name="T7" fmla="*/ 0 h 61"/>
                  <a:gd name="T8" fmla="*/ 37 w 120"/>
                  <a:gd name="T9" fmla="*/ 20 h 61"/>
                  <a:gd name="T10" fmla="*/ 37 w 120"/>
                  <a:gd name="T11" fmla="*/ 22 h 61"/>
                  <a:gd name="T12" fmla="*/ 20 w 120"/>
                  <a:gd name="T13" fmla="*/ 22 h 61"/>
                  <a:gd name="T14" fmla="*/ 0 w 120"/>
                  <a:gd name="T15" fmla="*/ 42 h 61"/>
                  <a:gd name="T16" fmla="*/ 20 w 120"/>
                  <a:gd name="T17" fmla="*/ 61 h 61"/>
                  <a:gd name="T18" fmla="*/ 101 w 120"/>
                  <a:gd name="T19" fmla="*/ 61 h 61"/>
                  <a:gd name="T20" fmla="*/ 120 w 120"/>
                  <a:gd name="T21" fmla="*/ 42 h 61"/>
                  <a:gd name="T22" fmla="*/ 101 w 120"/>
                  <a:gd name="T23" fmla="*/ 22 h 61"/>
                  <a:gd name="T24" fmla="*/ 46 w 120"/>
                  <a:gd name="T25" fmla="*/ 20 h 61"/>
                  <a:gd name="T26" fmla="*/ 60 w 120"/>
                  <a:gd name="T27" fmla="*/ 7 h 61"/>
                  <a:gd name="T28" fmla="*/ 75 w 120"/>
                  <a:gd name="T29" fmla="*/ 20 h 61"/>
                  <a:gd name="T30" fmla="*/ 75 w 120"/>
                  <a:gd name="T31" fmla="*/ 22 h 61"/>
                  <a:gd name="T32" fmla="*/ 46 w 120"/>
                  <a:gd name="T33" fmla="*/ 22 h 61"/>
                  <a:gd name="T34" fmla="*/ 46 w 120"/>
                  <a:gd name="T35" fmla="*/ 2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61">
                    <a:moveTo>
                      <a:pt x="101" y="22"/>
                    </a:moveTo>
                    <a:cubicBezTo>
                      <a:pt x="83" y="22"/>
                      <a:pt x="83" y="22"/>
                      <a:pt x="83" y="22"/>
                    </a:cubicBezTo>
                    <a:cubicBezTo>
                      <a:pt x="83" y="22"/>
                      <a:pt x="83" y="21"/>
                      <a:pt x="83" y="20"/>
                    </a:cubicBezTo>
                    <a:cubicBezTo>
                      <a:pt x="83" y="9"/>
                      <a:pt x="73" y="0"/>
                      <a:pt x="60" y="0"/>
                    </a:cubicBezTo>
                    <a:cubicBezTo>
                      <a:pt x="48" y="0"/>
                      <a:pt x="37" y="9"/>
                      <a:pt x="37" y="20"/>
                    </a:cubicBezTo>
                    <a:cubicBezTo>
                      <a:pt x="37" y="21"/>
                      <a:pt x="37" y="22"/>
                      <a:pt x="37" y="22"/>
                    </a:cubicBezTo>
                    <a:cubicBezTo>
                      <a:pt x="20" y="22"/>
                      <a:pt x="20" y="22"/>
                      <a:pt x="20" y="22"/>
                    </a:cubicBezTo>
                    <a:cubicBezTo>
                      <a:pt x="9" y="22"/>
                      <a:pt x="0" y="31"/>
                      <a:pt x="0" y="42"/>
                    </a:cubicBezTo>
                    <a:cubicBezTo>
                      <a:pt x="0" y="52"/>
                      <a:pt x="9" y="61"/>
                      <a:pt x="20" y="61"/>
                    </a:cubicBezTo>
                    <a:cubicBezTo>
                      <a:pt x="101" y="61"/>
                      <a:pt x="101" y="61"/>
                      <a:pt x="101" y="61"/>
                    </a:cubicBezTo>
                    <a:cubicBezTo>
                      <a:pt x="111" y="61"/>
                      <a:pt x="120" y="52"/>
                      <a:pt x="120" y="42"/>
                    </a:cubicBezTo>
                    <a:cubicBezTo>
                      <a:pt x="120" y="31"/>
                      <a:pt x="111" y="22"/>
                      <a:pt x="101" y="22"/>
                    </a:cubicBezTo>
                    <a:close/>
                    <a:moveTo>
                      <a:pt x="46" y="20"/>
                    </a:moveTo>
                    <a:cubicBezTo>
                      <a:pt x="46" y="13"/>
                      <a:pt x="52" y="7"/>
                      <a:pt x="60" y="7"/>
                    </a:cubicBezTo>
                    <a:cubicBezTo>
                      <a:pt x="68" y="7"/>
                      <a:pt x="75" y="13"/>
                      <a:pt x="75" y="20"/>
                    </a:cubicBezTo>
                    <a:cubicBezTo>
                      <a:pt x="75" y="21"/>
                      <a:pt x="75" y="22"/>
                      <a:pt x="75" y="22"/>
                    </a:cubicBezTo>
                    <a:cubicBezTo>
                      <a:pt x="46" y="22"/>
                      <a:pt x="46" y="22"/>
                      <a:pt x="46" y="22"/>
                    </a:cubicBezTo>
                    <a:cubicBezTo>
                      <a:pt x="46" y="22"/>
                      <a:pt x="46" y="21"/>
                      <a:pt x="46" y="20"/>
                    </a:cubicBezTo>
                    <a:close/>
                  </a:path>
                </a:pathLst>
              </a:custGeom>
              <a:solidFill>
                <a:srgbClr val="D0D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4" name="Rectangle 62">
                <a:extLst>
                  <a:ext uri="{FF2B5EF4-FFF2-40B4-BE49-F238E27FC236}">
                    <a16:creationId xmlns:a16="http://schemas.microsoft.com/office/drawing/2014/main" id="{62B868D7-DF24-4C52-A4DF-B0E2C2BC36DB}"/>
                  </a:ext>
                </a:extLst>
              </p:cNvPr>
              <p:cNvSpPr>
                <a:spLocks noChangeArrowheads="1"/>
              </p:cNvSpPr>
              <p:nvPr/>
            </p:nvSpPr>
            <p:spPr bwMode="auto">
              <a:xfrm>
                <a:off x="8662988" y="4011613"/>
                <a:ext cx="495300" cy="107950"/>
              </a:xfrm>
              <a:prstGeom prst="rect">
                <a:avLst/>
              </a:prstGeom>
              <a:solidFill>
                <a:srgbClr val="D0D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5" name="Rectangle 63">
                <a:extLst>
                  <a:ext uri="{FF2B5EF4-FFF2-40B4-BE49-F238E27FC236}">
                    <a16:creationId xmlns:a16="http://schemas.microsoft.com/office/drawing/2014/main" id="{649CD46D-4475-4CC8-906C-03F6ACA9C5A1}"/>
                  </a:ext>
                </a:extLst>
              </p:cNvPr>
              <p:cNvSpPr>
                <a:spLocks noChangeArrowheads="1"/>
              </p:cNvSpPr>
              <p:nvPr/>
            </p:nvSpPr>
            <p:spPr bwMode="auto">
              <a:xfrm>
                <a:off x="9186863" y="3997325"/>
                <a:ext cx="133350" cy="133350"/>
              </a:xfrm>
              <a:prstGeom prst="rect">
                <a:avLst/>
              </a:prstGeom>
              <a:solidFill>
                <a:srgbClr val="D0D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6" name="Freeform 64">
                <a:extLst>
                  <a:ext uri="{FF2B5EF4-FFF2-40B4-BE49-F238E27FC236}">
                    <a16:creationId xmlns:a16="http://schemas.microsoft.com/office/drawing/2014/main" id="{EBB80179-E580-429F-95E1-D905E1BCDF02}"/>
                  </a:ext>
                </a:extLst>
              </p:cNvPr>
              <p:cNvSpPr>
                <a:spLocks/>
              </p:cNvSpPr>
              <p:nvPr/>
            </p:nvSpPr>
            <p:spPr bwMode="auto">
              <a:xfrm>
                <a:off x="9201150" y="4019550"/>
                <a:ext cx="104775" cy="103188"/>
              </a:xfrm>
              <a:custGeom>
                <a:avLst/>
                <a:gdLst>
                  <a:gd name="T0" fmla="*/ 16 w 37"/>
                  <a:gd name="T1" fmla="*/ 36 h 36"/>
                  <a:gd name="T2" fmla="*/ 13 w 37"/>
                  <a:gd name="T3" fmla="*/ 34 h 36"/>
                  <a:gd name="T4" fmla="*/ 1 w 37"/>
                  <a:gd name="T5" fmla="*/ 21 h 36"/>
                  <a:gd name="T6" fmla="*/ 2 w 37"/>
                  <a:gd name="T7" fmla="*/ 16 h 36"/>
                  <a:gd name="T8" fmla="*/ 7 w 37"/>
                  <a:gd name="T9" fmla="*/ 16 h 36"/>
                  <a:gd name="T10" fmla="*/ 16 w 37"/>
                  <a:gd name="T11" fmla="*/ 26 h 36"/>
                  <a:gd name="T12" fmla="*/ 29 w 37"/>
                  <a:gd name="T13" fmla="*/ 2 h 36"/>
                  <a:gd name="T14" fmla="*/ 35 w 37"/>
                  <a:gd name="T15" fmla="*/ 1 h 36"/>
                  <a:gd name="T16" fmla="*/ 36 w 37"/>
                  <a:gd name="T17" fmla="*/ 6 h 36"/>
                  <a:gd name="T18" fmla="*/ 19 w 37"/>
                  <a:gd name="T19" fmla="*/ 34 h 36"/>
                  <a:gd name="T20" fmla="*/ 17 w 37"/>
                  <a:gd name="T21" fmla="*/ 36 h 36"/>
                  <a:gd name="T22" fmla="*/ 16 w 37"/>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36">
                    <a:moveTo>
                      <a:pt x="16" y="36"/>
                    </a:moveTo>
                    <a:cubicBezTo>
                      <a:pt x="15" y="36"/>
                      <a:pt x="14" y="35"/>
                      <a:pt x="13" y="34"/>
                    </a:cubicBezTo>
                    <a:cubicBezTo>
                      <a:pt x="1" y="21"/>
                      <a:pt x="1" y="21"/>
                      <a:pt x="1" y="21"/>
                    </a:cubicBezTo>
                    <a:cubicBezTo>
                      <a:pt x="0" y="19"/>
                      <a:pt x="0" y="17"/>
                      <a:pt x="2" y="16"/>
                    </a:cubicBezTo>
                    <a:cubicBezTo>
                      <a:pt x="3" y="14"/>
                      <a:pt x="6" y="14"/>
                      <a:pt x="7" y="16"/>
                    </a:cubicBezTo>
                    <a:cubicBezTo>
                      <a:pt x="16" y="26"/>
                      <a:pt x="16" y="26"/>
                      <a:pt x="16" y="26"/>
                    </a:cubicBezTo>
                    <a:cubicBezTo>
                      <a:pt x="29" y="2"/>
                      <a:pt x="29" y="2"/>
                      <a:pt x="29" y="2"/>
                    </a:cubicBezTo>
                    <a:cubicBezTo>
                      <a:pt x="31" y="0"/>
                      <a:pt x="33" y="0"/>
                      <a:pt x="35" y="1"/>
                    </a:cubicBezTo>
                    <a:cubicBezTo>
                      <a:pt x="36" y="2"/>
                      <a:pt x="37" y="4"/>
                      <a:pt x="36" y="6"/>
                    </a:cubicBezTo>
                    <a:cubicBezTo>
                      <a:pt x="19" y="34"/>
                      <a:pt x="19" y="34"/>
                      <a:pt x="19" y="34"/>
                    </a:cubicBezTo>
                    <a:cubicBezTo>
                      <a:pt x="19" y="35"/>
                      <a:pt x="18" y="35"/>
                      <a:pt x="17" y="36"/>
                    </a:cubicBezTo>
                    <a:lnTo>
                      <a:pt x="16" y="36"/>
                    </a:lnTo>
                    <a:close/>
                  </a:path>
                </a:pathLst>
              </a:custGeom>
              <a:solidFill>
                <a:srgbClr val="89B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7" name="Rectangle 65">
                <a:extLst>
                  <a:ext uri="{FF2B5EF4-FFF2-40B4-BE49-F238E27FC236}">
                    <a16:creationId xmlns:a16="http://schemas.microsoft.com/office/drawing/2014/main" id="{87966BBF-A3E2-479D-857D-0D44AB0AE1CA}"/>
                  </a:ext>
                </a:extLst>
              </p:cNvPr>
              <p:cNvSpPr>
                <a:spLocks noChangeArrowheads="1"/>
              </p:cNvSpPr>
              <p:nvPr/>
            </p:nvSpPr>
            <p:spPr bwMode="auto">
              <a:xfrm>
                <a:off x="8662988" y="4184650"/>
                <a:ext cx="495300" cy="106363"/>
              </a:xfrm>
              <a:prstGeom prst="rect">
                <a:avLst/>
              </a:prstGeom>
              <a:solidFill>
                <a:srgbClr val="D0D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8" name="Rectangle 66">
                <a:extLst>
                  <a:ext uri="{FF2B5EF4-FFF2-40B4-BE49-F238E27FC236}">
                    <a16:creationId xmlns:a16="http://schemas.microsoft.com/office/drawing/2014/main" id="{648B30AE-F138-4C67-AE7D-052C346206A7}"/>
                  </a:ext>
                </a:extLst>
              </p:cNvPr>
              <p:cNvSpPr>
                <a:spLocks noChangeArrowheads="1"/>
              </p:cNvSpPr>
              <p:nvPr/>
            </p:nvSpPr>
            <p:spPr bwMode="auto">
              <a:xfrm>
                <a:off x="9186863" y="4170363"/>
                <a:ext cx="133350" cy="134938"/>
              </a:xfrm>
              <a:prstGeom prst="rect">
                <a:avLst/>
              </a:prstGeom>
              <a:solidFill>
                <a:srgbClr val="D0D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9" name="Rectangle 67">
                <a:extLst>
                  <a:ext uri="{FF2B5EF4-FFF2-40B4-BE49-F238E27FC236}">
                    <a16:creationId xmlns:a16="http://schemas.microsoft.com/office/drawing/2014/main" id="{F2D20398-2D67-4308-B513-F32A839784E8}"/>
                  </a:ext>
                </a:extLst>
              </p:cNvPr>
              <p:cNvSpPr>
                <a:spLocks noChangeArrowheads="1"/>
              </p:cNvSpPr>
              <p:nvPr/>
            </p:nvSpPr>
            <p:spPr bwMode="auto">
              <a:xfrm>
                <a:off x="8662988" y="4352925"/>
                <a:ext cx="495300" cy="107950"/>
              </a:xfrm>
              <a:prstGeom prst="rect">
                <a:avLst/>
              </a:prstGeom>
              <a:solidFill>
                <a:srgbClr val="D0D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0" name="Rectangle 68">
                <a:extLst>
                  <a:ext uri="{FF2B5EF4-FFF2-40B4-BE49-F238E27FC236}">
                    <a16:creationId xmlns:a16="http://schemas.microsoft.com/office/drawing/2014/main" id="{714174FF-3B71-4ABA-A020-ACDC174F608D}"/>
                  </a:ext>
                </a:extLst>
              </p:cNvPr>
              <p:cNvSpPr>
                <a:spLocks noChangeArrowheads="1"/>
              </p:cNvSpPr>
              <p:nvPr/>
            </p:nvSpPr>
            <p:spPr bwMode="auto">
              <a:xfrm>
                <a:off x="9186863" y="4338638"/>
                <a:ext cx="133350" cy="134938"/>
              </a:xfrm>
              <a:prstGeom prst="rect">
                <a:avLst/>
              </a:prstGeom>
              <a:solidFill>
                <a:srgbClr val="D0D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1" name="Rectangle 69">
                <a:extLst>
                  <a:ext uri="{FF2B5EF4-FFF2-40B4-BE49-F238E27FC236}">
                    <a16:creationId xmlns:a16="http://schemas.microsoft.com/office/drawing/2014/main" id="{106A9202-CFE5-44BE-8F6F-3C2D231909A5}"/>
                  </a:ext>
                </a:extLst>
              </p:cNvPr>
              <p:cNvSpPr>
                <a:spLocks noChangeArrowheads="1"/>
              </p:cNvSpPr>
              <p:nvPr/>
            </p:nvSpPr>
            <p:spPr bwMode="auto">
              <a:xfrm>
                <a:off x="8662988" y="4541838"/>
                <a:ext cx="495300" cy="104775"/>
              </a:xfrm>
              <a:prstGeom prst="rect">
                <a:avLst/>
              </a:prstGeom>
              <a:solidFill>
                <a:srgbClr val="D0D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2" name="Rectangle 70">
                <a:extLst>
                  <a:ext uri="{FF2B5EF4-FFF2-40B4-BE49-F238E27FC236}">
                    <a16:creationId xmlns:a16="http://schemas.microsoft.com/office/drawing/2014/main" id="{56162E3B-E2A8-44E1-9CB2-C4E680E9EF4D}"/>
                  </a:ext>
                </a:extLst>
              </p:cNvPr>
              <p:cNvSpPr>
                <a:spLocks noChangeArrowheads="1"/>
              </p:cNvSpPr>
              <p:nvPr/>
            </p:nvSpPr>
            <p:spPr bwMode="auto">
              <a:xfrm>
                <a:off x="9186863" y="4527550"/>
                <a:ext cx="133350" cy="133350"/>
              </a:xfrm>
              <a:prstGeom prst="rect">
                <a:avLst/>
              </a:prstGeom>
              <a:solidFill>
                <a:srgbClr val="D0D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9" name="组合 8">
              <a:extLst>
                <a:ext uri="{FF2B5EF4-FFF2-40B4-BE49-F238E27FC236}">
                  <a16:creationId xmlns:a16="http://schemas.microsoft.com/office/drawing/2014/main" id="{E93368C8-9553-4C9B-BA14-334A10ED73F4}"/>
                </a:ext>
              </a:extLst>
            </p:cNvPr>
            <p:cNvGrpSpPr/>
            <p:nvPr/>
          </p:nvGrpSpPr>
          <p:grpSpPr>
            <a:xfrm>
              <a:off x="8397329" y="1402557"/>
              <a:ext cx="888420" cy="887512"/>
              <a:chOff x="2527300" y="1809750"/>
              <a:chExt cx="1554163" cy="1552575"/>
            </a:xfrm>
          </p:grpSpPr>
          <p:sp>
            <p:nvSpPr>
              <p:cNvPr id="468" name="Oval 71">
                <a:extLst>
                  <a:ext uri="{FF2B5EF4-FFF2-40B4-BE49-F238E27FC236}">
                    <a16:creationId xmlns:a16="http://schemas.microsoft.com/office/drawing/2014/main" id="{C0062917-AD27-4D20-B265-2490BE4CD0E6}"/>
                  </a:ext>
                </a:extLst>
              </p:cNvPr>
              <p:cNvSpPr>
                <a:spLocks noChangeArrowheads="1"/>
              </p:cNvSpPr>
              <p:nvPr/>
            </p:nvSpPr>
            <p:spPr bwMode="auto">
              <a:xfrm>
                <a:off x="2527300" y="1809750"/>
                <a:ext cx="1554163" cy="1552575"/>
              </a:xfrm>
              <a:prstGeom prst="ellipse">
                <a:avLst/>
              </a:pr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9" name="Oval 72">
                <a:extLst>
                  <a:ext uri="{FF2B5EF4-FFF2-40B4-BE49-F238E27FC236}">
                    <a16:creationId xmlns:a16="http://schemas.microsoft.com/office/drawing/2014/main" id="{39523E9C-38C8-47AD-87DE-18A72F459F68}"/>
                  </a:ext>
                </a:extLst>
              </p:cNvPr>
              <p:cNvSpPr>
                <a:spLocks noChangeArrowheads="1"/>
              </p:cNvSpPr>
              <p:nvPr/>
            </p:nvSpPr>
            <p:spPr bwMode="auto">
              <a:xfrm>
                <a:off x="2811463" y="1971675"/>
                <a:ext cx="919163" cy="920750"/>
              </a:xfrm>
              <a:prstGeom prst="ellipse">
                <a:avLst/>
              </a:prstGeom>
              <a:solidFill>
                <a:srgbClr val="0870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0" name="Rectangle 73">
                <a:extLst>
                  <a:ext uri="{FF2B5EF4-FFF2-40B4-BE49-F238E27FC236}">
                    <a16:creationId xmlns:a16="http://schemas.microsoft.com/office/drawing/2014/main" id="{D4584AC7-F583-40EB-A2BF-A5F4D4CFDD12}"/>
                  </a:ext>
                </a:extLst>
              </p:cNvPr>
              <p:cNvSpPr>
                <a:spLocks noChangeArrowheads="1"/>
              </p:cNvSpPr>
              <p:nvPr/>
            </p:nvSpPr>
            <p:spPr bwMode="auto">
              <a:xfrm>
                <a:off x="3267075" y="2952750"/>
                <a:ext cx="111125" cy="179388"/>
              </a:xfrm>
              <a:prstGeom prst="rect">
                <a:avLst/>
              </a:prstGeom>
              <a:solidFill>
                <a:srgbClr val="1839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1" name="Freeform 74">
                <a:extLst>
                  <a:ext uri="{FF2B5EF4-FFF2-40B4-BE49-F238E27FC236}">
                    <a16:creationId xmlns:a16="http://schemas.microsoft.com/office/drawing/2014/main" id="{39080284-8A2C-44E3-B41B-CD2C1DF407FC}"/>
                  </a:ext>
                </a:extLst>
              </p:cNvPr>
              <p:cNvSpPr>
                <a:spLocks/>
              </p:cNvSpPr>
              <p:nvPr/>
            </p:nvSpPr>
            <p:spPr bwMode="auto">
              <a:xfrm>
                <a:off x="2947988" y="3122613"/>
                <a:ext cx="749300" cy="77788"/>
              </a:xfrm>
              <a:custGeom>
                <a:avLst/>
                <a:gdLst>
                  <a:gd name="T0" fmla="*/ 263 w 263"/>
                  <a:gd name="T1" fmla="*/ 27 h 27"/>
                  <a:gd name="T2" fmla="*/ 132 w 263"/>
                  <a:gd name="T3" fmla="*/ 0 h 27"/>
                  <a:gd name="T4" fmla="*/ 0 w 263"/>
                  <a:gd name="T5" fmla="*/ 27 h 27"/>
                  <a:gd name="T6" fmla="*/ 263 w 263"/>
                  <a:gd name="T7" fmla="*/ 27 h 27"/>
                </a:gdLst>
                <a:ahLst/>
                <a:cxnLst>
                  <a:cxn ang="0">
                    <a:pos x="T0" y="T1"/>
                  </a:cxn>
                  <a:cxn ang="0">
                    <a:pos x="T2" y="T3"/>
                  </a:cxn>
                  <a:cxn ang="0">
                    <a:pos x="T4" y="T5"/>
                  </a:cxn>
                  <a:cxn ang="0">
                    <a:pos x="T6" y="T7"/>
                  </a:cxn>
                </a:cxnLst>
                <a:rect l="0" t="0" r="r" b="b"/>
                <a:pathLst>
                  <a:path w="263" h="27">
                    <a:moveTo>
                      <a:pt x="263" y="27"/>
                    </a:moveTo>
                    <a:cubicBezTo>
                      <a:pt x="262" y="12"/>
                      <a:pt x="204" y="0"/>
                      <a:pt x="132" y="0"/>
                    </a:cubicBezTo>
                    <a:cubicBezTo>
                      <a:pt x="60" y="0"/>
                      <a:pt x="1" y="12"/>
                      <a:pt x="0" y="27"/>
                    </a:cubicBezTo>
                    <a:lnTo>
                      <a:pt x="263" y="27"/>
                    </a:lnTo>
                    <a:close/>
                  </a:path>
                </a:pathLst>
              </a:custGeom>
              <a:solidFill>
                <a:srgbClr val="225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2" name="Freeform 75">
                <a:extLst>
                  <a:ext uri="{FF2B5EF4-FFF2-40B4-BE49-F238E27FC236}">
                    <a16:creationId xmlns:a16="http://schemas.microsoft.com/office/drawing/2014/main" id="{C7EF0917-CFC3-4A1F-BA2B-3FE75F45DC50}"/>
                  </a:ext>
                </a:extLst>
              </p:cNvPr>
              <p:cNvSpPr>
                <a:spLocks/>
              </p:cNvSpPr>
              <p:nvPr/>
            </p:nvSpPr>
            <p:spPr bwMode="auto">
              <a:xfrm>
                <a:off x="3617913" y="23479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3" name="Freeform 76">
                <a:extLst>
                  <a:ext uri="{FF2B5EF4-FFF2-40B4-BE49-F238E27FC236}">
                    <a16:creationId xmlns:a16="http://schemas.microsoft.com/office/drawing/2014/main" id="{412E1759-B083-4652-8D50-F761DC464587}"/>
                  </a:ext>
                </a:extLst>
              </p:cNvPr>
              <p:cNvSpPr>
                <a:spLocks/>
              </p:cNvSpPr>
              <p:nvPr/>
            </p:nvSpPr>
            <p:spPr bwMode="auto">
              <a:xfrm>
                <a:off x="3011488" y="21542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4" name="Freeform 77">
                <a:extLst>
                  <a:ext uri="{FF2B5EF4-FFF2-40B4-BE49-F238E27FC236}">
                    <a16:creationId xmlns:a16="http://schemas.microsoft.com/office/drawing/2014/main" id="{EF14C466-DAC0-4044-9CC4-D538A91FB1C0}"/>
                  </a:ext>
                </a:extLst>
              </p:cNvPr>
              <p:cNvSpPr>
                <a:spLocks/>
              </p:cNvSpPr>
              <p:nvPr/>
            </p:nvSpPr>
            <p:spPr bwMode="auto">
              <a:xfrm>
                <a:off x="3076575" y="2247900"/>
                <a:ext cx="3175" cy="6350"/>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1"/>
                      <a:pt x="1"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5" name="Freeform 78">
                <a:extLst>
                  <a:ext uri="{FF2B5EF4-FFF2-40B4-BE49-F238E27FC236}">
                    <a16:creationId xmlns:a16="http://schemas.microsoft.com/office/drawing/2014/main" id="{06CB4E7C-E89C-46EB-A73B-33FE55C663B4}"/>
                  </a:ext>
                </a:extLst>
              </p:cNvPr>
              <p:cNvSpPr>
                <a:spLocks/>
              </p:cNvSpPr>
              <p:nvPr/>
            </p:nvSpPr>
            <p:spPr bwMode="auto">
              <a:xfrm>
                <a:off x="3241675" y="2584450"/>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6" name="Freeform 79">
                <a:extLst>
                  <a:ext uri="{FF2B5EF4-FFF2-40B4-BE49-F238E27FC236}">
                    <a16:creationId xmlns:a16="http://schemas.microsoft.com/office/drawing/2014/main" id="{2D798C39-F520-40F1-B98B-D02CC6DB3B62}"/>
                  </a:ext>
                </a:extLst>
              </p:cNvPr>
              <p:cNvSpPr>
                <a:spLocks/>
              </p:cNvSpPr>
              <p:nvPr/>
            </p:nvSpPr>
            <p:spPr bwMode="auto">
              <a:xfrm>
                <a:off x="2811463" y="2246313"/>
                <a:ext cx="284163" cy="611188"/>
              </a:xfrm>
              <a:custGeom>
                <a:avLst/>
                <a:gdLst>
                  <a:gd name="T0" fmla="*/ 90 w 100"/>
                  <a:gd name="T1" fmla="*/ 159 h 215"/>
                  <a:gd name="T2" fmla="*/ 74 w 100"/>
                  <a:gd name="T3" fmla="*/ 125 h 215"/>
                  <a:gd name="T4" fmla="*/ 74 w 100"/>
                  <a:gd name="T5" fmla="*/ 124 h 215"/>
                  <a:gd name="T6" fmla="*/ 71 w 100"/>
                  <a:gd name="T7" fmla="*/ 121 h 215"/>
                  <a:gd name="T8" fmla="*/ 68 w 100"/>
                  <a:gd name="T9" fmla="*/ 109 h 215"/>
                  <a:gd name="T10" fmla="*/ 71 w 100"/>
                  <a:gd name="T11" fmla="*/ 91 h 215"/>
                  <a:gd name="T12" fmla="*/ 42 w 100"/>
                  <a:gd name="T13" fmla="*/ 76 h 215"/>
                  <a:gd name="T14" fmla="*/ 22 w 100"/>
                  <a:gd name="T15" fmla="*/ 56 h 215"/>
                  <a:gd name="T16" fmla="*/ 16 w 100"/>
                  <a:gd name="T17" fmla="*/ 34 h 215"/>
                  <a:gd name="T18" fmla="*/ 14 w 100"/>
                  <a:gd name="T19" fmla="*/ 0 h 215"/>
                  <a:gd name="T20" fmla="*/ 0 w 100"/>
                  <a:gd name="T21" fmla="*/ 66 h 215"/>
                  <a:gd name="T22" fmla="*/ 100 w 100"/>
                  <a:gd name="T23" fmla="*/ 215 h 215"/>
                  <a:gd name="T24" fmla="*/ 90 w 100"/>
                  <a:gd name="T25" fmla="*/ 15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215">
                    <a:moveTo>
                      <a:pt x="90" y="159"/>
                    </a:moveTo>
                    <a:cubicBezTo>
                      <a:pt x="90" y="159"/>
                      <a:pt x="81" y="142"/>
                      <a:pt x="74" y="125"/>
                    </a:cubicBezTo>
                    <a:cubicBezTo>
                      <a:pt x="74" y="124"/>
                      <a:pt x="74" y="124"/>
                      <a:pt x="74" y="124"/>
                    </a:cubicBezTo>
                    <a:cubicBezTo>
                      <a:pt x="73" y="124"/>
                      <a:pt x="72" y="123"/>
                      <a:pt x="71" y="121"/>
                    </a:cubicBezTo>
                    <a:cubicBezTo>
                      <a:pt x="70" y="117"/>
                      <a:pt x="69" y="113"/>
                      <a:pt x="68" y="109"/>
                    </a:cubicBezTo>
                    <a:cubicBezTo>
                      <a:pt x="65" y="98"/>
                      <a:pt x="65" y="90"/>
                      <a:pt x="71" y="91"/>
                    </a:cubicBezTo>
                    <a:cubicBezTo>
                      <a:pt x="66" y="90"/>
                      <a:pt x="46" y="74"/>
                      <a:pt x="42" y="76"/>
                    </a:cubicBezTo>
                    <a:cubicBezTo>
                      <a:pt x="29" y="82"/>
                      <a:pt x="26" y="67"/>
                      <a:pt x="22" y="56"/>
                    </a:cubicBezTo>
                    <a:cubicBezTo>
                      <a:pt x="21" y="50"/>
                      <a:pt x="17" y="43"/>
                      <a:pt x="16" y="34"/>
                    </a:cubicBezTo>
                    <a:cubicBezTo>
                      <a:pt x="15" y="22"/>
                      <a:pt x="15" y="10"/>
                      <a:pt x="14" y="0"/>
                    </a:cubicBezTo>
                    <a:cubicBezTo>
                      <a:pt x="5" y="20"/>
                      <a:pt x="0" y="42"/>
                      <a:pt x="0" y="66"/>
                    </a:cubicBezTo>
                    <a:cubicBezTo>
                      <a:pt x="0" y="133"/>
                      <a:pt x="42" y="191"/>
                      <a:pt x="100" y="215"/>
                    </a:cubicBezTo>
                    <a:cubicBezTo>
                      <a:pt x="90" y="200"/>
                      <a:pt x="89" y="169"/>
                      <a:pt x="90" y="159"/>
                    </a:cubicBezTo>
                    <a:close/>
                  </a:path>
                </a:pathLst>
              </a:cu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7" name="Freeform 80">
                <a:extLst>
                  <a:ext uri="{FF2B5EF4-FFF2-40B4-BE49-F238E27FC236}">
                    <a16:creationId xmlns:a16="http://schemas.microsoft.com/office/drawing/2014/main" id="{7F5206FD-20EF-42F6-A2F2-7A775BF2A9FF}"/>
                  </a:ext>
                </a:extLst>
              </p:cNvPr>
              <p:cNvSpPr>
                <a:spLocks noEditPoints="1"/>
              </p:cNvSpPr>
              <p:nvPr/>
            </p:nvSpPr>
            <p:spPr bwMode="auto">
              <a:xfrm>
                <a:off x="2836863" y="1958975"/>
                <a:ext cx="893763" cy="933450"/>
              </a:xfrm>
              <a:custGeom>
                <a:avLst/>
                <a:gdLst>
                  <a:gd name="T0" fmla="*/ 293 w 314"/>
                  <a:gd name="T1" fmla="*/ 186 h 328"/>
                  <a:gd name="T2" fmla="*/ 250 w 314"/>
                  <a:gd name="T3" fmla="*/ 284 h 328"/>
                  <a:gd name="T4" fmla="*/ 239 w 314"/>
                  <a:gd name="T5" fmla="*/ 250 h 328"/>
                  <a:gd name="T6" fmla="*/ 217 w 314"/>
                  <a:gd name="T7" fmla="*/ 193 h 328"/>
                  <a:gd name="T8" fmla="*/ 209 w 314"/>
                  <a:gd name="T9" fmla="*/ 161 h 328"/>
                  <a:gd name="T10" fmla="*/ 260 w 314"/>
                  <a:gd name="T11" fmla="*/ 130 h 328"/>
                  <a:gd name="T12" fmla="*/ 282 w 314"/>
                  <a:gd name="T13" fmla="*/ 123 h 328"/>
                  <a:gd name="T14" fmla="*/ 277 w 314"/>
                  <a:gd name="T15" fmla="*/ 115 h 328"/>
                  <a:gd name="T16" fmla="*/ 252 w 314"/>
                  <a:gd name="T17" fmla="*/ 135 h 328"/>
                  <a:gd name="T18" fmla="*/ 234 w 314"/>
                  <a:gd name="T19" fmla="*/ 118 h 328"/>
                  <a:gd name="T20" fmla="*/ 235 w 314"/>
                  <a:gd name="T21" fmla="*/ 133 h 328"/>
                  <a:gd name="T22" fmla="*/ 206 w 314"/>
                  <a:gd name="T23" fmla="*/ 111 h 328"/>
                  <a:gd name="T24" fmla="*/ 216 w 314"/>
                  <a:gd name="T25" fmla="*/ 107 h 328"/>
                  <a:gd name="T26" fmla="*/ 205 w 314"/>
                  <a:gd name="T27" fmla="*/ 107 h 328"/>
                  <a:gd name="T28" fmla="*/ 206 w 314"/>
                  <a:gd name="T29" fmla="*/ 93 h 328"/>
                  <a:gd name="T30" fmla="*/ 216 w 314"/>
                  <a:gd name="T31" fmla="*/ 106 h 328"/>
                  <a:gd name="T32" fmla="*/ 232 w 314"/>
                  <a:gd name="T33" fmla="*/ 95 h 328"/>
                  <a:gd name="T34" fmla="*/ 222 w 314"/>
                  <a:gd name="T35" fmla="*/ 87 h 328"/>
                  <a:gd name="T36" fmla="*/ 283 w 314"/>
                  <a:gd name="T37" fmla="*/ 70 h 328"/>
                  <a:gd name="T38" fmla="*/ 153 w 314"/>
                  <a:gd name="T39" fmla="*/ 5 h 328"/>
                  <a:gd name="T40" fmla="*/ 24 w 314"/>
                  <a:gd name="T41" fmla="*/ 68 h 328"/>
                  <a:gd name="T42" fmla="*/ 60 w 314"/>
                  <a:gd name="T43" fmla="*/ 71 h 328"/>
                  <a:gd name="T44" fmla="*/ 60 w 314"/>
                  <a:gd name="T45" fmla="*/ 68 h 328"/>
                  <a:gd name="T46" fmla="*/ 52 w 314"/>
                  <a:gd name="T47" fmla="*/ 64 h 328"/>
                  <a:gd name="T48" fmla="*/ 80 w 314"/>
                  <a:gd name="T49" fmla="*/ 71 h 328"/>
                  <a:gd name="T50" fmla="*/ 83 w 314"/>
                  <a:gd name="T51" fmla="*/ 64 h 328"/>
                  <a:gd name="T52" fmla="*/ 127 w 314"/>
                  <a:gd name="T53" fmla="*/ 78 h 328"/>
                  <a:gd name="T54" fmla="*/ 121 w 314"/>
                  <a:gd name="T55" fmla="*/ 81 h 328"/>
                  <a:gd name="T56" fmla="*/ 125 w 314"/>
                  <a:gd name="T57" fmla="*/ 112 h 328"/>
                  <a:gd name="T58" fmla="*/ 65 w 314"/>
                  <a:gd name="T59" fmla="*/ 157 h 328"/>
                  <a:gd name="T60" fmla="*/ 37 w 314"/>
                  <a:gd name="T61" fmla="*/ 171 h 328"/>
                  <a:gd name="T62" fmla="*/ 92 w 314"/>
                  <a:gd name="T63" fmla="*/ 178 h 328"/>
                  <a:gd name="T64" fmla="*/ 97 w 314"/>
                  <a:gd name="T65" fmla="*/ 181 h 328"/>
                  <a:gd name="T66" fmla="*/ 102 w 314"/>
                  <a:gd name="T67" fmla="*/ 181 h 328"/>
                  <a:gd name="T68" fmla="*/ 113 w 314"/>
                  <a:gd name="T69" fmla="*/ 190 h 328"/>
                  <a:gd name="T70" fmla="*/ 114 w 314"/>
                  <a:gd name="T71" fmla="*/ 193 h 328"/>
                  <a:gd name="T72" fmla="*/ 143 w 314"/>
                  <a:gd name="T73" fmla="*/ 220 h 328"/>
                  <a:gd name="T74" fmla="*/ 118 w 314"/>
                  <a:gd name="T75" fmla="*/ 262 h 328"/>
                  <a:gd name="T76" fmla="*/ 101 w 314"/>
                  <a:gd name="T77" fmla="*/ 306 h 328"/>
                  <a:gd name="T78" fmla="*/ 108 w 314"/>
                  <a:gd name="T79" fmla="*/ 322 h 328"/>
                  <a:gd name="T80" fmla="*/ 153 w 314"/>
                  <a:gd name="T81" fmla="*/ 328 h 328"/>
                  <a:gd name="T82" fmla="*/ 314 w 314"/>
                  <a:gd name="T83" fmla="*/ 177 h 328"/>
                  <a:gd name="T84" fmla="*/ 293 w 314"/>
                  <a:gd name="T85" fmla="*/ 186 h 328"/>
                  <a:gd name="T86" fmla="*/ 187 w 314"/>
                  <a:gd name="T87" fmla="*/ 66 h 328"/>
                  <a:gd name="T88" fmla="*/ 148 w 314"/>
                  <a:gd name="T89" fmla="*/ 87 h 328"/>
                  <a:gd name="T90" fmla="*/ 145 w 314"/>
                  <a:gd name="T91" fmla="*/ 64 h 328"/>
                  <a:gd name="T92" fmla="*/ 122 w 314"/>
                  <a:gd name="T93" fmla="*/ 56 h 328"/>
                  <a:gd name="T94" fmla="*/ 122 w 314"/>
                  <a:gd name="T95" fmla="*/ 55 h 328"/>
                  <a:gd name="T96" fmla="*/ 118 w 314"/>
                  <a:gd name="T97" fmla="*/ 52 h 328"/>
                  <a:gd name="T98" fmla="*/ 205 w 314"/>
                  <a:gd name="T99" fmla="*/ 33 h 328"/>
                  <a:gd name="T100" fmla="*/ 187 w 314"/>
                  <a:gd name="T101" fmla="*/ 6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4" h="328">
                    <a:moveTo>
                      <a:pt x="293" y="186"/>
                    </a:moveTo>
                    <a:cubicBezTo>
                      <a:pt x="297" y="190"/>
                      <a:pt x="283" y="282"/>
                      <a:pt x="250" y="284"/>
                    </a:cubicBezTo>
                    <a:cubicBezTo>
                      <a:pt x="245" y="284"/>
                      <a:pt x="246" y="261"/>
                      <a:pt x="239" y="250"/>
                    </a:cubicBezTo>
                    <a:cubicBezTo>
                      <a:pt x="228" y="233"/>
                      <a:pt x="211" y="220"/>
                      <a:pt x="217" y="193"/>
                    </a:cubicBezTo>
                    <a:cubicBezTo>
                      <a:pt x="218" y="192"/>
                      <a:pt x="200" y="170"/>
                      <a:pt x="209" y="161"/>
                    </a:cubicBezTo>
                    <a:cubicBezTo>
                      <a:pt x="218" y="151"/>
                      <a:pt x="256" y="135"/>
                      <a:pt x="260" y="130"/>
                    </a:cubicBezTo>
                    <a:cubicBezTo>
                      <a:pt x="259" y="131"/>
                      <a:pt x="278" y="123"/>
                      <a:pt x="282" y="123"/>
                    </a:cubicBezTo>
                    <a:cubicBezTo>
                      <a:pt x="279" y="122"/>
                      <a:pt x="277" y="119"/>
                      <a:pt x="277" y="115"/>
                    </a:cubicBezTo>
                    <a:cubicBezTo>
                      <a:pt x="269" y="115"/>
                      <a:pt x="255" y="136"/>
                      <a:pt x="252" y="135"/>
                    </a:cubicBezTo>
                    <a:cubicBezTo>
                      <a:pt x="247" y="134"/>
                      <a:pt x="241" y="121"/>
                      <a:pt x="234" y="118"/>
                    </a:cubicBezTo>
                    <a:cubicBezTo>
                      <a:pt x="251" y="136"/>
                      <a:pt x="234" y="132"/>
                      <a:pt x="235" y="133"/>
                    </a:cubicBezTo>
                    <a:cubicBezTo>
                      <a:pt x="216" y="105"/>
                      <a:pt x="202" y="155"/>
                      <a:pt x="206" y="111"/>
                    </a:cubicBezTo>
                    <a:cubicBezTo>
                      <a:pt x="209" y="109"/>
                      <a:pt x="212" y="108"/>
                      <a:pt x="216" y="107"/>
                    </a:cubicBezTo>
                    <a:cubicBezTo>
                      <a:pt x="212" y="108"/>
                      <a:pt x="209" y="108"/>
                      <a:pt x="205" y="107"/>
                    </a:cubicBezTo>
                    <a:cubicBezTo>
                      <a:pt x="207" y="102"/>
                      <a:pt x="205" y="97"/>
                      <a:pt x="206" y="93"/>
                    </a:cubicBezTo>
                    <a:cubicBezTo>
                      <a:pt x="210" y="86"/>
                      <a:pt x="216" y="104"/>
                      <a:pt x="216" y="106"/>
                    </a:cubicBezTo>
                    <a:cubicBezTo>
                      <a:pt x="220" y="104"/>
                      <a:pt x="231" y="94"/>
                      <a:pt x="232" y="95"/>
                    </a:cubicBezTo>
                    <a:cubicBezTo>
                      <a:pt x="233" y="95"/>
                      <a:pt x="221" y="90"/>
                      <a:pt x="222" y="87"/>
                    </a:cubicBezTo>
                    <a:cubicBezTo>
                      <a:pt x="230" y="71"/>
                      <a:pt x="258" y="70"/>
                      <a:pt x="283" y="70"/>
                    </a:cubicBezTo>
                    <a:cubicBezTo>
                      <a:pt x="253" y="31"/>
                      <a:pt x="206" y="5"/>
                      <a:pt x="153" y="5"/>
                    </a:cubicBezTo>
                    <a:cubicBezTo>
                      <a:pt x="101" y="5"/>
                      <a:pt x="54" y="30"/>
                      <a:pt x="24" y="68"/>
                    </a:cubicBezTo>
                    <a:cubicBezTo>
                      <a:pt x="39" y="70"/>
                      <a:pt x="59" y="73"/>
                      <a:pt x="60" y="71"/>
                    </a:cubicBezTo>
                    <a:cubicBezTo>
                      <a:pt x="57" y="70"/>
                      <a:pt x="57" y="69"/>
                      <a:pt x="60" y="68"/>
                    </a:cubicBezTo>
                    <a:cubicBezTo>
                      <a:pt x="59" y="68"/>
                      <a:pt x="51" y="65"/>
                      <a:pt x="52" y="64"/>
                    </a:cubicBezTo>
                    <a:cubicBezTo>
                      <a:pt x="70" y="53"/>
                      <a:pt x="74" y="72"/>
                      <a:pt x="80" y="71"/>
                    </a:cubicBezTo>
                    <a:cubicBezTo>
                      <a:pt x="91" y="70"/>
                      <a:pt x="83" y="66"/>
                      <a:pt x="83" y="64"/>
                    </a:cubicBezTo>
                    <a:cubicBezTo>
                      <a:pt x="84" y="60"/>
                      <a:pt x="135" y="61"/>
                      <a:pt x="127" y="78"/>
                    </a:cubicBezTo>
                    <a:cubicBezTo>
                      <a:pt x="127" y="78"/>
                      <a:pt x="125" y="80"/>
                      <a:pt x="121" y="81"/>
                    </a:cubicBezTo>
                    <a:cubicBezTo>
                      <a:pt x="129" y="84"/>
                      <a:pt x="134" y="92"/>
                      <a:pt x="125" y="112"/>
                    </a:cubicBezTo>
                    <a:cubicBezTo>
                      <a:pt x="125" y="111"/>
                      <a:pt x="81" y="158"/>
                      <a:pt x="65" y="157"/>
                    </a:cubicBezTo>
                    <a:cubicBezTo>
                      <a:pt x="35" y="156"/>
                      <a:pt x="0" y="171"/>
                      <a:pt x="37" y="171"/>
                    </a:cubicBezTo>
                    <a:cubicBezTo>
                      <a:pt x="39" y="171"/>
                      <a:pt x="66" y="166"/>
                      <a:pt x="92" y="178"/>
                    </a:cubicBezTo>
                    <a:cubicBezTo>
                      <a:pt x="94" y="179"/>
                      <a:pt x="96" y="180"/>
                      <a:pt x="97" y="181"/>
                    </a:cubicBezTo>
                    <a:cubicBezTo>
                      <a:pt x="99" y="181"/>
                      <a:pt x="100" y="181"/>
                      <a:pt x="102" y="181"/>
                    </a:cubicBezTo>
                    <a:cubicBezTo>
                      <a:pt x="107" y="181"/>
                      <a:pt x="112" y="185"/>
                      <a:pt x="113" y="190"/>
                    </a:cubicBezTo>
                    <a:cubicBezTo>
                      <a:pt x="114" y="191"/>
                      <a:pt x="114" y="192"/>
                      <a:pt x="114" y="193"/>
                    </a:cubicBezTo>
                    <a:cubicBezTo>
                      <a:pt x="130" y="205"/>
                      <a:pt x="144" y="221"/>
                      <a:pt x="143" y="220"/>
                    </a:cubicBezTo>
                    <a:cubicBezTo>
                      <a:pt x="157" y="222"/>
                      <a:pt x="118" y="264"/>
                      <a:pt x="118" y="262"/>
                    </a:cubicBezTo>
                    <a:cubicBezTo>
                      <a:pt x="120" y="276"/>
                      <a:pt x="93" y="299"/>
                      <a:pt x="101" y="306"/>
                    </a:cubicBezTo>
                    <a:cubicBezTo>
                      <a:pt x="100" y="306"/>
                      <a:pt x="105" y="317"/>
                      <a:pt x="108" y="322"/>
                    </a:cubicBezTo>
                    <a:cubicBezTo>
                      <a:pt x="122" y="326"/>
                      <a:pt x="137" y="328"/>
                      <a:pt x="153" y="328"/>
                    </a:cubicBezTo>
                    <a:cubicBezTo>
                      <a:pt x="239" y="328"/>
                      <a:pt x="309" y="262"/>
                      <a:pt x="314" y="177"/>
                    </a:cubicBezTo>
                    <a:cubicBezTo>
                      <a:pt x="312" y="183"/>
                      <a:pt x="307" y="187"/>
                      <a:pt x="293" y="186"/>
                    </a:cubicBezTo>
                    <a:close/>
                    <a:moveTo>
                      <a:pt x="187" y="66"/>
                    </a:moveTo>
                    <a:cubicBezTo>
                      <a:pt x="185" y="65"/>
                      <a:pt x="153" y="86"/>
                      <a:pt x="148" y="87"/>
                    </a:cubicBezTo>
                    <a:cubicBezTo>
                      <a:pt x="137" y="90"/>
                      <a:pt x="146" y="67"/>
                      <a:pt x="145" y="64"/>
                    </a:cubicBezTo>
                    <a:cubicBezTo>
                      <a:pt x="143" y="58"/>
                      <a:pt x="132" y="56"/>
                      <a:pt x="122" y="56"/>
                    </a:cubicBezTo>
                    <a:cubicBezTo>
                      <a:pt x="122" y="55"/>
                      <a:pt x="122" y="55"/>
                      <a:pt x="122" y="55"/>
                    </a:cubicBezTo>
                    <a:cubicBezTo>
                      <a:pt x="124" y="54"/>
                      <a:pt x="124" y="53"/>
                      <a:pt x="118" y="52"/>
                    </a:cubicBezTo>
                    <a:cubicBezTo>
                      <a:pt x="129" y="39"/>
                      <a:pt x="182" y="0"/>
                      <a:pt x="205" y="33"/>
                    </a:cubicBezTo>
                    <a:cubicBezTo>
                      <a:pt x="215" y="47"/>
                      <a:pt x="186" y="65"/>
                      <a:pt x="187" y="66"/>
                    </a:cubicBezTo>
                    <a:close/>
                  </a:path>
                </a:pathLst>
              </a:cu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8" name="Freeform 81">
                <a:extLst>
                  <a:ext uri="{FF2B5EF4-FFF2-40B4-BE49-F238E27FC236}">
                    <a16:creationId xmlns:a16="http://schemas.microsoft.com/office/drawing/2014/main" id="{A15C6117-74AB-4D73-A565-27A7C9B65B16}"/>
                  </a:ext>
                </a:extLst>
              </p:cNvPr>
              <p:cNvSpPr>
                <a:spLocks/>
              </p:cNvSpPr>
              <p:nvPr/>
            </p:nvSpPr>
            <p:spPr bwMode="auto">
              <a:xfrm>
                <a:off x="3133725" y="2179638"/>
                <a:ext cx="47625" cy="17463"/>
              </a:xfrm>
              <a:custGeom>
                <a:avLst/>
                <a:gdLst>
                  <a:gd name="T0" fmla="*/ 0 w 17"/>
                  <a:gd name="T1" fmla="*/ 1 h 6"/>
                  <a:gd name="T2" fmla="*/ 17 w 17"/>
                  <a:gd name="T3" fmla="*/ 3 h 6"/>
                  <a:gd name="T4" fmla="*/ 1 w 17"/>
                  <a:gd name="T5" fmla="*/ 0 h 6"/>
                  <a:gd name="T6" fmla="*/ 0 w 17"/>
                  <a:gd name="T7" fmla="*/ 1 h 6"/>
                </a:gdLst>
                <a:ahLst/>
                <a:cxnLst>
                  <a:cxn ang="0">
                    <a:pos x="T0" y="T1"/>
                  </a:cxn>
                  <a:cxn ang="0">
                    <a:pos x="T2" y="T3"/>
                  </a:cxn>
                  <a:cxn ang="0">
                    <a:pos x="T4" y="T5"/>
                  </a:cxn>
                  <a:cxn ang="0">
                    <a:pos x="T6" y="T7"/>
                  </a:cxn>
                </a:cxnLst>
                <a:rect l="0" t="0" r="r" b="b"/>
                <a:pathLst>
                  <a:path w="17" h="6">
                    <a:moveTo>
                      <a:pt x="0" y="1"/>
                    </a:moveTo>
                    <a:cubicBezTo>
                      <a:pt x="2" y="6"/>
                      <a:pt x="11" y="5"/>
                      <a:pt x="17" y="3"/>
                    </a:cubicBezTo>
                    <a:cubicBezTo>
                      <a:pt x="12" y="1"/>
                      <a:pt x="6" y="0"/>
                      <a:pt x="1" y="0"/>
                    </a:cubicBezTo>
                    <a:lnTo>
                      <a:pt x="0" y="1"/>
                    </a:lnTo>
                    <a:close/>
                  </a:path>
                </a:pathLst>
              </a:cu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9" name="Freeform 82">
                <a:extLst>
                  <a:ext uri="{FF2B5EF4-FFF2-40B4-BE49-F238E27FC236}">
                    <a16:creationId xmlns:a16="http://schemas.microsoft.com/office/drawing/2014/main" id="{FDF09C6D-4EF5-4376-AE32-88782B047B2B}"/>
                  </a:ext>
                </a:extLst>
              </p:cNvPr>
              <p:cNvSpPr>
                <a:spLocks/>
              </p:cNvSpPr>
              <p:nvPr/>
            </p:nvSpPr>
            <p:spPr bwMode="auto">
              <a:xfrm>
                <a:off x="3095625" y="2139950"/>
                <a:ext cx="74613" cy="39688"/>
              </a:xfrm>
              <a:custGeom>
                <a:avLst/>
                <a:gdLst>
                  <a:gd name="T0" fmla="*/ 26 w 26"/>
                  <a:gd name="T1" fmla="*/ 11 h 14"/>
                  <a:gd name="T2" fmla="*/ 8 w 26"/>
                  <a:gd name="T3" fmla="*/ 0 h 14"/>
                  <a:gd name="T4" fmla="*/ 0 w 26"/>
                  <a:gd name="T5" fmla="*/ 1 h 14"/>
                  <a:gd name="T6" fmla="*/ 14 w 26"/>
                  <a:gd name="T7" fmla="*/ 8 h 14"/>
                  <a:gd name="T8" fmla="*/ 4 w 26"/>
                  <a:gd name="T9" fmla="*/ 13 h 14"/>
                  <a:gd name="T10" fmla="*/ 14 w 26"/>
                  <a:gd name="T11" fmla="*/ 14 h 14"/>
                  <a:gd name="T12" fmla="*/ 26 w 26"/>
                  <a:gd name="T13" fmla="*/ 11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11"/>
                    </a:moveTo>
                    <a:cubicBezTo>
                      <a:pt x="23" y="9"/>
                      <a:pt x="4" y="4"/>
                      <a:pt x="8" y="0"/>
                    </a:cubicBezTo>
                    <a:cubicBezTo>
                      <a:pt x="6" y="2"/>
                      <a:pt x="3" y="2"/>
                      <a:pt x="0" y="1"/>
                    </a:cubicBezTo>
                    <a:cubicBezTo>
                      <a:pt x="1" y="7"/>
                      <a:pt x="13" y="10"/>
                      <a:pt x="14" y="8"/>
                    </a:cubicBezTo>
                    <a:cubicBezTo>
                      <a:pt x="11" y="11"/>
                      <a:pt x="8" y="13"/>
                      <a:pt x="4" y="13"/>
                    </a:cubicBezTo>
                    <a:cubicBezTo>
                      <a:pt x="6" y="13"/>
                      <a:pt x="10" y="14"/>
                      <a:pt x="14" y="14"/>
                    </a:cubicBezTo>
                    <a:cubicBezTo>
                      <a:pt x="17" y="11"/>
                      <a:pt x="21" y="10"/>
                      <a:pt x="26" y="11"/>
                    </a:cubicBezTo>
                    <a:close/>
                  </a:path>
                </a:pathLst>
              </a:cu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0" name="Freeform 83">
                <a:extLst>
                  <a:ext uri="{FF2B5EF4-FFF2-40B4-BE49-F238E27FC236}">
                    <a16:creationId xmlns:a16="http://schemas.microsoft.com/office/drawing/2014/main" id="{968647F9-C98D-4B57-9589-513CA44FF9EF}"/>
                  </a:ext>
                </a:extLst>
              </p:cNvPr>
              <p:cNvSpPr>
                <a:spLocks/>
              </p:cNvSpPr>
              <p:nvPr/>
            </p:nvSpPr>
            <p:spPr bwMode="auto">
              <a:xfrm>
                <a:off x="3151188" y="2878138"/>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1" name="Line 84">
                <a:extLst>
                  <a:ext uri="{FF2B5EF4-FFF2-40B4-BE49-F238E27FC236}">
                    <a16:creationId xmlns:a16="http://schemas.microsoft.com/office/drawing/2014/main" id="{AFDDB318-B680-4572-BDC4-2486240B8965}"/>
                  </a:ext>
                </a:extLst>
              </p:cNvPr>
              <p:cNvSpPr>
                <a:spLocks noChangeShapeType="1"/>
              </p:cNvSpPr>
              <p:nvPr/>
            </p:nvSpPr>
            <p:spPr bwMode="auto">
              <a:xfrm>
                <a:off x="3244850" y="25844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2" name="Line 85">
                <a:extLst>
                  <a:ext uri="{FF2B5EF4-FFF2-40B4-BE49-F238E27FC236}">
                    <a16:creationId xmlns:a16="http://schemas.microsoft.com/office/drawing/2014/main" id="{7A4EC04E-451D-4CED-AB86-A0CC54D3442E}"/>
                  </a:ext>
                </a:extLst>
              </p:cNvPr>
              <p:cNvSpPr>
                <a:spLocks noChangeShapeType="1"/>
              </p:cNvSpPr>
              <p:nvPr/>
            </p:nvSpPr>
            <p:spPr bwMode="auto">
              <a:xfrm>
                <a:off x="3244850" y="25844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3" name="Freeform 86">
                <a:extLst>
                  <a:ext uri="{FF2B5EF4-FFF2-40B4-BE49-F238E27FC236}">
                    <a16:creationId xmlns:a16="http://schemas.microsoft.com/office/drawing/2014/main" id="{8A8DB7AF-284B-444C-9844-2236D72AF5FB}"/>
                  </a:ext>
                </a:extLst>
              </p:cNvPr>
              <p:cNvSpPr>
                <a:spLocks/>
              </p:cNvSpPr>
              <p:nvPr/>
            </p:nvSpPr>
            <p:spPr bwMode="auto">
              <a:xfrm>
                <a:off x="2828925" y="2135188"/>
                <a:ext cx="990600" cy="854075"/>
              </a:xfrm>
              <a:custGeom>
                <a:avLst/>
                <a:gdLst>
                  <a:gd name="T0" fmla="*/ 302 w 348"/>
                  <a:gd name="T1" fmla="*/ 7 h 300"/>
                  <a:gd name="T2" fmla="*/ 332 w 348"/>
                  <a:gd name="T3" fmla="*/ 105 h 300"/>
                  <a:gd name="T4" fmla="*/ 156 w 348"/>
                  <a:gd name="T5" fmla="*/ 280 h 300"/>
                  <a:gd name="T6" fmla="*/ 10 w 348"/>
                  <a:gd name="T7" fmla="*/ 202 h 300"/>
                  <a:gd name="T8" fmla="*/ 0 w 348"/>
                  <a:gd name="T9" fmla="*/ 209 h 300"/>
                  <a:gd name="T10" fmla="*/ 156 w 348"/>
                  <a:gd name="T11" fmla="*/ 300 h 300"/>
                  <a:gd name="T12" fmla="*/ 348 w 348"/>
                  <a:gd name="T13" fmla="*/ 111 h 300"/>
                  <a:gd name="T14" fmla="*/ 312 w 348"/>
                  <a:gd name="T15" fmla="*/ 0 h 300"/>
                  <a:gd name="T16" fmla="*/ 302 w 348"/>
                  <a:gd name="T17"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300">
                    <a:moveTo>
                      <a:pt x="302" y="7"/>
                    </a:moveTo>
                    <a:cubicBezTo>
                      <a:pt x="321" y="35"/>
                      <a:pt x="332" y="69"/>
                      <a:pt x="332" y="105"/>
                    </a:cubicBezTo>
                    <a:cubicBezTo>
                      <a:pt x="332" y="202"/>
                      <a:pt x="253" y="280"/>
                      <a:pt x="156" y="280"/>
                    </a:cubicBezTo>
                    <a:cubicBezTo>
                      <a:pt x="95" y="280"/>
                      <a:pt x="41" y="249"/>
                      <a:pt x="10" y="202"/>
                    </a:cubicBezTo>
                    <a:cubicBezTo>
                      <a:pt x="0" y="209"/>
                      <a:pt x="0" y="209"/>
                      <a:pt x="0" y="209"/>
                    </a:cubicBezTo>
                    <a:cubicBezTo>
                      <a:pt x="33" y="259"/>
                      <a:pt x="91" y="300"/>
                      <a:pt x="156" y="300"/>
                    </a:cubicBezTo>
                    <a:cubicBezTo>
                      <a:pt x="260" y="300"/>
                      <a:pt x="348" y="215"/>
                      <a:pt x="348" y="111"/>
                    </a:cubicBezTo>
                    <a:cubicBezTo>
                      <a:pt x="348" y="72"/>
                      <a:pt x="332" y="30"/>
                      <a:pt x="312" y="0"/>
                    </a:cubicBezTo>
                    <a:lnTo>
                      <a:pt x="302" y="7"/>
                    </a:lnTo>
                    <a:close/>
                  </a:path>
                </a:pathLst>
              </a:custGeom>
              <a:solidFill>
                <a:srgbClr val="225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4" name="Freeform 87">
                <a:extLst>
                  <a:ext uri="{FF2B5EF4-FFF2-40B4-BE49-F238E27FC236}">
                    <a16:creationId xmlns:a16="http://schemas.microsoft.com/office/drawing/2014/main" id="{15BA9C32-37C5-45CA-A866-CEC45780B803}"/>
                  </a:ext>
                </a:extLst>
              </p:cNvPr>
              <p:cNvSpPr>
                <a:spLocks/>
              </p:cNvSpPr>
              <p:nvPr/>
            </p:nvSpPr>
            <p:spPr bwMode="auto">
              <a:xfrm>
                <a:off x="2789238" y="2692400"/>
                <a:ext cx="87313" cy="66675"/>
              </a:xfrm>
              <a:custGeom>
                <a:avLst/>
                <a:gdLst>
                  <a:gd name="T0" fmla="*/ 5 w 31"/>
                  <a:gd name="T1" fmla="*/ 23 h 23"/>
                  <a:gd name="T2" fmla="*/ 1 w 31"/>
                  <a:gd name="T3" fmla="*/ 21 h 23"/>
                  <a:gd name="T4" fmla="*/ 3 w 31"/>
                  <a:gd name="T5" fmla="*/ 15 h 23"/>
                  <a:gd name="T6" fmla="*/ 23 w 31"/>
                  <a:gd name="T7" fmla="*/ 1 h 23"/>
                  <a:gd name="T8" fmla="*/ 29 w 31"/>
                  <a:gd name="T9" fmla="*/ 3 h 23"/>
                  <a:gd name="T10" fmla="*/ 28 w 31"/>
                  <a:gd name="T11" fmla="*/ 9 h 23"/>
                  <a:gd name="T12" fmla="*/ 8 w 31"/>
                  <a:gd name="T13" fmla="*/ 22 h 23"/>
                  <a:gd name="T14" fmla="*/ 5 w 31"/>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3">
                    <a:moveTo>
                      <a:pt x="5" y="23"/>
                    </a:moveTo>
                    <a:cubicBezTo>
                      <a:pt x="4" y="23"/>
                      <a:pt x="2" y="22"/>
                      <a:pt x="1" y="21"/>
                    </a:cubicBezTo>
                    <a:cubicBezTo>
                      <a:pt x="0" y="19"/>
                      <a:pt x="0" y="16"/>
                      <a:pt x="3" y="15"/>
                    </a:cubicBezTo>
                    <a:cubicBezTo>
                      <a:pt x="23" y="1"/>
                      <a:pt x="23" y="1"/>
                      <a:pt x="23" y="1"/>
                    </a:cubicBezTo>
                    <a:cubicBezTo>
                      <a:pt x="25" y="0"/>
                      <a:pt x="28" y="0"/>
                      <a:pt x="29" y="3"/>
                    </a:cubicBezTo>
                    <a:cubicBezTo>
                      <a:pt x="31" y="5"/>
                      <a:pt x="30" y="8"/>
                      <a:pt x="28" y="9"/>
                    </a:cubicBezTo>
                    <a:cubicBezTo>
                      <a:pt x="8" y="22"/>
                      <a:pt x="8" y="22"/>
                      <a:pt x="8" y="22"/>
                    </a:cubicBezTo>
                    <a:cubicBezTo>
                      <a:pt x="7" y="23"/>
                      <a:pt x="6" y="23"/>
                      <a:pt x="5" y="23"/>
                    </a:cubicBezTo>
                    <a:close/>
                  </a:path>
                </a:pathLst>
              </a:custGeom>
              <a:solidFill>
                <a:srgbClr val="1839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5" name="Freeform 88">
                <a:extLst>
                  <a:ext uri="{FF2B5EF4-FFF2-40B4-BE49-F238E27FC236}">
                    <a16:creationId xmlns:a16="http://schemas.microsoft.com/office/drawing/2014/main" id="{F1300607-745E-4F68-8872-B226F1E324F9}"/>
                  </a:ext>
                </a:extLst>
              </p:cNvPr>
              <p:cNvSpPr>
                <a:spLocks/>
              </p:cNvSpPr>
              <p:nvPr/>
            </p:nvSpPr>
            <p:spPr bwMode="auto">
              <a:xfrm>
                <a:off x="3657600" y="2097088"/>
                <a:ext cx="115888" cy="85725"/>
              </a:xfrm>
              <a:custGeom>
                <a:avLst/>
                <a:gdLst>
                  <a:gd name="T0" fmla="*/ 7 w 41"/>
                  <a:gd name="T1" fmla="*/ 30 h 30"/>
                  <a:gd name="T2" fmla="*/ 2 w 41"/>
                  <a:gd name="T3" fmla="*/ 28 h 30"/>
                  <a:gd name="T4" fmla="*/ 4 w 41"/>
                  <a:gd name="T5" fmla="*/ 19 h 30"/>
                  <a:gd name="T6" fmla="*/ 31 w 41"/>
                  <a:gd name="T7" fmla="*/ 2 h 30"/>
                  <a:gd name="T8" fmla="*/ 39 w 41"/>
                  <a:gd name="T9" fmla="*/ 3 h 30"/>
                  <a:gd name="T10" fmla="*/ 38 w 41"/>
                  <a:gd name="T11" fmla="*/ 11 h 30"/>
                  <a:gd name="T12" fmla="*/ 11 w 41"/>
                  <a:gd name="T13" fmla="*/ 29 h 30"/>
                  <a:gd name="T14" fmla="*/ 7 w 41"/>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0">
                    <a:moveTo>
                      <a:pt x="7" y="30"/>
                    </a:moveTo>
                    <a:cubicBezTo>
                      <a:pt x="5" y="30"/>
                      <a:pt x="3" y="29"/>
                      <a:pt x="2" y="28"/>
                    </a:cubicBezTo>
                    <a:cubicBezTo>
                      <a:pt x="0" y="25"/>
                      <a:pt x="1" y="21"/>
                      <a:pt x="4" y="19"/>
                    </a:cubicBezTo>
                    <a:cubicBezTo>
                      <a:pt x="31" y="2"/>
                      <a:pt x="31" y="2"/>
                      <a:pt x="31" y="2"/>
                    </a:cubicBezTo>
                    <a:cubicBezTo>
                      <a:pt x="34" y="0"/>
                      <a:pt x="37" y="0"/>
                      <a:pt x="39" y="3"/>
                    </a:cubicBezTo>
                    <a:cubicBezTo>
                      <a:pt x="41" y="6"/>
                      <a:pt x="40" y="10"/>
                      <a:pt x="38" y="11"/>
                    </a:cubicBezTo>
                    <a:cubicBezTo>
                      <a:pt x="11" y="29"/>
                      <a:pt x="11" y="29"/>
                      <a:pt x="11" y="29"/>
                    </a:cubicBezTo>
                    <a:cubicBezTo>
                      <a:pt x="9" y="30"/>
                      <a:pt x="8" y="30"/>
                      <a:pt x="7" y="30"/>
                    </a:cubicBezTo>
                    <a:close/>
                  </a:path>
                </a:pathLst>
              </a:custGeom>
              <a:solidFill>
                <a:srgbClr val="1839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6" name="Rectangle 89">
                <a:extLst>
                  <a:ext uri="{FF2B5EF4-FFF2-40B4-BE49-F238E27FC236}">
                    <a16:creationId xmlns:a16="http://schemas.microsoft.com/office/drawing/2014/main" id="{B088FFD0-BC96-4024-A4E5-DFD327FC8792}"/>
                  </a:ext>
                </a:extLst>
              </p:cNvPr>
              <p:cNvSpPr>
                <a:spLocks noChangeArrowheads="1"/>
              </p:cNvSpPr>
              <p:nvPr/>
            </p:nvSpPr>
            <p:spPr bwMode="auto">
              <a:xfrm>
                <a:off x="3216275" y="3057525"/>
                <a:ext cx="212725" cy="85725"/>
              </a:xfrm>
              <a:prstGeom prst="rect">
                <a:avLst/>
              </a:prstGeom>
              <a:solidFill>
                <a:srgbClr val="225B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0" name="组合 9">
              <a:extLst>
                <a:ext uri="{FF2B5EF4-FFF2-40B4-BE49-F238E27FC236}">
                  <a16:creationId xmlns:a16="http://schemas.microsoft.com/office/drawing/2014/main" id="{C56D27A1-BFFC-4A92-904E-E17C0EC785F5}"/>
                </a:ext>
              </a:extLst>
            </p:cNvPr>
            <p:cNvGrpSpPr/>
            <p:nvPr/>
          </p:nvGrpSpPr>
          <p:grpSpPr>
            <a:xfrm>
              <a:off x="10227689" y="1402557"/>
              <a:ext cx="888420" cy="887512"/>
              <a:chOff x="6318250" y="5181600"/>
              <a:chExt cx="1554163" cy="1552575"/>
            </a:xfrm>
          </p:grpSpPr>
          <p:sp>
            <p:nvSpPr>
              <p:cNvPr id="445" name="Oval 90">
                <a:extLst>
                  <a:ext uri="{FF2B5EF4-FFF2-40B4-BE49-F238E27FC236}">
                    <a16:creationId xmlns:a16="http://schemas.microsoft.com/office/drawing/2014/main" id="{5B74345C-1AF9-47AD-938C-04211966A294}"/>
                  </a:ext>
                </a:extLst>
              </p:cNvPr>
              <p:cNvSpPr>
                <a:spLocks noChangeArrowheads="1"/>
              </p:cNvSpPr>
              <p:nvPr/>
            </p:nvSpPr>
            <p:spPr bwMode="auto">
              <a:xfrm>
                <a:off x="6318250" y="5181600"/>
                <a:ext cx="1554163" cy="1552575"/>
              </a:xfrm>
              <a:prstGeom prst="ellipse">
                <a:avLst/>
              </a:prstGeom>
              <a:solidFill>
                <a:srgbClr val="89B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6" name="Freeform 91">
                <a:extLst>
                  <a:ext uri="{FF2B5EF4-FFF2-40B4-BE49-F238E27FC236}">
                    <a16:creationId xmlns:a16="http://schemas.microsoft.com/office/drawing/2014/main" id="{97E3CDA6-D3EE-4583-863C-1094B77E1AE1}"/>
                  </a:ext>
                </a:extLst>
              </p:cNvPr>
              <p:cNvSpPr>
                <a:spLocks/>
              </p:cNvSpPr>
              <p:nvPr/>
            </p:nvSpPr>
            <p:spPr bwMode="auto">
              <a:xfrm>
                <a:off x="6665913" y="5357813"/>
                <a:ext cx="858838" cy="1154113"/>
              </a:xfrm>
              <a:custGeom>
                <a:avLst/>
                <a:gdLst>
                  <a:gd name="T0" fmla="*/ 285 w 302"/>
                  <a:gd name="T1" fmla="*/ 0 h 405"/>
                  <a:gd name="T2" fmla="*/ 17 w 302"/>
                  <a:gd name="T3" fmla="*/ 0 h 405"/>
                  <a:gd name="T4" fmla="*/ 0 w 302"/>
                  <a:gd name="T5" fmla="*/ 17 h 405"/>
                  <a:gd name="T6" fmla="*/ 0 w 302"/>
                  <a:gd name="T7" fmla="*/ 35 h 405"/>
                  <a:gd name="T8" fmla="*/ 0 w 302"/>
                  <a:gd name="T9" fmla="*/ 50 h 405"/>
                  <a:gd name="T10" fmla="*/ 0 w 302"/>
                  <a:gd name="T11" fmla="*/ 267 h 405"/>
                  <a:gd name="T12" fmla="*/ 0 w 302"/>
                  <a:gd name="T13" fmla="*/ 267 h 405"/>
                  <a:gd name="T14" fmla="*/ 0 w 302"/>
                  <a:gd name="T15" fmla="*/ 387 h 405"/>
                  <a:gd name="T16" fmla="*/ 17 w 302"/>
                  <a:gd name="T17" fmla="*/ 405 h 405"/>
                  <a:gd name="T18" fmla="*/ 285 w 302"/>
                  <a:gd name="T19" fmla="*/ 405 h 405"/>
                  <a:gd name="T20" fmla="*/ 302 w 302"/>
                  <a:gd name="T21" fmla="*/ 387 h 405"/>
                  <a:gd name="T22" fmla="*/ 302 w 302"/>
                  <a:gd name="T23" fmla="*/ 267 h 405"/>
                  <a:gd name="T24" fmla="*/ 302 w 302"/>
                  <a:gd name="T25" fmla="*/ 75 h 405"/>
                  <a:gd name="T26" fmla="*/ 302 w 302"/>
                  <a:gd name="T27" fmla="*/ 21 h 405"/>
                  <a:gd name="T28" fmla="*/ 285 w 302"/>
                  <a:gd name="T29"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2" h="405">
                    <a:moveTo>
                      <a:pt x="285" y="0"/>
                    </a:moveTo>
                    <a:cubicBezTo>
                      <a:pt x="17" y="0"/>
                      <a:pt x="17" y="0"/>
                      <a:pt x="17" y="0"/>
                    </a:cubicBezTo>
                    <a:cubicBezTo>
                      <a:pt x="8" y="0"/>
                      <a:pt x="0" y="8"/>
                      <a:pt x="0" y="17"/>
                    </a:cubicBezTo>
                    <a:cubicBezTo>
                      <a:pt x="0" y="35"/>
                      <a:pt x="0" y="35"/>
                      <a:pt x="0" y="35"/>
                    </a:cubicBezTo>
                    <a:cubicBezTo>
                      <a:pt x="0" y="50"/>
                      <a:pt x="0" y="50"/>
                      <a:pt x="0" y="50"/>
                    </a:cubicBezTo>
                    <a:cubicBezTo>
                      <a:pt x="0" y="267"/>
                      <a:pt x="0" y="267"/>
                      <a:pt x="0" y="267"/>
                    </a:cubicBezTo>
                    <a:cubicBezTo>
                      <a:pt x="0" y="267"/>
                      <a:pt x="0" y="267"/>
                      <a:pt x="0" y="267"/>
                    </a:cubicBezTo>
                    <a:cubicBezTo>
                      <a:pt x="0" y="387"/>
                      <a:pt x="0" y="387"/>
                      <a:pt x="0" y="387"/>
                    </a:cubicBezTo>
                    <a:cubicBezTo>
                      <a:pt x="0" y="397"/>
                      <a:pt x="8" y="405"/>
                      <a:pt x="17" y="405"/>
                    </a:cubicBezTo>
                    <a:cubicBezTo>
                      <a:pt x="285" y="405"/>
                      <a:pt x="285" y="405"/>
                      <a:pt x="285" y="405"/>
                    </a:cubicBezTo>
                    <a:cubicBezTo>
                      <a:pt x="295" y="405"/>
                      <a:pt x="302" y="397"/>
                      <a:pt x="302" y="387"/>
                    </a:cubicBezTo>
                    <a:cubicBezTo>
                      <a:pt x="302" y="267"/>
                      <a:pt x="302" y="267"/>
                      <a:pt x="302" y="267"/>
                    </a:cubicBezTo>
                    <a:cubicBezTo>
                      <a:pt x="302" y="75"/>
                      <a:pt x="302" y="75"/>
                      <a:pt x="302" y="75"/>
                    </a:cubicBezTo>
                    <a:cubicBezTo>
                      <a:pt x="302" y="21"/>
                      <a:pt x="302" y="21"/>
                      <a:pt x="302" y="21"/>
                    </a:cubicBezTo>
                    <a:cubicBezTo>
                      <a:pt x="302" y="7"/>
                      <a:pt x="294" y="0"/>
                      <a:pt x="285" y="0"/>
                    </a:cubicBezTo>
                  </a:path>
                </a:pathLst>
              </a:custGeom>
              <a:solidFill>
                <a:srgbClr val="257F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7" name="Freeform 92">
                <a:extLst>
                  <a:ext uri="{FF2B5EF4-FFF2-40B4-BE49-F238E27FC236}">
                    <a16:creationId xmlns:a16="http://schemas.microsoft.com/office/drawing/2014/main" id="{CB808406-C717-4CE9-9B9C-252CF5CDB75C}"/>
                  </a:ext>
                </a:extLst>
              </p:cNvPr>
              <p:cNvSpPr>
                <a:spLocks/>
              </p:cNvSpPr>
              <p:nvPr/>
            </p:nvSpPr>
            <p:spPr bwMode="auto">
              <a:xfrm>
                <a:off x="6692900" y="5386388"/>
                <a:ext cx="831850" cy="177800"/>
              </a:xfrm>
              <a:custGeom>
                <a:avLst/>
                <a:gdLst>
                  <a:gd name="T0" fmla="*/ 275 w 292"/>
                  <a:gd name="T1" fmla="*/ 0 h 62"/>
                  <a:gd name="T2" fmla="*/ 33 w 292"/>
                  <a:gd name="T3" fmla="*/ 0 h 62"/>
                  <a:gd name="T4" fmla="*/ 33 w 292"/>
                  <a:gd name="T5" fmla="*/ 0 h 62"/>
                  <a:gd name="T6" fmla="*/ 16 w 292"/>
                  <a:gd name="T7" fmla="*/ 0 h 62"/>
                  <a:gd name="T8" fmla="*/ 0 w 292"/>
                  <a:gd name="T9" fmla="*/ 15 h 62"/>
                  <a:gd name="T10" fmla="*/ 0 w 292"/>
                  <a:gd name="T11" fmla="*/ 15 h 62"/>
                  <a:gd name="T12" fmla="*/ 0 w 292"/>
                  <a:gd name="T13" fmla="*/ 39 h 62"/>
                  <a:gd name="T14" fmla="*/ 16 w 292"/>
                  <a:gd name="T15" fmla="*/ 53 h 62"/>
                  <a:gd name="T16" fmla="*/ 33 w 292"/>
                  <a:gd name="T17" fmla="*/ 53 h 62"/>
                  <a:gd name="T18" fmla="*/ 33 w 292"/>
                  <a:gd name="T19" fmla="*/ 53 h 62"/>
                  <a:gd name="T20" fmla="*/ 275 w 292"/>
                  <a:gd name="T21" fmla="*/ 53 h 62"/>
                  <a:gd name="T22" fmla="*/ 292 w 292"/>
                  <a:gd name="T23" fmla="*/ 62 h 62"/>
                  <a:gd name="T24" fmla="*/ 292 w 292"/>
                  <a:gd name="T25" fmla="*/ 10 h 62"/>
                  <a:gd name="T26" fmla="*/ 275 w 29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2" h="62">
                    <a:moveTo>
                      <a:pt x="275" y="0"/>
                    </a:moveTo>
                    <a:cubicBezTo>
                      <a:pt x="33" y="0"/>
                      <a:pt x="33" y="0"/>
                      <a:pt x="33" y="0"/>
                    </a:cubicBezTo>
                    <a:cubicBezTo>
                      <a:pt x="33" y="0"/>
                      <a:pt x="33" y="0"/>
                      <a:pt x="33" y="0"/>
                    </a:cubicBezTo>
                    <a:cubicBezTo>
                      <a:pt x="22" y="0"/>
                      <a:pt x="16" y="0"/>
                      <a:pt x="16" y="0"/>
                    </a:cubicBezTo>
                    <a:cubicBezTo>
                      <a:pt x="5" y="0"/>
                      <a:pt x="0" y="3"/>
                      <a:pt x="0" y="15"/>
                    </a:cubicBezTo>
                    <a:cubicBezTo>
                      <a:pt x="0" y="15"/>
                      <a:pt x="0" y="15"/>
                      <a:pt x="0" y="15"/>
                    </a:cubicBezTo>
                    <a:cubicBezTo>
                      <a:pt x="0" y="39"/>
                      <a:pt x="0" y="39"/>
                      <a:pt x="0" y="39"/>
                    </a:cubicBezTo>
                    <a:cubicBezTo>
                      <a:pt x="0" y="50"/>
                      <a:pt x="6" y="53"/>
                      <a:pt x="16" y="53"/>
                    </a:cubicBezTo>
                    <a:cubicBezTo>
                      <a:pt x="16" y="53"/>
                      <a:pt x="22" y="53"/>
                      <a:pt x="33" y="53"/>
                    </a:cubicBezTo>
                    <a:cubicBezTo>
                      <a:pt x="33" y="53"/>
                      <a:pt x="33" y="53"/>
                      <a:pt x="33" y="53"/>
                    </a:cubicBezTo>
                    <a:cubicBezTo>
                      <a:pt x="275" y="53"/>
                      <a:pt x="275" y="53"/>
                      <a:pt x="275" y="53"/>
                    </a:cubicBezTo>
                    <a:cubicBezTo>
                      <a:pt x="284" y="53"/>
                      <a:pt x="292" y="57"/>
                      <a:pt x="292" y="62"/>
                    </a:cubicBezTo>
                    <a:cubicBezTo>
                      <a:pt x="292" y="10"/>
                      <a:pt x="292" y="10"/>
                      <a:pt x="292" y="10"/>
                    </a:cubicBezTo>
                    <a:cubicBezTo>
                      <a:pt x="292" y="5"/>
                      <a:pt x="283" y="0"/>
                      <a:pt x="275" y="0"/>
                    </a:cubicBezTo>
                  </a:path>
                </a:pathLst>
              </a:custGeom>
              <a:solidFill>
                <a:srgbClr val="F9EE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8" name="Freeform 93">
                <a:extLst>
                  <a:ext uri="{FF2B5EF4-FFF2-40B4-BE49-F238E27FC236}">
                    <a16:creationId xmlns:a16="http://schemas.microsoft.com/office/drawing/2014/main" id="{8826C173-5649-4F24-8C4E-CC3CFE2CAF96}"/>
                  </a:ext>
                </a:extLst>
              </p:cNvPr>
              <p:cNvSpPr>
                <a:spLocks/>
              </p:cNvSpPr>
              <p:nvPr/>
            </p:nvSpPr>
            <p:spPr bwMode="auto">
              <a:xfrm>
                <a:off x="7399338" y="5414963"/>
                <a:ext cx="125413" cy="53975"/>
              </a:xfrm>
              <a:custGeom>
                <a:avLst/>
                <a:gdLst>
                  <a:gd name="T0" fmla="*/ 27 w 44"/>
                  <a:gd name="T1" fmla="*/ 0 h 19"/>
                  <a:gd name="T2" fmla="*/ 0 w 44"/>
                  <a:gd name="T3" fmla="*/ 0 h 19"/>
                  <a:gd name="T4" fmla="*/ 0 w 44"/>
                  <a:gd name="T5" fmla="*/ 10 h 19"/>
                  <a:gd name="T6" fmla="*/ 27 w 44"/>
                  <a:gd name="T7" fmla="*/ 10 h 19"/>
                  <a:gd name="T8" fmla="*/ 44 w 44"/>
                  <a:gd name="T9" fmla="*/ 19 h 19"/>
                  <a:gd name="T10" fmla="*/ 44 w 44"/>
                  <a:gd name="T11" fmla="*/ 19 h 19"/>
                  <a:gd name="T12" fmla="*/ 27 w 4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44" h="19">
                    <a:moveTo>
                      <a:pt x="27" y="0"/>
                    </a:moveTo>
                    <a:cubicBezTo>
                      <a:pt x="27" y="0"/>
                      <a:pt x="17" y="0"/>
                      <a:pt x="0" y="0"/>
                    </a:cubicBezTo>
                    <a:cubicBezTo>
                      <a:pt x="0" y="10"/>
                      <a:pt x="0" y="10"/>
                      <a:pt x="0" y="10"/>
                    </a:cubicBezTo>
                    <a:cubicBezTo>
                      <a:pt x="27" y="10"/>
                      <a:pt x="27" y="10"/>
                      <a:pt x="27" y="10"/>
                    </a:cubicBezTo>
                    <a:cubicBezTo>
                      <a:pt x="35" y="10"/>
                      <a:pt x="44" y="15"/>
                      <a:pt x="44" y="19"/>
                    </a:cubicBezTo>
                    <a:cubicBezTo>
                      <a:pt x="44" y="19"/>
                      <a:pt x="44" y="19"/>
                      <a:pt x="44" y="19"/>
                    </a:cubicBezTo>
                    <a:cubicBezTo>
                      <a:pt x="44" y="6"/>
                      <a:pt x="36" y="0"/>
                      <a:pt x="27" y="0"/>
                    </a:cubicBezTo>
                  </a:path>
                </a:pathLst>
              </a:custGeom>
              <a:solidFill>
                <a:srgbClr val="F3DE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9" name="Freeform 94">
                <a:extLst>
                  <a:ext uri="{FF2B5EF4-FFF2-40B4-BE49-F238E27FC236}">
                    <a16:creationId xmlns:a16="http://schemas.microsoft.com/office/drawing/2014/main" id="{71896B50-F251-4DA5-A64F-8CE02636E788}"/>
                  </a:ext>
                </a:extLst>
              </p:cNvPr>
              <p:cNvSpPr>
                <a:spLocks noEditPoints="1"/>
              </p:cNvSpPr>
              <p:nvPr/>
            </p:nvSpPr>
            <p:spPr bwMode="auto">
              <a:xfrm>
                <a:off x="6692900" y="5414963"/>
                <a:ext cx="0" cy="28575"/>
              </a:xfrm>
              <a:custGeom>
                <a:avLst/>
                <a:gdLst>
                  <a:gd name="T0" fmla="*/ 5 h 10"/>
                  <a:gd name="T1" fmla="*/ 10 h 10"/>
                  <a:gd name="T2" fmla="*/ 10 h 10"/>
                  <a:gd name="T3" fmla="*/ 5 h 10"/>
                  <a:gd name="T4" fmla="*/ 0 h 10"/>
                  <a:gd name="T5" fmla="*/ 0 h 10"/>
                  <a:gd name="T6" fmla="*/ 5 h 10"/>
                  <a:gd name="T7" fmla="*/ 5 h 10"/>
                  <a:gd name="T8"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10">
                    <a:moveTo>
                      <a:pt x="0" y="5"/>
                    </a:moveTo>
                    <a:cubicBezTo>
                      <a:pt x="0" y="10"/>
                      <a:pt x="0" y="10"/>
                      <a:pt x="0" y="10"/>
                    </a:cubicBezTo>
                    <a:cubicBezTo>
                      <a:pt x="0" y="10"/>
                      <a:pt x="0" y="10"/>
                      <a:pt x="0" y="10"/>
                    </a:cubicBezTo>
                    <a:cubicBezTo>
                      <a:pt x="0" y="5"/>
                      <a:pt x="0" y="5"/>
                      <a:pt x="0" y="5"/>
                    </a:cubicBezTo>
                    <a:moveTo>
                      <a:pt x="0" y="0"/>
                    </a:moveTo>
                    <a:cubicBezTo>
                      <a:pt x="0" y="0"/>
                      <a:pt x="0" y="0"/>
                      <a:pt x="0" y="0"/>
                    </a:cubicBezTo>
                    <a:cubicBezTo>
                      <a:pt x="0" y="5"/>
                      <a:pt x="0" y="5"/>
                      <a:pt x="0" y="5"/>
                    </a:cubicBezTo>
                    <a:cubicBezTo>
                      <a:pt x="0" y="5"/>
                      <a:pt x="0" y="5"/>
                      <a:pt x="0" y="5"/>
                    </a:cubicBezTo>
                    <a:cubicBezTo>
                      <a:pt x="0" y="3"/>
                      <a:pt x="0" y="1"/>
                      <a:pt x="0" y="0"/>
                    </a:cubicBezTo>
                  </a:path>
                </a:pathLst>
              </a:custGeom>
              <a:solidFill>
                <a:srgbClr val="2477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0" name="Freeform 95">
                <a:extLst>
                  <a:ext uri="{FF2B5EF4-FFF2-40B4-BE49-F238E27FC236}">
                    <a16:creationId xmlns:a16="http://schemas.microsoft.com/office/drawing/2014/main" id="{9CBE023A-FF4C-4705-8C5B-23C79CEA23F4}"/>
                  </a:ext>
                </a:extLst>
              </p:cNvPr>
              <p:cNvSpPr>
                <a:spLocks/>
              </p:cNvSpPr>
              <p:nvPr/>
            </p:nvSpPr>
            <p:spPr bwMode="auto">
              <a:xfrm>
                <a:off x="6692900" y="5414963"/>
                <a:ext cx="660400" cy="28575"/>
              </a:xfrm>
              <a:custGeom>
                <a:avLst/>
                <a:gdLst>
                  <a:gd name="T0" fmla="*/ 232 w 232"/>
                  <a:gd name="T1" fmla="*/ 0 h 10"/>
                  <a:gd name="T2" fmla="*/ 0 w 232"/>
                  <a:gd name="T3" fmla="*/ 0 h 10"/>
                  <a:gd name="T4" fmla="*/ 0 w 232"/>
                  <a:gd name="T5" fmla="*/ 5 h 10"/>
                  <a:gd name="T6" fmla="*/ 0 w 232"/>
                  <a:gd name="T7" fmla="*/ 5 h 10"/>
                  <a:gd name="T8" fmla="*/ 0 w 232"/>
                  <a:gd name="T9" fmla="*/ 10 h 10"/>
                  <a:gd name="T10" fmla="*/ 33 w 232"/>
                  <a:gd name="T11" fmla="*/ 10 h 10"/>
                  <a:gd name="T12" fmla="*/ 33 w 232"/>
                  <a:gd name="T13" fmla="*/ 10 h 10"/>
                  <a:gd name="T14" fmla="*/ 232 w 232"/>
                  <a:gd name="T15" fmla="*/ 10 h 10"/>
                  <a:gd name="T16" fmla="*/ 232 w 23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10">
                    <a:moveTo>
                      <a:pt x="232" y="0"/>
                    </a:moveTo>
                    <a:cubicBezTo>
                      <a:pt x="166" y="0"/>
                      <a:pt x="45" y="0"/>
                      <a:pt x="0" y="0"/>
                    </a:cubicBezTo>
                    <a:cubicBezTo>
                      <a:pt x="0" y="1"/>
                      <a:pt x="0" y="3"/>
                      <a:pt x="0" y="5"/>
                    </a:cubicBezTo>
                    <a:cubicBezTo>
                      <a:pt x="0" y="5"/>
                      <a:pt x="0" y="5"/>
                      <a:pt x="0" y="5"/>
                    </a:cubicBezTo>
                    <a:cubicBezTo>
                      <a:pt x="0" y="10"/>
                      <a:pt x="0" y="10"/>
                      <a:pt x="0" y="10"/>
                    </a:cubicBezTo>
                    <a:cubicBezTo>
                      <a:pt x="2" y="10"/>
                      <a:pt x="31" y="10"/>
                      <a:pt x="33" y="10"/>
                    </a:cubicBezTo>
                    <a:cubicBezTo>
                      <a:pt x="33" y="10"/>
                      <a:pt x="33" y="10"/>
                      <a:pt x="33" y="10"/>
                    </a:cubicBezTo>
                    <a:cubicBezTo>
                      <a:pt x="232" y="10"/>
                      <a:pt x="232" y="10"/>
                      <a:pt x="232" y="10"/>
                    </a:cubicBezTo>
                    <a:cubicBezTo>
                      <a:pt x="232" y="0"/>
                      <a:pt x="232" y="0"/>
                      <a:pt x="232" y="0"/>
                    </a:cubicBezTo>
                  </a:path>
                </a:pathLst>
              </a:custGeom>
              <a:solidFill>
                <a:srgbClr val="F3DE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1" name="Freeform 96">
                <a:extLst>
                  <a:ext uri="{FF2B5EF4-FFF2-40B4-BE49-F238E27FC236}">
                    <a16:creationId xmlns:a16="http://schemas.microsoft.com/office/drawing/2014/main" id="{364A7674-928C-4DAA-9D82-41CCBA940982}"/>
                  </a:ext>
                </a:extLst>
              </p:cNvPr>
              <p:cNvSpPr>
                <a:spLocks/>
              </p:cNvSpPr>
              <p:nvPr/>
            </p:nvSpPr>
            <p:spPr bwMode="auto">
              <a:xfrm>
                <a:off x="7399338" y="5478463"/>
                <a:ext cx="125413" cy="53975"/>
              </a:xfrm>
              <a:custGeom>
                <a:avLst/>
                <a:gdLst>
                  <a:gd name="T0" fmla="*/ 27 w 44"/>
                  <a:gd name="T1" fmla="*/ 0 h 19"/>
                  <a:gd name="T2" fmla="*/ 0 w 44"/>
                  <a:gd name="T3" fmla="*/ 0 h 19"/>
                  <a:gd name="T4" fmla="*/ 0 w 44"/>
                  <a:gd name="T5" fmla="*/ 10 h 19"/>
                  <a:gd name="T6" fmla="*/ 27 w 44"/>
                  <a:gd name="T7" fmla="*/ 10 h 19"/>
                  <a:gd name="T8" fmla="*/ 44 w 44"/>
                  <a:gd name="T9" fmla="*/ 19 h 19"/>
                  <a:gd name="T10" fmla="*/ 44 w 44"/>
                  <a:gd name="T11" fmla="*/ 19 h 19"/>
                  <a:gd name="T12" fmla="*/ 27 w 4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44" h="19">
                    <a:moveTo>
                      <a:pt x="27" y="0"/>
                    </a:moveTo>
                    <a:cubicBezTo>
                      <a:pt x="27" y="0"/>
                      <a:pt x="17" y="0"/>
                      <a:pt x="0" y="0"/>
                    </a:cubicBezTo>
                    <a:cubicBezTo>
                      <a:pt x="0" y="10"/>
                      <a:pt x="0" y="10"/>
                      <a:pt x="0" y="10"/>
                    </a:cubicBezTo>
                    <a:cubicBezTo>
                      <a:pt x="27" y="10"/>
                      <a:pt x="27" y="10"/>
                      <a:pt x="27" y="10"/>
                    </a:cubicBezTo>
                    <a:cubicBezTo>
                      <a:pt x="35" y="10"/>
                      <a:pt x="44" y="15"/>
                      <a:pt x="44" y="19"/>
                    </a:cubicBezTo>
                    <a:cubicBezTo>
                      <a:pt x="44" y="19"/>
                      <a:pt x="44" y="19"/>
                      <a:pt x="44" y="19"/>
                    </a:cubicBezTo>
                    <a:cubicBezTo>
                      <a:pt x="44" y="6"/>
                      <a:pt x="36" y="0"/>
                      <a:pt x="27" y="0"/>
                    </a:cubicBezTo>
                  </a:path>
                </a:pathLst>
              </a:custGeom>
              <a:solidFill>
                <a:srgbClr val="F3DE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2" name="Freeform 97">
                <a:extLst>
                  <a:ext uri="{FF2B5EF4-FFF2-40B4-BE49-F238E27FC236}">
                    <a16:creationId xmlns:a16="http://schemas.microsoft.com/office/drawing/2014/main" id="{A2B17C99-4DD0-49BC-A154-AB94D6C47E86}"/>
                  </a:ext>
                </a:extLst>
              </p:cNvPr>
              <p:cNvSpPr>
                <a:spLocks/>
              </p:cNvSpPr>
              <p:nvPr/>
            </p:nvSpPr>
            <p:spPr bwMode="auto">
              <a:xfrm>
                <a:off x="6692900" y="5478463"/>
                <a:ext cx="0" cy="28575"/>
              </a:xfrm>
              <a:custGeom>
                <a:avLst/>
                <a:gdLst>
                  <a:gd name="T0" fmla="*/ 0 h 10"/>
                  <a:gd name="T1" fmla="*/ 0 h 10"/>
                  <a:gd name="T2" fmla="*/ 10 h 10"/>
                  <a:gd name="T3" fmla="*/ 10 h 10"/>
                  <a:gd name="T4" fmla="*/ 7 h 10"/>
                  <a:gd name="T5" fmla="*/ 0 h 10"/>
                </a:gdLst>
                <a:ahLst/>
                <a:cxnLst>
                  <a:cxn ang="0">
                    <a:pos x="0" y="T0"/>
                  </a:cxn>
                  <a:cxn ang="0">
                    <a:pos x="0" y="T1"/>
                  </a:cxn>
                  <a:cxn ang="0">
                    <a:pos x="0" y="T2"/>
                  </a:cxn>
                  <a:cxn ang="0">
                    <a:pos x="0" y="T3"/>
                  </a:cxn>
                  <a:cxn ang="0">
                    <a:pos x="0" y="T4"/>
                  </a:cxn>
                  <a:cxn ang="0">
                    <a:pos x="0" y="T5"/>
                  </a:cxn>
                </a:cxnLst>
                <a:rect l="0" t="0" r="r" b="b"/>
                <a:pathLst>
                  <a:path h="10">
                    <a:moveTo>
                      <a:pt x="0" y="0"/>
                    </a:moveTo>
                    <a:cubicBezTo>
                      <a:pt x="0" y="0"/>
                      <a:pt x="0" y="0"/>
                      <a:pt x="0" y="0"/>
                    </a:cubicBezTo>
                    <a:cubicBezTo>
                      <a:pt x="0" y="10"/>
                      <a:pt x="0" y="10"/>
                      <a:pt x="0" y="10"/>
                    </a:cubicBezTo>
                    <a:cubicBezTo>
                      <a:pt x="0" y="10"/>
                      <a:pt x="0" y="10"/>
                      <a:pt x="0" y="10"/>
                    </a:cubicBezTo>
                    <a:cubicBezTo>
                      <a:pt x="0" y="9"/>
                      <a:pt x="0" y="8"/>
                      <a:pt x="0" y="7"/>
                    </a:cubicBezTo>
                    <a:cubicBezTo>
                      <a:pt x="0" y="0"/>
                      <a:pt x="0" y="0"/>
                      <a:pt x="0" y="0"/>
                    </a:cubicBezTo>
                  </a:path>
                </a:pathLst>
              </a:custGeom>
              <a:solidFill>
                <a:srgbClr val="2477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3" name="Freeform 98">
                <a:extLst>
                  <a:ext uri="{FF2B5EF4-FFF2-40B4-BE49-F238E27FC236}">
                    <a16:creationId xmlns:a16="http://schemas.microsoft.com/office/drawing/2014/main" id="{D6A208A9-8013-4485-8D43-299E05ECC447}"/>
                  </a:ext>
                </a:extLst>
              </p:cNvPr>
              <p:cNvSpPr>
                <a:spLocks/>
              </p:cNvSpPr>
              <p:nvPr/>
            </p:nvSpPr>
            <p:spPr bwMode="auto">
              <a:xfrm>
                <a:off x="6692900" y="5478463"/>
                <a:ext cx="660400" cy="28575"/>
              </a:xfrm>
              <a:custGeom>
                <a:avLst/>
                <a:gdLst>
                  <a:gd name="T0" fmla="*/ 232 w 232"/>
                  <a:gd name="T1" fmla="*/ 0 h 10"/>
                  <a:gd name="T2" fmla="*/ 0 w 232"/>
                  <a:gd name="T3" fmla="*/ 0 h 10"/>
                  <a:gd name="T4" fmla="*/ 0 w 232"/>
                  <a:gd name="T5" fmla="*/ 7 h 10"/>
                  <a:gd name="T6" fmla="*/ 0 w 232"/>
                  <a:gd name="T7" fmla="*/ 10 h 10"/>
                  <a:gd name="T8" fmla="*/ 33 w 232"/>
                  <a:gd name="T9" fmla="*/ 10 h 10"/>
                  <a:gd name="T10" fmla="*/ 232 w 232"/>
                  <a:gd name="T11" fmla="*/ 10 h 10"/>
                  <a:gd name="T12" fmla="*/ 232 w 23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32" h="10">
                    <a:moveTo>
                      <a:pt x="232" y="0"/>
                    </a:moveTo>
                    <a:cubicBezTo>
                      <a:pt x="166" y="0"/>
                      <a:pt x="44" y="0"/>
                      <a:pt x="0" y="0"/>
                    </a:cubicBezTo>
                    <a:cubicBezTo>
                      <a:pt x="0" y="7"/>
                      <a:pt x="0" y="7"/>
                      <a:pt x="0" y="7"/>
                    </a:cubicBezTo>
                    <a:cubicBezTo>
                      <a:pt x="0" y="8"/>
                      <a:pt x="0" y="9"/>
                      <a:pt x="0" y="10"/>
                    </a:cubicBezTo>
                    <a:cubicBezTo>
                      <a:pt x="3" y="10"/>
                      <a:pt x="31" y="10"/>
                      <a:pt x="33" y="10"/>
                    </a:cubicBezTo>
                    <a:cubicBezTo>
                      <a:pt x="232" y="10"/>
                      <a:pt x="232" y="10"/>
                      <a:pt x="232" y="10"/>
                    </a:cubicBezTo>
                    <a:cubicBezTo>
                      <a:pt x="232" y="0"/>
                      <a:pt x="232" y="0"/>
                      <a:pt x="232" y="0"/>
                    </a:cubicBezTo>
                  </a:path>
                </a:pathLst>
              </a:custGeom>
              <a:solidFill>
                <a:srgbClr val="F3DE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4" name="Freeform 99">
                <a:extLst>
                  <a:ext uri="{FF2B5EF4-FFF2-40B4-BE49-F238E27FC236}">
                    <a16:creationId xmlns:a16="http://schemas.microsoft.com/office/drawing/2014/main" id="{BB2DE69A-BF20-4C40-BB31-8F3B7659074A}"/>
                  </a:ext>
                </a:extLst>
              </p:cNvPr>
              <p:cNvSpPr>
                <a:spLocks/>
              </p:cNvSpPr>
              <p:nvPr/>
            </p:nvSpPr>
            <p:spPr bwMode="auto">
              <a:xfrm>
                <a:off x="6659563" y="5503863"/>
                <a:ext cx="865188" cy="1054100"/>
              </a:xfrm>
              <a:custGeom>
                <a:avLst/>
                <a:gdLst>
                  <a:gd name="T0" fmla="*/ 304 w 304"/>
                  <a:gd name="T1" fmla="*/ 353 h 370"/>
                  <a:gd name="T2" fmla="*/ 287 w 304"/>
                  <a:gd name="T3" fmla="*/ 370 h 370"/>
                  <a:gd name="T4" fmla="*/ 19 w 304"/>
                  <a:gd name="T5" fmla="*/ 370 h 370"/>
                  <a:gd name="T6" fmla="*/ 2 w 304"/>
                  <a:gd name="T7" fmla="*/ 353 h 370"/>
                  <a:gd name="T8" fmla="*/ 2 w 304"/>
                  <a:gd name="T9" fmla="*/ 0 h 370"/>
                  <a:gd name="T10" fmla="*/ 19 w 304"/>
                  <a:gd name="T11" fmla="*/ 23 h 370"/>
                  <a:gd name="T12" fmla="*/ 287 w 304"/>
                  <a:gd name="T13" fmla="*/ 23 h 370"/>
                  <a:gd name="T14" fmla="*/ 304 w 304"/>
                  <a:gd name="T15" fmla="*/ 40 h 370"/>
                  <a:gd name="T16" fmla="*/ 304 w 304"/>
                  <a:gd name="T17" fmla="*/ 353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370">
                    <a:moveTo>
                      <a:pt x="304" y="353"/>
                    </a:moveTo>
                    <a:cubicBezTo>
                      <a:pt x="304" y="362"/>
                      <a:pt x="297" y="370"/>
                      <a:pt x="287" y="370"/>
                    </a:cubicBezTo>
                    <a:cubicBezTo>
                      <a:pt x="19" y="370"/>
                      <a:pt x="19" y="370"/>
                      <a:pt x="19" y="370"/>
                    </a:cubicBezTo>
                    <a:cubicBezTo>
                      <a:pt x="10" y="370"/>
                      <a:pt x="2" y="362"/>
                      <a:pt x="2" y="353"/>
                    </a:cubicBezTo>
                    <a:cubicBezTo>
                      <a:pt x="2" y="0"/>
                      <a:pt x="2" y="0"/>
                      <a:pt x="2" y="0"/>
                    </a:cubicBezTo>
                    <a:cubicBezTo>
                      <a:pt x="2" y="0"/>
                      <a:pt x="0" y="23"/>
                      <a:pt x="19" y="23"/>
                    </a:cubicBezTo>
                    <a:cubicBezTo>
                      <a:pt x="287" y="23"/>
                      <a:pt x="287" y="23"/>
                      <a:pt x="287" y="23"/>
                    </a:cubicBezTo>
                    <a:cubicBezTo>
                      <a:pt x="297" y="23"/>
                      <a:pt x="304" y="31"/>
                      <a:pt x="304" y="40"/>
                    </a:cubicBezTo>
                    <a:cubicBezTo>
                      <a:pt x="304" y="353"/>
                      <a:pt x="304" y="353"/>
                      <a:pt x="304" y="353"/>
                    </a:cubicBezTo>
                  </a:path>
                </a:pathLst>
              </a:custGeom>
              <a:solidFill>
                <a:srgbClr val="225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5" name="Rectangle 100">
                <a:extLst>
                  <a:ext uri="{FF2B5EF4-FFF2-40B4-BE49-F238E27FC236}">
                    <a16:creationId xmlns:a16="http://schemas.microsoft.com/office/drawing/2014/main" id="{2DD20434-6913-45E4-B592-CC9DAE43146A}"/>
                  </a:ext>
                </a:extLst>
              </p:cNvPr>
              <p:cNvSpPr>
                <a:spLocks noChangeArrowheads="1"/>
              </p:cNvSpPr>
              <p:nvPr/>
            </p:nvSpPr>
            <p:spPr bwMode="auto">
              <a:xfrm>
                <a:off x="7353300" y="5357813"/>
                <a:ext cx="46038" cy="211138"/>
              </a:xfrm>
              <a:prstGeom prst="rect">
                <a:avLst/>
              </a:prstGeom>
              <a:solidFill>
                <a:srgbClr val="FF4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6" name="Rectangle 101">
                <a:extLst>
                  <a:ext uri="{FF2B5EF4-FFF2-40B4-BE49-F238E27FC236}">
                    <a16:creationId xmlns:a16="http://schemas.microsoft.com/office/drawing/2014/main" id="{BE4DA5DB-4F2D-4380-A760-B5081447C63E}"/>
                  </a:ext>
                </a:extLst>
              </p:cNvPr>
              <p:cNvSpPr>
                <a:spLocks noChangeArrowheads="1"/>
              </p:cNvSpPr>
              <p:nvPr/>
            </p:nvSpPr>
            <p:spPr bwMode="auto">
              <a:xfrm>
                <a:off x="7353300" y="5357813"/>
                <a:ext cx="46038"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7" name="Rectangle 102">
                <a:extLst>
                  <a:ext uri="{FF2B5EF4-FFF2-40B4-BE49-F238E27FC236}">
                    <a16:creationId xmlns:a16="http://schemas.microsoft.com/office/drawing/2014/main" id="{DDEF6BFE-CF48-4DBD-84A3-B51893CDB4B5}"/>
                  </a:ext>
                </a:extLst>
              </p:cNvPr>
              <p:cNvSpPr>
                <a:spLocks noChangeArrowheads="1"/>
              </p:cNvSpPr>
              <p:nvPr/>
            </p:nvSpPr>
            <p:spPr bwMode="auto">
              <a:xfrm>
                <a:off x="7359650" y="5357813"/>
                <a:ext cx="11113" cy="211138"/>
              </a:xfrm>
              <a:prstGeom prst="rect">
                <a:avLst/>
              </a:prstGeom>
              <a:solidFill>
                <a:srgbClr val="DB09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8" name="Rectangle 103">
                <a:extLst>
                  <a:ext uri="{FF2B5EF4-FFF2-40B4-BE49-F238E27FC236}">
                    <a16:creationId xmlns:a16="http://schemas.microsoft.com/office/drawing/2014/main" id="{A0E2A21A-4149-47F2-AFF4-4EC210D7F983}"/>
                  </a:ext>
                </a:extLst>
              </p:cNvPr>
              <p:cNvSpPr>
                <a:spLocks noChangeArrowheads="1"/>
              </p:cNvSpPr>
              <p:nvPr/>
            </p:nvSpPr>
            <p:spPr bwMode="auto">
              <a:xfrm>
                <a:off x="7359650" y="5357813"/>
                <a:ext cx="11113"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9" name="Rectangle 104">
                <a:extLst>
                  <a:ext uri="{FF2B5EF4-FFF2-40B4-BE49-F238E27FC236}">
                    <a16:creationId xmlns:a16="http://schemas.microsoft.com/office/drawing/2014/main" id="{92A77ACB-5D22-42F5-A29A-156161EDB291}"/>
                  </a:ext>
                </a:extLst>
              </p:cNvPr>
              <p:cNvSpPr>
                <a:spLocks noChangeArrowheads="1"/>
              </p:cNvSpPr>
              <p:nvPr/>
            </p:nvSpPr>
            <p:spPr bwMode="auto">
              <a:xfrm>
                <a:off x="7378700" y="5357813"/>
                <a:ext cx="9525" cy="211138"/>
              </a:xfrm>
              <a:prstGeom prst="rect">
                <a:avLst/>
              </a:prstGeom>
              <a:solidFill>
                <a:srgbClr val="DB09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0" name="Rectangle 105">
                <a:extLst>
                  <a:ext uri="{FF2B5EF4-FFF2-40B4-BE49-F238E27FC236}">
                    <a16:creationId xmlns:a16="http://schemas.microsoft.com/office/drawing/2014/main" id="{14D9BFBD-5155-4E1A-B1A8-31753DD080D5}"/>
                  </a:ext>
                </a:extLst>
              </p:cNvPr>
              <p:cNvSpPr>
                <a:spLocks noChangeArrowheads="1"/>
              </p:cNvSpPr>
              <p:nvPr/>
            </p:nvSpPr>
            <p:spPr bwMode="auto">
              <a:xfrm>
                <a:off x="7378700" y="5357813"/>
                <a:ext cx="9525"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1" name="Rectangle 106">
                <a:extLst>
                  <a:ext uri="{FF2B5EF4-FFF2-40B4-BE49-F238E27FC236}">
                    <a16:creationId xmlns:a16="http://schemas.microsoft.com/office/drawing/2014/main" id="{46CF195B-236A-4779-9AF7-2CACD7F4DF93}"/>
                  </a:ext>
                </a:extLst>
              </p:cNvPr>
              <p:cNvSpPr>
                <a:spLocks noChangeArrowheads="1"/>
              </p:cNvSpPr>
              <p:nvPr/>
            </p:nvSpPr>
            <p:spPr bwMode="auto">
              <a:xfrm>
                <a:off x="7353300" y="5568950"/>
                <a:ext cx="46038" cy="989013"/>
              </a:xfrm>
              <a:prstGeom prst="rect">
                <a:avLst/>
              </a:prstGeom>
              <a:solidFill>
                <a:srgbClr val="DB22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2" name="Rectangle 107">
                <a:extLst>
                  <a:ext uri="{FF2B5EF4-FFF2-40B4-BE49-F238E27FC236}">
                    <a16:creationId xmlns:a16="http://schemas.microsoft.com/office/drawing/2014/main" id="{5CC0D81A-F2B2-4AC4-84A0-B3EBDE8FFA6D}"/>
                  </a:ext>
                </a:extLst>
              </p:cNvPr>
              <p:cNvSpPr>
                <a:spLocks noChangeArrowheads="1"/>
              </p:cNvSpPr>
              <p:nvPr/>
            </p:nvSpPr>
            <p:spPr bwMode="auto">
              <a:xfrm>
                <a:off x="7353300" y="5568950"/>
                <a:ext cx="46038" cy="98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3" name="Freeform 108">
                <a:extLst>
                  <a:ext uri="{FF2B5EF4-FFF2-40B4-BE49-F238E27FC236}">
                    <a16:creationId xmlns:a16="http://schemas.microsoft.com/office/drawing/2014/main" id="{24559530-2DF9-4832-A8CD-F96618E97C36}"/>
                  </a:ext>
                </a:extLst>
              </p:cNvPr>
              <p:cNvSpPr>
                <a:spLocks/>
              </p:cNvSpPr>
              <p:nvPr/>
            </p:nvSpPr>
            <p:spPr bwMode="auto">
              <a:xfrm>
                <a:off x="7359650" y="5568950"/>
                <a:ext cx="11113" cy="989013"/>
              </a:xfrm>
              <a:custGeom>
                <a:avLst/>
                <a:gdLst>
                  <a:gd name="T0" fmla="*/ 7 w 7"/>
                  <a:gd name="T1" fmla="*/ 0 h 623"/>
                  <a:gd name="T2" fmla="*/ 7 w 7"/>
                  <a:gd name="T3" fmla="*/ 0 h 623"/>
                  <a:gd name="T4" fmla="*/ 0 w 7"/>
                  <a:gd name="T5" fmla="*/ 0 h 623"/>
                  <a:gd name="T6" fmla="*/ 0 w 7"/>
                  <a:gd name="T7" fmla="*/ 623 h 623"/>
                  <a:gd name="T8" fmla="*/ 7 w 7"/>
                  <a:gd name="T9" fmla="*/ 623 h 623"/>
                  <a:gd name="T10" fmla="*/ 7 w 7"/>
                  <a:gd name="T11" fmla="*/ 0 h 623"/>
                </a:gdLst>
                <a:ahLst/>
                <a:cxnLst>
                  <a:cxn ang="0">
                    <a:pos x="T0" y="T1"/>
                  </a:cxn>
                  <a:cxn ang="0">
                    <a:pos x="T2" y="T3"/>
                  </a:cxn>
                  <a:cxn ang="0">
                    <a:pos x="T4" y="T5"/>
                  </a:cxn>
                  <a:cxn ang="0">
                    <a:pos x="T6" y="T7"/>
                  </a:cxn>
                  <a:cxn ang="0">
                    <a:pos x="T8" y="T9"/>
                  </a:cxn>
                  <a:cxn ang="0">
                    <a:pos x="T10" y="T11"/>
                  </a:cxn>
                </a:cxnLst>
                <a:rect l="0" t="0" r="r" b="b"/>
                <a:pathLst>
                  <a:path w="7" h="623">
                    <a:moveTo>
                      <a:pt x="7" y="0"/>
                    </a:moveTo>
                    <a:lnTo>
                      <a:pt x="7" y="0"/>
                    </a:lnTo>
                    <a:lnTo>
                      <a:pt x="0" y="0"/>
                    </a:lnTo>
                    <a:lnTo>
                      <a:pt x="0" y="623"/>
                    </a:lnTo>
                    <a:lnTo>
                      <a:pt x="7" y="623"/>
                    </a:lnTo>
                    <a:lnTo>
                      <a:pt x="7" y="0"/>
                    </a:lnTo>
                    <a:close/>
                  </a:path>
                </a:pathLst>
              </a:custGeom>
              <a:solidFill>
                <a:srgbClr val="BC05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4" name="Freeform 109">
                <a:extLst>
                  <a:ext uri="{FF2B5EF4-FFF2-40B4-BE49-F238E27FC236}">
                    <a16:creationId xmlns:a16="http://schemas.microsoft.com/office/drawing/2014/main" id="{2764FC51-C56D-4A96-9B41-78FB70069B17}"/>
                  </a:ext>
                </a:extLst>
              </p:cNvPr>
              <p:cNvSpPr>
                <a:spLocks/>
              </p:cNvSpPr>
              <p:nvPr/>
            </p:nvSpPr>
            <p:spPr bwMode="auto">
              <a:xfrm>
                <a:off x="7359650" y="5568950"/>
                <a:ext cx="11113" cy="989013"/>
              </a:xfrm>
              <a:custGeom>
                <a:avLst/>
                <a:gdLst>
                  <a:gd name="T0" fmla="*/ 7 w 7"/>
                  <a:gd name="T1" fmla="*/ 0 h 623"/>
                  <a:gd name="T2" fmla="*/ 7 w 7"/>
                  <a:gd name="T3" fmla="*/ 0 h 623"/>
                  <a:gd name="T4" fmla="*/ 0 w 7"/>
                  <a:gd name="T5" fmla="*/ 0 h 623"/>
                  <a:gd name="T6" fmla="*/ 0 w 7"/>
                  <a:gd name="T7" fmla="*/ 623 h 623"/>
                  <a:gd name="T8" fmla="*/ 7 w 7"/>
                  <a:gd name="T9" fmla="*/ 623 h 623"/>
                  <a:gd name="T10" fmla="*/ 7 w 7"/>
                  <a:gd name="T11" fmla="*/ 0 h 623"/>
                </a:gdLst>
                <a:ahLst/>
                <a:cxnLst>
                  <a:cxn ang="0">
                    <a:pos x="T0" y="T1"/>
                  </a:cxn>
                  <a:cxn ang="0">
                    <a:pos x="T2" y="T3"/>
                  </a:cxn>
                  <a:cxn ang="0">
                    <a:pos x="T4" y="T5"/>
                  </a:cxn>
                  <a:cxn ang="0">
                    <a:pos x="T6" y="T7"/>
                  </a:cxn>
                  <a:cxn ang="0">
                    <a:pos x="T8" y="T9"/>
                  </a:cxn>
                  <a:cxn ang="0">
                    <a:pos x="T10" y="T11"/>
                  </a:cxn>
                </a:cxnLst>
                <a:rect l="0" t="0" r="r" b="b"/>
                <a:pathLst>
                  <a:path w="7" h="623">
                    <a:moveTo>
                      <a:pt x="7" y="0"/>
                    </a:moveTo>
                    <a:lnTo>
                      <a:pt x="7" y="0"/>
                    </a:lnTo>
                    <a:lnTo>
                      <a:pt x="0" y="0"/>
                    </a:lnTo>
                    <a:lnTo>
                      <a:pt x="0" y="623"/>
                    </a:lnTo>
                    <a:lnTo>
                      <a:pt x="7" y="623"/>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5" name="Freeform 110">
                <a:extLst>
                  <a:ext uri="{FF2B5EF4-FFF2-40B4-BE49-F238E27FC236}">
                    <a16:creationId xmlns:a16="http://schemas.microsoft.com/office/drawing/2014/main" id="{57C8D1F9-EC92-4E4D-B90F-2AECFD781828}"/>
                  </a:ext>
                </a:extLst>
              </p:cNvPr>
              <p:cNvSpPr>
                <a:spLocks/>
              </p:cNvSpPr>
              <p:nvPr/>
            </p:nvSpPr>
            <p:spPr bwMode="auto">
              <a:xfrm>
                <a:off x="7378700" y="5568950"/>
                <a:ext cx="9525" cy="989013"/>
              </a:xfrm>
              <a:custGeom>
                <a:avLst/>
                <a:gdLst>
                  <a:gd name="T0" fmla="*/ 6 w 6"/>
                  <a:gd name="T1" fmla="*/ 0 h 623"/>
                  <a:gd name="T2" fmla="*/ 6 w 6"/>
                  <a:gd name="T3" fmla="*/ 0 h 623"/>
                  <a:gd name="T4" fmla="*/ 0 w 6"/>
                  <a:gd name="T5" fmla="*/ 0 h 623"/>
                  <a:gd name="T6" fmla="*/ 0 w 6"/>
                  <a:gd name="T7" fmla="*/ 623 h 623"/>
                  <a:gd name="T8" fmla="*/ 6 w 6"/>
                  <a:gd name="T9" fmla="*/ 623 h 623"/>
                  <a:gd name="T10" fmla="*/ 6 w 6"/>
                  <a:gd name="T11" fmla="*/ 0 h 623"/>
                </a:gdLst>
                <a:ahLst/>
                <a:cxnLst>
                  <a:cxn ang="0">
                    <a:pos x="T0" y="T1"/>
                  </a:cxn>
                  <a:cxn ang="0">
                    <a:pos x="T2" y="T3"/>
                  </a:cxn>
                  <a:cxn ang="0">
                    <a:pos x="T4" y="T5"/>
                  </a:cxn>
                  <a:cxn ang="0">
                    <a:pos x="T6" y="T7"/>
                  </a:cxn>
                  <a:cxn ang="0">
                    <a:pos x="T8" y="T9"/>
                  </a:cxn>
                  <a:cxn ang="0">
                    <a:pos x="T10" y="T11"/>
                  </a:cxn>
                </a:cxnLst>
                <a:rect l="0" t="0" r="r" b="b"/>
                <a:pathLst>
                  <a:path w="6" h="623">
                    <a:moveTo>
                      <a:pt x="6" y="0"/>
                    </a:moveTo>
                    <a:lnTo>
                      <a:pt x="6" y="0"/>
                    </a:lnTo>
                    <a:lnTo>
                      <a:pt x="0" y="0"/>
                    </a:lnTo>
                    <a:lnTo>
                      <a:pt x="0" y="623"/>
                    </a:lnTo>
                    <a:lnTo>
                      <a:pt x="6" y="623"/>
                    </a:lnTo>
                    <a:lnTo>
                      <a:pt x="6" y="0"/>
                    </a:lnTo>
                    <a:close/>
                  </a:path>
                </a:pathLst>
              </a:custGeom>
              <a:solidFill>
                <a:srgbClr val="BC05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6" name="Freeform 111">
                <a:extLst>
                  <a:ext uri="{FF2B5EF4-FFF2-40B4-BE49-F238E27FC236}">
                    <a16:creationId xmlns:a16="http://schemas.microsoft.com/office/drawing/2014/main" id="{F3BDD603-0D29-4036-90D4-C20012D27846}"/>
                  </a:ext>
                </a:extLst>
              </p:cNvPr>
              <p:cNvSpPr>
                <a:spLocks/>
              </p:cNvSpPr>
              <p:nvPr/>
            </p:nvSpPr>
            <p:spPr bwMode="auto">
              <a:xfrm>
                <a:off x="7378700" y="5568950"/>
                <a:ext cx="9525" cy="989013"/>
              </a:xfrm>
              <a:custGeom>
                <a:avLst/>
                <a:gdLst>
                  <a:gd name="T0" fmla="*/ 6 w 6"/>
                  <a:gd name="T1" fmla="*/ 0 h 623"/>
                  <a:gd name="T2" fmla="*/ 6 w 6"/>
                  <a:gd name="T3" fmla="*/ 0 h 623"/>
                  <a:gd name="T4" fmla="*/ 0 w 6"/>
                  <a:gd name="T5" fmla="*/ 0 h 623"/>
                  <a:gd name="T6" fmla="*/ 0 w 6"/>
                  <a:gd name="T7" fmla="*/ 623 h 623"/>
                  <a:gd name="T8" fmla="*/ 6 w 6"/>
                  <a:gd name="T9" fmla="*/ 623 h 623"/>
                  <a:gd name="T10" fmla="*/ 6 w 6"/>
                  <a:gd name="T11" fmla="*/ 0 h 623"/>
                </a:gdLst>
                <a:ahLst/>
                <a:cxnLst>
                  <a:cxn ang="0">
                    <a:pos x="T0" y="T1"/>
                  </a:cxn>
                  <a:cxn ang="0">
                    <a:pos x="T2" y="T3"/>
                  </a:cxn>
                  <a:cxn ang="0">
                    <a:pos x="T4" y="T5"/>
                  </a:cxn>
                  <a:cxn ang="0">
                    <a:pos x="T6" y="T7"/>
                  </a:cxn>
                  <a:cxn ang="0">
                    <a:pos x="T8" y="T9"/>
                  </a:cxn>
                  <a:cxn ang="0">
                    <a:pos x="T10" y="T11"/>
                  </a:cxn>
                </a:cxnLst>
                <a:rect l="0" t="0" r="r" b="b"/>
                <a:pathLst>
                  <a:path w="6" h="623">
                    <a:moveTo>
                      <a:pt x="6" y="0"/>
                    </a:moveTo>
                    <a:lnTo>
                      <a:pt x="6" y="0"/>
                    </a:lnTo>
                    <a:lnTo>
                      <a:pt x="0" y="0"/>
                    </a:lnTo>
                    <a:lnTo>
                      <a:pt x="0" y="623"/>
                    </a:lnTo>
                    <a:lnTo>
                      <a:pt x="6" y="623"/>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7" name="Rectangle 112">
                <a:extLst>
                  <a:ext uri="{FF2B5EF4-FFF2-40B4-BE49-F238E27FC236}">
                    <a16:creationId xmlns:a16="http://schemas.microsoft.com/office/drawing/2014/main" id="{68781D60-2EEA-4E77-9FDA-E2325D526E9A}"/>
                  </a:ext>
                </a:extLst>
              </p:cNvPr>
              <p:cNvSpPr>
                <a:spLocks noChangeArrowheads="1"/>
              </p:cNvSpPr>
              <p:nvPr/>
            </p:nvSpPr>
            <p:spPr bwMode="auto">
              <a:xfrm>
                <a:off x="6719888" y="5619750"/>
                <a:ext cx="15875" cy="841375"/>
              </a:xfrm>
              <a:prstGeom prst="rect">
                <a:avLst/>
              </a:prstGeom>
              <a:solidFill>
                <a:srgbClr val="094C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1" name="组合 10">
              <a:extLst>
                <a:ext uri="{FF2B5EF4-FFF2-40B4-BE49-F238E27FC236}">
                  <a16:creationId xmlns:a16="http://schemas.microsoft.com/office/drawing/2014/main" id="{28C9C1CE-3571-47E5-98D2-77DCF57D45F0}"/>
                </a:ext>
              </a:extLst>
            </p:cNvPr>
            <p:cNvGrpSpPr/>
            <p:nvPr/>
          </p:nvGrpSpPr>
          <p:grpSpPr>
            <a:xfrm>
              <a:off x="1075892" y="2589471"/>
              <a:ext cx="888420" cy="887512"/>
              <a:chOff x="6318250" y="3495675"/>
              <a:chExt cx="1554163" cy="1552575"/>
            </a:xfrm>
          </p:grpSpPr>
          <p:sp>
            <p:nvSpPr>
              <p:cNvPr id="425" name="Oval 113">
                <a:extLst>
                  <a:ext uri="{FF2B5EF4-FFF2-40B4-BE49-F238E27FC236}">
                    <a16:creationId xmlns:a16="http://schemas.microsoft.com/office/drawing/2014/main" id="{5AB7463E-79F4-475D-A3FF-B040ABA5149C}"/>
                  </a:ext>
                </a:extLst>
              </p:cNvPr>
              <p:cNvSpPr>
                <a:spLocks noChangeArrowheads="1"/>
              </p:cNvSpPr>
              <p:nvPr/>
            </p:nvSpPr>
            <p:spPr bwMode="auto">
              <a:xfrm>
                <a:off x="6318250" y="3495675"/>
                <a:ext cx="1554163" cy="1552575"/>
              </a:xfrm>
              <a:prstGeom prst="ellipse">
                <a:avLst/>
              </a:prstGeom>
              <a:solidFill>
                <a:srgbClr val="89B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6" name="Freeform 114">
                <a:extLst>
                  <a:ext uri="{FF2B5EF4-FFF2-40B4-BE49-F238E27FC236}">
                    <a16:creationId xmlns:a16="http://schemas.microsoft.com/office/drawing/2014/main" id="{C359B358-757E-44D6-971D-40CC8CFC1315}"/>
                  </a:ext>
                </a:extLst>
              </p:cNvPr>
              <p:cNvSpPr>
                <a:spLocks/>
              </p:cNvSpPr>
              <p:nvPr/>
            </p:nvSpPr>
            <p:spPr bwMode="auto">
              <a:xfrm>
                <a:off x="6591300" y="3727450"/>
                <a:ext cx="1008063" cy="682625"/>
              </a:xfrm>
              <a:custGeom>
                <a:avLst/>
                <a:gdLst>
                  <a:gd name="T0" fmla="*/ 354 w 354"/>
                  <a:gd name="T1" fmla="*/ 222 h 240"/>
                  <a:gd name="T2" fmla="*/ 336 w 354"/>
                  <a:gd name="T3" fmla="*/ 240 h 240"/>
                  <a:gd name="T4" fmla="*/ 18 w 354"/>
                  <a:gd name="T5" fmla="*/ 240 h 240"/>
                  <a:gd name="T6" fmla="*/ 0 w 354"/>
                  <a:gd name="T7" fmla="*/ 222 h 240"/>
                  <a:gd name="T8" fmla="*/ 0 w 354"/>
                  <a:gd name="T9" fmla="*/ 33 h 240"/>
                  <a:gd name="T10" fmla="*/ 18 w 354"/>
                  <a:gd name="T11" fmla="*/ 0 h 240"/>
                  <a:gd name="T12" fmla="*/ 336 w 354"/>
                  <a:gd name="T13" fmla="*/ 0 h 240"/>
                  <a:gd name="T14" fmla="*/ 354 w 354"/>
                  <a:gd name="T15" fmla="*/ 18 h 240"/>
                  <a:gd name="T16" fmla="*/ 354 w 354"/>
                  <a:gd name="T17"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240">
                    <a:moveTo>
                      <a:pt x="354" y="222"/>
                    </a:moveTo>
                    <a:cubicBezTo>
                      <a:pt x="354" y="232"/>
                      <a:pt x="346" y="240"/>
                      <a:pt x="336" y="240"/>
                    </a:cubicBezTo>
                    <a:cubicBezTo>
                      <a:pt x="18" y="240"/>
                      <a:pt x="18" y="240"/>
                      <a:pt x="18" y="240"/>
                    </a:cubicBezTo>
                    <a:cubicBezTo>
                      <a:pt x="8" y="240"/>
                      <a:pt x="0" y="232"/>
                      <a:pt x="0" y="222"/>
                    </a:cubicBezTo>
                    <a:cubicBezTo>
                      <a:pt x="0" y="33"/>
                      <a:pt x="0" y="33"/>
                      <a:pt x="0" y="33"/>
                    </a:cubicBezTo>
                    <a:cubicBezTo>
                      <a:pt x="0" y="23"/>
                      <a:pt x="8" y="0"/>
                      <a:pt x="18" y="0"/>
                    </a:cubicBezTo>
                    <a:cubicBezTo>
                      <a:pt x="336" y="0"/>
                      <a:pt x="336" y="0"/>
                      <a:pt x="336" y="0"/>
                    </a:cubicBezTo>
                    <a:cubicBezTo>
                      <a:pt x="346" y="0"/>
                      <a:pt x="354" y="8"/>
                      <a:pt x="354" y="18"/>
                    </a:cubicBezTo>
                    <a:lnTo>
                      <a:pt x="354" y="222"/>
                    </a:lnTo>
                    <a:close/>
                  </a:path>
                </a:pathLst>
              </a:custGeom>
              <a:solidFill>
                <a:srgbClr val="29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7" name="Freeform 115">
                <a:extLst>
                  <a:ext uri="{FF2B5EF4-FFF2-40B4-BE49-F238E27FC236}">
                    <a16:creationId xmlns:a16="http://schemas.microsoft.com/office/drawing/2014/main" id="{BEF008D2-0493-464B-A386-160AEDF0648D}"/>
                  </a:ext>
                </a:extLst>
              </p:cNvPr>
              <p:cNvSpPr>
                <a:spLocks/>
              </p:cNvSpPr>
              <p:nvPr/>
            </p:nvSpPr>
            <p:spPr bwMode="auto">
              <a:xfrm>
                <a:off x="6591300" y="3714750"/>
                <a:ext cx="1008063" cy="684213"/>
              </a:xfrm>
              <a:custGeom>
                <a:avLst/>
                <a:gdLst>
                  <a:gd name="T0" fmla="*/ 354 w 354"/>
                  <a:gd name="T1" fmla="*/ 223 h 240"/>
                  <a:gd name="T2" fmla="*/ 336 w 354"/>
                  <a:gd name="T3" fmla="*/ 240 h 240"/>
                  <a:gd name="T4" fmla="*/ 18 w 354"/>
                  <a:gd name="T5" fmla="*/ 240 h 240"/>
                  <a:gd name="T6" fmla="*/ 0 w 354"/>
                  <a:gd name="T7" fmla="*/ 223 h 240"/>
                  <a:gd name="T8" fmla="*/ 0 w 354"/>
                  <a:gd name="T9" fmla="*/ 18 h 240"/>
                  <a:gd name="T10" fmla="*/ 18 w 354"/>
                  <a:gd name="T11" fmla="*/ 0 h 240"/>
                  <a:gd name="T12" fmla="*/ 336 w 354"/>
                  <a:gd name="T13" fmla="*/ 0 h 240"/>
                  <a:gd name="T14" fmla="*/ 354 w 354"/>
                  <a:gd name="T15" fmla="*/ 18 h 240"/>
                  <a:gd name="T16" fmla="*/ 354 w 354"/>
                  <a:gd name="T17"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240">
                    <a:moveTo>
                      <a:pt x="354" y="223"/>
                    </a:moveTo>
                    <a:cubicBezTo>
                      <a:pt x="354" y="232"/>
                      <a:pt x="346" y="240"/>
                      <a:pt x="336" y="240"/>
                    </a:cubicBezTo>
                    <a:cubicBezTo>
                      <a:pt x="18" y="240"/>
                      <a:pt x="18" y="240"/>
                      <a:pt x="18" y="240"/>
                    </a:cubicBezTo>
                    <a:cubicBezTo>
                      <a:pt x="8" y="240"/>
                      <a:pt x="0" y="232"/>
                      <a:pt x="0" y="223"/>
                    </a:cubicBezTo>
                    <a:cubicBezTo>
                      <a:pt x="0" y="18"/>
                      <a:pt x="0" y="18"/>
                      <a:pt x="0" y="18"/>
                    </a:cubicBezTo>
                    <a:cubicBezTo>
                      <a:pt x="0" y="8"/>
                      <a:pt x="8" y="0"/>
                      <a:pt x="18" y="0"/>
                    </a:cubicBezTo>
                    <a:cubicBezTo>
                      <a:pt x="336" y="0"/>
                      <a:pt x="336" y="0"/>
                      <a:pt x="336" y="0"/>
                    </a:cubicBezTo>
                    <a:cubicBezTo>
                      <a:pt x="346" y="0"/>
                      <a:pt x="354" y="8"/>
                      <a:pt x="354" y="18"/>
                    </a:cubicBezTo>
                    <a:lnTo>
                      <a:pt x="354" y="223"/>
                    </a:lnTo>
                    <a:close/>
                  </a:path>
                </a:pathLst>
              </a:custGeom>
              <a:solidFill>
                <a:srgbClr val="35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8" name="Freeform 116">
                <a:extLst>
                  <a:ext uri="{FF2B5EF4-FFF2-40B4-BE49-F238E27FC236}">
                    <a16:creationId xmlns:a16="http://schemas.microsoft.com/office/drawing/2014/main" id="{B414273D-D324-4194-ADE7-1C474434D0E0}"/>
                  </a:ext>
                </a:extLst>
              </p:cNvPr>
              <p:cNvSpPr>
                <a:spLocks/>
              </p:cNvSpPr>
              <p:nvPr/>
            </p:nvSpPr>
            <p:spPr bwMode="auto">
              <a:xfrm>
                <a:off x="6634163" y="3767138"/>
                <a:ext cx="923925" cy="568325"/>
              </a:xfrm>
              <a:custGeom>
                <a:avLst/>
                <a:gdLst>
                  <a:gd name="T0" fmla="*/ 313 w 325"/>
                  <a:gd name="T1" fmla="*/ 0 h 200"/>
                  <a:gd name="T2" fmla="*/ 193 w 325"/>
                  <a:gd name="T3" fmla="*/ 0 h 200"/>
                  <a:gd name="T4" fmla="*/ 11 w 325"/>
                  <a:gd name="T5" fmla="*/ 0 h 200"/>
                  <a:gd name="T6" fmla="*/ 0 w 325"/>
                  <a:gd name="T7" fmla="*/ 11 h 200"/>
                  <a:gd name="T8" fmla="*/ 0 w 325"/>
                  <a:gd name="T9" fmla="*/ 81 h 200"/>
                  <a:gd name="T10" fmla="*/ 0 w 325"/>
                  <a:gd name="T11" fmla="*/ 102 h 200"/>
                  <a:gd name="T12" fmla="*/ 0 w 325"/>
                  <a:gd name="T13" fmla="*/ 178 h 200"/>
                  <a:gd name="T14" fmla="*/ 0 w 325"/>
                  <a:gd name="T15" fmla="*/ 190 h 200"/>
                  <a:gd name="T16" fmla="*/ 11 w 325"/>
                  <a:gd name="T17" fmla="*/ 200 h 200"/>
                  <a:gd name="T18" fmla="*/ 313 w 325"/>
                  <a:gd name="T19" fmla="*/ 200 h 200"/>
                  <a:gd name="T20" fmla="*/ 325 w 325"/>
                  <a:gd name="T21" fmla="*/ 190 h 200"/>
                  <a:gd name="T22" fmla="*/ 325 w 325"/>
                  <a:gd name="T23" fmla="*/ 157 h 200"/>
                  <a:gd name="T24" fmla="*/ 325 w 325"/>
                  <a:gd name="T25" fmla="*/ 121 h 200"/>
                  <a:gd name="T26" fmla="*/ 325 w 325"/>
                  <a:gd name="T27" fmla="*/ 11 h 200"/>
                  <a:gd name="T28" fmla="*/ 313 w 325"/>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 h="200">
                    <a:moveTo>
                      <a:pt x="313" y="0"/>
                    </a:moveTo>
                    <a:cubicBezTo>
                      <a:pt x="193" y="0"/>
                      <a:pt x="193" y="0"/>
                      <a:pt x="193" y="0"/>
                    </a:cubicBezTo>
                    <a:cubicBezTo>
                      <a:pt x="11" y="0"/>
                      <a:pt x="11" y="0"/>
                      <a:pt x="11" y="0"/>
                    </a:cubicBezTo>
                    <a:cubicBezTo>
                      <a:pt x="5" y="0"/>
                      <a:pt x="0" y="5"/>
                      <a:pt x="0" y="11"/>
                    </a:cubicBezTo>
                    <a:cubicBezTo>
                      <a:pt x="0" y="81"/>
                      <a:pt x="0" y="81"/>
                      <a:pt x="0" y="81"/>
                    </a:cubicBezTo>
                    <a:cubicBezTo>
                      <a:pt x="0" y="102"/>
                      <a:pt x="0" y="102"/>
                      <a:pt x="0" y="102"/>
                    </a:cubicBezTo>
                    <a:cubicBezTo>
                      <a:pt x="0" y="178"/>
                      <a:pt x="0" y="178"/>
                      <a:pt x="0" y="178"/>
                    </a:cubicBezTo>
                    <a:cubicBezTo>
                      <a:pt x="0" y="190"/>
                      <a:pt x="0" y="190"/>
                      <a:pt x="0" y="190"/>
                    </a:cubicBezTo>
                    <a:cubicBezTo>
                      <a:pt x="0" y="195"/>
                      <a:pt x="5" y="200"/>
                      <a:pt x="11" y="200"/>
                    </a:cubicBezTo>
                    <a:cubicBezTo>
                      <a:pt x="313" y="200"/>
                      <a:pt x="313" y="200"/>
                      <a:pt x="313" y="200"/>
                    </a:cubicBezTo>
                    <a:cubicBezTo>
                      <a:pt x="319" y="200"/>
                      <a:pt x="325" y="195"/>
                      <a:pt x="325" y="190"/>
                    </a:cubicBezTo>
                    <a:cubicBezTo>
                      <a:pt x="325" y="157"/>
                      <a:pt x="325" y="157"/>
                      <a:pt x="325" y="157"/>
                    </a:cubicBezTo>
                    <a:cubicBezTo>
                      <a:pt x="325" y="121"/>
                      <a:pt x="325" y="121"/>
                      <a:pt x="325" y="121"/>
                    </a:cubicBezTo>
                    <a:cubicBezTo>
                      <a:pt x="325" y="11"/>
                      <a:pt x="325" y="11"/>
                      <a:pt x="325" y="11"/>
                    </a:cubicBezTo>
                    <a:cubicBezTo>
                      <a:pt x="325" y="5"/>
                      <a:pt x="319" y="0"/>
                      <a:pt x="313" y="0"/>
                    </a:cubicBezTo>
                    <a:close/>
                  </a:path>
                </a:pathLst>
              </a:cu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9" name="Freeform 117">
                <a:extLst>
                  <a:ext uri="{FF2B5EF4-FFF2-40B4-BE49-F238E27FC236}">
                    <a16:creationId xmlns:a16="http://schemas.microsoft.com/office/drawing/2014/main" id="{7D041E4A-2183-404E-9A6C-A63DC39921ED}"/>
                  </a:ext>
                </a:extLst>
              </p:cNvPr>
              <p:cNvSpPr>
                <a:spLocks/>
              </p:cNvSpPr>
              <p:nvPr/>
            </p:nvSpPr>
            <p:spPr bwMode="auto">
              <a:xfrm>
                <a:off x="6491288" y="4427538"/>
                <a:ext cx="1209675" cy="312738"/>
              </a:xfrm>
              <a:custGeom>
                <a:avLst/>
                <a:gdLst>
                  <a:gd name="T0" fmla="*/ 422 w 425"/>
                  <a:gd name="T1" fmla="*/ 95 h 110"/>
                  <a:gd name="T2" fmla="*/ 406 w 425"/>
                  <a:gd name="T3" fmla="*/ 110 h 110"/>
                  <a:gd name="T4" fmla="*/ 18 w 425"/>
                  <a:gd name="T5" fmla="*/ 110 h 110"/>
                  <a:gd name="T6" fmla="*/ 3 w 425"/>
                  <a:gd name="T7" fmla="*/ 95 h 110"/>
                  <a:gd name="T8" fmla="*/ 29 w 425"/>
                  <a:gd name="T9" fmla="*/ 15 h 110"/>
                  <a:gd name="T10" fmla="*/ 54 w 425"/>
                  <a:gd name="T11" fmla="*/ 0 h 110"/>
                  <a:gd name="T12" fmla="*/ 370 w 425"/>
                  <a:gd name="T13" fmla="*/ 0 h 110"/>
                  <a:gd name="T14" fmla="*/ 396 w 425"/>
                  <a:gd name="T15" fmla="*/ 15 h 110"/>
                  <a:gd name="T16" fmla="*/ 422 w 425"/>
                  <a:gd name="T17" fmla="*/ 9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110">
                    <a:moveTo>
                      <a:pt x="422" y="95"/>
                    </a:moveTo>
                    <a:cubicBezTo>
                      <a:pt x="425" y="103"/>
                      <a:pt x="417" y="110"/>
                      <a:pt x="406" y="110"/>
                    </a:cubicBezTo>
                    <a:cubicBezTo>
                      <a:pt x="18" y="110"/>
                      <a:pt x="18" y="110"/>
                      <a:pt x="18" y="110"/>
                    </a:cubicBezTo>
                    <a:cubicBezTo>
                      <a:pt x="7" y="110"/>
                      <a:pt x="0" y="103"/>
                      <a:pt x="3" y="95"/>
                    </a:cubicBezTo>
                    <a:cubicBezTo>
                      <a:pt x="29" y="15"/>
                      <a:pt x="29" y="15"/>
                      <a:pt x="29" y="15"/>
                    </a:cubicBezTo>
                    <a:cubicBezTo>
                      <a:pt x="31" y="7"/>
                      <a:pt x="43" y="0"/>
                      <a:pt x="54" y="0"/>
                    </a:cubicBezTo>
                    <a:cubicBezTo>
                      <a:pt x="370" y="0"/>
                      <a:pt x="370" y="0"/>
                      <a:pt x="370" y="0"/>
                    </a:cubicBezTo>
                    <a:cubicBezTo>
                      <a:pt x="382" y="0"/>
                      <a:pt x="393" y="7"/>
                      <a:pt x="396" y="15"/>
                    </a:cubicBezTo>
                    <a:lnTo>
                      <a:pt x="422" y="95"/>
                    </a:lnTo>
                    <a:close/>
                  </a:path>
                </a:pathLst>
              </a:custGeom>
              <a:solidFill>
                <a:srgbClr val="29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0" name="Freeform 118">
                <a:extLst>
                  <a:ext uri="{FF2B5EF4-FFF2-40B4-BE49-F238E27FC236}">
                    <a16:creationId xmlns:a16="http://schemas.microsoft.com/office/drawing/2014/main" id="{AE3E24CC-57FF-4683-9B4F-3E51E3F00FAD}"/>
                  </a:ext>
                </a:extLst>
              </p:cNvPr>
              <p:cNvSpPr>
                <a:spLocks/>
              </p:cNvSpPr>
              <p:nvPr/>
            </p:nvSpPr>
            <p:spPr bwMode="auto">
              <a:xfrm>
                <a:off x="6497638" y="4410075"/>
                <a:ext cx="1195388" cy="312738"/>
              </a:xfrm>
              <a:custGeom>
                <a:avLst/>
                <a:gdLst>
                  <a:gd name="T0" fmla="*/ 418 w 420"/>
                  <a:gd name="T1" fmla="*/ 94 h 110"/>
                  <a:gd name="T2" fmla="*/ 402 w 420"/>
                  <a:gd name="T3" fmla="*/ 110 h 110"/>
                  <a:gd name="T4" fmla="*/ 18 w 420"/>
                  <a:gd name="T5" fmla="*/ 110 h 110"/>
                  <a:gd name="T6" fmla="*/ 3 w 420"/>
                  <a:gd name="T7" fmla="*/ 94 h 110"/>
                  <a:gd name="T8" fmla="*/ 28 w 420"/>
                  <a:gd name="T9" fmla="*/ 15 h 110"/>
                  <a:gd name="T10" fmla="*/ 54 w 420"/>
                  <a:gd name="T11" fmla="*/ 0 h 110"/>
                  <a:gd name="T12" fmla="*/ 367 w 420"/>
                  <a:gd name="T13" fmla="*/ 0 h 110"/>
                  <a:gd name="T14" fmla="*/ 392 w 420"/>
                  <a:gd name="T15" fmla="*/ 15 h 110"/>
                  <a:gd name="T16" fmla="*/ 418 w 420"/>
                  <a:gd name="T1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110">
                    <a:moveTo>
                      <a:pt x="418" y="94"/>
                    </a:moveTo>
                    <a:cubicBezTo>
                      <a:pt x="420" y="103"/>
                      <a:pt x="413" y="110"/>
                      <a:pt x="402" y="110"/>
                    </a:cubicBezTo>
                    <a:cubicBezTo>
                      <a:pt x="18" y="110"/>
                      <a:pt x="18" y="110"/>
                      <a:pt x="18" y="110"/>
                    </a:cubicBezTo>
                    <a:cubicBezTo>
                      <a:pt x="7" y="110"/>
                      <a:pt x="0" y="103"/>
                      <a:pt x="3" y="94"/>
                    </a:cubicBezTo>
                    <a:cubicBezTo>
                      <a:pt x="28" y="15"/>
                      <a:pt x="28" y="15"/>
                      <a:pt x="28" y="15"/>
                    </a:cubicBezTo>
                    <a:cubicBezTo>
                      <a:pt x="31" y="7"/>
                      <a:pt x="42" y="0"/>
                      <a:pt x="54" y="0"/>
                    </a:cubicBezTo>
                    <a:cubicBezTo>
                      <a:pt x="367" y="0"/>
                      <a:pt x="367" y="0"/>
                      <a:pt x="367" y="0"/>
                    </a:cubicBezTo>
                    <a:cubicBezTo>
                      <a:pt x="378" y="0"/>
                      <a:pt x="389" y="7"/>
                      <a:pt x="392" y="15"/>
                    </a:cubicBezTo>
                    <a:lnTo>
                      <a:pt x="418" y="94"/>
                    </a:lnTo>
                    <a:close/>
                  </a:path>
                </a:pathLst>
              </a:custGeom>
              <a:solidFill>
                <a:srgbClr val="35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1" name="Freeform 119">
                <a:extLst>
                  <a:ext uri="{FF2B5EF4-FFF2-40B4-BE49-F238E27FC236}">
                    <a16:creationId xmlns:a16="http://schemas.microsoft.com/office/drawing/2014/main" id="{898B0420-651C-4685-A599-F1DA6D87990A}"/>
                  </a:ext>
                </a:extLst>
              </p:cNvPr>
              <p:cNvSpPr>
                <a:spLocks/>
              </p:cNvSpPr>
              <p:nvPr/>
            </p:nvSpPr>
            <p:spPr bwMode="auto">
              <a:xfrm>
                <a:off x="6921500" y="4583113"/>
                <a:ext cx="377825" cy="100013"/>
              </a:xfrm>
              <a:custGeom>
                <a:avLst/>
                <a:gdLst>
                  <a:gd name="T0" fmla="*/ 132 w 133"/>
                  <a:gd name="T1" fmla="*/ 30 h 35"/>
                  <a:gd name="T2" fmla="*/ 127 w 133"/>
                  <a:gd name="T3" fmla="*/ 35 h 35"/>
                  <a:gd name="T4" fmla="*/ 5 w 133"/>
                  <a:gd name="T5" fmla="*/ 35 h 35"/>
                  <a:gd name="T6" fmla="*/ 0 w 133"/>
                  <a:gd name="T7" fmla="*/ 30 h 35"/>
                  <a:gd name="T8" fmla="*/ 8 w 133"/>
                  <a:gd name="T9" fmla="*/ 5 h 35"/>
                  <a:gd name="T10" fmla="*/ 16 w 133"/>
                  <a:gd name="T11" fmla="*/ 0 h 35"/>
                  <a:gd name="T12" fmla="*/ 116 w 133"/>
                  <a:gd name="T13" fmla="*/ 0 h 35"/>
                  <a:gd name="T14" fmla="*/ 124 w 133"/>
                  <a:gd name="T15" fmla="*/ 5 h 35"/>
                  <a:gd name="T16" fmla="*/ 132 w 133"/>
                  <a:gd name="T17"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35">
                    <a:moveTo>
                      <a:pt x="132" y="30"/>
                    </a:moveTo>
                    <a:cubicBezTo>
                      <a:pt x="133" y="33"/>
                      <a:pt x="130" y="35"/>
                      <a:pt x="127" y="35"/>
                    </a:cubicBezTo>
                    <a:cubicBezTo>
                      <a:pt x="5" y="35"/>
                      <a:pt x="5" y="35"/>
                      <a:pt x="5" y="35"/>
                    </a:cubicBezTo>
                    <a:cubicBezTo>
                      <a:pt x="2" y="35"/>
                      <a:pt x="0" y="33"/>
                      <a:pt x="0" y="30"/>
                    </a:cubicBezTo>
                    <a:cubicBezTo>
                      <a:pt x="8" y="5"/>
                      <a:pt x="8" y="5"/>
                      <a:pt x="8" y="5"/>
                    </a:cubicBezTo>
                    <a:cubicBezTo>
                      <a:pt x="9" y="2"/>
                      <a:pt x="13" y="0"/>
                      <a:pt x="16" y="0"/>
                    </a:cubicBezTo>
                    <a:cubicBezTo>
                      <a:pt x="116" y="0"/>
                      <a:pt x="116" y="0"/>
                      <a:pt x="116" y="0"/>
                    </a:cubicBezTo>
                    <a:cubicBezTo>
                      <a:pt x="119" y="0"/>
                      <a:pt x="123" y="2"/>
                      <a:pt x="124" y="5"/>
                    </a:cubicBezTo>
                    <a:lnTo>
                      <a:pt x="132" y="30"/>
                    </a:lnTo>
                    <a:close/>
                  </a:path>
                </a:pathLst>
              </a:custGeom>
              <a:solidFill>
                <a:srgbClr val="29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2" name="Rectangle 120">
                <a:extLst>
                  <a:ext uri="{FF2B5EF4-FFF2-40B4-BE49-F238E27FC236}">
                    <a16:creationId xmlns:a16="http://schemas.microsoft.com/office/drawing/2014/main" id="{BE740619-E599-4D16-9772-32905F4E6109}"/>
                  </a:ext>
                </a:extLst>
              </p:cNvPr>
              <p:cNvSpPr>
                <a:spLocks noChangeArrowheads="1"/>
              </p:cNvSpPr>
              <p:nvPr/>
            </p:nvSpPr>
            <p:spPr bwMode="auto">
              <a:xfrm>
                <a:off x="6677025" y="3824288"/>
                <a:ext cx="290513" cy="47625"/>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3" name="Rectangle 121">
                <a:extLst>
                  <a:ext uri="{FF2B5EF4-FFF2-40B4-BE49-F238E27FC236}">
                    <a16:creationId xmlns:a16="http://schemas.microsoft.com/office/drawing/2014/main" id="{D18360A6-A807-466C-9F94-7D218BA4876B}"/>
                  </a:ext>
                </a:extLst>
              </p:cNvPr>
              <p:cNvSpPr>
                <a:spLocks noChangeArrowheads="1"/>
              </p:cNvSpPr>
              <p:nvPr/>
            </p:nvSpPr>
            <p:spPr bwMode="auto">
              <a:xfrm>
                <a:off x="6986588" y="3824288"/>
                <a:ext cx="128588" cy="47625"/>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4" name="Rectangle 122">
                <a:extLst>
                  <a:ext uri="{FF2B5EF4-FFF2-40B4-BE49-F238E27FC236}">
                    <a16:creationId xmlns:a16="http://schemas.microsoft.com/office/drawing/2014/main" id="{75FA61F7-5D3E-4C99-8FB9-F7602A6AA14A}"/>
                  </a:ext>
                </a:extLst>
              </p:cNvPr>
              <p:cNvSpPr>
                <a:spLocks noChangeArrowheads="1"/>
              </p:cNvSpPr>
              <p:nvPr/>
            </p:nvSpPr>
            <p:spPr bwMode="auto">
              <a:xfrm>
                <a:off x="7132638" y="3824288"/>
                <a:ext cx="127000" cy="47625"/>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5" name="Rectangle 123">
                <a:extLst>
                  <a:ext uri="{FF2B5EF4-FFF2-40B4-BE49-F238E27FC236}">
                    <a16:creationId xmlns:a16="http://schemas.microsoft.com/office/drawing/2014/main" id="{055F0B69-0D1C-4A9D-AA17-2A13396E25B4}"/>
                  </a:ext>
                </a:extLst>
              </p:cNvPr>
              <p:cNvSpPr>
                <a:spLocks noChangeArrowheads="1"/>
              </p:cNvSpPr>
              <p:nvPr/>
            </p:nvSpPr>
            <p:spPr bwMode="auto">
              <a:xfrm>
                <a:off x="6677025" y="4029075"/>
                <a:ext cx="184150" cy="44450"/>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6" name="Rectangle 124">
                <a:extLst>
                  <a:ext uri="{FF2B5EF4-FFF2-40B4-BE49-F238E27FC236}">
                    <a16:creationId xmlns:a16="http://schemas.microsoft.com/office/drawing/2014/main" id="{D222B1EC-D731-42FE-BE8E-4468FF88F45B}"/>
                  </a:ext>
                </a:extLst>
              </p:cNvPr>
              <p:cNvSpPr>
                <a:spLocks noChangeArrowheads="1"/>
              </p:cNvSpPr>
              <p:nvPr/>
            </p:nvSpPr>
            <p:spPr bwMode="auto">
              <a:xfrm>
                <a:off x="6892925" y="4029075"/>
                <a:ext cx="107950" cy="44450"/>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7" name="Rectangle 125">
                <a:extLst>
                  <a:ext uri="{FF2B5EF4-FFF2-40B4-BE49-F238E27FC236}">
                    <a16:creationId xmlns:a16="http://schemas.microsoft.com/office/drawing/2014/main" id="{0DF156C5-78BD-43D9-86ED-6E9D3AE4E5F1}"/>
                  </a:ext>
                </a:extLst>
              </p:cNvPr>
              <p:cNvSpPr>
                <a:spLocks noChangeArrowheads="1"/>
              </p:cNvSpPr>
              <p:nvPr/>
            </p:nvSpPr>
            <p:spPr bwMode="auto">
              <a:xfrm>
                <a:off x="7023100" y="4029075"/>
                <a:ext cx="290513" cy="44450"/>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8" name="Rectangle 126">
                <a:extLst>
                  <a:ext uri="{FF2B5EF4-FFF2-40B4-BE49-F238E27FC236}">
                    <a16:creationId xmlns:a16="http://schemas.microsoft.com/office/drawing/2014/main" id="{9263D2F8-C8D4-44E0-8C7B-200302269D04}"/>
                  </a:ext>
                </a:extLst>
              </p:cNvPr>
              <p:cNvSpPr>
                <a:spLocks noChangeArrowheads="1"/>
              </p:cNvSpPr>
              <p:nvPr/>
            </p:nvSpPr>
            <p:spPr bwMode="auto">
              <a:xfrm>
                <a:off x="6677025" y="4125913"/>
                <a:ext cx="127000" cy="47625"/>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9" name="Rectangle 127">
                <a:extLst>
                  <a:ext uri="{FF2B5EF4-FFF2-40B4-BE49-F238E27FC236}">
                    <a16:creationId xmlns:a16="http://schemas.microsoft.com/office/drawing/2014/main" id="{3DDF2C11-9041-4EB4-8CE9-936B6FFBC3E4}"/>
                  </a:ext>
                </a:extLst>
              </p:cNvPr>
              <p:cNvSpPr>
                <a:spLocks noChangeArrowheads="1"/>
              </p:cNvSpPr>
              <p:nvPr/>
            </p:nvSpPr>
            <p:spPr bwMode="auto">
              <a:xfrm>
                <a:off x="7366000" y="4125913"/>
                <a:ext cx="127000" cy="47625"/>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0" name="Rectangle 128">
                <a:extLst>
                  <a:ext uri="{FF2B5EF4-FFF2-40B4-BE49-F238E27FC236}">
                    <a16:creationId xmlns:a16="http://schemas.microsoft.com/office/drawing/2014/main" id="{9A1B31AA-DAA7-44EE-8860-826474D1B371}"/>
                  </a:ext>
                </a:extLst>
              </p:cNvPr>
              <p:cNvSpPr>
                <a:spLocks noChangeArrowheads="1"/>
              </p:cNvSpPr>
              <p:nvPr/>
            </p:nvSpPr>
            <p:spPr bwMode="auto">
              <a:xfrm>
                <a:off x="6827838" y="4125913"/>
                <a:ext cx="468313" cy="47625"/>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1" name="Rectangle 129">
                <a:extLst>
                  <a:ext uri="{FF2B5EF4-FFF2-40B4-BE49-F238E27FC236}">
                    <a16:creationId xmlns:a16="http://schemas.microsoft.com/office/drawing/2014/main" id="{FC7896FC-4A22-4E98-A4CB-81630F208A82}"/>
                  </a:ext>
                </a:extLst>
              </p:cNvPr>
              <p:cNvSpPr>
                <a:spLocks noChangeArrowheads="1"/>
              </p:cNvSpPr>
              <p:nvPr/>
            </p:nvSpPr>
            <p:spPr bwMode="auto">
              <a:xfrm>
                <a:off x="6677025" y="3919538"/>
                <a:ext cx="93663" cy="49213"/>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2" name="Rectangle 130">
                <a:extLst>
                  <a:ext uri="{FF2B5EF4-FFF2-40B4-BE49-F238E27FC236}">
                    <a16:creationId xmlns:a16="http://schemas.microsoft.com/office/drawing/2014/main" id="{626EEDA5-02CA-4CD5-8A67-F94746CFB925}"/>
                  </a:ext>
                </a:extLst>
              </p:cNvPr>
              <p:cNvSpPr>
                <a:spLocks noChangeArrowheads="1"/>
              </p:cNvSpPr>
              <p:nvPr/>
            </p:nvSpPr>
            <p:spPr bwMode="auto">
              <a:xfrm>
                <a:off x="6804025" y="3919538"/>
                <a:ext cx="354013" cy="49213"/>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3" name="Rectangle 131">
                <a:extLst>
                  <a:ext uri="{FF2B5EF4-FFF2-40B4-BE49-F238E27FC236}">
                    <a16:creationId xmlns:a16="http://schemas.microsoft.com/office/drawing/2014/main" id="{69415BF1-C4BF-419F-818C-41CFF3C570FA}"/>
                  </a:ext>
                </a:extLst>
              </p:cNvPr>
              <p:cNvSpPr>
                <a:spLocks noChangeArrowheads="1"/>
              </p:cNvSpPr>
              <p:nvPr/>
            </p:nvSpPr>
            <p:spPr bwMode="auto">
              <a:xfrm>
                <a:off x="6677025" y="4233863"/>
                <a:ext cx="304800" cy="460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4" name="Rectangle 132">
                <a:extLst>
                  <a:ext uri="{FF2B5EF4-FFF2-40B4-BE49-F238E27FC236}">
                    <a16:creationId xmlns:a16="http://schemas.microsoft.com/office/drawing/2014/main" id="{0F9435C4-7552-42D5-845D-A5A33FF5A9DF}"/>
                  </a:ext>
                </a:extLst>
              </p:cNvPr>
              <p:cNvSpPr>
                <a:spLocks noChangeArrowheads="1"/>
              </p:cNvSpPr>
              <p:nvPr/>
            </p:nvSpPr>
            <p:spPr bwMode="auto">
              <a:xfrm>
                <a:off x="7007225" y="4227513"/>
                <a:ext cx="303213" cy="49213"/>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2" name="组合 11">
              <a:extLst>
                <a:ext uri="{FF2B5EF4-FFF2-40B4-BE49-F238E27FC236}">
                  <a16:creationId xmlns:a16="http://schemas.microsoft.com/office/drawing/2014/main" id="{54B46A79-8E9E-4DB4-8DFF-C89381F2ADF0}"/>
                </a:ext>
              </a:extLst>
            </p:cNvPr>
            <p:cNvGrpSpPr/>
            <p:nvPr/>
          </p:nvGrpSpPr>
          <p:grpSpPr>
            <a:xfrm>
              <a:off x="2906251" y="2589471"/>
              <a:ext cx="888420" cy="887512"/>
              <a:chOff x="631825" y="123825"/>
              <a:chExt cx="1554163" cy="1552575"/>
            </a:xfrm>
          </p:grpSpPr>
          <p:sp>
            <p:nvSpPr>
              <p:cNvPr id="419" name="Oval 133">
                <a:extLst>
                  <a:ext uri="{FF2B5EF4-FFF2-40B4-BE49-F238E27FC236}">
                    <a16:creationId xmlns:a16="http://schemas.microsoft.com/office/drawing/2014/main" id="{009040F0-F1E9-4EA8-A09E-80680CA48D53}"/>
                  </a:ext>
                </a:extLst>
              </p:cNvPr>
              <p:cNvSpPr>
                <a:spLocks noChangeArrowheads="1"/>
              </p:cNvSpPr>
              <p:nvPr/>
            </p:nvSpPr>
            <p:spPr bwMode="auto">
              <a:xfrm>
                <a:off x="631825" y="123825"/>
                <a:ext cx="1554163" cy="1552575"/>
              </a:xfrm>
              <a:prstGeom prst="ellipse">
                <a:avLst/>
              </a:pr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0" name="Freeform 134">
                <a:extLst>
                  <a:ext uri="{FF2B5EF4-FFF2-40B4-BE49-F238E27FC236}">
                    <a16:creationId xmlns:a16="http://schemas.microsoft.com/office/drawing/2014/main" id="{BF865EBC-4D4D-4AC1-AB32-3A088820804E}"/>
                  </a:ext>
                </a:extLst>
              </p:cNvPr>
              <p:cNvSpPr>
                <a:spLocks/>
              </p:cNvSpPr>
              <p:nvPr/>
            </p:nvSpPr>
            <p:spPr bwMode="auto">
              <a:xfrm>
                <a:off x="1382713" y="454025"/>
                <a:ext cx="88900" cy="219075"/>
              </a:xfrm>
              <a:custGeom>
                <a:avLst/>
                <a:gdLst>
                  <a:gd name="T0" fmla="*/ 11 w 31"/>
                  <a:gd name="T1" fmla="*/ 75 h 77"/>
                  <a:gd name="T2" fmla="*/ 31 w 31"/>
                  <a:gd name="T3" fmla="*/ 6 h 77"/>
                  <a:gd name="T4" fmla="*/ 29 w 31"/>
                  <a:gd name="T5" fmla="*/ 0 h 77"/>
                  <a:gd name="T6" fmla="*/ 0 w 31"/>
                  <a:gd name="T7" fmla="*/ 77 h 77"/>
                  <a:gd name="T8" fmla="*/ 11 w 31"/>
                  <a:gd name="T9" fmla="*/ 75 h 77"/>
                </a:gdLst>
                <a:ahLst/>
                <a:cxnLst>
                  <a:cxn ang="0">
                    <a:pos x="T0" y="T1"/>
                  </a:cxn>
                  <a:cxn ang="0">
                    <a:pos x="T2" y="T3"/>
                  </a:cxn>
                  <a:cxn ang="0">
                    <a:pos x="T4" y="T5"/>
                  </a:cxn>
                  <a:cxn ang="0">
                    <a:pos x="T6" y="T7"/>
                  </a:cxn>
                  <a:cxn ang="0">
                    <a:pos x="T8" y="T9"/>
                  </a:cxn>
                </a:cxnLst>
                <a:rect l="0" t="0" r="r" b="b"/>
                <a:pathLst>
                  <a:path w="31" h="77">
                    <a:moveTo>
                      <a:pt x="11" y="75"/>
                    </a:moveTo>
                    <a:cubicBezTo>
                      <a:pt x="12" y="49"/>
                      <a:pt x="19" y="18"/>
                      <a:pt x="31" y="6"/>
                    </a:cubicBezTo>
                    <a:cubicBezTo>
                      <a:pt x="29" y="0"/>
                      <a:pt x="29" y="0"/>
                      <a:pt x="29" y="0"/>
                    </a:cubicBezTo>
                    <a:cubicBezTo>
                      <a:pt x="7" y="14"/>
                      <a:pt x="0" y="52"/>
                      <a:pt x="0" y="77"/>
                    </a:cubicBezTo>
                    <a:lnTo>
                      <a:pt x="11" y="75"/>
                    </a:lnTo>
                    <a:close/>
                  </a:path>
                </a:pathLst>
              </a:custGeom>
              <a:solidFill>
                <a:srgbClr val="4F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1" name="Freeform 135">
                <a:extLst>
                  <a:ext uri="{FF2B5EF4-FFF2-40B4-BE49-F238E27FC236}">
                    <a16:creationId xmlns:a16="http://schemas.microsoft.com/office/drawing/2014/main" id="{68BD7D7A-CCCB-405C-A067-EE1A32F1692B}"/>
                  </a:ext>
                </a:extLst>
              </p:cNvPr>
              <p:cNvSpPr>
                <a:spLocks/>
              </p:cNvSpPr>
              <p:nvPr/>
            </p:nvSpPr>
            <p:spPr bwMode="auto">
              <a:xfrm>
                <a:off x="1393825" y="590550"/>
                <a:ext cx="509588" cy="889000"/>
              </a:xfrm>
              <a:custGeom>
                <a:avLst/>
                <a:gdLst>
                  <a:gd name="T0" fmla="*/ 0 w 179"/>
                  <a:gd name="T1" fmla="*/ 295 h 312"/>
                  <a:gd name="T2" fmla="*/ 163 w 179"/>
                  <a:gd name="T3" fmla="*/ 167 h 312"/>
                  <a:gd name="T4" fmla="*/ 112 w 179"/>
                  <a:gd name="T5" fmla="*/ 18 h 312"/>
                  <a:gd name="T6" fmla="*/ 2 w 179"/>
                  <a:gd name="T7" fmla="*/ 24 h 312"/>
                  <a:gd name="T8" fmla="*/ 0 w 179"/>
                  <a:gd name="T9" fmla="*/ 295 h 312"/>
                </a:gdLst>
                <a:ahLst/>
                <a:cxnLst>
                  <a:cxn ang="0">
                    <a:pos x="T0" y="T1"/>
                  </a:cxn>
                  <a:cxn ang="0">
                    <a:pos x="T2" y="T3"/>
                  </a:cxn>
                  <a:cxn ang="0">
                    <a:pos x="T4" y="T5"/>
                  </a:cxn>
                  <a:cxn ang="0">
                    <a:pos x="T6" y="T7"/>
                  </a:cxn>
                  <a:cxn ang="0">
                    <a:pos x="T8" y="T9"/>
                  </a:cxn>
                </a:cxnLst>
                <a:rect l="0" t="0" r="r" b="b"/>
                <a:pathLst>
                  <a:path w="179" h="312">
                    <a:moveTo>
                      <a:pt x="0" y="295"/>
                    </a:moveTo>
                    <a:cubicBezTo>
                      <a:pt x="72" y="312"/>
                      <a:pt x="148" y="251"/>
                      <a:pt x="163" y="167"/>
                    </a:cubicBezTo>
                    <a:cubicBezTo>
                      <a:pt x="179" y="83"/>
                      <a:pt x="151" y="38"/>
                      <a:pt x="112" y="18"/>
                    </a:cubicBezTo>
                    <a:cubicBezTo>
                      <a:pt x="76" y="0"/>
                      <a:pt x="7" y="27"/>
                      <a:pt x="2" y="24"/>
                    </a:cubicBezTo>
                    <a:lnTo>
                      <a:pt x="0" y="295"/>
                    </a:lnTo>
                    <a:close/>
                  </a:path>
                </a:pathLst>
              </a:custGeom>
              <a:solidFill>
                <a:srgbClr val="C90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2" name="Freeform 136">
                <a:extLst>
                  <a:ext uri="{FF2B5EF4-FFF2-40B4-BE49-F238E27FC236}">
                    <a16:creationId xmlns:a16="http://schemas.microsoft.com/office/drawing/2014/main" id="{CC235BF2-73DA-434C-B607-814868706062}"/>
                  </a:ext>
                </a:extLst>
              </p:cNvPr>
              <p:cNvSpPr>
                <a:spLocks/>
              </p:cNvSpPr>
              <p:nvPr/>
            </p:nvSpPr>
            <p:spPr bwMode="auto">
              <a:xfrm>
                <a:off x="911225" y="596900"/>
                <a:ext cx="488950" cy="879475"/>
              </a:xfrm>
              <a:custGeom>
                <a:avLst/>
                <a:gdLst>
                  <a:gd name="T0" fmla="*/ 172 w 172"/>
                  <a:gd name="T1" fmla="*/ 22 h 309"/>
                  <a:gd name="T2" fmla="*/ 64 w 172"/>
                  <a:gd name="T3" fmla="*/ 19 h 309"/>
                  <a:gd name="T4" fmla="*/ 19 w 172"/>
                  <a:gd name="T5" fmla="*/ 170 h 309"/>
                  <a:gd name="T6" fmla="*/ 170 w 172"/>
                  <a:gd name="T7" fmla="*/ 293 h 309"/>
                  <a:gd name="T8" fmla="*/ 172 w 172"/>
                  <a:gd name="T9" fmla="*/ 22 h 309"/>
                </a:gdLst>
                <a:ahLst/>
                <a:cxnLst>
                  <a:cxn ang="0">
                    <a:pos x="T0" y="T1"/>
                  </a:cxn>
                  <a:cxn ang="0">
                    <a:pos x="T2" y="T3"/>
                  </a:cxn>
                  <a:cxn ang="0">
                    <a:pos x="T4" y="T5"/>
                  </a:cxn>
                  <a:cxn ang="0">
                    <a:pos x="T6" y="T7"/>
                  </a:cxn>
                  <a:cxn ang="0">
                    <a:pos x="T8" y="T9"/>
                  </a:cxn>
                </a:cxnLst>
                <a:rect l="0" t="0" r="r" b="b"/>
                <a:pathLst>
                  <a:path w="172" h="309">
                    <a:moveTo>
                      <a:pt x="172" y="22"/>
                    </a:moveTo>
                    <a:cubicBezTo>
                      <a:pt x="167" y="25"/>
                      <a:pt x="99" y="0"/>
                      <a:pt x="64" y="19"/>
                    </a:cubicBezTo>
                    <a:cubicBezTo>
                      <a:pt x="26" y="40"/>
                      <a:pt x="0" y="87"/>
                      <a:pt x="19" y="170"/>
                    </a:cubicBezTo>
                    <a:cubicBezTo>
                      <a:pt x="38" y="253"/>
                      <a:pt x="93" y="309"/>
                      <a:pt x="170" y="293"/>
                    </a:cubicBezTo>
                    <a:lnTo>
                      <a:pt x="172" y="22"/>
                    </a:lnTo>
                    <a:close/>
                  </a:path>
                </a:pathLst>
              </a:custGeom>
              <a:solidFill>
                <a:srgbClr val="DB1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3" name="Freeform 137">
                <a:extLst>
                  <a:ext uri="{FF2B5EF4-FFF2-40B4-BE49-F238E27FC236}">
                    <a16:creationId xmlns:a16="http://schemas.microsoft.com/office/drawing/2014/main" id="{F16B2408-D7DD-4771-8FF4-0DA7A7623B72}"/>
                  </a:ext>
                </a:extLst>
              </p:cNvPr>
              <p:cNvSpPr>
                <a:spLocks/>
              </p:cNvSpPr>
              <p:nvPr/>
            </p:nvSpPr>
            <p:spPr bwMode="auto">
              <a:xfrm>
                <a:off x="1152525" y="352425"/>
                <a:ext cx="307975" cy="136525"/>
              </a:xfrm>
              <a:custGeom>
                <a:avLst/>
                <a:gdLst>
                  <a:gd name="T0" fmla="*/ 108 w 108"/>
                  <a:gd name="T1" fmla="*/ 48 h 48"/>
                  <a:gd name="T2" fmla="*/ 68 w 108"/>
                  <a:gd name="T3" fmla="*/ 11 h 48"/>
                  <a:gd name="T4" fmla="*/ 0 w 108"/>
                  <a:gd name="T5" fmla="*/ 4 h 48"/>
                  <a:gd name="T6" fmla="*/ 0 w 108"/>
                  <a:gd name="T7" fmla="*/ 6 h 48"/>
                  <a:gd name="T8" fmla="*/ 108 w 108"/>
                  <a:gd name="T9" fmla="*/ 48 h 48"/>
                </a:gdLst>
                <a:ahLst/>
                <a:cxnLst>
                  <a:cxn ang="0">
                    <a:pos x="T0" y="T1"/>
                  </a:cxn>
                  <a:cxn ang="0">
                    <a:pos x="T2" y="T3"/>
                  </a:cxn>
                  <a:cxn ang="0">
                    <a:pos x="T4" y="T5"/>
                  </a:cxn>
                  <a:cxn ang="0">
                    <a:pos x="T6" y="T7"/>
                  </a:cxn>
                  <a:cxn ang="0">
                    <a:pos x="T8" y="T9"/>
                  </a:cxn>
                </a:cxnLst>
                <a:rect l="0" t="0" r="r" b="b"/>
                <a:pathLst>
                  <a:path w="108" h="48">
                    <a:moveTo>
                      <a:pt x="108" y="48"/>
                    </a:moveTo>
                    <a:cubicBezTo>
                      <a:pt x="108" y="48"/>
                      <a:pt x="100" y="23"/>
                      <a:pt x="68" y="11"/>
                    </a:cubicBezTo>
                    <a:cubicBezTo>
                      <a:pt x="38" y="0"/>
                      <a:pt x="0" y="4"/>
                      <a:pt x="0" y="4"/>
                    </a:cubicBezTo>
                    <a:cubicBezTo>
                      <a:pt x="0" y="4"/>
                      <a:pt x="0" y="5"/>
                      <a:pt x="0" y="6"/>
                    </a:cubicBezTo>
                    <a:cubicBezTo>
                      <a:pt x="31" y="25"/>
                      <a:pt x="71" y="35"/>
                      <a:pt x="108" y="48"/>
                    </a:cubicBezTo>
                    <a:close/>
                  </a:path>
                </a:pathLst>
              </a:custGeom>
              <a:solidFill>
                <a:srgbClr val="128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4" name="Freeform 138">
                <a:extLst>
                  <a:ext uri="{FF2B5EF4-FFF2-40B4-BE49-F238E27FC236}">
                    <a16:creationId xmlns:a16="http://schemas.microsoft.com/office/drawing/2014/main" id="{C4C95F07-DAC2-4E14-B46A-AE27DA9A37D8}"/>
                  </a:ext>
                </a:extLst>
              </p:cNvPr>
              <p:cNvSpPr>
                <a:spLocks/>
              </p:cNvSpPr>
              <p:nvPr/>
            </p:nvSpPr>
            <p:spPr bwMode="auto">
              <a:xfrm>
                <a:off x="1152525" y="369888"/>
                <a:ext cx="307975" cy="252413"/>
              </a:xfrm>
              <a:custGeom>
                <a:avLst/>
                <a:gdLst>
                  <a:gd name="T0" fmla="*/ 0 w 108"/>
                  <a:gd name="T1" fmla="*/ 0 h 89"/>
                  <a:gd name="T2" fmla="*/ 16 w 108"/>
                  <a:gd name="T3" fmla="*/ 28 h 89"/>
                  <a:gd name="T4" fmla="*/ 108 w 108"/>
                  <a:gd name="T5" fmla="*/ 42 h 89"/>
                  <a:gd name="T6" fmla="*/ 0 w 108"/>
                  <a:gd name="T7" fmla="*/ 0 h 89"/>
                </a:gdLst>
                <a:ahLst/>
                <a:cxnLst>
                  <a:cxn ang="0">
                    <a:pos x="T0" y="T1"/>
                  </a:cxn>
                  <a:cxn ang="0">
                    <a:pos x="T2" y="T3"/>
                  </a:cxn>
                  <a:cxn ang="0">
                    <a:pos x="T4" y="T5"/>
                  </a:cxn>
                  <a:cxn ang="0">
                    <a:pos x="T6" y="T7"/>
                  </a:cxn>
                </a:cxnLst>
                <a:rect l="0" t="0" r="r" b="b"/>
                <a:pathLst>
                  <a:path w="108" h="89">
                    <a:moveTo>
                      <a:pt x="0" y="0"/>
                    </a:moveTo>
                    <a:cubicBezTo>
                      <a:pt x="1" y="4"/>
                      <a:pt x="4" y="16"/>
                      <a:pt x="16" y="28"/>
                    </a:cubicBezTo>
                    <a:cubicBezTo>
                      <a:pt x="74" y="89"/>
                      <a:pt x="106" y="45"/>
                      <a:pt x="108" y="42"/>
                    </a:cubicBezTo>
                    <a:cubicBezTo>
                      <a:pt x="71" y="29"/>
                      <a:pt x="31" y="19"/>
                      <a:pt x="0" y="0"/>
                    </a:cubicBezTo>
                    <a:close/>
                  </a:path>
                </a:pathLst>
              </a:custGeom>
              <a:solidFill>
                <a:srgbClr val="0E77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3" name="组合 12">
              <a:extLst>
                <a:ext uri="{FF2B5EF4-FFF2-40B4-BE49-F238E27FC236}">
                  <a16:creationId xmlns:a16="http://schemas.microsoft.com/office/drawing/2014/main" id="{91826EE6-6459-4CD2-9008-7B48031C513C}"/>
                </a:ext>
              </a:extLst>
            </p:cNvPr>
            <p:cNvGrpSpPr/>
            <p:nvPr/>
          </p:nvGrpSpPr>
          <p:grpSpPr>
            <a:xfrm>
              <a:off x="4736611" y="2589471"/>
              <a:ext cx="888420" cy="887512"/>
              <a:chOff x="2527300" y="123825"/>
              <a:chExt cx="1554163" cy="1552575"/>
            </a:xfrm>
          </p:grpSpPr>
          <p:sp>
            <p:nvSpPr>
              <p:cNvPr id="406" name="Oval 139">
                <a:extLst>
                  <a:ext uri="{FF2B5EF4-FFF2-40B4-BE49-F238E27FC236}">
                    <a16:creationId xmlns:a16="http://schemas.microsoft.com/office/drawing/2014/main" id="{54C0EC92-44C8-4C11-99E9-FC7A6976B6B1}"/>
                  </a:ext>
                </a:extLst>
              </p:cNvPr>
              <p:cNvSpPr>
                <a:spLocks noChangeArrowheads="1"/>
              </p:cNvSpPr>
              <p:nvPr/>
            </p:nvSpPr>
            <p:spPr bwMode="auto">
              <a:xfrm>
                <a:off x="2527300" y="123825"/>
                <a:ext cx="1554163" cy="1552575"/>
              </a:xfrm>
              <a:prstGeom prst="ellipse">
                <a:avLst/>
              </a:pr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7" name="Freeform 140">
                <a:extLst>
                  <a:ext uri="{FF2B5EF4-FFF2-40B4-BE49-F238E27FC236}">
                    <a16:creationId xmlns:a16="http://schemas.microsoft.com/office/drawing/2014/main" id="{D7B0A1A2-E9ED-4C34-B2B4-2C889ADCE34A}"/>
                  </a:ext>
                </a:extLst>
              </p:cNvPr>
              <p:cNvSpPr>
                <a:spLocks/>
              </p:cNvSpPr>
              <p:nvPr/>
            </p:nvSpPr>
            <p:spPr bwMode="auto">
              <a:xfrm>
                <a:off x="3230563" y="303213"/>
                <a:ext cx="150813" cy="150813"/>
              </a:xfrm>
              <a:custGeom>
                <a:avLst/>
                <a:gdLst>
                  <a:gd name="T0" fmla="*/ 53 w 53"/>
                  <a:gd name="T1" fmla="*/ 34 h 53"/>
                  <a:gd name="T2" fmla="*/ 34 w 53"/>
                  <a:gd name="T3" fmla="*/ 53 h 53"/>
                  <a:gd name="T4" fmla="*/ 19 w 53"/>
                  <a:gd name="T5" fmla="*/ 53 h 53"/>
                  <a:gd name="T6" fmla="*/ 0 w 53"/>
                  <a:gd name="T7" fmla="*/ 34 h 53"/>
                  <a:gd name="T8" fmla="*/ 0 w 53"/>
                  <a:gd name="T9" fmla="*/ 20 h 53"/>
                  <a:gd name="T10" fmla="*/ 19 w 53"/>
                  <a:gd name="T11" fmla="*/ 0 h 53"/>
                  <a:gd name="T12" fmla="*/ 34 w 53"/>
                  <a:gd name="T13" fmla="*/ 0 h 53"/>
                  <a:gd name="T14" fmla="*/ 53 w 53"/>
                  <a:gd name="T15" fmla="*/ 20 h 53"/>
                  <a:gd name="T16" fmla="*/ 53 w 53"/>
                  <a:gd name="T17"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53" y="34"/>
                    </a:moveTo>
                    <a:cubicBezTo>
                      <a:pt x="53" y="45"/>
                      <a:pt x="44" y="53"/>
                      <a:pt x="34" y="53"/>
                    </a:cubicBezTo>
                    <a:cubicBezTo>
                      <a:pt x="19" y="53"/>
                      <a:pt x="19" y="53"/>
                      <a:pt x="19" y="53"/>
                    </a:cubicBezTo>
                    <a:cubicBezTo>
                      <a:pt x="8" y="53"/>
                      <a:pt x="0" y="45"/>
                      <a:pt x="0" y="34"/>
                    </a:cubicBezTo>
                    <a:cubicBezTo>
                      <a:pt x="0" y="20"/>
                      <a:pt x="0" y="20"/>
                      <a:pt x="0" y="20"/>
                    </a:cubicBezTo>
                    <a:cubicBezTo>
                      <a:pt x="0" y="9"/>
                      <a:pt x="8" y="0"/>
                      <a:pt x="19" y="0"/>
                    </a:cubicBezTo>
                    <a:cubicBezTo>
                      <a:pt x="34" y="0"/>
                      <a:pt x="34" y="0"/>
                      <a:pt x="34" y="0"/>
                    </a:cubicBezTo>
                    <a:cubicBezTo>
                      <a:pt x="44" y="0"/>
                      <a:pt x="53" y="9"/>
                      <a:pt x="53" y="20"/>
                    </a:cubicBezTo>
                    <a:lnTo>
                      <a:pt x="53" y="34"/>
                    </a:lnTo>
                    <a:close/>
                  </a:path>
                </a:pathLst>
              </a:custGeom>
              <a:solidFill>
                <a:srgbClr val="3F2C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8" name="Freeform 141">
                <a:extLst>
                  <a:ext uri="{FF2B5EF4-FFF2-40B4-BE49-F238E27FC236}">
                    <a16:creationId xmlns:a16="http://schemas.microsoft.com/office/drawing/2014/main" id="{7D8183F2-D974-4B44-9BFF-6A7906235F00}"/>
                  </a:ext>
                </a:extLst>
              </p:cNvPr>
              <p:cNvSpPr>
                <a:spLocks/>
              </p:cNvSpPr>
              <p:nvPr/>
            </p:nvSpPr>
            <p:spPr bwMode="auto">
              <a:xfrm>
                <a:off x="3230563" y="314325"/>
                <a:ext cx="150813" cy="149225"/>
              </a:xfrm>
              <a:custGeom>
                <a:avLst/>
                <a:gdLst>
                  <a:gd name="T0" fmla="*/ 53 w 53"/>
                  <a:gd name="T1" fmla="*/ 33 h 52"/>
                  <a:gd name="T2" fmla="*/ 34 w 53"/>
                  <a:gd name="T3" fmla="*/ 52 h 52"/>
                  <a:gd name="T4" fmla="*/ 19 w 53"/>
                  <a:gd name="T5" fmla="*/ 52 h 52"/>
                  <a:gd name="T6" fmla="*/ 0 w 53"/>
                  <a:gd name="T7" fmla="*/ 33 h 52"/>
                  <a:gd name="T8" fmla="*/ 0 w 53"/>
                  <a:gd name="T9" fmla="*/ 19 h 52"/>
                  <a:gd name="T10" fmla="*/ 19 w 53"/>
                  <a:gd name="T11" fmla="*/ 0 h 52"/>
                  <a:gd name="T12" fmla="*/ 34 w 53"/>
                  <a:gd name="T13" fmla="*/ 0 h 52"/>
                  <a:gd name="T14" fmla="*/ 53 w 53"/>
                  <a:gd name="T15" fmla="*/ 19 h 52"/>
                  <a:gd name="T16" fmla="*/ 53 w 53"/>
                  <a:gd name="T17"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53" y="33"/>
                    </a:moveTo>
                    <a:cubicBezTo>
                      <a:pt x="53" y="44"/>
                      <a:pt x="44" y="52"/>
                      <a:pt x="34" y="52"/>
                    </a:cubicBezTo>
                    <a:cubicBezTo>
                      <a:pt x="19" y="52"/>
                      <a:pt x="19" y="52"/>
                      <a:pt x="19" y="52"/>
                    </a:cubicBezTo>
                    <a:cubicBezTo>
                      <a:pt x="8" y="52"/>
                      <a:pt x="0" y="44"/>
                      <a:pt x="0" y="33"/>
                    </a:cubicBezTo>
                    <a:cubicBezTo>
                      <a:pt x="0" y="19"/>
                      <a:pt x="0" y="19"/>
                      <a:pt x="0" y="19"/>
                    </a:cubicBezTo>
                    <a:cubicBezTo>
                      <a:pt x="0" y="8"/>
                      <a:pt x="8" y="0"/>
                      <a:pt x="19" y="0"/>
                    </a:cubicBezTo>
                    <a:cubicBezTo>
                      <a:pt x="34" y="0"/>
                      <a:pt x="34" y="0"/>
                      <a:pt x="34" y="0"/>
                    </a:cubicBezTo>
                    <a:cubicBezTo>
                      <a:pt x="44" y="0"/>
                      <a:pt x="53" y="8"/>
                      <a:pt x="53" y="19"/>
                    </a:cubicBezTo>
                    <a:lnTo>
                      <a:pt x="53" y="33"/>
                    </a:lnTo>
                    <a:close/>
                  </a:path>
                </a:pathLst>
              </a:custGeom>
              <a:solidFill>
                <a:srgbClr val="664A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9" name="Rectangle 142">
                <a:extLst>
                  <a:ext uri="{FF2B5EF4-FFF2-40B4-BE49-F238E27FC236}">
                    <a16:creationId xmlns:a16="http://schemas.microsoft.com/office/drawing/2014/main" id="{BB1CBA75-C165-4892-80FC-11CEB2E39863}"/>
                  </a:ext>
                </a:extLst>
              </p:cNvPr>
              <p:cNvSpPr>
                <a:spLocks noChangeArrowheads="1"/>
              </p:cNvSpPr>
              <p:nvPr/>
            </p:nvSpPr>
            <p:spPr bwMode="auto">
              <a:xfrm>
                <a:off x="3209925" y="865188"/>
                <a:ext cx="171450" cy="631825"/>
              </a:xfrm>
              <a:prstGeom prst="rect">
                <a:avLst/>
              </a:prstGeom>
              <a:solidFill>
                <a:srgbClr val="3F2C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0" name="Freeform 143">
                <a:extLst>
                  <a:ext uri="{FF2B5EF4-FFF2-40B4-BE49-F238E27FC236}">
                    <a16:creationId xmlns:a16="http://schemas.microsoft.com/office/drawing/2014/main" id="{4B023F58-5B14-43FD-B81B-601005A2AB24}"/>
                  </a:ext>
                </a:extLst>
              </p:cNvPr>
              <p:cNvSpPr>
                <a:spLocks/>
              </p:cNvSpPr>
              <p:nvPr/>
            </p:nvSpPr>
            <p:spPr bwMode="auto">
              <a:xfrm>
                <a:off x="2836863" y="1073150"/>
                <a:ext cx="379413" cy="423863"/>
              </a:xfrm>
              <a:custGeom>
                <a:avLst/>
                <a:gdLst>
                  <a:gd name="T0" fmla="*/ 110 w 239"/>
                  <a:gd name="T1" fmla="*/ 267 h 267"/>
                  <a:gd name="T2" fmla="*/ 0 w 239"/>
                  <a:gd name="T3" fmla="*/ 267 h 267"/>
                  <a:gd name="T4" fmla="*/ 131 w 239"/>
                  <a:gd name="T5" fmla="*/ 0 h 267"/>
                  <a:gd name="T6" fmla="*/ 239 w 239"/>
                  <a:gd name="T7" fmla="*/ 0 h 267"/>
                  <a:gd name="T8" fmla="*/ 110 w 239"/>
                  <a:gd name="T9" fmla="*/ 267 h 267"/>
                </a:gdLst>
                <a:ahLst/>
                <a:cxnLst>
                  <a:cxn ang="0">
                    <a:pos x="T0" y="T1"/>
                  </a:cxn>
                  <a:cxn ang="0">
                    <a:pos x="T2" y="T3"/>
                  </a:cxn>
                  <a:cxn ang="0">
                    <a:pos x="T4" y="T5"/>
                  </a:cxn>
                  <a:cxn ang="0">
                    <a:pos x="T6" y="T7"/>
                  </a:cxn>
                  <a:cxn ang="0">
                    <a:pos x="T8" y="T9"/>
                  </a:cxn>
                </a:cxnLst>
                <a:rect l="0" t="0" r="r" b="b"/>
                <a:pathLst>
                  <a:path w="239" h="267">
                    <a:moveTo>
                      <a:pt x="110" y="267"/>
                    </a:moveTo>
                    <a:lnTo>
                      <a:pt x="0" y="267"/>
                    </a:lnTo>
                    <a:lnTo>
                      <a:pt x="131" y="0"/>
                    </a:lnTo>
                    <a:lnTo>
                      <a:pt x="239" y="0"/>
                    </a:lnTo>
                    <a:lnTo>
                      <a:pt x="110" y="267"/>
                    </a:lnTo>
                    <a:close/>
                  </a:path>
                </a:pathLst>
              </a:custGeom>
              <a:solidFill>
                <a:srgbClr val="3F2C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1" name="Freeform 144">
                <a:extLst>
                  <a:ext uri="{FF2B5EF4-FFF2-40B4-BE49-F238E27FC236}">
                    <a16:creationId xmlns:a16="http://schemas.microsoft.com/office/drawing/2014/main" id="{0E073EF8-D8CE-4BD2-B08B-CAC0E579DDFF}"/>
                  </a:ext>
                </a:extLst>
              </p:cNvPr>
              <p:cNvSpPr>
                <a:spLocks/>
              </p:cNvSpPr>
              <p:nvPr/>
            </p:nvSpPr>
            <p:spPr bwMode="auto">
              <a:xfrm>
                <a:off x="3389313" y="1073150"/>
                <a:ext cx="379413" cy="423863"/>
              </a:xfrm>
              <a:custGeom>
                <a:avLst/>
                <a:gdLst>
                  <a:gd name="T0" fmla="*/ 131 w 239"/>
                  <a:gd name="T1" fmla="*/ 267 h 267"/>
                  <a:gd name="T2" fmla="*/ 239 w 239"/>
                  <a:gd name="T3" fmla="*/ 267 h 267"/>
                  <a:gd name="T4" fmla="*/ 109 w 239"/>
                  <a:gd name="T5" fmla="*/ 0 h 267"/>
                  <a:gd name="T6" fmla="*/ 0 w 239"/>
                  <a:gd name="T7" fmla="*/ 0 h 267"/>
                  <a:gd name="T8" fmla="*/ 131 w 239"/>
                  <a:gd name="T9" fmla="*/ 267 h 267"/>
                </a:gdLst>
                <a:ahLst/>
                <a:cxnLst>
                  <a:cxn ang="0">
                    <a:pos x="T0" y="T1"/>
                  </a:cxn>
                  <a:cxn ang="0">
                    <a:pos x="T2" y="T3"/>
                  </a:cxn>
                  <a:cxn ang="0">
                    <a:pos x="T4" y="T5"/>
                  </a:cxn>
                  <a:cxn ang="0">
                    <a:pos x="T6" y="T7"/>
                  </a:cxn>
                  <a:cxn ang="0">
                    <a:pos x="T8" y="T9"/>
                  </a:cxn>
                </a:cxnLst>
                <a:rect l="0" t="0" r="r" b="b"/>
                <a:pathLst>
                  <a:path w="239" h="267">
                    <a:moveTo>
                      <a:pt x="131" y="267"/>
                    </a:moveTo>
                    <a:lnTo>
                      <a:pt x="239" y="267"/>
                    </a:lnTo>
                    <a:lnTo>
                      <a:pt x="109" y="0"/>
                    </a:lnTo>
                    <a:lnTo>
                      <a:pt x="0" y="0"/>
                    </a:lnTo>
                    <a:lnTo>
                      <a:pt x="131" y="267"/>
                    </a:lnTo>
                    <a:close/>
                  </a:path>
                </a:pathLst>
              </a:custGeom>
              <a:solidFill>
                <a:srgbClr val="3F2C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2" name="Freeform 145">
                <a:extLst>
                  <a:ext uri="{FF2B5EF4-FFF2-40B4-BE49-F238E27FC236}">
                    <a16:creationId xmlns:a16="http://schemas.microsoft.com/office/drawing/2014/main" id="{69596093-32A6-4B8E-A776-DA5A84F1F8C7}"/>
                  </a:ext>
                </a:extLst>
              </p:cNvPr>
              <p:cNvSpPr>
                <a:spLocks/>
              </p:cNvSpPr>
              <p:nvPr/>
            </p:nvSpPr>
            <p:spPr bwMode="auto">
              <a:xfrm>
                <a:off x="2706688" y="374650"/>
                <a:ext cx="1198563" cy="931863"/>
              </a:xfrm>
              <a:custGeom>
                <a:avLst/>
                <a:gdLst>
                  <a:gd name="T0" fmla="*/ 421 w 421"/>
                  <a:gd name="T1" fmla="*/ 244 h 327"/>
                  <a:gd name="T2" fmla="*/ 337 w 421"/>
                  <a:gd name="T3" fmla="*/ 327 h 327"/>
                  <a:gd name="T4" fmla="*/ 83 w 421"/>
                  <a:gd name="T5" fmla="*/ 327 h 327"/>
                  <a:gd name="T6" fmla="*/ 0 w 421"/>
                  <a:gd name="T7" fmla="*/ 244 h 327"/>
                  <a:gd name="T8" fmla="*/ 0 w 421"/>
                  <a:gd name="T9" fmla="*/ 83 h 327"/>
                  <a:gd name="T10" fmla="*/ 83 w 421"/>
                  <a:gd name="T11" fmla="*/ 0 h 327"/>
                  <a:gd name="T12" fmla="*/ 337 w 421"/>
                  <a:gd name="T13" fmla="*/ 0 h 327"/>
                  <a:gd name="T14" fmla="*/ 421 w 421"/>
                  <a:gd name="T15" fmla="*/ 83 h 327"/>
                  <a:gd name="T16" fmla="*/ 421 w 421"/>
                  <a:gd name="T17" fmla="*/ 244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1" h="327">
                    <a:moveTo>
                      <a:pt x="421" y="244"/>
                    </a:moveTo>
                    <a:cubicBezTo>
                      <a:pt x="421" y="290"/>
                      <a:pt x="383" y="327"/>
                      <a:pt x="337" y="327"/>
                    </a:cubicBezTo>
                    <a:cubicBezTo>
                      <a:pt x="83" y="327"/>
                      <a:pt x="83" y="327"/>
                      <a:pt x="83" y="327"/>
                    </a:cubicBezTo>
                    <a:cubicBezTo>
                      <a:pt x="37" y="327"/>
                      <a:pt x="0" y="290"/>
                      <a:pt x="0" y="244"/>
                    </a:cubicBezTo>
                    <a:cubicBezTo>
                      <a:pt x="0" y="83"/>
                      <a:pt x="0" y="83"/>
                      <a:pt x="0" y="83"/>
                    </a:cubicBezTo>
                    <a:cubicBezTo>
                      <a:pt x="0" y="37"/>
                      <a:pt x="37" y="0"/>
                      <a:pt x="83" y="0"/>
                    </a:cubicBezTo>
                    <a:cubicBezTo>
                      <a:pt x="337" y="0"/>
                      <a:pt x="337" y="0"/>
                      <a:pt x="337" y="0"/>
                    </a:cubicBezTo>
                    <a:cubicBezTo>
                      <a:pt x="383" y="0"/>
                      <a:pt x="421" y="37"/>
                      <a:pt x="421" y="83"/>
                    </a:cubicBezTo>
                    <a:lnTo>
                      <a:pt x="421" y="244"/>
                    </a:lnTo>
                    <a:close/>
                  </a:path>
                </a:pathLst>
              </a:custGeom>
              <a:solidFill>
                <a:srgbClr val="3F2C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3" name="Freeform 146">
                <a:extLst>
                  <a:ext uri="{FF2B5EF4-FFF2-40B4-BE49-F238E27FC236}">
                    <a16:creationId xmlns:a16="http://schemas.microsoft.com/office/drawing/2014/main" id="{55EB3050-74BB-409E-A5BC-8DD5FD8B6DD7}"/>
                  </a:ext>
                </a:extLst>
              </p:cNvPr>
              <p:cNvSpPr>
                <a:spLocks/>
              </p:cNvSpPr>
              <p:nvPr/>
            </p:nvSpPr>
            <p:spPr bwMode="auto">
              <a:xfrm>
                <a:off x="2706688" y="400050"/>
                <a:ext cx="1198563" cy="935038"/>
              </a:xfrm>
              <a:custGeom>
                <a:avLst/>
                <a:gdLst>
                  <a:gd name="T0" fmla="*/ 421 w 421"/>
                  <a:gd name="T1" fmla="*/ 244 h 328"/>
                  <a:gd name="T2" fmla="*/ 337 w 421"/>
                  <a:gd name="T3" fmla="*/ 328 h 328"/>
                  <a:gd name="T4" fmla="*/ 83 w 421"/>
                  <a:gd name="T5" fmla="*/ 328 h 328"/>
                  <a:gd name="T6" fmla="*/ 0 w 421"/>
                  <a:gd name="T7" fmla="*/ 244 h 328"/>
                  <a:gd name="T8" fmla="*/ 0 w 421"/>
                  <a:gd name="T9" fmla="*/ 83 h 328"/>
                  <a:gd name="T10" fmla="*/ 83 w 421"/>
                  <a:gd name="T11" fmla="*/ 0 h 328"/>
                  <a:gd name="T12" fmla="*/ 337 w 421"/>
                  <a:gd name="T13" fmla="*/ 0 h 328"/>
                  <a:gd name="T14" fmla="*/ 421 w 421"/>
                  <a:gd name="T15" fmla="*/ 83 h 328"/>
                  <a:gd name="T16" fmla="*/ 421 w 421"/>
                  <a:gd name="T17" fmla="*/ 24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1" h="328">
                    <a:moveTo>
                      <a:pt x="421" y="244"/>
                    </a:moveTo>
                    <a:cubicBezTo>
                      <a:pt x="421" y="290"/>
                      <a:pt x="383" y="328"/>
                      <a:pt x="337" y="328"/>
                    </a:cubicBezTo>
                    <a:cubicBezTo>
                      <a:pt x="83" y="328"/>
                      <a:pt x="83" y="328"/>
                      <a:pt x="83" y="328"/>
                    </a:cubicBezTo>
                    <a:cubicBezTo>
                      <a:pt x="37" y="328"/>
                      <a:pt x="0" y="290"/>
                      <a:pt x="0" y="244"/>
                    </a:cubicBezTo>
                    <a:cubicBezTo>
                      <a:pt x="0" y="83"/>
                      <a:pt x="0" y="83"/>
                      <a:pt x="0" y="83"/>
                    </a:cubicBezTo>
                    <a:cubicBezTo>
                      <a:pt x="0" y="37"/>
                      <a:pt x="37" y="0"/>
                      <a:pt x="83" y="0"/>
                    </a:cubicBezTo>
                    <a:cubicBezTo>
                      <a:pt x="337" y="0"/>
                      <a:pt x="337" y="0"/>
                      <a:pt x="337" y="0"/>
                    </a:cubicBezTo>
                    <a:cubicBezTo>
                      <a:pt x="383" y="0"/>
                      <a:pt x="421" y="37"/>
                      <a:pt x="421" y="83"/>
                    </a:cubicBezTo>
                    <a:lnTo>
                      <a:pt x="421" y="244"/>
                    </a:lnTo>
                    <a:close/>
                  </a:path>
                </a:pathLst>
              </a:custGeom>
              <a:solidFill>
                <a:srgbClr val="664A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4" name="Freeform 147">
                <a:extLst>
                  <a:ext uri="{FF2B5EF4-FFF2-40B4-BE49-F238E27FC236}">
                    <a16:creationId xmlns:a16="http://schemas.microsoft.com/office/drawing/2014/main" id="{715F1DBB-0EAE-4CF8-A0CB-13D6D9BC9809}"/>
                  </a:ext>
                </a:extLst>
              </p:cNvPr>
              <p:cNvSpPr>
                <a:spLocks/>
              </p:cNvSpPr>
              <p:nvPr/>
            </p:nvSpPr>
            <p:spPr bwMode="auto">
              <a:xfrm>
                <a:off x="2789238" y="485775"/>
                <a:ext cx="1030288" cy="763588"/>
              </a:xfrm>
              <a:custGeom>
                <a:avLst/>
                <a:gdLst>
                  <a:gd name="T0" fmla="*/ 54 w 362"/>
                  <a:gd name="T1" fmla="*/ 268 h 268"/>
                  <a:gd name="T2" fmla="*/ 0 w 362"/>
                  <a:gd name="T3" fmla="*/ 214 h 268"/>
                  <a:gd name="T4" fmla="*/ 0 w 362"/>
                  <a:gd name="T5" fmla="*/ 53 h 268"/>
                  <a:gd name="T6" fmla="*/ 54 w 362"/>
                  <a:gd name="T7" fmla="*/ 0 h 268"/>
                  <a:gd name="T8" fmla="*/ 308 w 362"/>
                  <a:gd name="T9" fmla="*/ 0 h 268"/>
                  <a:gd name="T10" fmla="*/ 362 w 362"/>
                  <a:gd name="T11" fmla="*/ 53 h 268"/>
                  <a:gd name="T12" fmla="*/ 362 w 362"/>
                  <a:gd name="T13" fmla="*/ 214 h 268"/>
                  <a:gd name="T14" fmla="*/ 308 w 362"/>
                  <a:gd name="T15" fmla="*/ 268 h 268"/>
                  <a:gd name="T16" fmla="*/ 54 w 362"/>
                  <a:gd name="T17"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268">
                    <a:moveTo>
                      <a:pt x="54" y="268"/>
                    </a:moveTo>
                    <a:cubicBezTo>
                      <a:pt x="24" y="268"/>
                      <a:pt x="0" y="244"/>
                      <a:pt x="0" y="214"/>
                    </a:cubicBezTo>
                    <a:cubicBezTo>
                      <a:pt x="0" y="53"/>
                      <a:pt x="0" y="53"/>
                      <a:pt x="0" y="53"/>
                    </a:cubicBezTo>
                    <a:cubicBezTo>
                      <a:pt x="0" y="24"/>
                      <a:pt x="24" y="0"/>
                      <a:pt x="54" y="0"/>
                    </a:cubicBezTo>
                    <a:cubicBezTo>
                      <a:pt x="308" y="0"/>
                      <a:pt x="308" y="0"/>
                      <a:pt x="308" y="0"/>
                    </a:cubicBezTo>
                    <a:cubicBezTo>
                      <a:pt x="338" y="0"/>
                      <a:pt x="362" y="24"/>
                      <a:pt x="362" y="53"/>
                    </a:cubicBezTo>
                    <a:cubicBezTo>
                      <a:pt x="362" y="214"/>
                      <a:pt x="362" y="214"/>
                      <a:pt x="362" y="214"/>
                    </a:cubicBezTo>
                    <a:cubicBezTo>
                      <a:pt x="362" y="244"/>
                      <a:pt x="338" y="268"/>
                      <a:pt x="308" y="268"/>
                    </a:cubicBezTo>
                    <a:lnTo>
                      <a:pt x="54" y="268"/>
                    </a:lnTo>
                    <a:close/>
                  </a:path>
                </a:pathLst>
              </a:custGeom>
              <a:solidFill>
                <a:srgbClr val="0870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5" name="Freeform 148">
                <a:extLst>
                  <a:ext uri="{FF2B5EF4-FFF2-40B4-BE49-F238E27FC236}">
                    <a16:creationId xmlns:a16="http://schemas.microsoft.com/office/drawing/2014/main" id="{530C5668-0AD5-408E-8D70-144C4676DB3B}"/>
                  </a:ext>
                </a:extLst>
              </p:cNvPr>
              <p:cNvSpPr>
                <a:spLocks/>
              </p:cNvSpPr>
              <p:nvPr/>
            </p:nvSpPr>
            <p:spPr bwMode="auto">
              <a:xfrm>
                <a:off x="3443288" y="1200150"/>
                <a:ext cx="176213" cy="49213"/>
              </a:xfrm>
              <a:custGeom>
                <a:avLst/>
                <a:gdLst>
                  <a:gd name="T0" fmla="*/ 62 w 62"/>
                  <a:gd name="T1" fmla="*/ 8 h 17"/>
                  <a:gd name="T2" fmla="*/ 53 w 62"/>
                  <a:gd name="T3" fmla="*/ 17 h 17"/>
                  <a:gd name="T4" fmla="*/ 9 w 62"/>
                  <a:gd name="T5" fmla="*/ 17 h 17"/>
                  <a:gd name="T6" fmla="*/ 0 w 62"/>
                  <a:gd name="T7" fmla="*/ 8 h 17"/>
                  <a:gd name="T8" fmla="*/ 9 w 62"/>
                  <a:gd name="T9" fmla="*/ 0 h 17"/>
                  <a:gd name="T10" fmla="*/ 53 w 62"/>
                  <a:gd name="T11" fmla="*/ 0 h 17"/>
                  <a:gd name="T12" fmla="*/ 62 w 62"/>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62" h="17">
                    <a:moveTo>
                      <a:pt x="62" y="8"/>
                    </a:moveTo>
                    <a:cubicBezTo>
                      <a:pt x="62" y="13"/>
                      <a:pt x="58" y="17"/>
                      <a:pt x="53" y="17"/>
                    </a:cubicBezTo>
                    <a:cubicBezTo>
                      <a:pt x="9" y="17"/>
                      <a:pt x="9" y="17"/>
                      <a:pt x="9" y="17"/>
                    </a:cubicBezTo>
                    <a:cubicBezTo>
                      <a:pt x="4" y="17"/>
                      <a:pt x="0" y="13"/>
                      <a:pt x="0" y="8"/>
                    </a:cubicBezTo>
                    <a:cubicBezTo>
                      <a:pt x="0" y="3"/>
                      <a:pt x="4" y="0"/>
                      <a:pt x="9" y="0"/>
                    </a:cubicBezTo>
                    <a:cubicBezTo>
                      <a:pt x="53" y="0"/>
                      <a:pt x="53" y="0"/>
                      <a:pt x="53" y="0"/>
                    </a:cubicBezTo>
                    <a:cubicBezTo>
                      <a:pt x="58" y="0"/>
                      <a:pt x="62" y="3"/>
                      <a:pt x="62" y="8"/>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6" name="Freeform 149">
                <a:extLst>
                  <a:ext uri="{FF2B5EF4-FFF2-40B4-BE49-F238E27FC236}">
                    <a16:creationId xmlns:a16="http://schemas.microsoft.com/office/drawing/2014/main" id="{E37FF74B-D62C-43EE-AA09-53556C00354D}"/>
                  </a:ext>
                </a:extLst>
              </p:cNvPr>
              <p:cNvSpPr>
                <a:spLocks/>
              </p:cNvSpPr>
              <p:nvPr/>
            </p:nvSpPr>
            <p:spPr bwMode="auto">
              <a:xfrm>
                <a:off x="3027363" y="708025"/>
                <a:ext cx="182563" cy="322263"/>
              </a:xfrm>
              <a:custGeom>
                <a:avLst/>
                <a:gdLst>
                  <a:gd name="T0" fmla="*/ 2 w 64"/>
                  <a:gd name="T1" fmla="*/ 89 h 113"/>
                  <a:gd name="T2" fmla="*/ 37 w 64"/>
                  <a:gd name="T3" fmla="*/ 30 h 113"/>
                  <a:gd name="T4" fmla="*/ 25 w 64"/>
                  <a:gd name="T5" fmla="*/ 33 h 113"/>
                  <a:gd name="T6" fmla="*/ 2 w 64"/>
                  <a:gd name="T7" fmla="*/ 33 h 113"/>
                  <a:gd name="T8" fmla="*/ 31 w 64"/>
                  <a:gd name="T9" fmla="*/ 0 h 113"/>
                  <a:gd name="T10" fmla="*/ 61 w 64"/>
                  <a:gd name="T11" fmla="*/ 36 h 113"/>
                  <a:gd name="T12" fmla="*/ 28 w 64"/>
                  <a:gd name="T13" fmla="*/ 89 h 113"/>
                  <a:gd name="T14" fmla="*/ 63 w 64"/>
                  <a:gd name="T15" fmla="*/ 89 h 113"/>
                  <a:gd name="T16" fmla="*/ 63 w 64"/>
                  <a:gd name="T17" fmla="*/ 112 h 113"/>
                  <a:gd name="T18" fmla="*/ 64 w 64"/>
                  <a:gd name="T19" fmla="*/ 113 h 113"/>
                  <a:gd name="T20" fmla="*/ 0 w 64"/>
                  <a:gd name="T21" fmla="*/ 113 h 113"/>
                  <a:gd name="T22" fmla="*/ 2 w 64"/>
                  <a:gd name="T23" fmla="*/ 112 h 113"/>
                  <a:gd name="T24" fmla="*/ 2 w 64"/>
                  <a:gd name="T25" fmla="*/ 8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13">
                    <a:moveTo>
                      <a:pt x="2" y="89"/>
                    </a:moveTo>
                    <a:cubicBezTo>
                      <a:pt x="37" y="30"/>
                      <a:pt x="37" y="30"/>
                      <a:pt x="37" y="30"/>
                    </a:cubicBezTo>
                    <a:cubicBezTo>
                      <a:pt x="37" y="22"/>
                      <a:pt x="25" y="22"/>
                      <a:pt x="25" y="33"/>
                    </a:cubicBezTo>
                    <a:cubicBezTo>
                      <a:pt x="2" y="33"/>
                      <a:pt x="2" y="33"/>
                      <a:pt x="2" y="33"/>
                    </a:cubicBezTo>
                    <a:cubicBezTo>
                      <a:pt x="2" y="17"/>
                      <a:pt x="8" y="0"/>
                      <a:pt x="31" y="0"/>
                    </a:cubicBezTo>
                    <a:cubicBezTo>
                      <a:pt x="49" y="0"/>
                      <a:pt x="63" y="9"/>
                      <a:pt x="61" y="36"/>
                    </a:cubicBezTo>
                    <a:cubicBezTo>
                      <a:pt x="28" y="89"/>
                      <a:pt x="28" y="89"/>
                      <a:pt x="28" y="89"/>
                    </a:cubicBezTo>
                    <a:cubicBezTo>
                      <a:pt x="63" y="89"/>
                      <a:pt x="63" y="89"/>
                      <a:pt x="63" y="89"/>
                    </a:cubicBezTo>
                    <a:cubicBezTo>
                      <a:pt x="63" y="112"/>
                      <a:pt x="63" y="112"/>
                      <a:pt x="63" y="112"/>
                    </a:cubicBezTo>
                    <a:cubicBezTo>
                      <a:pt x="64" y="113"/>
                      <a:pt x="64" y="113"/>
                      <a:pt x="64" y="113"/>
                    </a:cubicBezTo>
                    <a:cubicBezTo>
                      <a:pt x="0" y="113"/>
                      <a:pt x="0" y="113"/>
                      <a:pt x="0" y="113"/>
                    </a:cubicBezTo>
                    <a:cubicBezTo>
                      <a:pt x="2" y="112"/>
                      <a:pt x="2" y="112"/>
                      <a:pt x="2" y="112"/>
                    </a:cubicBezTo>
                    <a:lnTo>
                      <a:pt x="2" y="89"/>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7" name="Freeform 150">
                <a:extLst>
                  <a:ext uri="{FF2B5EF4-FFF2-40B4-BE49-F238E27FC236}">
                    <a16:creationId xmlns:a16="http://schemas.microsoft.com/office/drawing/2014/main" id="{08D9C1F0-A4AF-474E-926B-6270E95094ED}"/>
                  </a:ext>
                </a:extLst>
              </p:cNvPr>
              <p:cNvSpPr>
                <a:spLocks/>
              </p:cNvSpPr>
              <p:nvPr/>
            </p:nvSpPr>
            <p:spPr bwMode="auto">
              <a:xfrm>
                <a:off x="3260725" y="841375"/>
                <a:ext cx="125413" cy="125413"/>
              </a:xfrm>
              <a:custGeom>
                <a:avLst/>
                <a:gdLst>
                  <a:gd name="T0" fmla="*/ 54 w 79"/>
                  <a:gd name="T1" fmla="*/ 25 h 79"/>
                  <a:gd name="T2" fmla="*/ 79 w 79"/>
                  <a:gd name="T3" fmla="*/ 25 h 79"/>
                  <a:gd name="T4" fmla="*/ 79 w 79"/>
                  <a:gd name="T5" fmla="*/ 54 h 79"/>
                  <a:gd name="T6" fmla="*/ 54 w 79"/>
                  <a:gd name="T7" fmla="*/ 54 h 79"/>
                  <a:gd name="T8" fmla="*/ 54 w 79"/>
                  <a:gd name="T9" fmla="*/ 79 h 79"/>
                  <a:gd name="T10" fmla="*/ 26 w 79"/>
                  <a:gd name="T11" fmla="*/ 79 h 79"/>
                  <a:gd name="T12" fmla="*/ 26 w 79"/>
                  <a:gd name="T13" fmla="*/ 54 h 79"/>
                  <a:gd name="T14" fmla="*/ 0 w 79"/>
                  <a:gd name="T15" fmla="*/ 54 h 79"/>
                  <a:gd name="T16" fmla="*/ 0 w 79"/>
                  <a:gd name="T17" fmla="*/ 25 h 79"/>
                  <a:gd name="T18" fmla="*/ 26 w 79"/>
                  <a:gd name="T19" fmla="*/ 25 h 79"/>
                  <a:gd name="T20" fmla="*/ 26 w 79"/>
                  <a:gd name="T21" fmla="*/ 0 h 79"/>
                  <a:gd name="T22" fmla="*/ 54 w 79"/>
                  <a:gd name="T23" fmla="*/ 0 h 79"/>
                  <a:gd name="T24" fmla="*/ 54 w 79"/>
                  <a:gd name="T25" fmla="*/ 2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79">
                    <a:moveTo>
                      <a:pt x="54" y="25"/>
                    </a:moveTo>
                    <a:lnTo>
                      <a:pt x="79" y="25"/>
                    </a:lnTo>
                    <a:lnTo>
                      <a:pt x="79" y="54"/>
                    </a:lnTo>
                    <a:lnTo>
                      <a:pt x="54" y="54"/>
                    </a:lnTo>
                    <a:lnTo>
                      <a:pt x="54" y="79"/>
                    </a:lnTo>
                    <a:lnTo>
                      <a:pt x="26" y="79"/>
                    </a:lnTo>
                    <a:lnTo>
                      <a:pt x="26" y="54"/>
                    </a:lnTo>
                    <a:lnTo>
                      <a:pt x="0" y="54"/>
                    </a:lnTo>
                    <a:lnTo>
                      <a:pt x="0" y="25"/>
                    </a:lnTo>
                    <a:lnTo>
                      <a:pt x="26" y="25"/>
                    </a:lnTo>
                    <a:lnTo>
                      <a:pt x="26" y="0"/>
                    </a:lnTo>
                    <a:lnTo>
                      <a:pt x="54" y="0"/>
                    </a:lnTo>
                    <a:lnTo>
                      <a:pt x="54" y="25"/>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8" name="Freeform 151">
                <a:extLst>
                  <a:ext uri="{FF2B5EF4-FFF2-40B4-BE49-F238E27FC236}">
                    <a16:creationId xmlns:a16="http://schemas.microsoft.com/office/drawing/2014/main" id="{FB40B5FC-365E-4834-92A6-7891CF128CA1}"/>
                  </a:ext>
                </a:extLst>
              </p:cNvPr>
              <p:cNvSpPr>
                <a:spLocks/>
              </p:cNvSpPr>
              <p:nvPr/>
            </p:nvSpPr>
            <p:spPr bwMode="auto">
              <a:xfrm>
                <a:off x="3435350" y="708025"/>
                <a:ext cx="184150" cy="322263"/>
              </a:xfrm>
              <a:custGeom>
                <a:avLst/>
                <a:gdLst>
                  <a:gd name="T0" fmla="*/ 2 w 65"/>
                  <a:gd name="T1" fmla="*/ 89 h 113"/>
                  <a:gd name="T2" fmla="*/ 37 w 65"/>
                  <a:gd name="T3" fmla="*/ 30 h 113"/>
                  <a:gd name="T4" fmla="*/ 25 w 65"/>
                  <a:gd name="T5" fmla="*/ 33 h 113"/>
                  <a:gd name="T6" fmla="*/ 2 w 65"/>
                  <a:gd name="T7" fmla="*/ 33 h 113"/>
                  <a:gd name="T8" fmla="*/ 32 w 65"/>
                  <a:gd name="T9" fmla="*/ 0 h 113"/>
                  <a:gd name="T10" fmla="*/ 61 w 65"/>
                  <a:gd name="T11" fmla="*/ 36 h 113"/>
                  <a:gd name="T12" fmla="*/ 28 w 65"/>
                  <a:gd name="T13" fmla="*/ 89 h 113"/>
                  <a:gd name="T14" fmla="*/ 63 w 65"/>
                  <a:gd name="T15" fmla="*/ 89 h 113"/>
                  <a:gd name="T16" fmla="*/ 63 w 65"/>
                  <a:gd name="T17" fmla="*/ 112 h 113"/>
                  <a:gd name="T18" fmla="*/ 65 w 65"/>
                  <a:gd name="T19" fmla="*/ 113 h 113"/>
                  <a:gd name="T20" fmla="*/ 0 w 65"/>
                  <a:gd name="T21" fmla="*/ 113 h 113"/>
                  <a:gd name="T22" fmla="*/ 2 w 65"/>
                  <a:gd name="T23" fmla="*/ 112 h 113"/>
                  <a:gd name="T24" fmla="*/ 2 w 65"/>
                  <a:gd name="T25" fmla="*/ 8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3">
                    <a:moveTo>
                      <a:pt x="2" y="89"/>
                    </a:moveTo>
                    <a:cubicBezTo>
                      <a:pt x="37" y="30"/>
                      <a:pt x="37" y="30"/>
                      <a:pt x="37" y="30"/>
                    </a:cubicBezTo>
                    <a:cubicBezTo>
                      <a:pt x="37" y="22"/>
                      <a:pt x="25" y="22"/>
                      <a:pt x="25" y="33"/>
                    </a:cubicBezTo>
                    <a:cubicBezTo>
                      <a:pt x="2" y="33"/>
                      <a:pt x="2" y="33"/>
                      <a:pt x="2" y="33"/>
                    </a:cubicBezTo>
                    <a:cubicBezTo>
                      <a:pt x="2" y="17"/>
                      <a:pt x="8" y="0"/>
                      <a:pt x="32" y="0"/>
                    </a:cubicBezTo>
                    <a:cubicBezTo>
                      <a:pt x="49" y="0"/>
                      <a:pt x="64" y="9"/>
                      <a:pt x="61" y="36"/>
                    </a:cubicBezTo>
                    <a:cubicBezTo>
                      <a:pt x="28" y="89"/>
                      <a:pt x="28" y="89"/>
                      <a:pt x="28" y="89"/>
                    </a:cubicBezTo>
                    <a:cubicBezTo>
                      <a:pt x="63" y="89"/>
                      <a:pt x="63" y="89"/>
                      <a:pt x="63" y="89"/>
                    </a:cubicBezTo>
                    <a:cubicBezTo>
                      <a:pt x="63" y="112"/>
                      <a:pt x="63" y="112"/>
                      <a:pt x="63" y="112"/>
                    </a:cubicBezTo>
                    <a:cubicBezTo>
                      <a:pt x="65" y="113"/>
                      <a:pt x="65" y="113"/>
                      <a:pt x="65" y="113"/>
                    </a:cubicBezTo>
                    <a:cubicBezTo>
                      <a:pt x="0" y="113"/>
                      <a:pt x="0" y="113"/>
                      <a:pt x="0" y="113"/>
                    </a:cubicBezTo>
                    <a:cubicBezTo>
                      <a:pt x="2" y="112"/>
                      <a:pt x="2" y="112"/>
                      <a:pt x="2" y="112"/>
                    </a:cubicBezTo>
                    <a:lnTo>
                      <a:pt x="2" y="89"/>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4" name="组合 13">
              <a:extLst>
                <a:ext uri="{FF2B5EF4-FFF2-40B4-BE49-F238E27FC236}">
                  <a16:creationId xmlns:a16="http://schemas.microsoft.com/office/drawing/2014/main" id="{6D7FF877-8C64-4BE0-9782-6E203A58CFA6}"/>
                </a:ext>
              </a:extLst>
            </p:cNvPr>
            <p:cNvGrpSpPr/>
            <p:nvPr/>
          </p:nvGrpSpPr>
          <p:grpSpPr>
            <a:xfrm>
              <a:off x="6566970" y="2589471"/>
              <a:ext cx="888420" cy="887512"/>
              <a:chOff x="6318250" y="123825"/>
              <a:chExt cx="1554163" cy="1552575"/>
            </a:xfrm>
          </p:grpSpPr>
          <p:sp>
            <p:nvSpPr>
              <p:cNvPr id="382" name="Oval 152">
                <a:extLst>
                  <a:ext uri="{FF2B5EF4-FFF2-40B4-BE49-F238E27FC236}">
                    <a16:creationId xmlns:a16="http://schemas.microsoft.com/office/drawing/2014/main" id="{C89E5FD7-9B6C-4B5A-8E9A-3F2D5D164F32}"/>
                  </a:ext>
                </a:extLst>
              </p:cNvPr>
              <p:cNvSpPr>
                <a:spLocks noChangeArrowheads="1"/>
              </p:cNvSpPr>
              <p:nvPr/>
            </p:nvSpPr>
            <p:spPr bwMode="auto">
              <a:xfrm>
                <a:off x="6318250" y="123825"/>
                <a:ext cx="1554163" cy="1552575"/>
              </a:xfrm>
              <a:prstGeom prst="ellipse">
                <a:avLst/>
              </a:pr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3" name="Freeform 153">
                <a:extLst>
                  <a:ext uri="{FF2B5EF4-FFF2-40B4-BE49-F238E27FC236}">
                    <a16:creationId xmlns:a16="http://schemas.microsoft.com/office/drawing/2014/main" id="{552BF530-6C68-49F8-979C-E45A57AC16B5}"/>
                  </a:ext>
                </a:extLst>
              </p:cNvPr>
              <p:cNvSpPr>
                <a:spLocks/>
              </p:cNvSpPr>
              <p:nvPr/>
            </p:nvSpPr>
            <p:spPr bwMode="auto">
              <a:xfrm>
                <a:off x="6500813" y="360363"/>
                <a:ext cx="974725" cy="1033463"/>
              </a:xfrm>
              <a:custGeom>
                <a:avLst/>
                <a:gdLst>
                  <a:gd name="T0" fmla="*/ 316 w 343"/>
                  <a:gd name="T1" fmla="*/ 317 h 363"/>
                  <a:gd name="T2" fmla="*/ 210 w 343"/>
                  <a:gd name="T3" fmla="*/ 124 h 363"/>
                  <a:gd name="T4" fmla="*/ 210 w 343"/>
                  <a:gd name="T5" fmla="*/ 41 h 363"/>
                  <a:gd name="T6" fmla="*/ 210 w 343"/>
                  <a:gd name="T7" fmla="*/ 33 h 363"/>
                  <a:gd name="T8" fmla="*/ 231 w 343"/>
                  <a:gd name="T9" fmla="*/ 22 h 363"/>
                  <a:gd name="T10" fmla="*/ 234 w 343"/>
                  <a:gd name="T11" fmla="*/ 0 h 363"/>
                  <a:gd name="T12" fmla="*/ 109 w 343"/>
                  <a:gd name="T13" fmla="*/ 0 h 363"/>
                  <a:gd name="T14" fmla="*/ 112 w 343"/>
                  <a:gd name="T15" fmla="*/ 22 h 363"/>
                  <a:gd name="T16" fmla="*/ 134 w 343"/>
                  <a:gd name="T17" fmla="*/ 33 h 363"/>
                  <a:gd name="T18" fmla="*/ 134 w 343"/>
                  <a:gd name="T19" fmla="*/ 124 h 363"/>
                  <a:gd name="T20" fmla="*/ 28 w 343"/>
                  <a:gd name="T21" fmla="*/ 317 h 363"/>
                  <a:gd name="T22" fmla="*/ 74 w 343"/>
                  <a:gd name="T23" fmla="*/ 363 h 363"/>
                  <a:gd name="T24" fmla="*/ 270 w 343"/>
                  <a:gd name="T25" fmla="*/ 363 h 363"/>
                  <a:gd name="T26" fmla="*/ 316 w 343"/>
                  <a:gd name="T27" fmla="*/ 317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3" h="363">
                    <a:moveTo>
                      <a:pt x="316" y="317"/>
                    </a:moveTo>
                    <a:cubicBezTo>
                      <a:pt x="210" y="124"/>
                      <a:pt x="210" y="124"/>
                      <a:pt x="210" y="124"/>
                    </a:cubicBezTo>
                    <a:cubicBezTo>
                      <a:pt x="210" y="41"/>
                      <a:pt x="210" y="41"/>
                      <a:pt x="210" y="41"/>
                    </a:cubicBezTo>
                    <a:cubicBezTo>
                      <a:pt x="210" y="33"/>
                      <a:pt x="210" y="33"/>
                      <a:pt x="210" y="33"/>
                    </a:cubicBezTo>
                    <a:cubicBezTo>
                      <a:pt x="211" y="23"/>
                      <a:pt x="225" y="27"/>
                      <a:pt x="231" y="22"/>
                    </a:cubicBezTo>
                    <a:cubicBezTo>
                      <a:pt x="234" y="14"/>
                      <a:pt x="234" y="0"/>
                      <a:pt x="234" y="0"/>
                    </a:cubicBezTo>
                    <a:cubicBezTo>
                      <a:pt x="109" y="0"/>
                      <a:pt x="109" y="0"/>
                      <a:pt x="109" y="0"/>
                    </a:cubicBezTo>
                    <a:cubicBezTo>
                      <a:pt x="109" y="0"/>
                      <a:pt x="109" y="14"/>
                      <a:pt x="112" y="22"/>
                    </a:cubicBezTo>
                    <a:cubicBezTo>
                      <a:pt x="118" y="27"/>
                      <a:pt x="132" y="23"/>
                      <a:pt x="134" y="33"/>
                    </a:cubicBezTo>
                    <a:cubicBezTo>
                      <a:pt x="134" y="124"/>
                      <a:pt x="134" y="124"/>
                      <a:pt x="134" y="124"/>
                    </a:cubicBezTo>
                    <a:cubicBezTo>
                      <a:pt x="28" y="317"/>
                      <a:pt x="28" y="317"/>
                      <a:pt x="28" y="317"/>
                    </a:cubicBezTo>
                    <a:cubicBezTo>
                      <a:pt x="28" y="317"/>
                      <a:pt x="0" y="363"/>
                      <a:pt x="74" y="363"/>
                    </a:cubicBezTo>
                    <a:cubicBezTo>
                      <a:pt x="270" y="363"/>
                      <a:pt x="270" y="363"/>
                      <a:pt x="270" y="363"/>
                    </a:cubicBezTo>
                    <a:cubicBezTo>
                      <a:pt x="343" y="363"/>
                      <a:pt x="316" y="317"/>
                      <a:pt x="316" y="317"/>
                    </a:cubicBezTo>
                    <a:close/>
                  </a:path>
                </a:pathLst>
              </a:custGeom>
              <a:solidFill>
                <a:srgbClr val="A3C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4" name="Freeform 154">
                <a:extLst>
                  <a:ext uri="{FF2B5EF4-FFF2-40B4-BE49-F238E27FC236}">
                    <a16:creationId xmlns:a16="http://schemas.microsoft.com/office/drawing/2014/main" id="{3B98DBB3-CD5D-4AD6-8303-658327141085}"/>
                  </a:ext>
                </a:extLst>
              </p:cNvPr>
              <p:cNvSpPr>
                <a:spLocks/>
              </p:cNvSpPr>
              <p:nvPr/>
            </p:nvSpPr>
            <p:spPr bwMode="auto">
              <a:xfrm>
                <a:off x="6500813" y="915988"/>
                <a:ext cx="974725" cy="477838"/>
              </a:xfrm>
              <a:custGeom>
                <a:avLst/>
                <a:gdLst>
                  <a:gd name="T0" fmla="*/ 249 w 343"/>
                  <a:gd name="T1" fmla="*/ 0 h 168"/>
                  <a:gd name="T2" fmla="*/ 95 w 343"/>
                  <a:gd name="T3" fmla="*/ 0 h 168"/>
                  <a:gd name="T4" fmla="*/ 28 w 343"/>
                  <a:gd name="T5" fmla="*/ 122 h 168"/>
                  <a:gd name="T6" fmla="*/ 74 w 343"/>
                  <a:gd name="T7" fmla="*/ 168 h 168"/>
                  <a:gd name="T8" fmla="*/ 270 w 343"/>
                  <a:gd name="T9" fmla="*/ 168 h 168"/>
                  <a:gd name="T10" fmla="*/ 316 w 343"/>
                  <a:gd name="T11" fmla="*/ 122 h 168"/>
                  <a:gd name="T12" fmla="*/ 249 w 343"/>
                  <a:gd name="T13" fmla="*/ 0 h 168"/>
                </a:gdLst>
                <a:ahLst/>
                <a:cxnLst>
                  <a:cxn ang="0">
                    <a:pos x="T0" y="T1"/>
                  </a:cxn>
                  <a:cxn ang="0">
                    <a:pos x="T2" y="T3"/>
                  </a:cxn>
                  <a:cxn ang="0">
                    <a:pos x="T4" y="T5"/>
                  </a:cxn>
                  <a:cxn ang="0">
                    <a:pos x="T6" y="T7"/>
                  </a:cxn>
                  <a:cxn ang="0">
                    <a:pos x="T8" y="T9"/>
                  </a:cxn>
                  <a:cxn ang="0">
                    <a:pos x="T10" y="T11"/>
                  </a:cxn>
                  <a:cxn ang="0">
                    <a:pos x="T12" y="T13"/>
                  </a:cxn>
                </a:cxnLst>
                <a:rect l="0" t="0" r="r" b="b"/>
                <a:pathLst>
                  <a:path w="343" h="168">
                    <a:moveTo>
                      <a:pt x="249" y="0"/>
                    </a:moveTo>
                    <a:cubicBezTo>
                      <a:pt x="95" y="0"/>
                      <a:pt x="95" y="0"/>
                      <a:pt x="95" y="0"/>
                    </a:cubicBezTo>
                    <a:cubicBezTo>
                      <a:pt x="28" y="122"/>
                      <a:pt x="28" y="122"/>
                      <a:pt x="28" y="122"/>
                    </a:cubicBezTo>
                    <a:cubicBezTo>
                      <a:pt x="28" y="122"/>
                      <a:pt x="0" y="168"/>
                      <a:pt x="74" y="168"/>
                    </a:cubicBezTo>
                    <a:cubicBezTo>
                      <a:pt x="270" y="168"/>
                      <a:pt x="270" y="168"/>
                      <a:pt x="270" y="168"/>
                    </a:cubicBezTo>
                    <a:cubicBezTo>
                      <a:pt x="343" y="168"/>
                      <a:pt x="316" y="122"/>
                      <a:pt x="316" y="122"/>
                    </a:cubicBezTo>
                    <a:lnTo>
                      <a:pt x="249" y="0"/>
                    </a:lnTo>
                    <a:close/>
                  </a:path>
                </a:pathLst>
              </a:cu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5" name="Oval 155">
                <a:extLst>
                  <a:ext uri="{FF2B5EF4-FFF2-40B4-BE49-F238E27FC236}">
                    <a16:creationId xmlns:a16="http://schemas.microsoft.com/office/drawing/2014/main" id="{4ACB2DF3-2C62-499E-8F73-18BC78ED29E9}"/>
                  </a:ext>
                </a:extLst>
              </p:cNvPr>
              <p:cNvSpPr>
                <a:spLocks noChangeArrowheads="1"/>
              </p:cNvSpPr>
              <p:nvPr/>
            </p:nvSpPr>
            <p:spPr bwMode="auto">
              <a:xfrm>
                <a:off x="6770688" y="884238"/>
                <a:ext cx="438150" cy="63500"/>
              </a:xfrm>
              <a:prstGeom prst="ellipse">
                <a:avLst/>
              </a:prstGeom>
              <a:solidFill>
                <a:srgbClr val="FFDE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6" name="Oval 156">
                <a:extLst>
                  <a:ext uri="{FF2B5EF4-FFF2-40B4-BE49-F238E27FC236}">
                    <a16:creationId xmlns:a16="http://schemas.microsoft.com/office/drawing/2014/main" id="{57AB2422-3988-499D-A58E-9526856D864E}"/>
                  </a:ext>
                </a:extLst>
              </p:cNvPr>
              <p:cNvSpPr>
                <a:spLocks noChangeArrowheads="1"/>
              </p:cNvSpPr>
              <p:nvPr/>
            </p:nvSpPr>
            <p:spPr bwMode="auto">
              <a:xfrm>
                <a:off x="6802438" y="895350"/>
                <a:ext cx="371475" cy="38100"/>
              </a:xfrm>
              <a:prstGeom prst="ellipse">
                <a:avLst/>
              </a:prstGeom>
              <a:solidFill>
                <a:srgbClr val="FFE5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7" name="Oval 157">
                <a:extLst>
                  <a:ext uri="{FF2B5EF4-FFF2-40B4-BE49-F238E27FC236}">
                    <a16:creationId xmlns:a16="http://schemas.microsoft.com/office/drawing/2014/main" id="{8B303106-849A-45B1-9ED3-49899BE9F2CA}"/>
                  </a:ext>
                </a:extLst>
              </p:cNvPr>
              <p:cNvSpPr>
                <a:spLocks noChangeArrowheads="1"/>
              </p:cNvSpPr>
              <p:nvPr/>
            </p:nvSpPr>
            <p:spPr bwMode="auto">
              <a:xfrm>
                <a:off x="6756400" y="1239838"/>
                <a:ext cx="119063" cy="117475"/>
              </a:xfrm>
              <a:prstGeom prst="ellipse">
                <a:avLst/>
              </a:prstGeom>
              <a:solidFill>
                <a:srgbClr val="FFDE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8" name="Oval 158">
                <a:extLst>
                  <a:ext uri="{FF2B5EF4-FFF2-40B4-BE49-F238E27FC236}">
                    <a16:creationId xmlns:a16="http://schemas.microsoft.com/office/drawing/2014/main" id="{4EC351F0-5C9C-4650-995E-CB04EEF72207}"/>
                  </a:ext>
                </a:extLst>
              </p:cNvPr>
              <p:cNvSpPr>
                <a:spLocks noChangeArrowheads="1"/>
              </p:cNvSpPr>
              <p:nvPr/>
            </p:nvSpPr>
            <p:spPr bwMode="auto">
              <a:xfrm>
                <a:off x="7115175" y="1225550"/>
                <a:ext cx="119063" cy="120650"/>
              </a:xfrm>
              <a:prstGeom prst="ellipse">
                <a:avLst/>
              </a:prstGeom>
              <a:solidFill>
                <a:srgbClr val="FFDE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9" name="Oval 159">
                <a:extLst>
                  <a:ext uri="{FF2B5EF4-FFF2-40B4-BE49-F238E27FC236}">
                    <a16:creationId xmlns:a16="http://schemas.microsoft.com/office/drawing/2014/main" id="{E7D21691-46C0-49D0-AC71-53870AB9C944}"/>
                  </a:ext>
                </a:extLst>
              </p:cNvPr>
              <p:cNvSpPr>
                <a:spLocks noChangeArrowheads="1"/>
              </p:cNvSpPr>
              <p:nvPr/>
            </p:nvSpPr>
            <p:spPr bwMode="auto">
              <a:xfrm>
                <a:off x="6989763" y="1095375"/>
                <a:ext cx="115888" cy="119063"/>
              </a:xfrm>
              <a:prstGeom prst="ellipse">
                <a:avLst/>
              </a:prstGeom>
              <a:solidFill>
                <a:srgbClr val="FFDE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0" name="Oval 160">
                <a:extLst>
                  <a:ext uri="{FF2B5EF4-FFF2-40B4-BE49-F238E27FC236}">
                    <a16:creationId xmlns:a16="http://schemas.microsoft.com/office/drawing/2014/main" id="{124CFE5F-D336-40F8-97EE-1492A3C8DBCE}"/>
                  </a:ext>
                </a:extLst>
              </p:cNvPr>
              <p:cNvSpPr>
                <a:spLocks noChangeArrowheads="1"/>
              </p:cNvSpPr>
              <p:nvPr/>
            </p:nvSpPr>
            <p:spPr bwMode="auto">
              <a:xfrm>
                <a:off x="6864350" y="1141413"/>
                <a:ext cx="68263" cy="65088"/>
              </a:xfrm>
              <a:prstGeom prst="ellipse">
                <a:avLst/>
              </a:prstGeom>
              <a:solidFill>
                <a:srgbClr val="FFDE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1" name="Oval 161">
                <a:extLst>
                  <a:ext uri="{FF2B5EF4-FFF2-40B4-BE49-F238E27FC236}">
                    <a16:creationId xmlns:a16="http://schemas.microsoft.com/office/drawing/2014/main" id="{24600A51-5383-4D28-9483-26ED22915162}"/>
                  </a:ext>
                </a:extLst>
              </p:cNvPr>
              <p:cNvSpPr>
                <a:spLocks noChangeArrowheads="1"/>
              </p:cNvSpPr>
              <p:nvPr/>
            </p:nvSpPr>
            <p:spPr bwMode="auto">
              <a:xfrm>
                <a:off x="7158038" y="1069975"/>
                <a:ext cx="65088" cy="68263"/>
              </a:xfrm>
              <a:prstGeom prst="ellipse">
                <a:avLst/>
              </a:prstGeom>
              <a:solidFill>
                <a:srgbClr val="FFDE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2" name="Oval 162">
                <a:extLst>
                  <a:ext uri="{FF2B5EF4-FFF2-40B4-BE49-F238E27FC236}">
                    <a16:creationId xmlns:a16="http://schemas.microsoft.com/office/drawing/2014/main" id="{8DD83FE3-C262-4E96-83BA-B3C8E4285C20}"/>
                  </a:ext>
                </a:extLst>
              </p:cNvPr>
              <p:cNvSpPr>
                <a:spLocks noChangeArrowheads="1"/>
              </p:cNvSpPr>
              <p:nvPr/>
            </p:nvSpPr>
            <p:spPr bwMode="auto">
              <a:xfrm>
                <a:off x="6781800" y="1031875"/>
                <a:ext cx="47625" cy="49213"/>
              </a:xfrm>
              <a:prstGeom prst="ellipse">
                <a:avLst/>
              </a:prstGeom>
              <a:solidFill>
                <a:srgbClr val="FFDE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3" name="Oval 163">
                <a:extLst>
                  <a:ext uri="{FF2B5EF4-FFF2-40B4-BE49-F238E27FC236}">
                    <a16:creationId xmlns:a16="http://schemas.microsoft.com/office/drawing/2014/main" id="{A4E09DED-C477-4032-9C08-7DDD6022EB17}"/>
                  </a:ext>
                </a:extLst>
              </p:cNvPr>
              <p:cNvSpPr>
                <a:spLocks noChangeArrowheads="1"/>
              </p:cNvSpPr>
              <p:nvPr/>
            </p:nvSpPr>
            <p:spPr bwMode="auto">
              <a:xfrm>
                <a:off x="7065963" y="984250"/>
                <a:ext cx="49213" cy="50800"/>
              </a:xfrm>
              <a:prstGeom prst="ellipse">
                <a:avLst/>
              </a:prstGeom>
              <a:solidFill>
                <a:srgbClr val="FFDE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4" name="Oval 164">
                <a:extLst>
                  <a:ext uri="{FF2B5EF4-FFF2-40B4-BE49-F238E27FC236}">
                    <a16:creationId xmlns:a16="http://schemas.microsoft.com/office/drawing/2014/main" id="{376E05F6-B60D-460E-AEE1-034F8821EA75}"/>
                  </a:ext>
                </a:extLst>
              </p:cNvPr>
              <p:cNvSpPr>
                <a:spLocks noChangeArrowheads="1"/>
              </p:cNvSpPr>
              <p:nvPr/>
            </p:nvSpPr>
            <p:spPr bwMode="auto">
              <a:xfrm>
                <a:off x="6810375" y="334963"/>
                <a:ext cx="355600" cy="53975"/>
              </a:xfrm>
              <a:prstGeom prst="ellipse">
                <a:avLst/>
              </a:prstGeom>
              <a:solidFill>
                <a:srgbClr val="BAD5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5" name="Oval 165">
                <a:extLst>
                  <a:ext uri="{FF2B5EF4-FFF2-40B4-BE49-F238E27FC236}">
                    <a16:creationId xmlns:a16="http://schemas.microsoft.com/office/drawing/2014/main" id="{64F758EE-2E95-4BF1-9DDE-46DF242DECDF}"/>
                  </a:ext>
                </a:extLst>
              </p:cNvPr>
              <p:cNvSpPr>
                <a:spLocks noChangeArrowheads="1"/>
              </p:cNvSpPr>
              <p:nvPr/>
            </p:nvSpPr>
            <p:spPr bwMode="auto">
              <a:xfrm>
                <a:off x="6850063" y="341313"/>
                <a:ext cx="279400" cy="36513"/>
              </a:xfrm>
              <a:prstGeom prst="ellipse">
                <a:avLst/>
              </a:prstGeom>
              <a:solidFill>
                <a:srgbClr val="A3C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6" name="Freeform 166">
                <a:extLst>
                  <a:ext uri="{FF2B5EF4-FFF2-40B4-BE49-F238E27FC236}">
                    <a16:creationId xmlns:a16="http://schemas.microsoft.com/office/drawing/2014/main" id="{27C18346-8291-4C0B-897B-BEE19ED4AE37}"/>
                  </a:ext>
                </a:extLst>
              </p:cNvPr>
              <p:cNvSpPr>
                <a:spLocks/>
              </p:cNvSpPr>
              <p:nvPr/>
            </p:nvSpPr>
            <p:spPr bwMode="auto">
              <a:xfrm>
                <a:off x="7069138" y="531813"/>
                <a:ext cx="557213" cy="868363"/>
              </a:xfrm>
              <a:custGeom>
                <a:avLst/>
                <a:gdLst>
                  <a:gd name="T0" fmla="*/ 125 w 196"/>
                  <a:gd name="T1" fmla="*/ 113 h 305"/>
                  <a:gd name="T2" fmla="*/ 125 w 196"/>
                  <a:gd name="T3" fmla="*/ 24 h 305"/>
                  <a:gd name="T4" fmla="*/ 141 w 196"/>
                  <a:gd name="T5" fmla="*/ 15 h 305"/>
                  <a:gd name="T6" fmla="*/ 143 w 196"/>
                  <a:gd name="T7" fmla="*/ 0 h 305"/>
                  <a:gd name="T8" fmla="*/ 53 w 196"/>
                  <a:gd name="T9" fmla="*/ 0 h 305"/>
                  <a:gd name="T10" fmla="*/ 55 w 196"/>
                  <a:gd name="T11" fmla="*/ 15 h 305"/>
                  <a:gd name="T12" fmla="*/ 71 w 196"/>
                  <a:gd name="T13" fmla="*/ 24 h 305"/>
                  <a:gd name="T14" fmla="*/ 71 w 196"/>
                  <a:gd name="T15" fmla="*/ 113 h 305"/>
                  <a:gd name="T16" fmla="*/ 0 w 196"/>
                  <a:gd name="T17" fmla="*/ 207 h 305"/>
                  <a:gd name="T18" fmla="*/ 98 w 196"/>
                  <a:gd name="T19" fmla="*/ 305 h 305"/>
                  <a:gd name="T20" fmla="*/ 196 w 196"/>
                  <a:gd name="T21" fmla="*/ 207 h 305"/>
                  <a:gd name="T22" fmla="*/ 125 w 196"/>
                  <a:gd name="T23" fmla="*/ 11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305">
                    <a:moveTo>
                      <a:pt x="125" y="113"/>
                    </a:moveTo>
                    <a:cubicBezTo>
                      <a:pt x="125" y="24"/>
                      <a:pt x="125" y="24"/>
                      <a:pt x="125" y="24"/>
                    </a:cubicBezTo>
                    <a:cubicBezTo>
                      <a:pt x="126" y="16"/>
                      <a:pt x="136" y="19"/>
                      <a:pt x="141" y="15"/>
                    </a:cubicBezTo>
                    <a:cubicBezTo>
                      <a:pt x="143" y="10"/>
                      <a:pt x="143" y="0"/>
                      <a:pt x="143" y="0"/>
                    </a:cubicBezTo>
                    <a:cubicBezTo>
                      <a:pt x="53" y="0"/>
                      <a:pt x="53" y="0"/>
                      <a:pt x="53" y="0"/>
                    </a:cubicBezTo>
                    <a:cubicBezTo>
                      <a:pt x="53" y="0"/>
                      <a:pt x="53" y="10"/>
                      <a:pt x="55" y="15"/>
                    </a:cubicBezTo>
                    <a:cubicBezTo>
                      <a:pt x="60" y="19"/>
                      <a:pt x="70" y="16"/>
                      <a:pt x="71" y="24"/>
                    </a:cubicBezTo>
                    <a:cubicBezTo>
                      <a:pt x="71" y="113"/>
                      <a:pt x="71" y="113"/>
                      <a:pt x="71" y="113"/>
                    </a:cubicBezTo>
                    <a:cubicBezTo>
                      <a:pt x="30" y="125"/>
                      <a:pt x="0" y="163"/>
                      <a:pt x="0" y="207"/>
                    </a:cubicBezTo>
                    <a:cubicBezTo>
                      <a:pt x="0" y="261"/>
                      <a:pt x="44" y="305"/>
                      <a:pt x="98" y="305"/>
                    </a:cubicBezTo>
                    <a:cubicBezTo>
                      <a:pt x="152" y="305"/>
                      <a:pt x="196" y="261"/>
                      <a:pt x="196" y="207"/>
                    </a:cubicBezTo>
                    <a:cubicBezTo>
                      <a:pt x="196" y="163"/>
                      <a:pt x="166" y="125"/>
                      <a:pt x="125" y="113"/>
                    </a:cubicBezTo>
                    <a:close/>
                  </a:path>
                </a:pathLst>
              </a:custGeom>
              <a:solidFill>
                <a:srgbClr val="A3C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7" name="Freeform 167">
                <a:extLst>
                  <a:ext uri="{FF2B5EF4-FFF2-40B4-BE49-F238E27FC236}">
                    <a16:creationId xmlns:a16="http://schemas.microsoft.com/office/drawing/2014/main" id="{F367617F-1F2E-4262-9800-8092A4425573}"/>
                  </a:ext>
                </a:extLst>
              </p:cNvPr>
              <p:cNvSpPr>
                <a:spLocks/>
              </p:cNvSpPr>
              <p:nvPr/>
            </p:nvSpPr>
            <p:spPr bwMode="auto">
              <a:xfrm>
                <a:off x="7069138" y="1027113"/>
                <a:ext cx="557213" cy="373063"/>
              </a:xfrm>
              <a:custGeom>
                <a:avLst/>
                <a:gdLst>
                  <a:gd name="T0" fmla="*/ 6 w 196"/>
                  <a:gd name="T1" fmla="*/ 0 h 131"/>
                  <a:gd name="T2" fmla="*/ 0 w 196"/>
                  <a:gd name="T3" fmla="*/ 33 h 131"/>
                  <a:gd name="T4" fmla="*/ 98 w 196"/>
                  <a:gd name="T5" fmla="*/ 131 h 131"/>
                  <a:gd name="T6" fmla="*/ 196 w 196"/>
                  <a:gd name="T7" fmla="*/ 33 h 131"/>
                  <a:gd name="T8" fmla="*/ 190 w 196"/>
                  <a:gd name="T9" fmla="*/ 0 h 131"/>
                  <a:gd name="T10" fmla="*/ 6 w 196"/>
                  <a:gd name="T11" fmla="*/ 0 h 131"/>
                </a:gdLst>
                <a:ahLst/>
                <a:cxnLst>
                  <a:cxn ang="0">
                    <a:pos x="T0" y="T1"/>
                  </a:cxn>
                  <a:cxn ang="0">
                    <a:pos x="T2" y="T3"/>
                  </a:cxn>
                  <a:cxn ang="0">
                    <a:pos x="T4" y="T5"/>
                  </a:cxn>
                  <a:cxn ang="0">
                    <a:pos x="T6" y="T7"/>
                  </a:cxn>
                  <a:cxn ang="0">
                    <a:pos x="T8" y="T9"/>
                  </a:cxn>
                  <a:cxn ang="0">
                    <a:pos x="T10" y="T11"/>
                  </a:cxn>
                </a:cxnLst>
                <a:rect l="0" t="0" r="r" b="b"/>
                <a:pathLst>
                  <a:path w="196" h="131">
                    <a:moveTo>
                      <a:pt x="6" y="0"/>
                    </a:moveTo>
                    <a:cubicBezTo>
                      <a:pt x="2" y="10"/>
                      <a:pt x="0" y="21"/>
                      <a:pt x="0" y="33"/>
                    </a:cubicBezTo>
                    <a:cubicBezTo>
                      <a:pt x="0" y="87"/>
                      <a:pt x="44" y="131"/>
                      <a:pt x="98" y="131"/>
                    </a:cubicBezTo>
                    <a:cubicBezTo>
                      <a:pt x="152" y="131"/>
                      <a:pt x="196" y="87"/>
                      <a:pt x="196" y="33"/>
                    </a:cubicBezTo>
                    <a:cubicBezTo>
                      <a:pt x="196" y="21"/>
                      <a:pt x="194" y="10"/>
                      <a:pt x="190" y="0"/>
                    </a:cubicBezTo>
                    <a:lnTo>
                      <a:pt x="6" y="0"/>
                    </a:lnTo>
                    <a:close/>
                  </a:path>
                </a:pathLst>
              </a:custGeom>
              <a:solidFill>
                <a:srgbClr val="89B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8" name="Oval 168">
                <a:extLst>
                  <a:ext uri="{FF2B5EF4-FFF2-40B4-BE49-F238E27FC236}">
                    <a16:creationId xmlns:a16="http://schemas.microsoft.com/office/drawing/2014/main" id="{732C9152-2CD4-4601-99D5-268752DAE2CA}"/>
                  </a:ext>
                </a:extLst>
              </p:cNvPr>
              <p:cNvSpPr>
                <a:spLocks noChangeArrowheads="1"/>
              </p:cNvSpPr>
              <p:nvPr/>
            </p:nvSpPr>
            <p:spPr bwMode="auto">
              <a:xfrm>
                <a:off x="7086600" y="990600"/>
                <a:ext cx="523875" cy="73025"/>
              </a:xfrm>
              <a:prstGeom prst="ellipse">
                <a:avLst/>
              </a:prstGeom>
              <a:solidFill>
                <a:srgbClr val="9EDB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9" name="Oval 169">
                <a:extLst>
                  <a:ext uri="{FF2B5EF4-FFF2-40B4-BE49-F238E27FC236}">
                    <a16:creationId xmlns:a16="http://schemas.microsoft.com/office/drawing/2014/main" id="{9660E0D4-F0C0-45A4-82B3-FBE8F8294A50}"/>
                  </a:ext>
                </a:extLst>
              </p:cNvPr>
              <p:cNvSpPr>
                <a:spLocks noChangeArrowheads="1"/>
              </p:cNvSpPr>
              <p:nvPr/>
            </p:nvSpPr>
            <p:spPr bwMode="auto">
              <a:xfrm>
                <a:off x="7129463" y="1004888"/>
                <a:ext cx="438150" cy="44450"/>
              </a:xfrm>
              <a:prstGeom prst="ellipse">
                <a:avLst/>
              </a:prstGeom>
              <a:solidFill>
                <a:srgbClr val="B8FA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0" name="Oval 170">
                <a:extLst>
                  <a:ext uri="{FF2B5EF4-FFF2-40B4-BE49-F238E27FC236}">
                    <a16:creationId xmlns:a16="http://schemas.microsoft.com/office/drawing/2014/main" id="{D6FEBABC-050B-4EB7-B8C9-7F5F60C92444}"/>
                  </a:ext>
                </a:extLst>
              </p:cNvPr>
              <p:cNvSpPr>
                <a:spLocks noChangeArrowheads="1"/>
              </p:cNvSpPr>
              <p:nvPr/>
            </p:nvSpPr>
            <p:spPr bwMode="auto">
              <a:xfrm>
                <a:off x="7439025" y="1103313"/>
                <a:ext cx="107950" cy="109538"/>
              </a:xfrm>
              <a:prstGeom prst="ellipse">
                <a:avLst/>
              </a:prstGeom>
              <a:solidFill>
                <a:srgbClr val="9EDB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1" name="Oval 171">
                <a:extLst>
                  <a:ext uri="{FF2B5EF4-FFF2-40B4-BE49-F238E27FC236}">
                    <a16:creationId xmlns:a16="http://schemas.microsoft.com/office/drawing/2014/main" id="{F30F5858-119B-4A51-9C2B-BA93DB1D0D21}"/>
                  </a:ext>
                </a:extLst>
              </p:cNvPr>
              <p:cNvSpPr>
                <a:spLocks noChangeArrowheads="1"/>
              </p:cNvSpPr>
              <p:nvPr/>
            </p:nvSpPr>
            <p:spPr bwMode="auto">
              <a:xfrm>
                <a:off x="7165975" y="1195388"/>
                <a:ext cx="107950" cy="107950"/>
              </a:xfrm>
              <a:prstGeom prst="ellipse">
                <a:avLst/>
              </a:prstGeom>
              <a:solidFill>
                <a:srgbClr val="9EDB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2" name="Oval 172">
                <a:extLst>
                  <a:ext uri="{FF2B5EF4-FFF2-40B4-BE49-F238E27FC236}">
                    <a16:creationId xmlns:a16="http://schemas.microsoft.com/office/drawing/2014/main" id="{C43768B6-2E0D-407E-9449-CBAEB13BD785}"/>
                  </a:ext>
                </a:extLst>
              </p:cNvPr>
              <p:cNvSpPr>
                <a:spLocks noChangeArrowheads="1"/>
              </p:cNvSpPr>
              <p:nvPr/>
            </p:nvSpPr>
            <p:spPr bwMode="auto">
              <a:xfrm>
                <a:off x="7351713" y="1296988"/>
                <a:ext cx="61913" cy="60325"/>
              </a:xfrm>
              <a:prstGeom prst="ellipse">
                <a:avLst/>
              </a:prstGeom>
              <a:solidFill>
                <a:srgbClr val="9EDB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3" name="Oval 173">
                <a:extLst>
                  <a:ext uri="{FF2B5EF4-FFF2-40B4-BE49-F238E27FC236}">
                    <a16:creationId xmlns:a16="http://schemas.microsoft.com/office/drawing/2014/main" id="{4B40583E-E2F1-43E9-9CE8-3C77FECD03C9}"/>
                  </a:ext>
                </a:extLst>
              </p:cNvPr>
              <p:cNvSpPr>
                <a:spLocks noChangeArrowheads="1"/>
              </p:cNvSpPr>
              <p:nvPr/>
            </p:nvSpPr>
            <p:spPr bwMode="auto">
              <a:xfrm>
                <a:off x="7132638" y="1103313"/>
                <a:ext cx="41275" cy="46038"/>
              </a:xfrm>
              <a:prstGeom prst="ellipse">
                <a:avLst/>
              </a:prstGeom>
              <a:solidFill>
                <a:srgbClr val="9EDB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4" name="Oval 174">
                <a:extLst>
                  <a:ext uri="{FF2B5EF4-FFF2-40B4-BE49-F238E27FC236}">
                    <a16:creationId xmlns:a16="http://schemas.microsoft.com/office/drawing/2014/main" id="{ECC96170-4A73-4C90-BC62-1C1476BD831A}"/>
                  </a:ext>
                </a:extLst>
              </p:cNvPr>
              <p:cNvSpPr>
                <a:spLocks noChangeArrowheads="1"/>
              </p:cNvSpPr>
              <p:nvPr/>
            </p:nvSpPr>
            <p:spPr bwMode="auto">
              <a:xfrm>
                <a:off x="7219950" y="506413"/>
                <a:ext cx="255588" cy="47625"/>
              </a:xfrm>
              <a:prstGeom prst="ellipse">
                <a:avLst/>
              </a:prstGeom>
              <a:solidFill>
                <a:srgbClr val="BAD5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5" name="Oval 175">
                <a:extLst>
                  <a:ext uri="{FF2B5EF4-FFF2-40B4-BE49-F238E27FC236}">
                    <a16:creationId xmlns:a16="http://schemas.microsoft.com/office/drawing/2014/main" id="{361E4A72-5D6B-48FB-A77A-9BEE0FCC041C}"/>
                  </a:ext>
                </a:extLst>
              </p:cNvPr>
              <p:cNvSpPr>
                <a:spLocks noChangeArrowheads="1"/>
              </p:cNvSpPr>
              <p:nvPr/>
            </p:nvSpPr>
            <p:spPr bwMode="auto">
              <a:xfrm>
                <a:off x="7251700" y="511175"/>
                <a:ext cx="198438" cy="34925"/>
              </a:xfrm>
              <a:prstGeom prst="ellipse">
                <a:avLst/>
              </a:prstGeom>
              <a:solidFill>
                <a:srgbClr val="A3C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5" name="组合 14">
              <a:extLst>
                <a:ext uri="{FF2B5EF4-FFF2-40B4-BE49-F238E27FC236}">
                  <a16:creationId xmlns:a16="http://schemas.microsoft.com/office/drawing/2014/main" id="{90C59F74-240D-4A03-BE22-E6650BC3CC6F}"/>
                </a:ext>
              </a:extLst>
            </p:cNvPr>
            <p:cNvGrpSpPr/>
            <p:nvPr/>
          </p:nvGrpSpPr>
          <p:grpSpPr>
            <a:xfrm>
              <a:off x="8397329" y="2589471"/>
              <a:ext cx="888420" cy="887512"/>
              <a:chOff x="4422775" y="123825"/>
              <a:chExt cx="1554163" cy="1552575"/>
            </a:xfrm>
          </p:grpSpPr>
          <p:sp>
            <p:nvSpPr>
              <p:cNvPr id="370" name="Oval 176">
                <a:extLst>
                  <a:ext uri="{FF2B5EF4-FFF2-40B4-BE49-F238E27FC236}">
                    <a16:creationId xmlns:a16="http://schemas.microsoft.com/office/drawing/2014/main" id="{60829EE3-5A19-4BA1-9DED-CABEF12FC6AB}"/>
                  </a:ext>
                </a:extLst>
              </p:cNvPr>
              <p:cNvSpPr>
                <a:spLocks noChangeArrowheads="1"/>
              </p:cNvSpPr>
              <p:nvPr/>
            </p:nvSpPr>
            <p:spPr bwMode="auto">
              <a:xfrm>
                <a:off x="4422775" y="123825"/>
                <a:ext cx="1554163" cy="1552575"/>
              </a:xfrm>
              <a:prstGeom prst="ellipse">
                <a:avLst/>
              </a:prstGeom>
              <a:solidFill>
                <a:srgbClr val="89B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1" name="Freeform 177">
                <a:extLst>
                  <a:ext uri="{FF2B5EF4-FFF2-40B4-BE49-F238E27FC236}">
                    <a16:creationId xmlns:a16="http://schemas.microsoft.com/office/drawing/2014/main" id="{AF24B0AE-72A8-430F-AD04-7933BF22785C}"/>
                  </a:ext>
                </a:extLst>
              </p:cNvPr>
              <p:cNvSpPr>
                <a:spLocks noEditPoints="1"/>
              </p:cNvSpPr>
              <p:nvPr/>
            </p:nvSpPr>
            <p:spPr bwMode="auto">
              <a:xfrm>
                <a:off x="4932363" y="300038"/>
                <a:ext cx="538163" cy="1200150"/>
              </a:xfrm>
              <a:custGeom>
                <a:avLst/>
                <a:gdLst>
                  <a:gd name="T0" fmla="*/ 94 w 189"/>
                  <a:gd name="T1" fmla="*/ 421 h 421"/>
                  <a:gd name="T2" fmla="*/ 0 w 189"/>
                  <a:gd name="T3" fmla="*/ 211 h 421"/>
                  <a:gd name="T4" fmla="*/ 94 w 189"/>
                  <a:gd name="T5" fmla="*/ 0 h 421"/>
                  <a:gd name="T6" fmla="*/ 189 w 189"/>
                  <a:gd name="T7" fmla="*/ 211 h 421"/>
                  <a:gd name="T8" fmla="*/ 94 w 189"/>
                  <a:gd name="T9" fmla="*/ 421 h 421"/>
                  <a:gd name="T10" fmla="*/ 95 w 189"/>
                  <a:gd name="T11" fmla="*/ 19 h 421"/>
                  <a:gd name="T12" fmla="*/ 10 w 189"/>
                  <a:gd name="T13" fmla="*/ 211 h 421"/>
                  <a:gd name="T14" fmla="*/ 94 w 189"/>
                  <a:gd name="T15" fmla="*/ 404 h 421"/>
                  <a:gd name="T16" fmla="*/ 178 w 189"/>
                  <a:gd name="T17" fmla="*/ 211 h 421"/>
                  <a:gd name="T18" fmla="*/ 95 w 189"/>
                  <a:gd name="T19" fmla="*/ 1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9" h="421">
                    <a:moveTo>
                      <a:pt x="94" y="421"/>
                    </a:moveTo>
                    <a:cubicBezTo>
                      <a:pt x="41" y="421"/>
                      <a:pt x="0" y="328"/>
                      <a:pt x="0" y="211"/>
                    </a:cubicBezTo>
                    <a:cubicBezTo>
                      <a:pt x="0" y="93"/>
                      <a:pt x="41" y="0"/>
                      <a:pt x="94" y="0"/>
                    </a:cubicBezTo>
                    <a:cubicBezTo>
                      <a:pt x="147" y="0"/>
                      <a:pt x="189" y="93"/>
                      <a:pt x="189" y="211"/>
                    </a:cubicBezTo>
                    <a:cubicBezTo>
                      <a:pt x="189" y="328"/>
                      <a:pt x="147" y="421"/>
                      <a:pt x="94" y="421"/>
                    </a:cubicBezTo>
                    <a:moveTo>
                      <a:pt x="95" y="19"/>
                    </a:moveTo>
                    <a:cubicBezTo>
                      <a:pt x="49" y="19"/>
                      <a:pt x="10" y="102"/>
                      <a:pt x="10" y="211"/>
                    </a:cubicBezTo>
                    <a:cubicBezTo>
                      <a:pt x="10" y="319"/>
                      <a:pt x="48" y="404"/>
                      <a:pt x="94" y="404"/>
                    </a:cubicBezTo>
                    <a:cubicBezTo>
                      <a:pt x="140" y="404"/>
                      <a:pt x="178" y="319"/>
                      <a:pt x="178" y="211"/>
                    </a:cubicBezTo>
                    <a:cubicBezTo>
                      <a:pt x="178" y="102"/>
                      <a:pt x="141" y="19"/>
                      <a:pt x="95" y="19"/>
                    </a:cubicBezTo>
                  </a:path>
                </a:pathLst>
              </a:custGeom>
              <a:solidFill>
                <a:srgbClr val="094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2" name="Freeform 178">
                <a:extLst>
                  <a:ext uri="{FF2B5EF4-FFF2-40B4-BE49-F238E27FC236}">
                    <a16:creationId xmlns:a16="http://schemas.microsoft.com/office/drawing/2014/main" id="{E8AE9726-1E54-4BD9-B319-232B8CE7020E}"/>
                  </a:ext>
                </a:extLst>
              </p:cNvPr>
              <p:cNvSpPr>
                <a:spLocks noEditPoints="1"/>
              </p:cNvSpPr>
              <p:nvPr/>
            </p:nvSpPr>
            <p:spPr bwMode="auto">
              <a:xfrm>
                <a:off x="4606925" y="520700"/>
                <a:ext cx="1147763" cy="760413"/>
              </a:xfrm>
              <a:custGeom>
                <a:avLst/>
                <a:gdLst>
                  <a:gd name="T0" fmla="*/ 323 w 403"/>
                  <a:gd name="T1" fmla="*/ 267 h 267"/>
                  <a:gd name="T2" fmla="*/ 161 w 403"/>
                  <a:gd name="T3" fmla="*/ 215 h 267"/>
                  <a:gd name="T4" fmla="*/ 26 w 403"/>
                  <a:gd name="T5" fmla="*/ 28 h 267"/>
                  <a:gd name="T6" fmla="*/ 93 w 403"/>
                  <a:gd name="T7" fmla="*/ 0 h 267"/>
                  <a:gd name="T8" fmla="*/ 255 w 403"/>
                  <a:gd name="T9" fmla="*/ 52 h 267"/>
                  <a:gd name="T10" fmla="*/ 370 w 403"/>
                  <a:gd name="T11" fmla="*/ 148 h 267"/>
                  <a:gd name="T12" fmla="*/ 390 w 403"/>
                  <a:gd name="T13" fmla="*/ 239 h 267"/>
                  <a:gd name="T14" fmla="*/ 323 w 403"/>
                  <a:gd name="T15" fmla="*/ 267 h 267"/>
                  <a:gd name="T16" fmla="*/ 93 w 403"/>
                  <a:gd name="T17" fmla="*/ 10 h 267"/>
                  <a:gd name="T18" fmla="*/ 43 w 403"/>
                  <a:gd name="T19" fmla="*/ 37 h 267"/>
                  <a:gd name="T20" fmla="*/ 166 w 403"/>
                  <a:gd name="T21" fmla="*/ 207 h 267"/>
                  <a:gd name="T22" fmla="*/ 323 w 403"/>
                  <a:gd name="T23" fmla="*/ 257 h 267"/>
                  <a:gd name="T24" fmla="*/ 373 w 403"/>
                  <a:gd name="T25" fmla="*/ 231 h 267"/>
                  <a:gd name="T26" fmla="*/ 361 w 403"/>
                  <a:gd name="T27" fmla="*/ 154 h 267"/>
                  <a:gd name="T28" fmla="*/ 250 w 403"/>
                  <a:gd name="T29" fmla="*/ 61 h 267"/>
                  <a:gd name="T30" fmla="*/ 93 w 403"/>
                  <a:gd name="T31" fmla="*/ 1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3" h="267">
                    <a:moveTo>
                      <a:pt x="323" y="267"/>
                    </a:moveTo>
                    <a:cubicBezTo>
                      <a:pt x="277" y="267"/>
                      <a:pt x="218" y="248"/>
                      <a:pt x="161" y="215"/>
                    </a:cubicBezTo>
                    <a:cubicBezTo>
                      <a:pt x="59" y="156"/>
                      <a:pt x="0" y="74"/>
                      <a:pt x="26" y="28"/>
                    </a:cubicBezTo>
                    <a:cubicBezTo>
                      <a:pt x="37" y="10"/>
                      <a:pt x="60" y="0"/>
                      <a:pt x="93" y="0"/>
                    </a:cubicBezTo>
                    <a:cubicBezTo>
                      <a:pt x="139" y="0"/>
                      <a:pt x="198" y="19"/>
                      <a:pt x="255" y="52"/>
                    </a:cubicBezTo>
                    <a:cubicBezTo>
                      <a:pt x="303" y="79"/>
                      <a:pt x="344" y="114"/>
                      <a:pt x="370" y="148"/>
                    </a:cubicBezTo>
                    <a:cubicBezTo>
                      <a:pt x="396" y="184"/>
                      <a:pt x="403" y="216"/>
                      <a:pt x="390" y="239"/>
                    </a:cubicBezTo>
                    <a:cubicBezTo>
                      <a:pt x="379" y="257"/>
                      <a:pt x="356" y="267"/>
                      <a:pt x="323" y="267"/>
                    </a:cubicBezTo>
                    <a:moveTo>
                      <a:pt x="93" y="10"/>
                    </a:moveTo>
                    <a:cubicBezTo>
                      <a:pt x="73" y="10"/>
                      <a:pt x="54" y="18"/>
                      <a:pt x="43" y="37"/>
                    </a:cubicBezTo>
                    <a:cubicBezTo>
                      <a:pt x="20" y="77"/>
                      <a:pt x="72" y="152"/>
                      <a:pt x="166" y="207"/>
                    </a:cubicBezTo>
                    <a:cubicBezTo>
                      <a:pt x="221" y="238"/>
                      <a:pt x="279" y="257"/>
                      <a:pt x="323" y="257"/>
                    </a:cubicBezTo>
                    <a:cubicBezTo>
                      <a:pt x="344" y="257"/>
                      <a:pt x="362" y="251"/>
                      <a:pt x="373" y="231"/>
                    </a:cubicBezTo>
                    <a:cubicBezTo>
                      <a:pt x="384" y="213"/>
                      <a:pt x="385" y="186"/>
                      <a:pt x="361" y="154"/>
                    </a:cubicBezTo>
                    <a:cubicBezTo>
                      <a:pt x="337" y="121"/>
                      <a:pt x="297" y="88"/>
                      <a:pt x="250" y="61"/>
                    </a:cubicBezTo>
                    <a:cubicBezTo>
                      <a:pt x="196" y="29"/>
                      <a:pt x="137" y="10"/>
                      <a:pt x="93" y="10"/>
                    </a:cubicBezTo>
                  </a:path>
                </a:pathLst>
              </a:custGeom>
              <a:solidFill>
                <a:srgbClr val="1839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3" name="Freeform 179">
                <a:extLst>
                  <a:ext uri="{FF2B5EF4-FFF2-40B4-BE49-F238E27FC236}">
                    <a16:creationId xmlns:a16="http://schemas.microsoft.com/office/drawing/2014/main" id="{B71FA795-9729-4C33-BDA6-A2A1BC9DD3B6}"/>
                  </a:ext>
                </a:extLst>
              </p:cNvPr>
              <p:cNvSpPr>
                <a:spLocks noEditPoints="1"/>
              </p:cNvSpPr>
              <p:nvPr/>
            </p:nvSpPr>
            <p:spPr bwMode="auto">
              <a:xfrm>
                <a:off x="4645025" y="520700"/>
                <a:ext cx="1149350" cy="760413"/>
              </a:xfrm>
              <a:custGeom>
                <a:avLst/>
                <a:gdLst>
                  <a:gd name="T0" fmla="*/ 80 w 404"/>
                  <a:gd name="T1" fmla="*/ 267 h 267"/>
                  <a:gd name="T2" fmla="*/ 13 w 404"/>
                  <a:gd name="T3" fmla="*/ 239 h 267"/>
                  <a:gd name="T4" fmla="*/ 34 w 404"/>
                  <a:gd name="T5" fmla="*/ 148 h 267"/>
                  <a:gd name="T6" fmla="*/ 148 w 404"/>
                  <a:gd name="T7" fmla="*/ 52 h 267"/>
                  <a:gd name="T8" fmla="*/ 310 w 404"/>
                  <a:gd name="T9" fmla="*/ 0 h 267"/>
                  <a:gd name="T10" fmla="*/ 377 w 404"/>
                  <a:gd name="T11" fmla="*/ 28 h 267"/>
                  <a:gd name="T12" fmla="*/ 242 w 404"/>
                  <a:gd name="T13" fmla="*/ 215 h 267"/>
                  <a:gd name="T14" fmla="*/ 80 w 404"/>
                  <a:gd name="T15" fmla="*/ 267 h 267"/>
                  <a:gd name="T16" fmla="*/ 310 w 404"/>
                  <a:gd name="T17" fmla="*/ 10 h 267"/>
                  <a:gd name="T18" fmla="*/ 153 w 404"/>
                  <a:gd name="T19" fmla="*/ 61 h 267"/>
                  <a:gd name="T20" fmla="*/ 42 w 404"/>
                  <a:gd name="T21" fmla="*/ 154 h 267"/>
                  <a:gd name="T22" fmla="*/ 29 w 404"/>
                  <a:gd name="T23" fmla="*/ 230 h 267"/>
                  <a:gd name="T24" fmla="*/ 80 w 404"/>
                  <a:gd name="T25" fmla="*/ 257 h 267"/>
                  <a:gd name="T26" fmla="*/ 237 w 404"/>
                  <a:gd name="T27" fmla="*/ 207 h 267"/>
                  <a:gd name="T28" fmla="*/ 364 w 404"/>
                  <a:gd name="T29" fmla="*/ 33 h 267"/>
                  <a:gd name="T30" fmla="*/ 310 w 404"/>
                  <a:gd name="T31" fmla="*/ 1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4" h="267">
                    <a:moveTo>
                      <a:pt x="80" y="267"/>
                    </a:moveTo>
                    <a:cubicBezTo>
                      <a:pt x="47" y="267"/>
                      <a:pt x="24" y="257"/>
                      <a:pt x="13" y="239"/>
                    </a:cubicBezTo>
                    <a:cubicBezTo>
                      <a:pt x="0" y="216"/>
                      <a:pt x="7" y="184"/>
                      <a:pt x="34" y="148"/>
                    </a:cubicBezTo>
                    <a:cubicBezTo>
                      <a:pt x="59" y="114"/>
                      <a:pt x="100" y="79"/>
                      <a:pt x="148" y="52"/>
                    </a:cubicBezTo>
                    <a:cubicBezTo>
                      <a:pt x="205" y="19"/>
                      <a:pt x="264" y="0"/>
                      <a:pt x="310" y="0"/>
                    </a:cubicBezTo>
                    <a:cubicBezTo>
                      <a:pt x="343" y="0"/>
                      <a:pt x="366" y="10"/>
                      <a:pt x="377" y="28"/>
                    </a:cubicBezTo>
                    <a:cubicBezTo>
                      <a:pt x="404" y="74"/>
                      <a:pt x="345" y="156"/>
                      <a:pt x="242" y="215"/>
                    </a:cubicBezTo>
                    <a:cubicBezTo>
                      <a:pt x="185" y="248"/>
                      <a:pt x="126" y="267"/>
                      <a:pt x="80" y="267"/>
                    </a:cubicBezTo>
                    <a:moveTo>
                      <a:pt x="310" y="10"/>
                    </a:moveTo>
                    <a:cubicBezTo>
                      <a:pt x="266" y="10"/>
                      <a:pt x="208" y="29"/>
                      <a:pt x="153" y="61"/>
                    </a:cubicBezTo>
                    <a:cubicBezTo>
                      <a:pt x="106" y="88"/>
                      <a:pt x="67" y="121"/>
                      <a:pt x="42" y="154"/>
                    </a:cubicBezTo>
                    <a:cubicBezTo>
                      <a:pt x="19" y="186"/>
                      <a:pt x="18" y="212"/>
                      <a:pt x="29" y="230"/>
                    </a:cubicBezTo>
                    <a:cubicBezTo>
                      <a:pt x="40" y="250"/>
                      <a:pt x="60" y="257"/>
                      <a:pt x="80" y="257"/>
                    </a:cubicBezTo>
                    <a:cubicBezTo>
                      <a:pt x="124" y="257"/>
                      <a:pt x="183" y="238"/>
                      <a:pt x="237" y="207"/>
                    </a:cubicBezTo>
                    <a:cubicBezTo>
                      <a:pt x="331" y="152"/>
                      <a:pt x="387" y="73"/>
                      <a:pt x="364" y="33"/>
                    </a:cubicBezTo>
                    <a:cubicBezTo>
                      <a:pt x="353" y="14"/>
                      <a:pt x="331" y="10"/>
                      <a:pt x="310" y="10"/>
                    </a:cubicBezTo>
                  </a:path>
                </a:pathLst>
              </a:custGeom>
              <a:solidFill>
                <a:srgbClr val="225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4" name="Oval 180">
                <a:extLst>
                  <a:ext uri="{FF2B5EF4-FFF2-40B4-BE49-F238E27FC236}">
                    <a16:creationId xmlns:a16="http://schemas.microsoft.com/office/drawing/2014/main" id="{31FFDF86-B8D0-4A4E-9061-A48A067AEC1A}"/>
                  </a:ext>
                </a:extLst>
              </p:cNvPr>
              <p:cNvSpPr>
                <a:spLocks noChangeArrowheads="1"/>
              </p:cNvSpPr>
              <p:nvPr/>
            </p:nvSpPr>
            <p:spPr bwMode="auto">
              <a:xfrm>
                <a:off x="4767263" y="460375"/>
                <a:ext cx="136525" cy="136525"/>
              </a:xfrm>
              <a:prstGeom prst="ellipse">
                <a:avLst/>
              </a:prstGeom>
              <a:solidFill>
                <a:srgbClr val="225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5" name="Oval 181">
                <a:extLst>
                  <a:ext uri="{FF2B5EF4-FFF2-40B4-BE49-F238E27FC236}">
                    <a16:creationId xmlns:a16="http://schemas.microsoft.com/office/drawing/2014/main" id="{E1CA75A5-EE7A-48C7-8BE9-D54B17B12280}"/>
                  </a:ext>
                </a:extLst>
              </p:cNvPr>
              <p:cNvSpPr>
                <a:spLocks noChangeArrowheads="1"/>
              </p:cNvSpPr>
              <p:nvPr/>
            </p:nvSpPr>
            <p:spPr bwMode="auto">
              <a:xfrm>
                <a:off x="5108575" y="808038"/>
                <a:ext cx="182563" cy="184150"/>
              </a:xfrm>
              <a:prstGeom prst="ellipse">
                <a:avLst/>
              </a:pr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6" name="Freeform 182">
                <a:extLst>
                  <a:ext uri="{FF2B5EF4-FFF2-40B4-BE49-F238E27FC236}">
                    <a16:creationId xmlns:a16="http://schemas.microsoft.com/office/drawing/2014/main" id="{980BA585-41AB-4F34-A8C3-BD6F4F8E0EC4}"/>
                  </a:ext>
                </a:extLst>
              </p:cNvPr>
              <p:cNvSpPr>
                <a:spLocks/>
              </p:cNvSpPr>
              <p:nvPr/>
            </p:nvSpPr>
            <p:spPr bwMode="auto">
              <a:xfrm>
                <a:off x="5113338" y="827088"/>
                <a:ext cx="95250" cy="100013"/>
              </a:xfrm>
              <a:custGeom>
                <a:avLst/>
                <a:gdLst>
                  <a:gd name="T0" fmla="*/ 19 w 33"/>
                  <a:gd name="T1" fmla="*/ 0 h 35"/>
                  <a:gd name="T2" fmla="*/ 4 w 33"/>
                  <a:gd name="T3" fmla="*/ 12 h 35"/>
                  <a:gd name="T4" fmla="*/ 10 w 33"/>
                  <a:gd name="T5" fmla="*/ 35 h 35"/>
                  <a:gd name="T6" fmla="*/ 14 w 33"/>
                  <a:gd name="T7" fmla="*/ 35 h 35"/>
                  <a:gd name="T8" fmla="*/ 29 w 33"/>
                  <a:gd name="T9" fmla="*/ 23 h 35"/>
                  <a:gd name="T10" fmla="*/ 23 w 33"/>
                  <a:gd name="T11" fmla="*/ 1 h 35"/>
                  <a:gd name="T12" fmla="*/ 19 w 33"/>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33" h="35">
                    <a:moveTo>
                      <a:pt x="19" y="0"/>
                    </a:moveTo>
                    <a:cubicBezTo>
                      <a:pt x="13" y="0"/>
                      <a:pt x="7" y="5"/>
                      <a:pt x="4" y="12"/>
                    </a:cubicBezTo>
                    <a:cubicBezTo>
                      <a:pt x="0" y="22"/>
                      <a:pt x="3" y="32"/>
                      <a:pt x="10" y="35"/>
                    </a:cubicBezTo>
                    <a:cubicBezTo>
                      <a:pt x="11" y="35"/>
                      <a:pt x="12" y="35"/>
                      <a:pt x="14" y="35"/>
                    </a:cubicBezTo>
                    <a:cubicBezTo>
                      <a:pt x="20" y="35"/>
                      <a:pt x="26" y="30"/>
                      <a:pt x="29" y="23"/>
                    </a:cubicBezTo>
                    <a:cubicBezTo>
                      <a:pt x="33" y="14"/>
                      <a:pt x="30" y="4"/>
                      <a:pt x="23" y="1"/>
                    </a:cubicBezTo>
                    <a:cubicBezTo>
                      <a:pt x="22" y="0"/>
                      <a:pt x="21" y="0"/>
                      <a:pt x="19" y="0"/>
                    </a:cubicBezTo>
                  </a:path>
                </a:pathLst>
              </a:custGeom>
              <a:solidFill>
                <a:srgbClr val="FC74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7" name="Oval 183">
                <a:extLst>
                  <a:ext uri="{FF2B5EF4-FFF2-40B4-BE49-F238E27FC236}">
                    <a16:creationId xmlns:a16="http://schemas.microsoft.com/office/drawing/2014/main" id="{A812E70F-FA68-42BA-A39F-CACFA51F517D}"/>
                  </a:ext>
                </a:extLst>
              </p:cNvPr>
              <p:cNvSpPr>
                <a:spLocks noChangeArrowheads="1"/>
              </p:cNvSpPr>
              <p:nvPr/>
            </p:nvSpPr>
            <p:spPr bwMode="auto">
              <a:xfrm>
                <a:off x="5270500" y="1350963"/>
                <a:ext cx="117475" cy="117475"/>
              </a:xfrm>
              <a:prstGeom prst="ellipse">
                <a:avLst/>
              </a:prstGeom>
              <a:solidFill>
                <a:srgbClr val="225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8" name="Freeform 184">
                <a:extLst>
                  <a:ext uri="{FF2B5EF4-FFF2-40B4-BE49-F238E27FC236}">
                    <a16:creationId xmlns:a16="http://schemas.microsoft.com/office/drawing/2014/main" id="{818521CA-08B3-4847-BD4B-BC617F168923}"/>
                  </a:ext>
                </a:extLst>
              </p:cNvPr>
              <p:cNvSpPr>
                <a:spLocks/>
              </p:cNvSpPr>
              <p:nvPr/>
            </p:nvSpPr>
            <p:spPr bwMode="auto">
              <a:xfrm>
                <a:off x="4778375" y="479425"/>
                <a:ext cx="60325" cy="63500"/>
              </a:xfrm>
              <a:custGeom>
                <a:avLst/>
                <a:gdLst>
                  <a:gd name="T0" fmla="*/ 11 w 21"/>
                  <a:gd name="T1" fmla="*/ 0 h 22"/>
                  <a:gd name="T2" fmla="*/ 2 w 21"/>
                  <a:gd name="T3" fmla="*/ 8 h 22"/>
                  <a:gd name="T4" fmla="*/ 7 w 21"/>
                  <a:gd name="T5" fmla="*/ 21 h 22"/>
                  <a:gd name="T6" fmla="*/ 9 w 21"/>
                  <a:gd name="T7" fmla="*/ 22 h 22"/>
                  <a:gd name="T8" fmla="*/ 19 w 21"/>
                  <a:gd name="T9" fmla="*/ 13 h 22"/>
                  <a:gd name="T10" fmla="*/ 14 w 21"/>
                  <a:gd name="T11" fmla="*/ 0 h 22"/>
                  <a:gd name="T12" fmla="*/ 11 w 21"/>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11" y="0"/>
                    </a:moveTo>
                    <a:cubicBezTo>
                      <a:pt x="7" y="0"/>
                      <a:pt x="3" y="3"/>
                      <a:pt x="2" y="8"/>
                    </a:cubicBezTo>
                    <a:cubicBezTo>
                      <a:pt x="0" y="14"/>
                      <a:pt x="2" y="20"/>
                      <a:pt x="7" y="21"/>
                    </a:cubicBezTo>
                    <a:cubicBezTo>
                      <a:pt x="8" y="22"/>
                      <a:pt x="9" y="22"/>
                      <a:pt x="9" y="22"/>
                    </a:cubicBezTo>
                    <a:cubicBezTo>
                      <a:pt x="13" y="22"/>
                      <a:pt x="18" y="18"/>
                      <a:pt x="19" y="13"/>
                    </a:cubicBezTo>
                    <a:cubicBezTo>
                      <a:pt x="21" y="7"/>
                      <a:pt x="19" y="1"/>
                      <a:pt x="14" y="0"/>
                    </a:cubicBezTo>
                    <a:cubicBezTo>
                      <a:pt x="13" y="0"/>
                      <a:pt x="12" y="0"/>
                      <a:pt x="11" y="0"/>
                    </a:cubicBezTo>
                  </a:path>
                </a:pathLst>
              </a:custGeom>
              <a:solidFill>
                <a:srgbClr val="3F96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9" name="Freeform 185">
                <a:extLst>
                  <a:ext uri="{FF2B5EF4-FFF2-40B4-BE49-F238E27FC236}">
                    <a16:creationId xmlns:a16="http://schemas.microsoft.com/office/drawing/2014/main" id="{985EF7CF-2ABF-4DC8-92D7-514EC2A23A40}"/>
                  </a:ext>
                </a:extLst>
              </p:cNvPr>
              <p:cNvSpPr>
                <a:spLocks/>
              </p:cNvSpPr>
              <p:nvPr/>
            </p:nvSpPr>
            <p:spPr bwMode="auto">
              <a:xfrm>
                <a:off x="5284788" y="1368425"/>
                <a:ext cx="60325" cy="63500"/>
              </a:xfrm>
              <a:custGeom>
                <a:avLst/>
                <a:gdLst>
                  <a:gd name="T0" fmla="*/ 11 w 21"/>
                  <a:gd name="T1" fmla="*/ 0 h 22"/>
                  <a:gd name="T2" fmla="*/ 2 w 21"/>
                  <a:gd name="T3" fmla="*/ 9 h 22"/>
                  <a:gd name="T4" fmla="*/ 7 w 21"/>
                  <a:gd name="T5" fmla="*/ 22 h 22"/>
                  <a:gd name="T6" fmla="*/ 9 w 21"/>
                  <a:gd name="T7" fmla="*/ 22 h 22"/>
                  <a:gd name="T8" fmla="*/ 19 w 21"/>
                  <a:gd name="T9" fmla="*/ 14 h 22"/>
                  <a:gd name="T10" fmla="*/ 14 w 21"/>
                  <a:gd name="T11" fmla="*/ 1 h 22"/>
                  <a:gd name="T12" fmla="*/ 11 w 21"/>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11" y="0"/>
                    </a:moveTo>
                    <a:cubicBezTo>
                      <a:pt x="7" y="0"/>
                      <a:pt x="3" y="4"/>
                      <a:pt x="2" y="9"/>
                    </a:cubicBezTo>
                    <a:cubicBezTo>
                      <a:pt x="0" y="15"/>
                      <a:pt x="2" y="21"/>
                      <a:pt x="7" y="22"/>
                    </a:cubicBezTo>
                    <a:cubicBezTo>
                      <a:pt x="8" y="22"/>
                      <a:pt x="8" y="22"/>
                      <a:pt x="9" y="22"/>
                    </a:cubicBezTo>
                    <a:cubicBezTo>
                      <a:pt x="13" y="22"/>
                      <a:pt x="17" y="19"/>
                      <a:pt x="19" y="14"/>
                    </a:cubicBezTo>
                    <a:cubicBezTo>
                      <a:pt x="21" y="8"/>
                      <a:pt x="18" y="2"/>
                      <a:pt x="14" y="1"/>
                    </a:cubicBezTo>
                    <a:cubicBezTo>
                      <a:pt x="13" y="0"/>
                      <a:pt x="12" y="0"/>
                      <a:pt x="11" y="0"/>
                    </a:cubicBezTo>
                  </a:path>
                </a:pathLst>
              </a:custGeom>
              <a:solidFill>
                <a:srgbClr val="3F96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0" name="Oval 186">
                <a:extLst>
                  <a:ext uri="{FF2B5EF4-FFF2-40B4-BE49-F238E27FC236}">
                    <a16:creationId xmlns:a16="http://schemas.microsoft.com/office/drawing/2014/main" id="{21042AA4-F69D-496A-87F2-D498F046C48A}"/>
                  </a:ext>
                </a:extLst>
              </p:cNvPr>
              <p:cNvSpPr>
                <a:spLocks noChangeArrowheads="1"/>
              </p:cNvSpPr>
              <p:nvPr/>
            </p:nvSpPr>
            <p:spPr bwMode="auto">
              <a:xfrm>
                <a:off x="5575300" y="496888"/>
                <a:ext cx="115888" cy="117475"/>
              </a:xfrm>
              <a:prstGeom prst="ellipse">
                <a:avLst/>
              </a:prstGeom>
              <a:solidFill>
                <a:srgbClr val="225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1" name="Freeform 187">
                <a:extLst>
                  <a:ext uri="{FF2B5EF4-FFF2-40B4-BE49-F238E27FC236}">
                    <a16:creationId xmlns:a16="http://schemas.microsoft.com/office/drawing/2014/main" id="{C2D239D1-7BE2-4EF8-ABE3-4B3C4FA8FE1D}"/>
                  </a:ext>
                </a:extLst>
              </p:cNvPr>
              <p:cNvSpPr>
                <a:spLocks/>
              </p:cNvSpPr>
              <p:nvPr/>
            </p:nvSpPr>
            <p:spPr bwMode="auto">
              <a:xfrm>
                <a:off x="5589588" y="517525"/>
                <a:ext cx="60325" cy="61913"/>
              </a:xfrm>
              <a:custGeom>
                <a:avLst/>
                <a:gdLst>
                  <a:gd name="T0" fmla="*/ 12 w 21"/>
                  <a:gd name="T1" fmla="*/ 0 h 22"/>
                  <a:gd name="T2" fmla="*/ 2 w 21"/>
                  <a:gd name="T3" fmla="*/ 8 h 22"/>
                  <a:gd name="T4" fmla="*/ 8 w 21"/>
                  <a:gd name="T5" fmla="*/ 21 h 22"/>
                  <a:gd name="T6" fmla="*/ 10 w 21"/>
                  <a:gd name="T7" fmla="*/ 22 h 22"/>
                  <a:gd name="T8" fmla="*/ 20 w 21"/>
                  <a:gd name="T9" fmla="*/ 13 h 22"/>
                  <a:gd name="T10" fmla="*/ 14 w 21"/>
                  <a:gd name="T11" fmla="*/ 0 h 22"/>
                  <a:gd name="T12" fmla="*/ 12 w 21"/>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12" y="0"/>
                    </a:moveTo>
                    <a:cubicBezTo>
                      <a:pt x="8" y="0"/>
                      <a:pt x="4" y="3"/>
                      <a:pt x="2" y="8"/>
                    </a:cubicBezTo>
                    <a:cubicBezTo>
                      <a:pt x="0" y="14"/>
                      <a:pt x="3" y="20"/>
                      <a:pt x="8" y="21"/>
                    </a:cubicBezTo>
                    <a:cubicBezTo>
                      <a:pt x="8" y="22"/>
                      <a:pt x="9" y="22"/>
                      <a:pt x="10" y="22"/>
                    </a:cubicBezTo>
                    <a:cubicBezTo>
                      <a:pt x="14" y="22"/>
                      <a:pt x="18" y="18"/>
                      <a:pt x="20" y="13"/>
                    </a:cubicBezTo>
                    <a:cubicBezTo>
                      <a:pt x="21" y="7"/>
                      <a:pt x="19" y="1"/>
                      <a:pt x="14" y="0"/>
                    </a:cubicBezTo>
                    <a:cubicBezTo>
                      <a:pt x="14" y="0"/>
                      <a:pt x="13" y="0"/>
                      <a:pt x="12" y="0"/>
                    </a:cubicBezTo>
                  </a:path>
                </a:pathLst>
              </a:custGeom>
              <a:solidFill>
                <a:srgbClr val="3F96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6" name="组合 15">
              <a:extLst>
                <a:ext uri="{FF2B5EF4-FFF2-40B4-BE49-F238E27FC236}">
                  <a16:creationId xmlns:a16="http://schemas.microsoft.com/office/drawing/2014/main" id="{E68AC8EB-B9AD-4BA0-8133-7159023BBAEC}"/>
                </a:ext>
              </a:extLst>
            </p:cNvPr>
            <p:cNvGrpSpPr/>
            <p:nvPr/>
          </p:nvGrpSpPr>
          <p:grpSpPr>
            <a:xfrm>
              <a:off x="10227689" y="2589471"/>
              <a:ext cx="888420" cy="887512"/>
              <a:chOff x="631825" y="1809750"/>
              <a:chExt cx="1554163" cy="1552575"/>
            </a:xfrm>
          </p:grpSpPr>
          <p:sp>
            <p:nvSpPr>
              <p:cNvPr id="357" name="Oval 188">
                <a:extLst>
                  <a:ext uri="{FF2B5EF4-FFF2-40B4-BE49-F238E27FC236}">
                    <a16:creationId xmlns:a16="http://schemas.microsoft.com/office/drawing/2014/main" id="{ED29AFBD-F28E-47FC-A983-7DF74FF670B5}"/>
                  </a:ext>
                </a:extLst>
              </p:cNvPr>
              <p:cNvSpPr>
                <a:spLocks noChangeArrowheads="1"/>
              </p:cNvSpPr>
              <p:nvPr/>
            </p:nvSpPr>
            <p:spPr bwMode="auto">
              <a:xfrm>
                <a:off x="631825" y="1809750"/>
                <a:ext cx="1554163" cy="1552575"/>
              </a:xfrm>
              <a:prstGeom prst="ellipse">
                <a:avLst/>
              </a:prstGeom>
              <a:solidFill>
                <a:srgbClr val="89B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8" name="Freeform 189">
                <a:extLst>
                  <a:ext uri="{FF2B5EF4-FFF2-40B4-BE49-F238E27FC236}">
                    <a16:creationId xmlns:a16="http://schemas.microsoft.com/office/drawing/2014/main" id="{83514B09-FAB9-4F2C-83F2-A9C3A5DBD96D}"/>
                  </a:ext>
                </a:extLst>
              </p:cNvPr>
              <p:cNvSpPr>
                <a:spLocks/>
              </p:cNvSpPr>
              <p:nvPr/>
            </p:nvSpPr>
            <p:spPr bwMode="auto">
              <a:xfrm>
                <a:off x="1285875" y="1930400"/>
                <a:ext cx="233363" cy="403225"/>
              </a:xfrm>
              <a:custGeom>
                <a:avLst/>
                <a:gdLst>
                  <a:gd name="T0" fmla="*/ 46 w 82"/>
                  <a:gd name="T1" fmla="*/ 6 h 142"/>
                  <a:gd name="T2" fmla="*/ 36 w 82"/>
                  <a:gd name="T3" fmla="*/ 1 h 142"/>
                  <a:gd name="T4" fmla="*/ 7 w 82"/>
                  <a:gd name="T5" fmla="*/ 10 h 142"/>
                  <a:gd name="T6" fmla="*/ 1 w 82"/>
                  <a:gd name="T7" fmla="*/ 19 h 142"/>
                  <a:gd name="T8" fmla="*/ 36 w 82"/>
                  <a:gd name="T9" fmla="*/ 135 h 142"/>
                  <a:gd name="T10" fmla="*/ 45 w 82"/>
                  <a:gd name="T11" fmla="*/ 141 h 142"/>
                  <a:gd name="T12" fmla="*/ 75 w 82"/>
                  <a:gd name="T13" fmla="*/ 132 h 142"/>
                  <a:gd name="T14" fmla="*/ 80 w 82"/>
                  <a:gd name="T15" fmla="*/ 122 h 142"/>
                  <a:gd name="T16" fmla="*/ 46 w 82"/>
                  <a:gd name="T17"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142">
                    <a:moveTo>
                      <a:pt x="46" y="6"/>
                    </a:moveTo>
                    <a:cubicBezTo>
                      <a:pt x="45" y="2"/>
                      <a:pt x="40" y="0"/>
                      <a:pt x="36" y="1"/>
                    </a:cubicBezTo>
                    <a:cubicBezTo>
                      <a:pt x="7" y="10"/>
                      <a:pt x="7" y="10"/>
                      <a:pt x="7" y="10"/>
                    </a:cubicBezTo>
                    <a:cubicBezTo>
                      <a:pt x="2" y="11"/>
                      <a:pt x="0" y="15"/>
                      <a:pt x="1" y="19"/>
                    </a:cubicBezTo>
                    <a:cubicBezTo>
                      <a:pt x="36" y="135"/>
                      <a:pt x="36" y="135"/>
                      <a:pt x="36" y="135"/>
                    </a:cubicBezTo>
                    <a:cubicBezTo>
                      <a:pt x="37" y="139"/>
                      <a:pt x="41" y="142"/>
                      <a:pt x="45" y="141"/>
                    </a:cubicBezTo>
                    <a:cubicBezTo>
                      <a:pt x="75" y="132"/>
                      <a:pt x="75" y="132"/>
                      <a:pt x="75" y="132"/>
                    </a:cubicBezTo>
                    <a:cubicBezTo>
                      <a:pt x="79" y="131"/>
                      <a:pt x="82" y="126"/>
                      <a:pt x="80" y="122"/>
                    </a:cubicBezTo>
                    <a:lnTo>
                      <a:pt x="46" y="6"/>
                    </a:lnTo>
                    <a:close/>
                  </a:path>
                </a:pathLst>
              </a:custGeom>
              <a:solidFill>
                <a:srgbClr val="0084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9" name="Freeform 190">
                <a:extLst>
                  <a:ext uri="{FF2B5EF4-FFF2-40B4-BE49-F238E27FC236}">
                    <a16:creationId xmlns:a16="http://schemas.microsoft.com/office/drawing/2014/main" id="{4819CD19-FBC3-48C9-8648-33A4E74C2726}"/>
                  </a:ext>
                </a:extLst>
              </p:cNvPr>
              <p:cNvSpPr>
                <a:spLocks/>
              </p:cNvSpPr>
              <p:nvPr/>
            </p:nvSpPr>
            <p:spPr bwMode="auto">
              <a:xfrm>
                <a:off x="1422400" y="2351088"/>
                <a:ext cx="231775" cy="404813"/>
              </a:xfrm>
              <a:custGeom>
                <a:avLst/>
                <a:gdLst>
                  <a:gd name="T0" fmla="*/ 46 w 81"/>
                  <a:gd name="T1" fmla="*/ 7 h 142"/>
                  <a:gd name="T2" fmla="*/ 36 w 81"/>
                  <a:gd name="T3" fmla="*/ 1 h 142"/>
                  <a:gd name="T4" fmla="*/ 6 w 81"/>
                  <a:gd name="T5" fmla="*/ 10 h 142"/>
                  <a:gd name="T6" fmla="*/ 1 w 81"/>
                  <a:gd name="T7" fmla="*/ 20 h 142"/>
                  <a:gd name="T8" fmla="*/ 36 w 81"/>
                  <a:gd name="T9" fmla="*/ 136 h 142"/>
                  <a:gd name="T10" fmla="*/ 45 w 81"/>
                  <a:gd name="T11" fmla="*/ 141 h 142"/>
                  <a:gd name="T12" fmla="*/ 75 w 81"/>
                  <a:gd name="T13" fmla="*/ 132 h 142"/>
                  <a:gd name="T14" fmla="*/ 80 w 81"/>
                  <a:gd name="T15" fmla="*/ 123 h 142"/>
                  <a:gd name="T16" fmla="*/ 46 w 81"/>
                  <a:gd name="T17" fmla="*/ 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42">
                    <a:moveTo>
                      <a:pt x="46" y="7"/>
                    </a:moveTo>
                    <a:cubicBezTo>
                      <a:pt x="44" y="2"/>
                      <a:pt x="40" y="0"/>
                      <a:pt x="36" y="1"/>
                    </a:cubicBezTo>
                    <a:cubicBezTo>
                      <a:pt x="6" y="10"/>
                      <a:pt x="6" y="10"/>
                      <a:pt x="6" y="10"/>
                    </a:cubicBezTo>
                    <a:cubicBezTo>
                      <a:pt x="2" y="11"/>
                      <a:pt x="0" y="16"/>
                      <a:pt x="1" y="20"/>
                    </a:cubicBezTo>
                    <a:cubicBezTo>
                      <a:pt x="36" y="136"/>
                      <a:pt x="36" y="136"/>
                      <a:pt x="36" y="136"/>
                    </a:cubicBezTo>
                    <a:cubicBezTo>
                      <a:pt x="37" y="140"/>
                      <a:pt x="41" y="142"/>
                      <a:pt x="45" y="141"/>
                    </a:cubicBezTo>
                    <a:cubicBezTo>
                      <a:pt x="75" y="132"/>
                      <a:pt x="75" y="132"/>
                      <a:pt x="75" y="132"/>
                    </a:cubicBezTo>
                    <a:cubicBezTo>
                      <a:pt x="79" y="131"/>
                      <a:pt x="81" y="127"/>
                      <a:pt x="80" y="123"/>
                    </a:cubicBezTo>
                    <a:lnTo>
                      <a:pt x="46" y="7"/>
                    </a:lnTo>
                    <a:close/>
                  </a:path>
                </a:pathLst>
              </a:custGeom>
              <a:solidFill>
                <a:srgbClr val="1839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0" name="Freeform 191">
                <a:extLst>
                  <a:ext uri="{FF2B5EF4-FFF2-40B4-BE49-F238E27FC236}">
                    <a16:creationId xmlns:a16="http://schemas.microsoft.com/office/drawing/2014/main" id="{F9B23323-C465-4CF7-8950-AEE4BE5B2C3B}"/>
                  </a:ext>
                </a:extLst>
              </p:cNvPr>
              <p:cNvSpPr>
                <a:spLocks/>
              </p:cNvSpPr>
              <p:nvPr/>
            </p:nvSpPr>
            <p:spPr bwMode="auto">
              <a:xfrm>
                <a:off x="1485900" y="2662238"/>
                <a:ext cx="207963" cy="104775"/>
              </a:xfrm>
              <a:custGeom>
                <a:avLst/>
                <a:gdLst>
                  <a:gd name="T0" fmla="*/ 71 w 73"/>
                  <a:gd name="T1" fmla="*/ 7 h 37"/>
                  <a:gd name="T2" fmla="*/ 60 w 73"/>
                  <a:gd name="T3" fmla="*/ 1 h 37"/>
                  <a:gd name="T4" fmla="*/ 7 w 73"/>
                  <a:gd name="T5" fmla="*/ 17 h 37"/>
                  <a:gd name="T6" fmla="*/ 2 w 73"/>
                  <a:gd name="T7" fmla="*/ 28 h 37"/>
                  <a:gd name="T8" fmla="*/ 2 w 73"/>
                  <a:gd name="T9" fmla="*/ 29 h 37"/>
                  <a:gd name="T10" fmla="*/ 2 w 73"/>
                  <a:gd name="T11" fmla="*/ 30 h 37"/>
                  <a:gd name="T12" fmla="*/ 13 w 73"/>
                  <a:gd name="T13" fmla="*/ 36 h 37"/>
                  <a:gd name="T14" fmla="*/ 65 w 73"/>
                  <a:gd name="T15" fmla="*/ 20 h 37"/>
                  <a:gd name="T16" fmla="*/ 71 w 73"/>
                  <a:gd name="T17" fmla="*/ 9 h 37"/>
                  <a:gd name="T18" fmla="*/ 71 w 73"/>
                  <a:gd name="T19" fmla="*/ 8 h 37"/>
                  <a:gd name="T20" fmla="*/ 71 w 73"/>
                  <a:gd name="T21"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37">
                    <a:moveTo>
                      <a:pt x="71" y="7"/>
                    </a:moveTo>
                    <a:cubicBezTo>
                      <a:pt x="69" y="3"/>
                      <a:pt x="64" y="0"/>
                      <a:pt x="60" y="1"/>
                    </a:cubicBezTo>
                    <a:cubicBezTo>
                      <a:pt x="7" y="17"/>
                      <a:pt x="7" y="17"/>
                      <a:pt x="7" y="17"/>
                    </a:cubicBezTo>
                    <a:cubicBezTo>
                      <a:pt x="3" y="18"/>
                      <a:pt x="0" y="23"/>
                      <a:pt x="2" y="28"/>
                    </a:cubicBezTo>
                    <a:cubicBezTo>
                      <a:pt x="2" y="29"/>
                      <a:pt x="2" y="29"/>
                      <a:pt x="2" y="29"/>
                    </a:cubicBezTo>
                    <a:cubicBezTo>
                      <a:pt x="2" y="30"/>
                      <a:pt x="2" y="30"/>
                      <a:pt x="2" y="30"/>
                    </a:cubicBezTo>
                    <a:cubicBezTo>
                      <a:pt x="3" y="34"/>
                      <a:pt x="8" y="37"/>
                      <a:pt x="13" y="36"/>
                    </a:cubicBezTo>
                    <a:cubicBezTo>
                      <a:pt x="65" y="20"/>
                      <a:pt x="65" y="20"/>
                      <a:pt x="65" y="20"/>
                    </a:cubicBezTo>
                    <a:cubicBezTo>
                      <a:pt x="70" y="19"/>
                      <a:pt x="73" y="14"/>
                      <a:pt x="71" y="9"/>
                    </a:cubicBezTo>
                    <a:cubicBezTo>
                      <a:pt x="71" y="8"/>
                      <a:pt x="71" y="8"/>
                      <a:pt x="71" y="8"/>
                    </a:cubicBezTo>
                    <a:lnTo>
                      <a:pt x="71"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1" name="Freeform 192">
                <a:extLst>
                  <a:ext uri="{FF2B5EF4-FFF2-40B4-BE49-F238E27FC236}">
                    <a16:creationId xmlns:a16="http://schemas.microsoft.com/office/drawing/2014/main" id="{0E84B26E-6D39-40DA-85B0-0BB75823BA97}"/>
                  </a:ext>
                </a:extLst>
              </p:cNvPr>
              <p:cNvSpPr>
                <a:spLocks/>
              </p:cNvSpPr>
              <p:nvPr/>
            </p:nvSpPr>
            <p:spPr bwMode="auto">
              <a:xfrm>
                <a:off x="1500188" y="2874963"/>
                <a:ext cx="207963" cy="31750"/>
              </a:xfrm>
              <a:custGeom>
                <a:avLst/>
                <a:gdLst>
                  <a:gd name="T0" fmla="*/ 73 w 73"/>
                  <a:gd name="T1" fmla="*/ 8 h 11"/>
                  <a:gd name="T2" fmla="*/ 70 w 73"/>
                  <a:gd name="T3" fmla="*/ 11 h 11"/>
                  <a:gd name="T4" fmla="*/ 4 w 73"/>
                  <a:gd name="T5" fmla="*/ 11 h 11"/>
                  <a:gd name="T6" fmla="*/ 0 w 73"/>
                  <a:gd name="T7" fmla="*/ 8 h 11"/>
                  <a:gd name="T8" fmla="*/ 0 w 73"/>
                  <a:gd name="T9" fmla="*/ 3 h 11"/>
                  <a:gd name="T10" fmla="*/ 4 w 73"/>
                  <a:gd name="T11" fmla="*/ 0 h 11"/>
                  <a:gd name="T12" fmla="*/ 70 w 73"/>
                  <a:gd name="T13" fmla="*/ 0 h 11"/>
                  <a:gd name="T14" fmla="*/ 73 w 73"/>
                  <a:gd name="T15" fmla="*/ 3 h 11"/>
                  <a:gd name="T16" fmla="*/ 73 w 73"/>
                  <a:gd name="T17"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1">
                    <a:moveTo>
                      <a:pt x="73" y="8"/>
                    </a:moveTo>
                    <a:cubicBezTo>
                      <a:pt x="73" y="10"/>
                      <a:pt x="72" y="11"/>
                      <a:pt x="70" y="11"/>
                    </a:cubicBezTo>
                    <a:cubicBezTo>
                      <a:pt x="4" y="11"/>
                      <a:pt x="4" y="11"/>
                      <a:pt x="4" y="11"/>
                    </a:cubicBezTo>
                    <a:cubicBezTo>
                      <a:pt x="2" y="11"/>
                      <a:pt x="0" y="10"/>
                      <a:pt x="0" y="8"/>
                    </a:cubicBezTo>
                    <a:cubicBezTo>
                      <a:pt x="0" y="3"/>
                      <a:pt x="0" y="3"/>
                      <a:pt x="0" y="3"/>
                    </a:cubicBezTo>
                    <a:cubicBezTo>
                      <a:pt x="0" y="1"/>
                      <a:pt x="2" y="0"/>
                      <a:pt x="4" y="0"/>
                    </a:cubicBezTo>
                    <a:cubicBezTo>
                      <a:pt x="70" y="0"/>
                      <a:pt x="70" y="0"/>
                      <a:pt x="70" y="0"/>
                    </a:cubicBezTo>
                    <a:cubicBezTo>
                      <a:pt x="72" y="0"/>
                      <a:pt x="73" y="1"/>
                      <a:pt x="73" y="3"/>
                    </a:cubicBezTo>
                    <a:lnTo>
                      <a:pt x="73" y="8"/>
                    </a:lnTo>
                    <a:close/>
                  </a:path>
                </a:pathLst>
              </a:custGeom>
              <a:solidFill>
                <a:srgbClr val="0084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2" name="Freeform 193">
                <a:extLst>
                  <a:ext uri="{FF2B5EF4-FFF2-40B4-BE49-F238E27FC236}">
                    <a16:creationId xmlns:a16="http://schemas.microsoft.com/office/drawing/2014/main" id="{E2DA7C9E-179F-4322-BC0A-56E13CC13FFC}"/>
                  </a:ext>
                </a:extLst>
              </p:cNvPr>
              <p:cNvSpPr>
                <a:spLocks/>
              </p:cNvSpPr>
              <p:nvPr/>
            </p:nvSpPr>
            <p:spPr bwMode="auto">
              <a:xfrm>
                <a:off x="1536700" y="2841625"/>
                <a:ext cx="136525" cy="33338"/>
              </a:xfrm>
              <a:custGeom>
                <a:avLst/>
                <a:gdLst>
                  <a:gd name="T0" fmla="*/ 48 w 48"/>
                  <a:gd name="T1" fmla="*/ 8 h 12"/>
                  <a:gd name="T2" fmla="*/ 44 w 48"/>
                  <a:gd name="T3" fmla="*/ 12 h 12"/>
                  <a:gd name="T4" fmla="*/ 3 w 48"/>
                  <a:gd name="T5" fmla="*/ 12 h 12"/>
                  <a:gd name="T6" fmla="*/ 0 w 48"/>
                  <a:gd name="T7" fmla="*/ 8 h 12"/>
                  <a:gd name="T8" fmla="*/ 0 w 48"/>
                  <a:gd name="T9" fmla="*/ 4 h 12"/>
                  <a:gd name="T10" fmla="*/ 3 w 48"/>
                  <a:gd name="T11" fmla="*/ 0 h 12"/>
                  <a:gd name="T12" fmla="*/ 44 w 48"/>
                  <a:gd name="T13" fmla="*/ 0 h 12"/>
                  <a:gd name="T14" fmla="*/ 48 w 48"/>
                  <a:gd name="T15" fmla="*/ 4 h 12"/>
                  <a:gd name="T16" fmla="*/ 48 w 48"/>
                  <a:gd name="T1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2">
                    <a:moveTo>
                      <a:pt x="48" y="8"/>
                    </a:moveTo>
                    <a:cubicBezTo>
                      <a:pt x="48" y="10"/>
                      <a:pt x="46" y="12"/>
                      <a:pt x="44" y="12"/>
                    </a:cubicBezTo>
                    <a:cubicBezTo>
                      <a:pt x="3" y="12"/>
                      <a:pt x="3" y="12"/>
                      <a:pt x="3" y="12"/>
                    </a:cubicBezTo>
                    <a:cubicBezTo>
                      <a:pt x="1" y="12"/>
                      <a:pt x="0" y="10"/>
                      <a:pt x="0" y="8"/>
                    </a:cubicBezTo>
                    <a:cubicBezTo>
                      <a:pt x="0" y="4"/>
                      <a:pt x="0" y="4"/>
                      <a:pt x="0" y="4"/>
                    </a:cubicBezTo>
                    <a:cubicBezTo>
                      <a:pt x="0" y="2"/>
                      <a:pt x="1" y="0"/>
                      <a:pt x="3" y="0"/>
                    </a:cubicBezTo>
                    <a:cubicBezTo>
                      <a:pt x="44" y="0"/>
                      <a:pt x="44" y="0"/>
                      <a:pt x="44" y="0"/>
                    </a:cubicBezTo>
                    <a:cubicBezTo>
                      <a:pt x="46" y="0"/>
                      <a:pt x="48" y="2"/>
                      <a:pt x="48" y="4"/>
                    </a:cubicBezTo>
                    <a:lnTo>
                      <a:pt x="48" y="8"/>
                    </a:lnTo>
                    <a:close/>
                  </a:path>
                </a:pathLst>
              </a:custGeom>
              <a:solidFill>
                <a:srgbClr val="EAD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3" name="Freeform 194">
                <a:extLst>
                  <a:ext uri="{FF2B5EF4-FFF2-40B4-BE49-F238E27FC236}">
                    <a16:creationId xmlns:a16="http://schemas.microsoft.com/office/drawing/2014/main" id="{C49D4A0F-FE4D-44DE-B18D-D6356841ADF5}"/>
                  </a:ext>
                </a:extLst>
              </p:cNvPr>
              <p:cNvSpPr>
                <a:spLocks/>
              </p:cNvSpPr>
              <p:nvPr/>
            </p:nvSpPr>
            <p:spPr bwMode="auto">
              <a:xfrm>
                <a:off x="1285875" y="2020888"/>
                <a:ext cx="373063" cy="652463"/>
              </a:xfrm>
              <a:custGeom>
                <a:avLst/>
                <a:gdLst>
                  <a:gd name="T0" fmla="*/ 74 w 131"/>
                  <a:gd name="T1" fmla="*/ 10 h 229"/>
                  <a:gd name="T2" fmla="*/ 58 w 131"/>
                  <a:gd name="T3" fmla="*/ 2 h 229"/>
                  <a:gd name="T4" fmla="*/ 11 w 131"/>
                  <a:gd name="T5" fmla="*/ 16 h 229"/>
                  <a:gd name="T6" fmla="*/ 2 w 131"/>
                  <a:gd name="T7" fmla="*/ 31 h 229"/>
                  <a:gd name="T8" fmla="*/ 58 w 131"/>
                  <a:gd name="T9" fmla="*/ 218 h 229"/>
                  <a:gd name="T10" fmla="*/ 73 w 131"/>
                  <a:gd name="T11" fmla="*/ 227 h 229"/>
                  <a:gd name="T12" fmla="*/ 121 w 131"/>
                  <a:gd name="T13" fmla="*/ 213 h 229"/>
                  <a:gd name="T14" fmla="*/ 129 w 131"/>
                  <a:gd name="T15" fmla="*/ 197 h 229"/>
                  <a:gd name="T16" fmla="*/ 74 w 131"/>
                  <a:gd name="T17" fmla="*/ 1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229">
                    <a:moveTo>
                      <a:pt x="74" y="10"/>
                    </a:moveTo>
                    <a:cubicBezTo>
                      <a:pt x="72" y="4"/>
                      <a:pt x="65" y="0"/>
                      <a:pt x="58" y="2"/>
                    </a:cubicBezTo>
                    <a:cubicBezTo>
                      <a:pt x="11" y="16"/>
                      <a:pt x="11" y="16"/>
                      <a:pt x="11" y="16"/>
                    </a:cubicBezTo>
                    <a:cubicBezTo>
                      <a:pt x="4" y="18"/>
                      <a:pt x="0" y="25"/>
                      <a:pt x="2" y="31"/>
                    </a:cubicBezTo>
                    <a:cubicBezTo>
                      <a:pt x="58" y="218"/>
                      <a:pt x="58" y="218"/>
                      <a:pt x="58" y="218"/>
                    </a:cubicBezTo>
                    <a:cubicBezTo>
                      <a:pt x="60" y="225"/>
                      <a:pt x="67" y="229"/>
                      <a:pt x="73" y="227"/>
                    </a:cubicBezTo>
                    <a:cubicBezTo>
                      <a:pt x="121" y="213"/>
                      <a:pt x="121" y="213"/>
                      <a:pt x="121" y="213"/>
                    </a:cubicBezTo>
                    <a:cubicBezTo>
                      <a:pt x="128" y="211"/>
                      <a:pt x="131" y="204"/>
                      <a:pt x="129" y="197"/>
                    </a:cubicBezTo>
                    <a:lnTo>
                      <a:pt x="74" y="10"/>
                    </a:lnTo>
                    <a:close/>
                  </a:path>
                </a:pathLst>
              </a:custGeom>
              <a:solidFill>
                <a:srgbClr val="004F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4" name="Freeform 195">
                <a:extLst>
                  <a:ext uri="{FF2B5EF4-FFF2-40B4-BE49-F238E27FC236}">
                    <a16:creationId xmlns:a16="http://schemas.microsoft.com/office/drawing/2014/main" id="{EC8000CE-804B-4790-8138-59420BF74736}"/>
                  </a:ext>
                </a:extLst>
              </p:cNvPr>
              <p:cNvSpPr>
                <a:spLocks/>
              </p:cNvSpPr>
              <p:nvPr/>
            </p:nvSpPr>
            <p:spPr bwMode="auto">
              <a:xfrm>
                <a:off x="962025" y="2203450"/>
                <a:ext cx="398463" cy="911225"/>
              </a:xfrm>
              <a:custGeom>
                <a:avLst/>
                <a:gdLst>
                  <a:gd name="T0" fmla="*/ 117 w 140"/>
                  <a:gd name="T1" fmla="*/ 320 h 320"/>
                  <a:gd name="T2" fmla="*/ 130 w 140"/>
                  <a:gd name="T3" fmla="*/ 211 h 320"/>
                  <a:gd name="T4" fmla="*/ 75 w 140"/>
                  <a:gd name="T5" fmla="*/ 169 h 320"/>
                  <a:gd name="T6" fmla="*/ 122 w 140"/>
                  <a:gd name="T7" fmla="*/ 50 h 320"/>
                  <a:gd name="T8" fmla="*/ 104 w 140"/>
                  <a:gd name="T9" fmla="*/ 0 h 320"/>
                  <a:gd name="T10" fmla="*/ 8 w 140"/>
                  <a:gd name="T11" fmla="*/ 148 h 320"/>
                  <a:gd name="T12" fmla="*/ 117 w 140"/>
                  <a:gd name="T13" fmla="*/ 320 h 320"/>
                </a:gdLst>
                <a:ahLst/>
                <a:cxnLst>
                  <a:cxn ang="0">
                    <a:pos x="T0" y="T1"/>
                  </a:cxn>
                  <a:cxn ang="0">
                    <a:pos x="T2" y="T3"/>
                  </a:cxn>
                  <a:cxn ang="0">
                    <a:pos x="T4" y="T5"/>
                  </a:cxn>
                  <a:cxn ang="0">
                    <a:pos x="T6" y="T7"/>
                  </a:cxn>
                  <a:cxn ang="0">
                    <a:pos x="T8" y="T9"/>
                  </a:cxn>
                  <a:cxn ang="0">
                    <a:pos x="T10" y="T11"/>
                  </a:cxn>
                  <a:cxn ang="0">
                    <a:pos x="T12" y="T13"/>
                  </a:cxn>
                </a:cxnLst>
                <a:rect l="0" t="0" r="r" b="b"/>
                <a:pathLst>
                  <a:path w="140" h="320">
                    <a:moveTo>
                      <a:pt x="117" y="320"/>
                    </a:moveTo>
                    <a:cubicBezTo>
                      <a:pt x="116" y="318"/>
                      <a:pt x="140" y="215"/>
                      <a:pt x="130" y="211"/>
                    </a:cubicBezTo>
                    <a:cubicBezTo>
                      <a:pt x="107" y="202"/>
                      <a:pt x="85" y="190"/>
                      <a:pt x="75" y="169"/>
                    </a:cubicBezTo>
                    <a:cubicBezTo>
                      <a:pt x="64" y="147"/>
                      <a:pt x="65" y="86"/>
                      <a:pt x="122" y="50"/>
                    </a:cubicBezTo>
                    <a:cubicBezTo>
                      <a:pt x="109" y="45"/>
                      <a:pt x="104" y="14"/>
                      <a:pt x="104" y="0"/>
                    </a:cubicBezTo>
                    <a:cubicBezTo>
                      <a:pt x="38" y="46"/>
                      <a:pt x="15" y="101"/>
                      <a:pt x="8" y="148"/>
                    </a:cubicBezTo>
                    <a:cubicBezTo>
                      <a:pt x="0" y="199"/>
                      <a:pt x="25" y="278"/>
                      <a:pt x="117" y="320"/>
                    </a:cubicBezTo>
                    <a:close/>
                  </a:path>
                </a:pathLst>
              </a:custGeom>
              <a:solidFill>
                <a:srgbClr val="1839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5" name="Freeform 196">
                <a:extLst>
                  <a:ext uri="{FF2B5EF4-FFF2-40B4-BE49-F238E27FC236}">
                    <a16:creationId xmlns:a16="http://schemas.microsoft.com/office/drawing/2014/main" id="{28B77336-4923-4186-9711-2B16F91E6F89}"/>
                  </a:ext>
                </a:extLst>
              </p:cNvPr>
              <p:cNvSpPr>
                <a:spLocks/>
              </p:cNvSpPr>
              <p:nvPr/>
            </p:nvSpPr>
            <p:spPr bwMode="auto">
              <a:xfrm>
                <a:off x="1062038" y="2906713"/>
                <a:ext cx="776288" cy="333375"/>
              </a:xfrm>
              <a:custGeom>
                <a:avLst/>
                <a:gdLst>
                  <a:gd name="T0" fmla="*/ 180 w 273"/>
                  <a:gd name="T1" fmla="*/ 81 h 117"/>
                  <a:gd name="T2" fmla="*/ 177 w 273"/>
                  <a:gd name="T3" fmla="*/ 74 h 117"/>
                  <a:gd name="T4" fmla="*/ 207 w 273"/>
                  <a:gd name="T5" fmla="*/ 51 h 117"/>
                  <a:gd name="T6" fmla="*/ 236 w 273"/>
                  <a:gd name="T7" fmla="*/ 51 h 117"/>
                  <a:gd name="T8" fmla="*/ 247 w 273"/>
                  <a:gd name="T9" fmla="*/ 40 h 117"/>
                  <a:gd name="T10" fmla="*/ 247 w 273"/>
                  <a:gd name="T11" fmla="*/ 11 h 117"/>
                  <a:gd name="T12" fmla="*/ 236 w 273"/>
                  <a:gd name="T13" fmla="*/ 0 h 117"/>
                  <a:gd name="T14" fmla="*/ 136 w 273"/>
                  <a:gd name="T15" fmla="*/ 0 h 117"/>
                  <a:gd name="T16" fmla="*/ 120 w 273"/>
                  <a:gd name="T17" fmla="*/ 9 h 117"/>
                  <a:gd name="T18" fmla="*/ 21 w 273"/>
                  <a:gd name="T19" fmla="*/ 88 h 117"/>
                  <a:gd name="T20" fmla="*/ 11 w 273"/>
                  <a:gd name="T21" fmla="*/ 88 h 117"/>
                  <a:gd name="T22" fmla="*/ 0 w 273"/>
                  <a:gd name="T23" fmla="*/ 99 h 117"/>
                  <a:gd name="T24" fmla="*/ 0 w 273"/>
                  <a:gd name="T25" fmla="*/ 107 h 117"/>
                  <a:gd name="T26" fmla="*/ 11 w 273"/>
                  <a:gd name="T27" fmla="*/ 117 h 117"/>
                  <a:gd name="T28" fmla="*/ 262 w 273"/>
                  <a:gd name="T29" fmla="*/ 117 h 117"/>
                  <a:gd name="T30" fmla="*/ 273 w 273"/>
                  <a:gd name="T31" fmla="*/ 107 h 117"/>
                  <a:gd name="T32" fmla="*/ 273 w 273"/>
                  <a:gd name="T33" fmla="*/ 92 h 117"/>
                  <a:gd name="T34" fmla="*/ 262 w 273"/>
                  <a:gd name="T35" fmla="*/ 81 h 117"/>
                  <a:gd name="T36" fmla="*/ 180 w 273"/>
                  <a:gd name="T37" fmla="*/ 8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3" h="117">
                    <a:moveTo>
                      <a:pt x="180" y="81"/>
                    </a:moveTo>
                    <a:cubicBezTo>
                      <a:pt x="175" y="81"/>
                      <a:pt x="173" y="78"/>
                      <a:pt x="177" y="74"/>
                    </a:cubicBezTo>
                    <a:cubicBezTo>
                      <a:pt x="181" y="70"/>
                      <a:pt x="201" y="51"/>
                      <a:pt x="207" y="51"/>
                    </a:cubicBezTo>
                    <a:cubicBezTo>
                      <a:pt x="236" y="51"/>
                      <a:pt x="236" y="51"/>
                      <a:pt x="236" y="51"/>
                    </a:cubicBezTo>
                    <a:cubicBezTo>
                      <a:pt x="242" y="51"/>
                      <a:pt x="247" y="46"/>
                      <a:pt x="247" y="40"/>
                    </a:cubicBezTo>
                    <a:cubicBezTo>
                      <a:pt x="247" y="11"/>
                      <a:pt x="247" y="11"/>
                      <a:pt x="247" y="11"/>
                    </a:cubicBezTo>
                    <a:cubicBezTo>
                      <a:pt x="247" y="5"/>
                      <a:pt x="242" y="0"/>
                      <a:pt x="236" y="0"/>
                    </a:cubicBezTo>
                    <a:cubicBezTo>
                      <a:pt x="136" y="0"/>
                      <a:pt x="136" y="0"/>
                      <a:pt x="136" y="0"/>
                    </a:cubicBezTo>
                    <a:cubicBezTo>
                      <a:pt x="130" y="0"/>
                      <a:pt x="123" y="4"/>
                      <a:pt x="120" y="9"/>
                    </a:cubicBezTo>
                    <a:cubicBezTo>
                      <a:pt x="120" y="9"/>
                      <a:pt x="99" y="73"/>
                      <a:pt x="21" y="88"/>
                    </a:cubicBezTo>
                    <a:cubicBezTo>
                      <a:pt x="11" y="88"/>
                      <a:pt x="11" y="88"/>
                      <a:pt x="11" y="88"/>
                    </a:cubicBezTo>
                    <a:cubicBezTo>
                      <a:pt x="5" y="88"/>
                      <a:pt x="0" y="93"/>
                      <a:pt x="0" y="99"/>
                    </a:cubicBezTo>
                    <a:cubicBezTo>
                      <a:pt x="0" y="107"/>
                      <a:pt x="0" y="107"/>
                      <a:pt x="0" y="107"/>
                    </a:cubicBezTo>
                    <a:cubicBezTo>
                      <a:pt x="0" y="113"/>
                      <a:pt x="5" y="117"/>
                      <a:pt x="11" y="117"/>
                    </a:cubicBezTo>
                    <a:cubicBezTo>
                      <a:pt x="262" y="117"/>
                      <a:pt x="262" y="117"/>
                      <a:pt x="262" y="117"/>
                    </a:cubicBezTo>
                    <a:cubicBezTo>
                      <a:pt x="268" y="117"/>
                      <a:pt x="273" y="113"/>
                      <a:pt x="273" y="107"/>
                    </a:cubicBezTo>
                    <a:cubicBezTo>
                      <a:pt x="273" y="92"/>
                      <a:pt x="273" y="92"/>
                      <a:pt x="273" y="92"/>
                    </a:cubicBezTo>
                    <a:cubicBezTo>
                      <a:pt x="273" y="86"/>
                      <a:pt x="268" y="81"/>
                      <a:pt x="262" y="81"/>
                    </a:cubicBezTo>
                    <a:lnTo>
                      <a:pt x="180" y="81"/>
                    </a:lnTo>
                    <a:close/>
                  </a:path>
                </a:pathLst>
              </a:custGeom>
              <a:solidFill>
                <a:srgbClr val="004F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6" name="Oval 197">
                <a:extLst>
                  <a:ext uri="{FF2B5EF4-FFF2-40B4-BE49-F238E27FC236}">
                    <a16:creationId xmlns:a16="http://schemas.microsoft.com/office/drawing/2014/main" id="{F0D273E5-43D7-4368-B946-08832A79F822}"/>
                  </a:ext>
                </a:extLst>
              </p:cNvPr>
              <p:cNvSpPr>
                <a:spLocks noChangeArrowheads="1"/>
              </p:cNvSpPr>
              <p:nvPr/>
            </p:nvSpPr>
            <p:spPr bwMode="auto">
              <a:xfrm>
                <a:off x="1203325" y="2171700"/>
                <a:ext cx="219075" cy="219075"/>
              </a:xfrm>
              <a:prstGeom prst="ellipse">
                <a:avLst/>
              </a:prstGeom>
              <a:solidFill>
                <a:srgbClr val="F7E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7" name="Oval 198">
                <a:extLst>
                  <a:ext uri="{FF2B5EF4-FFF2-40B4-BE49-F238E27FC236}">
                    <a16:creationId xmlns:a16="http://schemas.microsoft.com/office/drawing/2014/main" id="{C2680F18-0166-4F33-88C0-92DE650E4DF4}"/>
                  </a:ext>
                </a:extLst>
              </p:cNvPr>
              <p:cNvSpPr>
                <a:spLocks noChangeArrowheads="1"/>
              </p:cNvSpPr>
              <p:nvPr/>
            </p:nvSpPr>
            <p:spPr bwMode="auto">
              <a:xfrm>
                <a:off x="1235075" y="2203450"/>
                <a:ext cx="157163" cy="155575"/>
              </a:xfrm>
              <a:prstGeom prst="ellipse">
                <a:avLst/>
              </a:prstGeom>
              <a:solidFill>
                <a:srgbClr val="FFB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8" name="Oval 199">
                <a:extLst>
                  <a:ext uri="{FF2B5EF4-FFF2-40B4-BE49-F238E27FC236}">
                    <a16:creationId xmlns:a16="http://schemas.microsoft.com/office/drawing/2014/main" id="{BA62F9D1-3934-4849-918A-D52549BB9A64}"/>
                  </a:ext>
                </a:extLst>
              </p:cNvPr>
              <p:cNvSpPr>
                <a:spLocks noChangeArrowheads="1"/>
              </p:cNvSpPr>
              <p:nvPr/>
            </p:nvSpPr>
            <p:spPr bwMode="auto">
              <a:xfrm>
                <a:off x="1149350" y="2787650"/>
                <a:ext cx="327025" cy="327025"/>
              </a:xfrm>
              <a:prstGeom prst="ellipse">
                <a:avLst/>
              </a:prstGeom>
              <a:solidFill>
                <a:srgbClr val="F7E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9" name="Oval 200">
                <a:extLst>
                  <a:ext uri="{FF2B5EF4-FFF2-40B4-BE49-F238E27FC236}">
                    <a16:creationId xmlns:a16="http://schemas.microsoft.com/office/drawing/2014/main" id="{E1106D9B-7995-4811-8B9C-CF11FA14542B}"/>
                  </a:ext>
                </a:extLst>
              </p:cNvPr>
              <p:cNvSpPr>
                <a:spLocks noChangeArrowheads="1"/>
              </p:cNvSpPr>
              <p:nvPr/>
            </p:nvSpPr>
            <p:spPr bwMode="auto">
              <a:xfrm>
                <a:off x="1192213" y="2832100"/>
                <a:ext cx="239713" cy="239713"/>
              </a:xfrm>
              <a:prstGeom prst="ellipse">
                <a:avLst/>
              </a:prstGeom>
              <a:solidFill>
                <a:srgbClr val="FFB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7" name="组合 16">
              <a:extLst>
                <a:ext uri="{FF2B5EF4-FFF2-40B4-BE49-F238E27FC236}">
                  <a16:creationId xmlns:a16="http://schemas.microsoft.com/office/drawing/2014/main" id="{AB4CC1C5-E084-417E-B78F-AB0D087D8635}"/>
                </a:ext>
              </a:extLst>
            </p:cNvPr>
            <p:cNvGrpSpPr/>
            <p:nvPr/>
          </p:nvGrpSpPr>
          <p:grpSpPr>
            <a:xfrm>
              <a:off x="1075892" y="3776384"/>
              <a:ext cx="888420" cy="887512"/>
              <a:chOff x="4422775" y="1809750"/>
              <a:chExt cx="1554163" cy="1552575"/>
            </a:xfrm>
          </p:grpSpPr>
          <p:sp>
            <p:nvSpPr>
              <p:cNvPr id="345" name="Oval 201">
                <a:extLst>
                  <a:ext uri="{FF2B5EF4-FFF2-40B4-BE49-F238E27FC236}">
                    <a16:creationId xmlns:a16="http://schemas.microsoft.com/office/drawing/2014/main" id="{2398D87C-9E1D-4F81-A3B9-2FCDC50212DA}"/>
                  </a:ext>
                </a:extLst>
              </p:cNvPr>
              <p:cNvSpPr>
                <a:spLocks noChangeArrowheads="1"/>
              </p:cNvSpPr>
              <p:nvPr/>
            </p:nvSpPr>
            <p:spPr bwMode="auto">
              <a:xfrm>
                <a:off x="4422775" y="1809750"/>
                <a:ext cx="1554163" cy="1552575"/>
              </a:xfrm>
              <a:prstGeom prst="ellipse">
                <a:avLst/>
              </a:pr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6" name="Freeform 202">
                <a:extLst>
                  <a:ext uri="{FF2B5EF4-FFF2-40B4-BE49-F238E27FC236}">
                    <a16:creationId xmlns:a16="http://schemas.microsoft.com/office/drawing/2014/main" id="{55500E37-882D-4469-B0F8-94F2EE547393}"/>
                  </a:ext>
                </a:extLst>
              </p:cNvPr>
              <p:cNvSpPr>
                <a:spLocks noEditPoints="1"/>
              </p:cNvSpPr>
              <p:nvPr/>
            </p:nvSpPr>
            <p:spPr bwMode="auto">
              <a:xfrm>
                <a:off x="4584700" y="2020888"/>
                <a:ext cx="958850" cy="1076325"/>
              </a:xfrm>
              <a:custGeom>
                <a:avLst/>
                <a:gdLst>
                  <a:gd name="T0" fmla="*/ 331 w 337"/>
                  <a:gd name="T1" fmla="*/ 86 h 378"/>
                  <a:gd name="T2" fmla="*/ 68 w 337"/>
                  <a:gd name="T3" fmla="*/ 78 h 378"/>
                  <a:gd name="T4" fmla="*/ 16 w 337"/>
                  <a:gd name="T5" fmla="*/ 269 h 378"/>
                  <a:gd name="T6" fmla="*/ 62 w 337"/>
                  <a:gd name="T7" fmla="*/ 331 h 378"/>
                  <a:gd name="T8" fmla="*/ 210 w 337"/>
                  <a:gd name="T9" fmla="*/ 362 h 378"/>
                  <a:gd name="T10" fmla="*/ 289 w 337"/>
                  <a:gd name="T11" fmla="*/ 187 h 378"/>
                  <a:gd name="T12" fmla="*/ 331 w 337"/>
                  <a:gd name="T13" fmla="*/ 86 h 378"/>
                  <a:gd name="T14" fmla="*/ 219 w 337"/>
                  <a:gd name="T15" fmla="*/ 216 h 378"/>
                  <a:gd name="T16" fmla="*/ 163 w 337"/>
                  <a:gd name="T17" fmla="*/ 192 h 378"/>
                  <a:gd name="T18" fmla="*/ 201 w 337"/>
                  <a:gd name="T19" fmla="*/ 145 h 378"/>
                  <a:gd name="T20" fmla="*/ 256 w 337"/>
                  <a:gd name="T21" fmla="*/ 169 h 378"/>
                  <a:gd name="T22" fmla="*/ 219 w 337"/>
                  <a:gd name="T23" fmla="*/ 21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378">
                    <a:moveTo>
                      <a:pt x="331" y="86"/>
                    </a:moveTo>
                    <a:cubicBezTo>
                      <a:pt x="322" y="0"/>
                      <a:pt x="145" y="7"/>
                      <a:pt x="68" y="78"/>
                    </a:cubicBezTo>
                    <a:cubicBezTo>
                      <a:pt x="0" y="141"/>
                      <a:pt x="1" y="223"/>
                      <a:pt x="16" y="269"/>
                    </a:cubicBezTo>
                    <a:cubicBezTo>
                      <a:pt x="22" y="288"/>
                      <a:pt x="37" y="312"/>
                      <a:pt x="62" y="331"/>
                    </a:cubicBezTo>
                    <a:cubicBezTo>
                      <a:pt x="93" y="355"/>
                      <a:pt x="143" y="378"/>
                      <a:pt x="210" y="362"/>
                    </a:cubicBezTo>
                    <a:cubicBezTo>
                      <a:pt x="298" y="340"/>
                      <a:pt x="312" y="225"/>
                      <a:pt x="289" y="187"/>
                    </a:cubicBezTo>
                    <a:cubicBezTo>
                      <a:pt x="248" y="119"/>
                      <a:pt x="337" y="134"/>
                      <a:pt x="331" y="86"/>
                    </a:cubicBezTo>
                    <a:close/>
                    <a:moveTo>
                      <a:pt x="219" y="216"/>
                    </a:moveTo>
                    <a:cubicBezTo>
                      <a:pt x="193" y="223"/>
                      <a:pt x="168" y="212"/>
                      <a:pt x="163" y="192"/>
                    </a:cubicBezTo>
                    <a:cubicBezTo>
                      <a:pt x="159" y="172"/>
                      <a:pt x="175" y="151"/>
                      <a:pt x="201" y="145"/>
                    </a:cubicBezTo>
                    <a:cubicBezTo>
                      <a:pt x="226" y="138"/>
                      <a:pt x="251" y="149"/>
                      <a:pt x="256" y="169"/>
                    </a:cubicBezTo>
                    <a:cubicBezTo>
                      <a:pt x="261" y="189"/>
                      <a:pt x="244" y="210"/>
                      <a:pt x="219" y="21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7" name="Freeform 203">
                <a:extLst>
                  <a:ext uri="{FF2B5EF4-FFF2-40B4-BE49-F238E27FC236}">
                    <a16:creationId xmlns:a16="http://schemas.microsoft.com/office/drawing/2014/main" id="{D74027C1-CC69-4FE0-A99F-E72F58FCEDA1}"/>
                  </a:ext>
                </a:extLst>
              </p:cNvPr>
              <p:cNvSpPr>
                <a:spLocks/>
              </p:cNvSpPr>
              <p:nvPr/>
            </p:nvSpPr>
            <p:spPr bwMode="auto">
              <a:xfrm>
                <a:off x="5162550" y="2132013"/>
                <a:ext cx="196850" cy="239713"/>
              </a:xfrm>
              <a:custGeom>
                <a:avLst/>
                <a:gdLst>
                  <a:gd name="T0" fmla="*/ 69 w 69"/>
                  <a:gd name="T1" fmla="*/ 37 h 84"/>
                  <a:gd name="T2" fmla="*/ 68 w 69"/>
                  <a:gd name="T3" fmla="*/ 47 h 84"/>
                  <a:gd name="T4" fmla="*/ 64 w 69"/>
                  <a:gd name="T5" fmla="*/ 55 h 84"/>
                  <a:gd name="T6" fmla="*/ 59 w 69"/>
                  <a:gd name="T7" fmla="*/ 62 h 84"/>
                  <a:gd name="T8" fmla="*/ 52 w 69"/>
                  <a:gd name="T9" fmla="*/ 67 h 84"/>
                  <a:gd name="T10" fmla="*/ 43 w 69"/>
                  <a:gd name="T11" fmla="*/ 71 h 84"/>
                  <a:gd name="T12" fmla="*/ 34 w 69"/>
                  <a:gd name="T13" fmla="*/ 72 h 84"/>
                  <a:gd name="T14" fmla="*/ 25 w 69"/>
                  <a:gd name="T15" fmla="*/ 69 h 84"/>
                  <a:gd name="T16" fmla="*/ 17 w 69"/>
                  <a:gd name="T17" fmla="*/ 67 h 84"/>
                  <a:gd name="T18" fmla="*/ 10 w 69"/>
                  <a:gd name="T19" fmla="*/ 61 h 84"/>
                  <a:gd name="T20" fmla="*/ 4 w 69"/>
                  <a:gd name="T21" fmla="*/ 55 h 84"/>
                  <a:gd name="T22" fmla="*/ 1 w 69"/>
                  <a:gd name="T23" fmla="*/ 47 h 84"/>
                  <a:gd name="T24" fmla="*/ 0 w 69"/>
                  <a:gd name="T25" fmla="*/ 37 h 84"/>
                  <a:gd name="T26" fmla="*/ 1 w 69"/>
                  <a:gd name="T27" fmla="*/ 30 h 84"/>
                  <a:gd name="T28" fmla="*/ 4 w 69"/>
                  <a:gd name="T29" fmla="*/ 20 h 84"/>
                  <a:gd name="T30" fmla="*/ 10 w 69"/>
                  <a:gd name="T31" fmla="*/ 12 h 84"/>
                  <a:gd name="T32" fmla="*/ 17 w 69"/>
                  <a:gd name="T33" fmla="*/ 7 h 84"/>
                  <a:gd name="T34" fmla="*/ 25 w 69"/>
                  <a:gd name="T35" fmla="*/ 2 h 84"/>
                  <a:gd name="T36" fmla="*/ 34 w 69"/>
                  <a:gd name="T37" fmla="*/ 3 h 84"/>
                  <a:gd name="T38" fmla="*/ 43 w 69"/>
                  <a:gd name="T39" fmla="*/ 4 h 84"/>
                  <a:gd name="T40" fmla="*/ 52 w 69"/>
                  <a:gd name="T41" fmla="*/ 7 h 84"/>
                  <a:gd name="T42" fmla="*/ 59 w 69"/>
                  <a:gd name="T43" fmla="*/ 14 h 84"/>
                  <a:gd name="T44" fmla="*/ 64 w 69"/>
                  <a:gd name="T45" fmla="*/ 20 h 84"/>
                  <a:gd name="T46" fmla="*/ 68 w 69"/>
                  <a:gd name="T47" fmla="*/ 23 h 84"/>
                  <a:gd name="T48" fmla="*/ 69 w 69"/>
                  <a:gd name="T49"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 h="84">
                    <a:moveTo>
                      <a:pt x="69" y="37"/>
                    </a:moveTo>
                    <a:cubicBezTo>
                      <a:pt x="69" y="40"/>
                      <a:pt x="68" y="40"/>
                      <a:pt x="68" y="47"/>
                    </a:cubicBezTo>
                    <a:cubicBezTo>
                      <a:pt x="67" y="51"/>
                      <a:pt x="66" y="52"/>
                      <a:pt x="64" y="55"/>
                    </a:cubicBezTo>
                    <a:cubicBezTo>
                      <a:pt x="63" y="58"/>
                      <a:pt x="61" y="59"/>
                      <a:pt x="59" y="62"/>
                    </a:cubicBezTo>
                    <a:cubicBezTo>
                      <a:pt x="57" y="65"/>
                      <a:pt x="54" y="63"/>
                      <a:pt x="52" y="67"/>
                    </a:cubicBezTo>
                    <a:cubicBezTo>
                      <a:pt x="49" y="75"/>
                      <a:pt x="46" y="62"/>
                      <a:pt x="43" y="71"/>
                    </a:cubicBezTo>
                    <a:cubicBezTo>
                      <a:pt x="40" y="74"/>
                      <a:pt x="37" y="84"/>
                      <a:pt x="34" y="72"/>
                    </a:cubicBezTo>
                    <a:cubicBezTo>
                      <a:pt x="31" y="81"/>
                      <a:pt x="28" y="70"/>
                      <a:pt x="25" y="69"/>
                    </a:cubicBezTo>
                    <a:cubicBezTo>
                      <a:pt x="22" y="59"/>
                      <a:pt x="19" y="61"/>
                      <a:pt x="17" y="67"/>
                    </a:cubicBezTo>
                    <a:cubicBezTo>
                      <a:pt x="14" y="73"/>
                      <a:pt x="12" y="68"/>
                      <a:pt x="10" y="61"/>
                    </a:cubicBezTo>
                    <a:cubicBezTo>
                      <a:pt x="8" y="68"/>
                      <a:pt x="6" y="59"/>
                      <a:pt x="4" y="55"/>
                    </a:cubicBezTo>
                    <a:cubicBezTo>
                      <a:pt x="3" y="47"/>
                      <a:pt x="2" y="52"/>
                      <a:pt x="1" y="47"/>
                    </a:cubicBezTo>
                    <a:cubicBezTo>
                      <a:pt x="0" y="47"/>
                      <a:pt x="0" y="41"/>
                      <a:pt x="0" y="37"/>
                    </a:cubicBezTo>
                    <a:cubicBezTo>
                      <a:pt x="0" y="42"/>
                      <a:pt x="0" y="36"/>
                      <a:pt x="1" y="30"/>
                    </a:cubicBezTo>
                    <a:cubicBezTo>
                      <a:pt x="2" y="30"/>
                      <a:pt x="3" y="23"/>
                      <a:pt x="4" y="20"/>
                    </a:cubicBezTo>
                    <a:cubicBezTo>
                      <a:pt x="6" y="22"/>
                      <a:pt x="8" y="20"/>
                      <a:pt x="10" y="12"/>
                    </a:cubicBezTo>
                    <a:cubicBezTo>
                      <a:pt x="12" y="10"/>
                      <a:pt x="14" y="11"/>
                      <a:pt x="17" y="7"/>
                    </a:cubicBezTo>
                    <a:cubicBezTo>
                      <a:pt x="19" y="8"/>
                      <a:pt x="22" y="3"/>
                      <a:pt x="25" y="2"/>
                    </a:cubicBezTo>
                    <a:cubicBezTo>
                      <a:pt x="28" y="3"/>
                      <a:pt x="31" y="4"/>
                      <a:pt x="34" y="3"/>
                    </a:cubicBezTo>
                    <a:cubicBezTo>
                      <a:pt x="37" y="0"/>
                      <a:pt x="40" y="9"/>
                      <a:pt x="43" y="4"/>
                    </a:cubicBezTo>
                    <a:cubicBezTo>
                      <a:pt x="46" y="3"/>
                      <a:pt x="49" y="9"/>
                      <a:pt x="52" y="7"/>
                    </a:cubicBezTo>
                    <a:cubicBezTo>
                      <a:pt x="54" y="12"/>
                      <a:pt x="57" y="12"/>
                      <a:pt x="59" y="14"/>
                    </a:cubicBezTo>
                    <a:cubicBezTo>
                      <a:pt x="61" y="8"/>
                      <a:pt x="63" y="15"/>
                      <a:pt x="64" y="20"/>
                    </a:cubicBezTo>
                    <a:cubicBezTo>
                      <a:pt x="66" y="15"/>
                      <a:pt x="67" y="17"/>
                      <a:pt x="68" y="23"/>
                    </a:cubicBezTo>
                    <a:cubicBezTo>
                      <a:pt x="68" y="26"/>
                      <a:pt x="69" y="39"/>
                      <a:pt x="69" y="37"/>
                    </a:cubicBezTo>
                    <a:close/>
                  </a:path>
                </a:pathLst>
              </a:cu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8" name="Freeform 204">
                <a:extLst>
                  <a:ext uri="{FF2B5EF4-FFF2-40B4-BE49-F238E27FC236}">
                    <a16:creationId xmlns:a16="http://schemas.microsoft.com/office/drawing/2014/main" id="{9E980D28-931C-4094-AAA4-1E573BAAFC77}"/>
                  </a:ext>
                </a:extLst>
              </p:cNvPr>
              <p:cNvSpPr>
                <a:spLocks/>
              </p:cNvSpPr>
              <p:nvPr/>
            </p:nvSpPr>
            <p:spPr bwMode="auto">
              <a:xfrm>
                <a:off x="4843463" y="2228850"/>
                <a:ext cx="196850" cy="211138"/>
              </a:xfrm>
              <a:custGeom>
                <a:avLst/>
                <a:gdLst>
                  <a:gd name="T0" fmla="*/ 69 w 69"/>
                  <a:gd name="T1" fmla="*/ 38 h 74"/>
                  <a:gd name="T2" fmla="*/ 68 w 69"/>
                  <a:gd name="T3" fmla="*/ 48 h 74"/>
                  <a:gd name="T4" fmla="*/ 64 w 69"/>
                  <a:gd name="T5" fmla="*/ 55 h 74"/>
                  <a:gd name="T6" fmla="*/ 59 w 69"/>
                  <a:gd name="T7" fmla="*/ 64 h 74"/>
                  <a:gd name="T8" fmla="*/ 52 w 69"/>
                  <a:gd name="T9" fmla="*/ 68 h 74"/>
                  <a:gd name="T10" fmla="*/ 43 w 69"/>
                  <a:gd name="T11" fmla="*/ 73 h 74"/>
                  <a:gd name="T12" fmla="*/ 34 w 69"/>
                  <a:gd name="T13" fmla="*/ 73 h 74"/>
                  <a:gd name="T14" fmla="*/ 25 w 69"/>
                  <a:gd name="T15" fmla="*/ 69 h 74"/>
                  <a:gd name="T16" fmla="*/ 17 w 69"/>
                  <a:gd name="T17" fmla="*/ 68 h 74"/>
                  <a:gd name="T18" fmla="*/ 10 w 69"/>
                  <a:gd name="T19" fmla="*/ 61 h 74"/>
                  <a:gd name="T20" fmla="*/ 4 w 69"/>
                  <a:gd name="T21" fmla="*/ 55 h 74"/>
                  <a:gd name="T22" fmla="*/ 1 w 69"/>
                  <a:gd name="T23" fmla="*/ 50 h 74"/>
                  <a:gd name="T24" fmla="*/ 0 w 69"/>
                  <a:gd name="T25" fmla="*/ 38 h 74"/>
                  <a:gd name="T26" fmla="*/ 1 w 69"/>
                  <a:gd name="T27" fmla="*/ 30 h 74"/>
                  <a:gd name="T28" fmla="*/ 4 w 69"/>
                  <a:gd name="T29" fmla="*/ 20 h 74"/>
                  <a:gd name="T30" fmla="*/ 10 w 69"/>
                  <a:gd name="T31" fmla="*/ 13 h 74"/>
                  <a:gd name="T32" fmla="*/ 17 w 69"/>
                  <a:gd name="T33" fmla="*/ 8 h 74"/>
                  <a:gd name="T34" fmla="*/ 25 w 69"/>
                  <a:gd name="T35" fmla="*/ 4 h 74"/>
                  <a:gd name="T36" fmla="*/ 34 w 69"/>
                  <a:gd name="T37" fmla="*/ 3 h 74"/>
                  <a:gd name="T38" fmla="*/ 43 w 69"/>
                  <a:gd name="T39" fmla="*/ 4 h 74"/>
                  <a:gd name="T40" fmla="*/ 52 w 69"/>
                  <a:gd name="T41" fmla="*/ 8 h 74"/>
                  <a:gd name="T42" fmla="*/ 59 w 69"/>
                  <a:gd name="T43" fmla="*/ 14 h 74"/>
                  <a:gd name="T44" fmla="*/ 64 w 69"/>
                  <a:gd name="T45" fmla="*/ 20 h 74"/>
                  <a:gd name="T46" fmla="*/ 68 w 69"/>
                  <a:gd name="T47" fmla="*/ 27 h 74"/>
                  <a:gd name="T48" fmla="*/ 69 w 69"/>
                  <a:gd name="T49"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 h="74">
                    <a:moveTo>
                      <a:pt x="69" y="38"/>
                    </a:moveTo>
                    <a:cubicBezTo>
                      <a:pt x="69" y="39"/>
                      <a:pt x="68" y="44"/>
                      <a:pt x="68" y="48"/>
                    </a:cubicBezTo>
                    <a:cubicBezTo>
                      <a:pt x="67" y="51"/>
                      <a:pt x="66" y="53"/>
                      <a:pt x="64" y="55"/>
                    </a:cubicBezTo>
                    <a:cubicBezTo>
                      <a:pt x="63" y="63"/>
                      <a:pt x="61" y="61"/>
                      <a:pt x="59" y="64"/>
                    </a:cubicBezTo>
                    <a:cubicBezTo>
                      <a:pt x="57" y="69"/>
                      <a:pt x="54" y="70"/>
                      <a:pt x="52" y="68"/>
                    </a:cubicBezTo>
                    <a:cubicBezTo>
                      <a:pt x="49" y="71"/>
                      <a:pt x="46" y="72"/>
                      <a:pt x="43" y="73"/>
                    </a:cubicBezTo>
                    <a:cubicBezTo>
                      <a:pt x="41" y="74"/>
                      <a:pt x="37" y="71"/>
                      <a:pt x="34" y="73"/>
                    </a:cubicBezTo>
                    <a:cubicBezTo>
                      <a:pt x="31" y="64"/>
                      <a:pt x="28" y="71"/>
                      <a:pt x="25" y="69"/>
                    </a:cubicBezTo>
                    <a:cubicBezTo>
                      <a:pt x="22" y="74"/>
                      <a:pt x="19" y="71"/>
                      <a:pt x="17" y="68"/>
                    </a:cubicBezTo>
                    <a:cubicBezTo>
                      <a:pt x="14" y="62"/>
                      <a:pt x="12" y="59"/>
                      <a:pt x="10" y="61"/>
                    </a:cubicBezTo>
                    <a:cubicBezTo>
                      <a:pt x="8" y="62"/>
                      <a:pt x="6" y="58"/>
                      <a:pt x="4" y="55"/>
                    </a:cubicBezTo>
                    <a:cubicBezTo>
                      <a:pt x="3" y="59"/>
                      <a:pt x="2" y="53"/>
                      <a:pt x="1" y="50"/>
                    </a:cubicBezTo>
                    <a:cubicBezTo>
                      <a:pt x="0" y="43"/>
                      <a:pt x="0" y="41"/>
                      <a:pt x="0" y="38"/>
                    </a:cubicBezTo>
                    <a:cubicBezTo>
                      <a:pt x="0" y="33"/>
                      <a:pt x="0" y="32"/>
                      <a:pt x="1" y="30"/>
                    </a:cubicBezTo>
                    <a:cubicBezTo>
                      <a:pt x="2" y="27"/>
                      <a:pt x="3" y="22"/>
                      <a:pt x="4" y="20"/>
                    </a:cubicBezTo>
                    <a:cubicBezTo>
                      <a:pt x="6" y="22"/>
                      <a:pt x="8" y="14"/>
                      <a:pt x="10" y="13"/>
                    </a:cubicBezTo>
                    <a:cubicBezTo>
                      <a:pt x="12" y="11"/>
                      <a:pt x="14" y="8"/>
                      <a:pt x="17" y="8"/>
                    </a:cubicBezTo>
                    <a:cubicBezTo>
                      <a:pt x="19" y="12"/>
                      <a:pt x="22" y="3"/>
                      <a:pt x="25" y="4"/>
                    </a:cubicBezTo>
                    <a:cubicBezTo>
                      <a:pt x="28" y="4"/>
                      <a:pt x="31" y="6"/>
                      <a:pt x="34" y="3"/>
                    </a:cubicBezTo>
                    <a:cubicBezTo>
                      <a:pt x="37" y="3"/>
                      <a:pt x="41" y="9"/>
                      <a:pt x="43" y="4"/>
                    </a:cubicBezTo>
                    <a:cubicBezTo>
                      <a:pt x="46" y="0"/>
                      <a:pt x="49" y="6"/>
                      <a:pt x="52" y="8"/>
                    </a:cubicBezTo>
                    <a:cubicBezTo>
                      <a:pt x="54" y="14"/>
                      <a:pt x="57" y="14"/>
                      <a:pt x="59" y="14"/>
                    </a:cubicBezTo>
                    <a:cubicBezTo>
                      <a:pt x="61" y="15"/>
                      <a:pt x="63" y="15"/>
                      <a:pt x="64" y="20"/>
                    </a:cubicBezTo>
                    <a:cubicBezTo>
                      <a:pt x="66" y="20"/>
                      <a:pt x="67" y="26"/>
                      <a:pt x="68" y="27"/>
                    </a:cubicBezTo>
                    <a:cubicBezTo>
                      <a:pt x="68" y="26"/>
                      <a:pt x="69" y="34"/>
                      <a:pt x="69" y="38"/>
                    </a:cubicBezTo>
                    <a:close/>
                  </a:path>
                </a:pathLst>
              </a:cu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9" name="Freeform 206">
                <a:extLst>
                  <a:ext uri="{FF2B5EF4-FFF2-40B4-BE49-F238E27FC236}">
                    <a16:creationId xmlns:a16="http://schemas.microsoft.com/office/drawing/2014/main" id="{1419A46A-8A6E-4C91-A4A3-A6DA022EBF61}"/>
                  </a:ext>
                </a:extLst>
              </p:cNvPr>
              <p:cNvSpPr>
                <a:spLocks/>
              </p:cNvSpPr>
              <p:nvPr/>
            </p:nvSpPr>
            <p:spPr bwMode="auto">
              <a:xfrm>
                <a:off x="4667250" y="2479675"/>
                <a:ext cx="200025" cy="222250"/>
              </a:xfrm>
              <a:custGeom>
                <a:avLst/>
                <a:gdLst>
                  <a:gd name="T0" fmla="*/ 70 w 70"/>
                  <a:gd name="T1" fmla="*/ 40 h 78"/>
                  <a:gd name="T2" fmla="*/ 65 w 70"/>
                  <a:gd name="T3" fmla="*/ 57 h 78"/>
                  <a:gd name="T4" fmla="*/ 52 w 70"/>
                  <a:gd name="T5" fmla="*/ 70 h 78"/>
                  <a:gd name="T6" fmla="*/ 35 w 70"/>
                  <a:gd name="T7" fmla="*/ 74 h 78"/>
                  <a:gd name="T8" fmla="*/ 17 w 70"/>
                  <a:gd name="T9" fmla="*/ 70 h 78"/>
                  <a:gd name="T10" fmla="*/ 5 w 70"/>
                  <a:gd name="T11" fmla="*/ 57 h 78"/>
                  <a:gd name="T12" fmla="*/ 0 w 70"/>
                  <a:gd name="T13" fmla="*/ 40 h 78"/>
                  <a:gd name="T14" fmla="*/ 5 w 70"/>
                  <a:gd name="T15" fmla="*/ 22 h 78"/>
                  <a:gd name="T16" fmla="*/ 17 w 70"/>
                  <a:gd name="T17" fmla="*/ 10 h 78"/>
                  <a:gd name="T18" fmla="*/ 35 w 70"/>
                  <a:gd name="T19" fmla="*/ 5 h 78"/>
                  <a:gd name="T20" fmla="*/ 52 w 70"/>
                  <a:gd name="T21" fmla="*/ 10 h 78"/>
                  <a:gd name="T22" fmla="*/ 65 w 70"/>
                  <a:gd name="T23" fmla="*/ 22 h 78"/>
                  <a:gd name="T24" fmla="*/ 70 w 70"/>
                  <a:gd name="T25" fmla="*/ 4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8">
                    <a:moveTo>
                      <a:pt x="70" y="40"/>
                    </a:moveTo>
                    <a:cubicBezTo>
                      <a:pt x="70" y="54"/>
                      <a:pt x="68" y="49"/>
                      <a:pt x="65" y="57"/>
                    </a:cubicBezTo>
                    <a:cubicBezTo>
                      <a:pt x="62" y="62"/>
                      <a:pt x="58" y="65"/>
                      <a:pt x="52" y="70"/>
                    </a:cubicBezTo>
                    <a:cubicBezTo>
                      <a:pt x="47" y="74"/>
                      <a:pt x="41" y="78"/>
                      <a:pt x="35" y="74"/>
                    </a:cubicBezTo>
                    <a:cubicBezTo>
                      <a:pt x="29" y="71"/>
                      <a:pt x="23" y="74"/>
                      <a:pt x="17" y="70"/>
                    </a:cubicBezTo>
                    <a:cubicBezTo>
                      <a:pt x="12" y="67"/>
                      <a:pt x="8" y="62"/>
                      <a:pt x="5" y="57"/>
                    </a:cubicBezTo>
                    <a:cubicBezTo>
                      <a:pt x="2" y="47"/>
                      <a:pt x="0" y="34"/>
                      <a:pt x="0" y="40"/>
                    </a:cubicBezTo>
                    <a:cubicBezTo>
                      <a:pt x="0" y="33"/>
                      <a:pt x="2" y="25"/>
                      <a:pt x="5" y="22"/>
                    </a:cubicBezTo>
                    <a:cubicBezTo>
                      <a:pt x="8" y="18"/>
                      <a:pt x="12" y="10"/>
                      <a:pt x="17" y="10"/>
                    </a:cubicBezTo>
                    <a:cubicBezTo>
                      <a:pt x="23" y="9"/>
                      <a:pt x="29" y="0"/>
                      <a:pt x="35" y="5"/>
                    </a:cubicBezTo>
                    <a:cubicBezTo>
                      <a:pt x="41" y="6"/>
                      <a:pt x="47" y="8"/>
                      <a:pt x="52" y="10"/>
                    </a:cubicBezTo>
                    <a:cubicBezTo>
                      <a:pt x="58" y="7"/>
                      <a:pt x="62" y="10"/>
                      <a:pt x="65" y="22"/>
                    </a:cubicBezTo>
                    <a:cubicBezTo>
                      <a:pt x="68" y="30"/>
                      <a:pt x="70" y="31"/>
                      <a:pt x="70" y="40"/>
                    </a:cubicBezTo>
                    <a:close/>
                  </a:path>
                </a:pathLst>
              </a:custGeom>
              <a:solidFill>
                <a:srgbClr val="89B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0" name="Freeform 207">
                <a:extLst>
                  <a:ext uri="{FF2B5EF4-FFF2-40B4-BE49-F238E27FC236}">
                    <a16:creationId xmlns:a16="http://schemas.microsoft.com/office/drawing/2014/main" id="{26F29832-3433-4B66-B820-5C1A456A31D5}"/>
                  </a:ext>
                </a:extLst>
              </p:cNvPr>
              <p:cNvSpPr>
                <a:spLocks/>
              </p:cNvSpPr>
              <p:nvPr/>
            </p:nvSpPr>
            <p:spPr bwMode="auto">
              <a:xfrm>
                <a:off x="4803775" y="2724150"/>
                <a:ext cx="196850" cy="228600"/>
              </a:xfrm>
              <a:custGeom>
                <a:avLst/>
                <a:gdLst>
                  <a:gd name="T0" fmla="*/ 69 w 69"/>
                  <a:gd name="T1" fmla="*/ 40 h 80"/>
                  <a:gd name="T2" fmla="*/ 65 w 69"/>
                  <a:gd name="T3" fmla="*/ 58 h 80"/>
                  <a:gd name="T4" fmla="*/ 52 w 69"/>
                  <a:gd name="T5" fmla="*/ 70 h 80"/>
                  <a:gd name="T6" fmla="*/ 35 w 69"/>
                  <a:gd name="T7" fmla="*/ 75 h 80"/>
                  <a:gd name="T8" fmla="*/ 17 w 69"/>
                  <a:gd name="T9" fmla="*/ 70 h 80"/>
                  <a:gd name="T10" fmla="*/ 5 w 69"/>
                  <a:gd name="T11" fmla="*/ 58 h 80"/>
                  <a:gd name="T12" fmla="*/ 0 w 69"/>
                  <a:gd name="T13" fmla="*/ 40 h 80"/>
                  <a:gd name="T14" fmla="*/ 5 w 69"/>
                  <a:gd name="T15" fmla="*/ 23 h 80"/>
                  <a:gd name="T16" fmla="*/ 17 w 69"/>
                  <a:gd name="T17" fmla="*/ 10 h 80"/>
                  <a:gd name="T18" fmla="*/ 35 w 69"/>
                  <a:gd name="T19" fmla="*/ 6 h 80"/>
                  <a:gd name="T20" fmla="*/ 52 w 69"/>
                  <a:gd name="T21" fmla="*/ 10 h 80"/>
                  <a:gd name="T22" fmla="*/ 65 w 69"/>
                  <a:gd name="T23" fmla="*/ 23 h 80"/>
                  <a:gd name="T24" fmla="*/ 69 w 69"/>
                  <a:gd name="T25"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80">
                    <a:moveTo>
                      <a:pt x="69" y="40"/>
                    </a:moveTo>
                    <a:cubicBezTo>
                      <a:pt x="69" y="48"/>
                      <a:pt x="68" y="51"/>
                      <a:pt x="65" y="58"/>
                    </a:cubicBezTo>
                    <a:cubicBezTo>
                      <a:pt x="62" y="65"/>
                      <a:pt x="57" y="60"/>
                      <a:pt x="52" y="70"/>
                    </a:cubicBezTo>
                    <a:cubicBezTo>
                      <a:pt x="47" y="76"/>
                      <a:pt x="41" y="75"/>
                      <a:pt x="35" y="75"/>
                    </a:cubicBezTo>
                    <a:cubicBezTo>
                      <a:pt x="28" y="76"/>
                      <a:pt x="22" y="80"/>
                      <a:pt x="17" y="70"/>
                    </a:cubicBezTo>
                    <a:cubicBezTo>
                      <a:pt x="12" y="63"/>
                      <a:pt x="8" y="63"/>
                      <a:pt x="5" y="58"/>
                    </a:cubicBezTo>
                    <a:cubicBezTo>
                      <a:pt x="2" y="52"/>
                      <a:pt x="0" y="48"/>
                      <a:pt x="0" y="40"/>
                    </a:cubicBezTo>
                    <a:cubicBezTo>
                      <a:pt x="0" y="34"/>
                      <a:pt x="2" y="30"/>
                      <a:pt x="5" y="23"/>
                    </a:cubicBezTo>
                    <a:cubicBezTo>
                      <a:pt x="8" y="15"/>
                      <a:pt x="12" y="9"/>
                      <a:pt x="17" y="10"/>
                    </a:cubicBezTo>
                    <a:cubicBezTo>
                      <a:pt x="22" y="0"/>
                      <a:pt x="28" y="8"/>
                      <a:pt x="35" y="6"/>
                    </a:cubicBezTo>
                    <a:cubicBezTo>
                      <a:pt x="41" y="7"/>
                      <a:pt x="47" y="12"/>
                      <a:pt x="52" y="10"/>
                    </a:cubicBezTo>
                    <a:cubicBezTo>
                      <a:pt x="57" y="12"/>
                      <a:pt x="62" y="17"/>
                      <a:pt x="65" y="23"/>
                    </a:cubicBezTo>
                    <a:cubicBezTo>
                      <a:pt x="68" y="31"/>
                      <a:pt x="69" y="39"/>
                      <a:pt x="69" y="40"/>
                    </a:cubicBezTo>
                    <a:close/>
                  </a:path>
                </a:pathLst>
              </a:cu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1" name="Freeform 208">
                <a:extLst>
                  <a:ext uri="{FF2B5EF4-FFF2-40B4-BE49-F238E27FC236}">
                    <a16:creationId xmlns:a16="http://schemas.microsoft.com/office/drawing/2014/main" id="{302DF311-A8DF-45BE-9A75-86D3CAD2465F}"/>
                  </a:ext>
                </a:extLst>
              </p:cNvPr>
              <p:cNvSpPr>
                <a:spLocks/>
              </p:cNvSpPr>
              <p:nvPr/>
            </p:nvSpPr>
            <p:spPr bwMode="auto">
              <a:xfrm>
                <a:off x="5119688" y="2760663"/>
                <a:ext cx="200025" cy="206375"/>
              </a:xfrm>
              <a:custGeom>
                <a:avLst/>
                <a:gdLst>
                  <a:gd name="T0" fmla="*/ 70 w 70"/>
                  <a:gd name="T1" fmla="*/ 34 h 72"/>
                  <a:gd name="T2" fmla="*/ 65 w 70"/>
                  <a:gd name="T3" fmla="*/ 52 h 72"/>
                  <a:gd name="T4" fmla="*/ 53 w 70"/>
                  <a:gd name="T5" fmla="*/ 64 h 72"/>
                  <a:gd name="T6" fmla="*/ 35 w 70"/>
                  <a:gd name="T7" fmla="*/ 69 h 72"/>
                  <a:gd name="T8" fmla="*/ 18 w 70"/>
                  <a:gd name="T9" fmla="*/ 64 h 72"/>
                  <a:gd name="T10" fmla="*/ 5 w 70"/>
                  <a:gd name="T11" fmla="*/ 52 h 72"/>
                  <a:gd name="T12" fmla="*/ 0 w 70"/>
                  <a:gd name="T13" fmla="*/ 34 h 72"/>
                  <a:gd name="T14" fmla="*/ 5 w 70"/>
                  <a:gd name="T15" fmla="*/ 17 h 72"/>
                  <a:gd name="T16" fmla="*/ 18 w 70"/>
                  <a:gd name="T17" fmla="*/ 5 h 72"/>
                  <a:gd name="T18" fmla="*/ 35 w 70"/>
                  <a:gd name="T19" fmla="*/ 0 h 72"/>
                  <a:gd name="T20" fmla="*/ 53 w 70"/>
                  <a:gd name="T21" fmla="*/ 5 h 72"/>
                  <a:gd name="T22" fmla="*/ 65 w 70"/>
                  <a:gd name="T23" fmla="*/ 17 h 72"/>
                  <a:gd name="T24" fmla="*/ 70 w 70"/>
                  <a:gd name="T2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2">
                    <a:moveTo>
                      <a:pt x="70" y="34"/>
                    </a:moveTo>
                    <a:cubicBezTo>
                      <a:pt x="70" y="49"/>
                      <a:pt x="68" y="43"/>
                      <a:pt x="65" y="52"/>
                    </a:cubicBezTo>
                    <a:cubicBezTo>
                      <a:pt x="62" y="62"/>
                      <a:pt x="58" y="59"/>
                      <a:pt x="53" y="64"/>
                    </a:cubicBezTo>
                    <a:cubicBezTo>
                      <a:pt x="47" y="72"/>
                      <a:pt x="41" y="68"/>
                      <a:pt x="35" y="69"/>
                    </a:cubicBezTo>
                    <a:cubicBezTo>
                      <a:pt x="29" y="71"/>
                      <a:pt x="23" y="67"/>
                      <a:pt x="18" y="64"/>
                    </a:cubicBezTo>
                    <a:cubicBezTo>
                      <a:pt x="12" y="59"/>
                      <a:pt x="8" y="56"/>
                      <a:pt x="5" y="52"/>
                    </a:cubicBezTo>
                    <a:cubicBezTo>
                      <a:pt x="2" y="44"/>
                      <a:pt x="0" y="41"/>
                      <a:pt x="0" y="34"/>
                    </a:cubicBezTo>
                    <a:cubicBezTo>
                      <a:pt x="0" y="27"/>
                      <a:pt x="2" y="19"/>
                      <a:pt x="5" y="17"/>
                    </a:cubicBezTo>
                    <a:cubicBezTo>
                      <a:pt x="8" y="7"/>
                      <a:pt x="12" y="17"/>
                      <a:pt x="18" y="5"/>
                    </a:cubicBezTo>
                    <a:cubicBezTo>
                      <a:pt x="23" y="2"/>
                      <a:pt x="29" y="6"/>
                      <a:pt x="35" y="0"/>
                    </a:cubicBezTo>
                    <a:cubicBezTo>
                      <a:pt x="41" y="4"/>
                      <a:pt x="47" y="0"/>
                      <a:pt x="53" y="5"/>
                    </a:cubicBezTo>
                    <a:cubicBezTo>
                      <a:pt x="58" y="7"/>
                      <a:pt x="62" y="15"/>
                      <a:pt x="65" y="17"/>
                    </a:cubicBezTo>
                    <a:cubicBezTo>
                      <a:pt x="68" y="22"/>
                      <a:pt x="70" y="23"/>
                      <a:pt x="70" y="34"/>
                    </a:cubicBezTo>
                    <a:close/>
                  </a:path>
                </a:pathLst>
              </a:custGeom>
              <a:solidFill>
                <a:srgbClr val="2140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2" name="Freeform 209">
                <a:extLst>
                  <a:ext uri="{FF2B5EF4-FFF2-40B4-BE49-F238E27FC236}">
                    <a16:creationId xmlns:a16="http://schemas.microsoft.com/office/drawing/2014/main" id="{4EF6CF27-4934-4362-B22A-9C63FC46E769}"/>
                  </a:ext>
                </a:extLst>
              </p:cNvPr>
              <p:cNvSpPr>
                <a:spLocks/>
              </p:cNvSpPr>
              <p:nvPr/>
            </p:nvSpPr>
            <p:spPr bwMode="auto">
              <a:xfrm>
                <a:off x="5418138" y="2755900"/>
                <a:ext cx="279400" cy="355600"/>
              </a:xfrm>
              <a:custGeom>
                <a:avLst/>
                <a:gdLst>
                  <a:gd name="T0" fmla="*/ 65 w 98"/>
                  <a:gd name="T1" fmla="*/ 7 h 125"/>
                  <a:gd name="T2" fmla="*/ 26 w 98"/>
                  <a:gd name="T3" fmla="*/ 67 h 125"/>
                  <a:gd name="T4" fmla="*/ 28 w 98"/>
                  <a:gd name="T5" fmla="*/ 114 h 125"/>
                  <a:gd name="T6" fmla="*/ 89 w 98"/>
                  <a:gd name="T7" fmla="*/ 64 h 125"/>
                  <a:gd name="T8" fmla="*/ 65 w 98"/>
                  <a:gd name="T9" fmla="*/ 7 h 125"/>
                </a:gdLst>
                <a:ahLst/>
                <a:cxnLst>
                  <a:cxn ang="0">
                    <a:pos x="T0" y="T1"/>
                  </a:cxn>
                  <a:cxn ang="0">
                    <a:pos x="T2" y="T3"/>
                  </a:cxn>
                  <a:cxn ang="0">
                    <a:pos x="T4" y="T5"/>
                  </a:cxn>
                  <a:cxn ang="0">
                    <a:pos x="T6" y="T7"/>
                  </a:cxn>
                  <a:cxn ang="0">
                    <a:pos x="T8" y="T9"/>
                  </a:cxn>
                </a:cxnLst>
                <a:rect l="0" t="0" r="r" b="b"/>
                <a:pathLst>
                  <a:path w="98" h="125">
                    <a:moveTo>
                      <a:pt x="65" y="7"/>
                    </a:moveTo>
                    <a:cubicBezTo>
                      <a:pt x="37" y="0"/>
                      <a:pt x="0" y="26"/>
                      <a:pt x="26" y="67"/>
                    </a:cubicBezTo>
                    <a:cubicBezTo>
                      <a:pt x="49" y="103"/>
                      <a:pt x="6" y="104"/>
                      <a:pt x="28" y="114"/>
                    </a:cubicBezTo>
                    <a:cubicBezTo>
                      <a:pt x="51" y="125"/>
                      <a:pt x="82" y="88"/>
                      <a:pt x="89" y="64"/>
                    </a:cubicBezTo>
                    <a:cubicBezTo>
                      <a:pt x="98" y="38"/>
                      <a:pt x="95" y="15"/>
                      <a:pt x="65" y="7"/>
                    </a:cubicBezTo>
                    <a:close/>
                  </a:path>
                </a:pathLst>
              </a:custGeom>
              <a:solidFill>
                <a:srgbClr val="35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3" name="Freeform 210">
                <a:extLst>
                  <a:ext uri="{FF2B5EF4-FFF2-40B4-BE49-F238E27FC236}">
                    <a16:creationId xmlns:a16="http://schemas.microsoft.com/office/drawing/2014/main" id="{8D4F966B-1B1A-4FC0-9C0F-38B2AF3B8018}"/>
                  </a:ext>
                </a:extLst>
              </p:cNvPr>
              <p:cNvSpPr>
                <a:spLocks/>
              </p:cNvSpPr>
              <p:nvPr/>
            </p:nvSpPr>
            <p:spPr bwMode="auto">
              <a:xfrm>
                <a:off x="5446713" y="2978150"/>
                <a:ext cx="203200" cy="125413"/>
              </a:xfrm>
              <a:custGeom>
                <a:avLst/>
                <a:gdLst>
                  <a:gd name="T0" fmla="*/ 56 w 71"/>
                  <a:gd name="T1" fmla="*/ 11 h 44"/>
                  <a:gd name="T2" fmla="*/ 47 w 71"/>
                  <a:gd name="T3" fmla="*/ 1 h 44"/>
                  <a:gd name="T4" fmla="*/ 39 w 71"/>
                  <a:gd name="T5" fmla="*/ 3 h 44"/>
                  <a:gd name="T6" fmla="*/ 34 w 71"/>
                  <a:gd name="T7" fmla="*/ 0 h 44"/>
                  <a:gd name="T8" fmla="*/ 23 w 71"/>
                  <a:gd name="T9" fmla="*/ 4 h 44"/>
                  <a:gd name="T10" fmla="*/ 18 w 71"/>
                  <a:gd name="T11" fmla="*/ 36 h 44"/>
                  <a:gd name="T12" fmla="*/ 71 w 71"/>
                  <a:gd name="T13" fmla="*/ 3 h 44"/>
                  <a:gd name="T14" fmla="*/ 56 w 71"/>
                  <a:gd name="T15" fmla="*/ 1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4">
                    <a:moveTo>
                      <a:pt x="56" y="11"/>
                    </a:moveTo>
                    <a:cubicBezTo>
                      <a:pt x="50" y="11"/>
                      <a:pt x="48" y="6"/>
                      <a:pt x="47" y="1"/>
                    </a:cubicBezTo>
                    <a:cubicBezTo>
                      <a:pt x="44" y="2"/>
                      <a:pt x="42" y="4"/>
                      <a:pt x="39" y="3"/>
                    </a:cubicBezTo>
                    <a:cubicBezTo>
                      <a:pt x="37" y="3"/>
                      <a:pt x="35" y="1"/>
                      <a:pt x="34" y="0"/>
                    </a:cubicBezTo>
                    <a:cubicBezTo>
                      <a:pt x="31" y="3"/>
                      <a:pt x="27" y="6"/>
                      <a:pt x="23" y="4"/>
                    </a:cubicBezTo>
                    <a:cubicBezTo>
                      <a:pt x="27" y="26"/>
                      <a:pt x="0" y="27"/>
                      <a:pt x="18" y="36"/>
                    </a:cubicBezTo>
                    <a:cubicBezTo>
                      <a:pt x="36" y="44"/>
                      <a:pt x="59" y="24"/>
                      <a:pt x="71" y="3"/>
                    </a:cubicBezTo>
                    <a:cubicBezTo>
                      <a:pt x="67" y="6"/>
                      <a:pt x="62" y="11"/>
                      <a:pt x="56" y="11"/>
                    </a:cubicBezTo>
                    <a:close/>
                  </a:path>
                </a:pathLst>
              </a:custGeom>
              <a:solidFill>
                <a:srgbClr val="FFB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4" name="Freeform 211">
                <a:extLst>
                  <a:ext uri="{FF2B5EF4-FFF2-40B4-BE49-F238E27FC236}">
                    <a16:creationId xmlns:a16="http://schemas.microsoft.com/office/drawing/2014/main" id="{D190E678-48C0-4BF6-B5F8-1C5A08DAAE09}"/>
                  </a:ext>
                </a:extLst>
              </p:cNvPr>
              <p:cNvSpPr>
                <a:spLocks/>
              </p:cNvSpPr>
              <p:nvPr/>
            </p:nvSpPr>
            <p:spPr bwMode="auto">
              <a:xfrm>
                <a:off x="5518150" y="2125663"/>
                <a:ext cx="293688" cy="681038"/>
              </a:xfrm>
              <a:custGeom>
                <a:avLst/>
                <a:gdLst>
                  <a:gd name="T0" fmla="*/ 89 w 103"/>
                  <a:gd name="T1" fmla="*/ 127 h 239"/>
                  <a:gd name="T2" fmla="*/ 27 w 103"/>
                  <a:gd name="T3" fmla="*/ 234 h 239"/>
                  <a:gd name="T4" fmla="*/ 14 w 103"/>
                  <a:gd name="T5" fmla="*/ 111 h 239"/>
                  <a:gd name="T6" fmla="*/ 77 w 103"/>
                  <a:gd name="T7" fmla="*/ 4 h 239"/>
                  <a:gd name="T8" fmla="*/ 89 w 103"/>
                  <a:gd name="T9" fmla="*/ 127 h 239"/>
                </a:gdLst>
                <a:ahLst/>
                <a:cxnLst>
                  <a:cxn ang="0">
                    <a:pos x="T0" y="T1"/>
                  </a:cxn>
                  <a:cxn ang="0">
                    <a:pos x="T2" y="T3"/>
                  </a:cxn>
                  <a:cxn ang="0">
                    <a:pos x="T4" y="T5"/>
                  </a:cxn>
                  <a:cxn ang="0">
                    <a:pos x="T6" y="T7"/>
                  </a:cxn>
                  <a:cxn ang="0">
                    <a:pos x="T8" y="T9"/>
                  </a:cxn>
                </a:cxnLst>
                <a:rect l="0" t="0" r="r" b="b"/>
                <a:pathLst>
                  <a:path w="103" h="239">
                    <a:moveTo>
                      <a:pt x="89" y="127"/>
                    </a:moveTo>
                    <a:cubicBezTo>
                      <a:pt x="75" y="191"/>
                      <a:pt x="47" y="239"/>
                      <a:pt x="27" y="234"/>
                    </a:cubicBezTo>
                    <a:cubicBezTo>
                      <a:pt x="6" y="230"/>
                      <a:pt x="0" y="175"/>
                      <a:pt x="14" y="111"/>
                    </a:cubicBezTo>
                    <a:cubicBezTo>
                      <a:pt x="28" y="48"/>
                      <a:pt x="56" y="0"/>
                      <a:pt x="77" y="4"/>
                    </a:cubicBezTo>
                    <a:cubicBezTo>
                      <a:pt x="97" y="9"/>
                      <a:pt x="103" y="64"/>
                      <a:pt x="89" y="127"/>
                    </a:cubicBez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5" name="Freeform 212">
                <a:extLst>
                  <a:ext uri="{FF2B5EF4-FFF2-40B4-BE49-F238E27FC236}">
                    <a16:creationId xmlns:a16="http://schemas.microsoft.com/office/drawing/2014/main" id="{A0BCDC3D-5F62-4EFD-8305-6B59538BC248}"/>
                  </a:ext>
                </a:extLst>
              </p:cNvPr>
              <p:cNvSpPr>
                <a:spLocks/>
              </p:cNvSpPr>
              <p:nvPr/>
            </p:nvSpPr>
            <p:spPr bwMode="auto">
              <a:xfrm>
                <a:off x="5589588" y="2290763"/>
                <a:ext cx="201613" cy="80963"/>
              </a:xfrm>
              <a:custGeom>
                <a:avLst/>
                <a:gdLst>
                  <a:gd name="T0" fmla="*/ 71 w 71"/>
                  <a:gd name="T1" fmla="*/ 28 h 28"/>
                  <a:gd name="T2" fmla="*/ 71 w 71"/>
                  <a:gd name="T3" fmla="*/ 15 h 28"/>
                  <a:gd name="T4" fmla="*/ 5 w 71"/>
                  <a:gd name="T5" fmla="*/ 0 h 28"/>
                  <a:gd name="T6" fmla="*/ 0 w 71"/>
                  <a:gd name="T7" fmla="*/ 13 h 28"/>
                  <a:gd name="T8" fmla="*/ 71 w 71"/>
                  <a:gd name="T9" fmla="*/ 28 h 28"/>
                </a:gdLst>
                <a:ahLst/>
                <a:cxnLst>
                  <a:cxn ang="0">
                    <a:pos x="T0" y="T1"/>
                  </a:cxn>
                  <a:cxn ang="0">
                    <a:pos x="T2" y="T3"/>
                  </a:cxn>
                  <a:cxn ang="0">
                    <a:pos x="T4" y="T5"/>
                  </a:cxn>
                  <a:cxn ang="0">
                    <a:pos x="T6" y="T7"/>
                  </a:cxn>
                  <a:cxn ang="0">
                    <a:pos x="T8" y="T9"/>
                  </a:cxn>
                </a:cxnLst>
                <a:rect l="0" t="0" r="r" b="b"/>
                <a:pathLst>
                  <a:path w="71" h="28">
                    <a:moveTo>
                      <a:pt x="71" y="28"/>
                    </a:moveTo>
                    <a:cubicBezTo>
                      <a:pt x="71" y="24"/>
                      <a:pt x="71" y="19"/>
                      <a:pt x="71" y="15"/>
                    </a:cubicBezTo>
                    <a:cubicBezTo>
                      <a:pt x="5" y="0"/>
                      <a:pt x="5" y="0"/>
                      <a:pt x="5" y="0"/>
                    </a:cubicBezTo>
                    <a:cubicBezTo>
                      <a:pt x="4" y="4"/>
                      <a:pt x="2" y="9"/>
                      <a:pt x="0" y="13"/>
                    </a:cubicBezTo>
                    <a:lnTo>
                      <a:pt x="71" y="28"/>
                    </a:lnTo>
                    <a:close/>
                  </a:path>
                </a:pathLst>
              </a:custGeom>
              <a:solidFill>
                <a:srgbClr val="FFB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6" name="Freeform 213">
                <a:extLst>
                  <a:ext uri="{FF2B5EF4-FFF2-40B4-BE49-F238E27FC236}">
                    <a16:creationId xmlns:a16="http://schemas.microsoft.com/office/drawing/2014/main" id="{4F515812-00D9-4C2E-B4CF-48F5FF9E8D11}"/>
                  </a:ext>
                </a:extLst>
              </p:cNvPr>
              <p:cNvSpPr>
                <a:spLocks/>
              </p:cNvSpPr>
              <p:nvPr/>
            </p:nvSpPr>
            <p:spPr bwMode="auto">
              <a:xfrm>
                <a:off x="5535613" y="2727325"/>
                <a:ext cx="130175" cy="79375"/>
              </a:xfrm>
              <a:custGeom>
                <a:avLst/>
                <a:gdLst>
                  <a:gd name="T0" fmla="*/ 75 w 82"/>
                  <a:gd name="T1" fmla="*/ 50 h 50"/>
                  <a:gd name="T2" fmla="*/ 0 w 82"/>
                  <a:gd name="T3" fmla="*/ 34 h 50"/>
                  <a:gd name="T4" fmla="*/ 7 w 82"/>
                  <a:gd name="T5" fmla="*/ 0 h 50"/>
                  <a:gd name="T6" fmla="*/ 82 w 82"/>
                  <a:gd name="T7" fmla="*/ 16 h 50"/>
                  <a:gd name="T8" fmla="*/ 75 w 82"/>
                  <a:gd name="T9" fmla="*/ 50 h 50"/>
                </a:gdLst>
                <a:ahLst/>
                <a:cxnLst>
                  <a:cxn ang="0">
                    <a:pos x="T0" y="T1"/>
                  </a:cxn>
                  <a:cxn ang="0">
                    <a:pos x="T2" y="T3"/>
                  </a:cxn>
                  <a:cxn ang="0">
                    <a:pos x="T4" y="T5"/>
                  </a:cxn>
                  <a:cxn ang="0">
                    <a:pos x="T6" y="T7"/>
                  </a:cxn>
                  <a:cxn ang="0">
                    <a:pos x="T8" y="T9"/>
                  </a:cxn>
                </a:cxnLst>
                <a:rect l="0" t="0" r="r" b="b"/>
                <a:pathLst>
                  <a:path w="82" h="50">
                    <a:moveTo>
                      <a:pt x="75" y="50"/>
                    </a:moveTo>
                    <a:lnTo>
                      <a:pt x="0" y="34"/>
                    </a:lnTo>
                    <a:lnTo>
                      <a:pt x="7" y="0"/>
                    </a:lnTo>
                    <a:lnTo>
                      <a:pt x="82" y="16"/>
                    </a:lnTo>
                    <a:lnTo>
                      <a:pt x="75" y="50"/>
                    </a:lnTo>
                    <a:close/>
                  </a:path>
                </a:pathLst>
              </a:custGeom>
              <a:solidFill>
                <a:srgbClr val="FFB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8" name="组合 17">
              <a:extLst>
                <a:ext uri="{FF2B5EF4-FFF2-40B4-BE49-F238E27FC236}">
                  <a16:creationId xmlns:a16="http://schemas.microsoft.com/office/drawing/2014/main" id="{14F8D8A4-6F2F-4C83-B05D-EC9AC7EA1967}"/>
                </a:ext>
              </a:extLst>
            </p:cNvPr>
            <p:cNvGrpSpPr/>
            <p:nvPr/>
          </p:nvGrpSpPr>
          <p:grpSpPr>
            <a:xfrm>
              <a:off x="2906251" y="3776384"/>
              <a:ext cx="888420" cy="887512"/>
              <a:chOff x="10002838" y="3495675"/>
              <a:chExt cx="1554163" cy="1552575"/>
            </a:xfrm>
          </p:grpSpPr>
          <p:sp>
            <p:nvSpPr>
              <p:cNvPr id="281" name="Oval 214">
                <a:extLst>
                  <a:ext uri="{FF2B5EF4-FFF2-40B4-BE49-F238E27FC236}">
                    <a16:creationId xmlns:a16="http://schemas.microsoft.com/office/drawing/2014/main" id="{FF63363D-DCCD-4FD7-9081-AE357CB7B662}"/>
                  </a:ext>
                </a:extLst>
              </p:cNvPr>
              <p:cNvSpPr>
                <a:spLocks noChangeArrowheads="1"/>
              </p:cNvSpPr>
              <p:nvPr/>
            </p:nvSpPr>
            <p:spPr bwMode="auto">
              <a:xfrm>
                <a:off x="10002838" y="3495675"/>
                <a:ext cx="1554163" cy="1552575"/>
              </a:xfrm>
              <a:prstGeom prst="ellipse">
                <a:avLst/>
              </a:pr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2" name="Freeform 215">
                <a:extLst>
                  <a:ext uri="{FF2B5EF4-FFF2-40B4-BE49-F238E27FC236}">
                    <a16:creationId xmlns:a16="http://schemas.microsoft.com/office/drawing/2014/main" id="{3F576F62-1284-4500-9A3B-0CCF2A1391AC}"/>
                  </a:ext>
                </a:extLst>
              </p:cNvPr>
              <p:cNvSpPr>
                <a:spLocks/>
              </p:cNvSpPr>
              <p:nvPr/>
            </p:nvSpPr>
            <p:spPr bwMode="auto">
              <a:xfrm>
                <a:off x="11082338" y="3948113"/>
                <a:ext cx="19050" cy="49213"/>
              </a:xfrm>
              <a:custGeom>
                <a:avLst/>
                <a:gdLst>
                  <a:gd name="T0" fmla="*/ 2 w 7"/>
                  <a:gd name="T1" fmla="*/ 16 h 17"/>
                  <a:gd name="T2" fmla="*/ 7 w 7"/>
                  <a:gd name="T3" fmla="*/ 1 h 17"/>
                  <a:gd name="T4" fmla="*/ 6 w 7"/>
                  <a:gd name="T5" fmla="*/ 0 h 17"/>
                  <a:gd name="T6" fmla="*/ 0 w 7"/>
                  <a:gd name="T7" fmla="*/ 17 h 17"/>
                  <a:gd name="T8" fmla="*/ 2 w 7"/>
                  <a:gd name="T9" fmla="*/ 16 h 17"/>
                </a:gdLst>
                <a:ahLst/>
                <a:cxnLst>
                  <a:cxn ang="0">
                    <a:pos x="T0" y="T1"/>
                  </a:cxn>
                  <a:cxn ang="0">
                    <a:pos x="T2" y="T3"/>
                  </a:cxn>
                  <a:cxn ang="0">
                    <a:pos x="T4" y="T5"/>
                  </a:cxn>
                  <a:cxn ang="0">
                    <a:pos x="T6" y="T7"/>
                  </a:cxn>
                  <a:cxn ang="0">
                    <a:pos x="T8" y="T9"/>
                  </a:cxn>
                </a:cxnLst>
                <a:rect l="0" t="0" r="r" b="b"/>
                <a:pathLst>
                  <a:path w="7" h="17">
                    <a:moveTo>
                      <a:pt x="2" y="16"/>
                    </a:moveTo>
                    <a:cubicBezTo>
                      <a:pt x="2" y="11"/>
                      <a:pt x="4" y="4"/>
                      <a:pt x="7" y="1"/>
                    </a:cubicBezTo>
                    <a:cubicBezTo>
                      <a:pt x="6" y="0"/>
                      <a:pt x="6" y="0"/>
                      <a:pt x="6" y="0"/>
                    </a:cubicBezTo>
                    <a:cubicBezTo>
                      <a:pt x="1" y="3"/>
                      <a:pt x="0" y="11"/>
                      <a:pt x="0" y="17"/>
                    </a:cubicBezTo>
                    <a:lnTo>
                      <a:pt x="2" y="16"/>
                    </a:lnTo>
                    <a:close/>
                  </a:path>
                </a:pathLst>
              </a:custGeom>
              <a:solidFill>
                <a:srgbClr val="4F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3" name="Freeform 216">
                <a:extLst>
                  <a:ext uri="{FF2B5EF4-FFF2-40B4-BE49-F238E27FC236}">
                    <a16:creationId xmlns:a16="http://schemas.microsoft.com/office/drawing/2014/main" id="{6F311731-0E34-44A4-A275-AEA80A9764C6}"/>
                  </a:ext>
                </a:extLst>
              </p:cNvPr>
              <p:cNvSpPr>
                <a:spLocks/>
              </p:cNvSpPr>
              <p:nvPr/>
            </p:nvSpPr>
            <p:spPr bwMode="auto">
              <a:xfrm>
                <a:off x="11085513" y="3979863"/>
                <a:ext cx="107950" cy="190500"/>
              </a:xfrm>
              <a:custGeom>
                <a:avLst/>
                <a:gdLst>
                  <a:gd name="T0" fmla="*/ 0 w 38"/>
                  <a:gd name="T1" fmla="*/ 63 h 67"/>
                  <a:gd name="T2" fmla="*/ 35 w 38"/>
                  <a:gd name="T3" fmla="*/ 36 h 67"/>
                  <a:gd name="T4" fmla="*/ 24 w 38"/>
                  <a:gd name="T5" fmla="*/ 4 h 67"/>
                  <a:gd name="T6" fmla="*/ 0 w 38"/>
                  <a:gd name="T7" fmla="*/ 5 h 67"/>
                  <a:gd name="T8" fmla="*/ 0 w 38"/>
                  <a:gd name="T9" fmla="*/ 63 h 67"/>
                </a:gdLst>
                <a:ahLst/>
                <a:cxnLst>
                  <a:cxn ang="0">
                    <a:pos x="T0" y="T1"/>
                  </a:cxn>
                  <a:cxn ang="0">
                    <a:pos x="T2" y="T3"/>
                  </a:cxn>
                  <a:cxn ang="0">
                    <a:pos x="T4" y="T5"/>
                  </a:cxn>
                  <a:cxn ang="0">
                    <a:pos x="T6" y="T7"/>
                  </a:cxn>
                  <a:cxn ang="0">
                    <a:pos x="T8" y="T9"/>
                  </a:cxn>
                </a:cxnLst>
                <a:rect l="0" t="0" r="r" b="b"/>
                <a:pathLst>
                  <a:path w="38" h="67">
                    <a:moveTo>
                      <a:pt x="0" y="63"/>
                    </a:moveTo>
                    <a:cubicBezTo>
                      <a:pt x="15" y="67"/>
                      <a:pt x="32" y="54"/>
                      <a:pt x="35" y="36"/>
                    </a:cubicBezTo>
                    <a:cubicBezTo>
                      <a:pt x="38" y="18"/>
                      <a:pt x="32" y="8"/>
                      <a:pt x="24" y="4"/>
                    </a:cubicBezTo>
                    <a:cubicBezTo>
                      <a:pt x="16" y="0"/>
                      <a:pt x="1" y="5"/>
                      <a:pt x="0" y="5"/>
                    </a:cubicBezTo>
                    <a:lnTo>
                      <a:pt x="0" y="63"/>
                    </a:lnTo>
                    <a:close/>
                  </a:path>
                </a:pathLst>
              </a:custGeom>
              <a:solidFill>
                <a:srgbClr val="C90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4" name="Freeform 217">
                <a:extLst>
                  <a:ext uri="{FF2B5EF4-FFF2-40B4-BE49-F238E27FC236}">
                    <a16:creationId xmlns:a16="http://schemas.microsoft.com/office/drawing/2014/main" id="{C8B3B1F7-CFC4-4922-B682-0AB23C52355F}"/>
                  </a:ext>
                </a:extLst>
              </p:cNvPr>
              <p:cNvSpPr>
                <a:spLocks/>
              </p:cNvSpPr>
              <p:nvPr/>
            </p:nvSpPr>
            <p:spPr bwMode="auto">
              <a:xfrm>
                <a:off x="10979150" y="3979863"/>
                <a:ext cx="106363" cy="190500"/>
              </a:xfrm>
              <a:custGeom>
                <a:avLst/>
                <a:gdLst>
                  <a:gd name="T0" fmla="*/ 37 w 37"/>
                  <a:gd name="T1" fmla="*/ 5 h 67"/>
                  <a:gd name="T2" fmla="*/ 14 w 37"/>
                  <a:gd name="T3" fmla="*/ 4 h 67"/>
                  <a:gd name="T4" fmla="*/ 4 w 37"/>
                  <a:gd name="T5" fmla="*/ 37 h 67"/>
                  <a:gd name="T6" fmla="*/ 37 w 37"/>
                  <a:gd name="T7" fmla="*/ 63 h 67"/>
                  <a:gd name="T8" fmla="*/ 37 w 37"/>
                  <a:gd name="T9" fmla="*/ 5 h 67"/>
                </a:gdLst>
                <a:ahLst/>
                <a:cxnLst>
                  <a:cxn ang="0">
                    <a:pos x="T0" y="T1"/>
                  </a:cxn>
                  <a:cxn ang="0">
                    <a:pos x="T2" y="T3"/>
                  </a:cxn>
                  <a:cxn ang="0">
                    <a:pos x="T4" y="T5"/>
                  </a:cxn>
                  <a:cxn ang="0">
                    <a:pos x="T6" y="T7"/>
                  </a:cxn>
                  <a:cxn ang="0">
                    <a:pos x="T8" y="T9"/>
                  </a:cxn>
                </a:cxnLst>
                <a:rect l="0" t="0" r="r" b="b"/>
                <a:pathLst>
                  <a:path w="37" h="67">
                    <a:moveTo>
                      <a:pt x="37" y="5"/>
                    </a:moveTo>
                    <a:cubicBezTo>
                      <a:pt x="36" y="6"/>
                      <a:pt x="21" y="0"/>
                      <a:pt x="14" y="4"/>
                    </a:cubicBezTo>
                    <a:cubicBezTo>
                      <a:pt x="5" y="9"/>
                      <a:pt x="0" y="19"/>
                      <a:pt x="4" y="37"/>
                    </a:cubicBezTo>
                    <a:cubicBezTo>
                      <a:pt x="8" y="55"/>
                      <a:pt x="20" y="67"/>
                      <a:pt x="37" y="63"/>
                    </a:cubicBezTo>
                    <a:lnTo>
                      <a:pt x="37" y="5"/>
                    </a:lnTo>
                    <a:close/>
                  </a:path>
                </a:pathLst>
              </a:custGeom>
              <a:solidFill>
                <a:srgbClr val="DB1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5" name="Freeform 218">
                <a:extLst>
                  <a:ext uri="{FF2B5EF4-FFF2-40B4-BE49-F238E27FC236}">
                    <a16:creationId xmlns:a16="http://schemas.microsoft.com/office/drawing/2014/main" id="{42D02AD5-FFAE-4169-80CA-2C053BF329B4}"/>
                  </a:ext>
                </a:extLst>
              </p:cNvPr>
              <p:cNvSpPr>
                <a:spLocks/>
              </p:cNvSpPr>
              <p:nvPr/>
            </p:nvSpPr>
            <p:spPr bwMode="auto">
              <a:xfrm>
                <a:off x="11031538" y="3925888"/>
                <a:ext cx="68263" cy="31750"/>
              </a:xfrm>
              <a:custGeom>
                <a:avLst/>
                <a:gdLst>
                  <a:gd name="T0" fmla="*/ 24 w 24"/>
                  <a:gd name="T1" fmla="*/ 11 h 11"/>
                  <a:gd name="T2" fmla="*/ 15 w 24"/>
                  <a:gd name="T3" fmla="*/ 3 h 11"/>
                  <a:gd name="T4" fmla="*/ 0 w 24"/>
                  <a:gd name="T5" fmla="*/ 1 h 11"/>
                  <a:gd name="T6" fmla="*/ 0 w 24"/>
                  <a:gd name="T7" fmla="*/ 2 h 11"/>
                  <a:gd name="T8" fmla="*/ 24 w 24"/>
                  <a:gd name="T9" fmla="*/ 11 h 11"/>
                </a:gdLst>
                <a:ahLst/>
                <a:cxnLst>
                  <a:cxn ang="0">
                    <a:pos x="T0" y="T1"/>
                  </a:cxn>
                  <a:cxn ang="0">
                    <a:pos x="T2" y="T3"/>
                  </a:cxn>
                  <a:cxn ang="0">
                    <a:pos x="T4" y="T5"/>
                  </a:cxn>
                  <a:cxn ang="0">
                    <a:pos x="T6" y="T7"/>
                  </a:cxn>
                  <a:cxn ang="0">
                    <a:pos x="T8" y="T9"/>
                  </a:cxn>
                </a:cxnLst>
                <a:rect l="0" t="0" r="r" b="b"/>
                <a:pathLst>
                  <a:path w="24" h="11">
                    <a:moveTo>
                      <a:pt x="24" y="11"/>
                    </a:moveTo>
                    <a:cubicBezTo>
                      <a:pt x="24" y="11"/>
                      <a:pt x="22" y="5"/>
                      <a:pt x="15" y="3"/>
                    </a:cubicBezTo>
                    <a:cubicBezTo>
                      <a:pt x="9" y="0"/>
                      <a:pt x="0" y="1"/>
                      <a:pt x="0" y="1"/>
                    </a:cubicBezTo>
                    <a:cubicBezTo>
                      <a:pt x="0" y="2"/>
                      <a:pt x="0" y="2"/>
                      <a:pt x="0" y="2"/>
                    </a:cubicBezTo>
                    <a:cubicBezTo>
                      <a:pt x="7" y="6"/>
                      <a:pt x="16" y="8"/>
                      <a:pt x="24" y="11"/>
                    </a:cubicBezTo>
                    <a:close/>
                  </a:path>
                </a:pathLst>
              </a:custGeom>
              <a:solidFill>
                <a:srgbClr val="128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6" name="Freeform 219">
                <a:extLst>
                  <a:ext uri="{FF2B5EF4-FFF2-40B4-BE49-F238E27FC236}">
                    <a16:creationId xmlns:a16="http://schemas.microsoft.com/office/drawing/2014/main" id="{7BB29BF5-855B-42CE-A97F-9A502BFA588A}"/>
                  </a:ext>
                </a:extLst>
              </p:cNvPr>
              <p:cNvSpPr>
                <a:spLocks/>
              </p:cNvSpPr>
              <p:nvPr/>
            </p:nvSpPr>
            <p:spPr bwMode="auto">
              <a:xfrm>
                <a:off x="11031538" y="3932238"/>
                <a:ext cx="68263" cy="53975"/>
              </a:xfrm>
              <a:custGeom>
                <a:avLst/>
                <a:gdLst>
                  <a:gd name="T0" fmla="*/ 0 w 24"/>
                  <a:gd name="T1" fmla="*/ 0 h 19"/>
                  <a:gd name="T2" fmla="*/ 4 w 24"/>
                  <a:gd name="T3" fmla="*/ 6 h 19"/>
                  <a:gd name="T4" fmla="*/ 24 w 24"/>
                  <a:gd name="T5" fmla="*/ 9 h 19"/>
                  <a:gd name="T6" fmla="*/ 0 w 24"/>
                  <a:gd name="T7" fmla="*/ 0 h 19"/>
                </a:gdLst>
                <a:ahLst/>
                <a:cxnLst>
                  <a:cxn ang="0">
                    <a:pos x="T0" y="T1"/>
                  </a:cxn>
                  <a:cxn ang="0">
                    <a:pos x="T2" y="T3"/>
                  </a:cxn>
                  <a:cxn ang="0">
                    <a:pos x="T4" y="T5"/>
                  </a:cxn>
                  <a:cxn ang="0">
                    <a:pos x="T6" y="T7"/>
                  </a:cxn>
                </a:cxnLst>
                <a:rect l="0" t="0" r="r" b="b"/>
                <a:pathLst>
                  <a:path w="24" h="19">
                    <a:moveTo>
                      <a:pt x="0" y="0"/>
                    </a:moveTo>
                    <a:cubicBezTo>
                      <a:pt x="1" y="1"/>
                      <a:pt x="1" y="3"/>
                      <a:pt x="4" y="6"/>
                    </a:cubicBezTo>
                    <a:cubicBezTo>
                      <a:pt x="16" y="19"/>
                      <a:pt x="23" y="10"/>
                      <a:pt x="24" y="9"/>
                    </a:cubicBezTo>
                    <a:cubicBezTo>
                      <a:pt x="16" y="6"/>
                      <a:pt x="7" y="4"/>
                      <a:pt x="0" y="0"/>
                    </a:cubicBezTo>
                    <a:close/>
                  </a:path>
                </a:pathLst>
              </a:custGeom>
              <a:solidFill>
                <a:srgbClr val="0E77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7" name="Rectangle 220">
                <a:extLst>
                  <a:ext uri="{FF2B5EF4-FFF2-40B4-BE49-F238E27FC236}">
                    <a16:creationId xmlns:a16="http://schemas.microsoft.com/office/drawing/2014/main" id="{E7F3C0FD-4CED-4354-8AC7-8234D828827C}"/>
                  </a:ext>
                </a:extLst>
              </p:cNvPr>
              <p:cNvSpPr>
                <a:spLocks noChangeArrowheads="1"/>
              </p:cNvSpPr>
              <p:nvPr/>
            </p:nvSpPr>
            <p:spPr bwMode="auto">
              <a:xfrm>
                <a:off x="10780713" y="4424363"/>
                <a:ext cx="485775" cy="122238"/>
              </a:xfrm>
              <a:prstGeom prst="rect">
                <a:avLst/>
              </a:prstGeom>
              <a:solidFill>
                <a:srgbClr val="FF1D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8" name="Rectangle 221">
                <a:extLst>
                  <a:ext uri="{FF2B5EF4-FFF2-40B4-BE49-F238E27FC236}">
                    <a16:creationId xmlns:a16="http://schemas.microsoft.com/office/drawing/2014/main" id="{F88BA193-93B8-440E-B553-67B231A980FC}"/>
                  </a:ext>
                </a:extLst>
              </p:cNvPr>
              <p:cNvSpPr>
                <a:spLocks noChangeArrowheads="1"/>
              </p:cNvSpPr>
              <p:nvPr/>
            </p:nvSpPr>
            <p:spPr bwMode="auto">
              <a:xfrm>
                <a:off x="11196638" y="4424363"/>
                <a:ext cx="7938" cy="122238"/>
              </a:xfrm>
              <a:prstGeom prst="rect">
                <a:avLst/>
              </a:prstGeom>
              <a:solidFill>
                <a:srgbClr val="BE1E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9" name="Rectangle 222">
                <a:extLst>
                  <a:ext uri="{FF2B5EF4-FFF2-40B4-BE49-F238E27FC236}">
                    <a16:creationId xmlns:a16="http://schemas.microsoft.com/office/drawing/2014/main" id="{33C7106B-F0E1-4DE1-973B-9533C2E2F9C7}"/>
                  </a:ext>
                </a:extLst>
              </p:cNvPr>
              <p:cNvSpPr>
                <a:spLocks noChangeArrowheads="1"/>
              </p:cNvSpPr>
              <p:nvPr/>
            </p:nvSpPr>
            <p:spPr bwMode="auto">
              <a:xfrm>
                <a:off x="11179175" y="4424363"/>
                <a:ext cx="7938" cy="122238"/>
              </a:xfrm>
              <a:prstGeom prst="rect">
                <a:avLst/>
              </a:prstGeom>
              <a:solidFill>
                <a:srgbClr val="BE1E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0" name="Rectangle 223">
                <a:extLst>
                  <a:ext uri="{FF2B5EF4-FFF2-40B4-BE49-F238E27FC236}">
                    <a16:creationId xmlns:a16="http://schemas.microsoft.com/office/drawing/2014/main" id="{F00278BC-71C1-4C30-8748-BA2F66E961F5}"/>
                  </a:ext>
                </a:extLst>
              </p:cNvPr>
              <p:cNvSpPr>
                <a:spLocks noChangeArrowheads="1"/>
              </p:cNvSpPr>
              <p:nvPr/>
            </p:nvSpPr>
            <p:spPr bwMode="auto">
              <a:xfrm>
                <a:off x="11158538" y="4424363"/>
                <a:ext cx="9525" cy="122238"/>
              </a:xfrm>
              <a:prstGeom prst="rect">
                <a:avLst/>
              </a:prstGeom>
              <a:solidFill>
                <a:srgbClr val="BE1E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1" name="Rectangle 224">
                <a:extLst>
                  <a:ext uri="{FF2B5EF4-FFF2-40B4-BE49-F238E27FC236}">
                    <a16:creationId xmlns:a16="http://schemas.microsoft.com/office/drawing/2014/main" id="{3DBE6839-A4AF-4646-8338-AD7401FFB22A}"/>
                  </a:ext>
                </a:extLst>
              </p:cNvPr>
              <p:cNvSpPr>
                <a:spLocks noChangeArrowheads="1"/>
              </p:cNvSpPr>
              <p:nvPr/>
            </p:nvSpPr>
            <p:spPr bwMode="auto">
              <a:xfrm>
                <a:off x="10820400" y="4424363"/>
                <a:ext cx="7938" cy="122238"/>
              </a:xfrm>
              <a:prstGeom prst="rect">
                <a:avLst/>
              </a:prstGeom>
              <a:solidFill>
                <a:srgbClr val="BE1E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2" name="Rectangle 225">
                <a:extLst>
                  <a:ext uri="{FF2B5EF4-FFF2-40B4-BE49-F238E27FC236}">
                    <a16:creationId xmlns:a16="http://schemas.microsoft.com/office/drawing/2014/main" id="{526C769A-5C09-4C0E-88E7-097E14FEB9F5}"/>
                  </a:ext>
                </a:extLst>
              </p:cNvPr>
              <p:cNvSpPr>
                <a:spLocks noChangeArrowheads="1"/>
              </p:cNvSpPr>
              <p:nvPr/>
            </p:nvSpPr>
            <p:spPr bwMode="auto">
              <a:xfrm>
                <a:off x="10845800" y="4256088"/>
                <a:ext cx="255588" cy="92075"/>
              </a:xfrm>
              <a:prstGeom prst="rect">
                <a:avLst/>
              </a:prstGeom>
              <a:solidFill>
                <a:srgbClr val="F9EE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3" name="Rectangle 226">
                <a:extLst>
                  <a:ext uri="{FF2B5EF4-FFF2-40B4-BE49-F238E27FC236}">
                    <a16:creationId xmlns:a16="http://schemas.microsoft.com/office/drawing/2014/main" id="{D410D104-A396-4AF8-B678-65698ADC1E37}"/>
                  </a:ext>
                </a:extLst>
              </p:cNvPr>
              <p:cNvSpPr>
                <a:spLocks noChangeArrowheads="1"/>
              </p:cNvSpPr>
              <p:nvPr/>
            </p:nvSpPr>
            <p:spPr bwMode="auto">
              <a:xfrm>
                <a:off x="10845800" y="4256088"/>
                <a:ext cx="2555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4" name="Rectangle 227">
                <a:extLst>
                  <a:ext uri="{FF2B5EF4-FFF2-40B4-BE49-F238E27FC236}">
                    <a16:creationId xmlns:a16="http://schemas.microsoft.com/office/drawing/2014/main" id="{64FE931D-04B9-479F-B471-E844BAB2DCB0}"/>
                  </a:ext>
                </a:extLst>
              </p:cNvPr>
              <p:cNvSpPr>
                <a:spLocks noChangeArrowheads="1"/>
              </p:cNvSpPr>
              <p:nvPr/>
            </p:nvSpPr>
            <p:spPr bwMode="auto">
              <a:xfrm>
                <a:off x="10845800" y="4295775"/>
                <a:ext cx="255588" cy="3175"/>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5" name="Rectangle 228">
                <a:extLst>
                  <a:ext uri="{FF2B5EF4-FFF2-40B4-BE49-F238E27FC236}">
                    <a16:creationId xmlns:a16="http://schemas.microsoft.com/office/drawing/2014/main" id="{E82312AB-9569-45B9-A8F6-6DCFDAEDDB0E}"/>
                  </a:ext>
                </a:extLst>
              </p:cNvPr>
              <p:cNvSpPr>
                <a:spLocks noChangeArrowheads="1"/>
              </p:cNvSpPr>
              <p:nvPr/>
            </p:nvSpPr>
            <p:spPr bwMode="auto">
              <a:xfrm>
                <a:off x="10845800" y="4295775"/>
                <a:ext cx="255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6" name="Rectangle 229">
                <a:extLst>
                  <a:ext uri="{FF2B5EF4-FFF2-40B4-BE49-F238E27FC236}">
                    <a16:creationId xmlns:a16="http://schemas.microsoft.com/office/drawing/2014/main" id="{F26AB154-BB9B-4D54-9020-230F62221B1C}"/>
                  </a:ext>
                </a:extLst>
              </p:cNvPr>
              <p:cNvSpPr>
                <a:spLocks noChangeArrowheads="1"/>
              </p:cNvSpPr>
              <p:nvPr/>
            </p:nvSpPr>
            <p:spPr bwMode="auto">
              <a:xfrm>
                <a:off x="10845800" y="4321175"/>
                <a:ext cx="255588" cy="3175"/>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7" name="Rectangle 230">
                <a:extLst>
                  <a:ext uri="{FF2B5EF4-FFF2-40B4-BE49-F238E27FC236}">
                    <a16:creationId xmlns:a16="http://schemas.microsoft.com/office/drawing/2014/main" id="{C530C708-947E-429E-85BF-D926CA75FD47}"/>
                  </a:ext>
                </a:extLst>
              </p:cNvPr>
              <p:cNvSpPr>
                <a:spLocks noChangeArrowheads="1"/>
              </p:cNvSpPr>
              <p:nvPr/>
            </p:nvSpPr>
            <p:spPr bwMode="auto">
              <a:xfrm>
                <a:off x="10845800" y="4321175"/>
                <a:ext cx="255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8" name="Rectangle 231">
                <a:extLst>
                  <a:ext uri="{FF2B5EF4-FFF2-40B4-BE49-F238E27FC236}">
                    <a16:creationId xmlns:a16="http://schemas.microsoft.com/office/drawing/2014/main" id="{245230FC-9332-4064-AA8B-9A5AABE77093}"/>
                  </a:ext>
                </a:extLst>
              </p:cNvPr>
              <p:cNvSpPr>
                <a:spLocks noChangeArrowheads="1"/>
              </p:cNvSpPr>
              <p:nvPr/>
            </p:nvSpPr>
            <p:spPr bwMode="auto">
              <a:xfrm>
                <a:off x="10845800" y="4313238"/>
                <a:ext cx="255588" cy="3175"/>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9" name="Rectangle 232">
                <a:extLst>
                  <a:ext uri="{FF2B5EF4-FFF2-40B4-BE49-F238E27FC236}">
                    <a16:creationId xmlns:a16="http://schemas.microsoft.com/office/drawing/2014/main" id="{A8825088-2A89-4C03-A318-0E19097383BC}"/>
                  </a:ext>
                </a:extLst>
              </p:cNvPr>
              <p:cNvSpPr>
                <a:spLocks noChangeArrowheads="1"/>
              </p:cNvSpPr>
              <p:nvPr/>
            </p:nvSpPr>
            <p:spPr bwMode="auto">
              <a:xfrm>
                <a:off x="10845800" y="4313238"/>
                <a:ext cx="255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0" name="Rectangle 233">
                <a:extLst>
                  <a:ext uri="{FF2B5EF4-FFF2-40B4-BE49-F238E27FC236}">
                    <a16:creationId xmlns:a16="http://schemas.microsoft.com/office/drawing/2014/main" id="{37F92785-3DDB-4175-8D2E-63FAEFB8B8FB}"/>
                  </a:ext>
                </a:extLst>
              </p:cNvPr>
              <p:cNvSpPr>
                <a:spLocks noChangeArrowheads="1"/>
              </p:cNvSpPr>
              <p:nvPr/>
            </p:nvSpPr>
            <p:spPr bwMode="auto">
              <a:xfrm>
                <a:off x="10845800" y="4287838"/>
                <a:ext cx="255588" cy="1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1" name="Rectangle 234">
                <a:extLst>
                  <a:ext uri="{FF2B5EF4-FFF2-40B4-BE49-F238E27FC236}">
                    <a16:creationId xmlns:a16="http://schemas.microsoft.com/office/drawing/2014/main" id="{2EF1495B-6963-4F53-B397-DF6AD465D4CA}"/>
                  </a:ext>
                </a:extLst>
              </p:cNvPr>
              <p:cNvSpPr>
                <a:spLocks noChangeArrowheads="1"/>
              </p:cNvSpPr>
              <p:nvPr/>
            </p:nvSpPr>
            <p:spPr bwMode="auto">
              <a:xfrm>
                <a:off x="10845800" y="4287838"/>
                <a:ext cx="255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2" name="Rectangle 235">
                <a:extLst>
                  <a:ext uri="{FF2B5EF4-FFF2-40B4-BE49-F238E27FC236}">
                    <a16:creationId xmlns:a16="http://schemas.microsoft.com/office/drawing/2014/main" id="{1FD57378-9432-4887-A482-42A568E111BB}"/>
                  </a:ext>
                </a:extLst>
              </p:cNvPr>
              <p:cNvSpPr>
                <a:spLocks noChangeArrowheads="1"/>
              </p:cNvSpPr>
              <p:nvPr/>
            </p:nvSpPr>
            <p:spPr bwMode="auto">
              <a:xfrm>
                <a:off x="10845800" y="4262438"/>
                <a:ext cx="255588" cy="3175"/>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3" name="Rectangle 236">
                <a:extLst>
                  <a:ext uri="{FF2B5EF4-FFF2-40B4-BE49-F238E27FC236}">
                    <a16:creationId xmlns:a16="http://schemas.microsoft.com/office/drawing/2014/main" id="{28FFBB11-D4A0-4B1A-860B-C4C8D9DAB882}"/>
                  </a:ext>
                </a:extLst>
              </p:cNvPr>
              <p:cNvSpPr>
                <a:spLocks noChangeArrowheads="1"/>
              </p:cNvSpPr>
              <p:nvPr/>
            </p:nvSpPr>
            <p:spPr bwMode="auto">
              <a:xfrm>
                <a:off x="10845800" y="4262438"/>
                <a:ext cx="255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4" name="Rectangle 237">
                <a:extLst>
                  <a:ext uri="{FF2B5EF4-FFF2-40B4-BE49-F238E27FC236}">
                    <a16:creationId xmlns:a16="http://schemas.microsoft.com/office/drawing/2014/main" id="{36769A0A-FA0B-4654-9E90-F2C9A2895396}"/>
                  </a:ext>
                </a:extLst>
              </p:cNvPr>
              <p:cNvSpPr>
                <a:spLocks noChangeArrowheads="1"/>
              </p:cNvSpPr>
              <p:nvPr/>
            </p:nvSpPr>
            <p:spPr bwMode="auto">
              <a:xfrm>
                <a:off x="10845800" y="4341813"/>
                <a:ext cx="255588" cy="1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5" name="Rectangle 238">
                <a:extLst>
                  <a:ext uri="{FF2B5EF4-FFF2-40B4-BE49-F238E27FC236}">
                    <a16:creationId xmlns:a16="http://schemas.microsoft.com/office/drawing/2014/main" id="{9151D302-7686-488C-99B3-77A2D25632C0}"/>
                  </a:ext>
                </a:extLst>
              </p:cNvPr>
              <p:cNvSpPr>
                <a:spLocks noChangeArrowheads="1"/>
              </p:cNvSpPr>
              <p:nvPr/>
            </p:nvSpPr>
            <p:spPr bwMode="auto">
              <a:xfrm>
                <a:off x="10845800" y="4341813"/>
                <a:ext cx="255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6" name="Rectangle 239">
                <a:extLst>
                  <a:ext uri="{FF2B5EF4-FFF2-40B4-BE49-F238E27FC236}">
                    <a16:creationId xmlns:a16="http://schemas.microsoft.com/office/drawing/2014/main" id="{5C14FDFB-C398-4585-9234-5B79B15E189A}"/>
                  </a:ext>
                </a:extLst>
              </p:cNvPr>
              <p:cNvSpPr>
                <a:spLocks noChangeArrowheads="1"/>
              </p:cNvSpPr>
              <p:nvPr/>
            </p:nvSpPr>
            <p:spPr bwMode="auto">
              <a:xfrm>
                <a:off x="10845800" y="4270375"/>
                <a:ext cx="255588" cy="1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7" name="Rectangle 240">
                <a:extLst>
                  <a:ext uri="{FF2B5EF4-FFF2-40B4-BE49-F238E27FC236}">
                    <a16:creationId xmlns:a16="http://schemas.microsoft.com/office/drawing/2014/main" id="{8C7DF188-436F-45D4-A2A1-FCA106F9059C}"/>
                  </a:ext>
                </a:extLst>
              </p:cNvPr>
              <p:cNvSpPr>
                <a:spLocks noChangeArrowheads="1"/>
              </p:cNvSpPr>
              <p:nvPr/>
            </p:nvSpPr>
            <p:spPr bwMode="auto">
              <a:xfrm>
                <a:off x="10845800" y="4270375"/>
                <a:ext cx="255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8" name="Rectangle 241">
                <a:extLst>
                  <a:ext uri="{FF2B5EF4-FFF2-40B4-BE49-F238E27FC236}">
                    <a16:creationId xmlns:a16="http://schemas.microsoft.com/office/drawing/2014/main" id="{A4E8B38E-8A3F-465E-B55D-6B73DB744169}"/>
                  </a:ext>
                </a:extLst>
              </p:cNvPr>
              <p:cNvSpPr>
                <a:spLocks noChangeArrowheads="1"/>
              </p:cNvSpPr>
              <p:nvPr/>
            </p:nvSpPr>
            <p:spPr bwMode="auto">
              <a:xfrm>
                <a:off x="10766425" y="4359275"/>
                <a:ext cx="566738" cy="65088"/>
              </a:xfrm>
              <a:prstGeom prst="rect">
                <a:avLst/>
              </a:prstGeom>
              <a:solidFill>
                <a:srgbClr val="14B6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9" name="Rectangle 242">
                <a:extLst>
                  <a:ext uri="{FF2B5EF4-FFF2-40B4-BE49-F238E27FC236}">
                    <a16:creationId xmlns:a16="http://schemas.microsoft.com/office/drawing/2014/main" id="{ED7025B1-06B2-4F8D-BB54-DD7F1B48D408}"/>
                  </a:ext>
                </a:extLst>
              </p:cNvPr>
              <p:cNvSpPr>
                <a:spLocks noChangeArrowheads="1"/>
              </p:cNvSpPr>
              <p:nvPr/>
            </p:nvSpPr>
            <p:spPr bwMode="auto">
              <a:xfrm>
                <a:off x="10806113" y="4359275"/>
                <a:ext cx="14288"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0" name="Rectangle 243">
                <a:extLst>
                  <a:ext uri="{FF2B5EF4-FFF2-40B4-BE49-F238E27FC236}">
                    <a16:creationId xmlns:a16="http://schemas.microsoft.com/office/drawing/2014/main" id="{358DB735-17F0-4E00-8163-79C01DFA4024}"/>
                  </a:ext>
                </a:extLst>
              </p:cNvPr>
              <p:cNvSpPr>
                <a:spLocks noChangeArrowheads="1"/>
              </p:cNvSpPr>
              <p:nvPr/>
            </p:nvSpPr>
            <p:spPr bwMode="auto">
              <a:xfrm>
                <a:off x="11277600" y="4359275"/>
                <a:ext cx="14288"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1" name="Rectangle 244">
                <a:extLst>
                  <a:ext uri="{FF2B5EF4-FFF2-40B4-BE49-F238E27FC236}">
                    <a16:creationId xmlns:a16="http://schemas.microsoft.com/office/drawing/2014/main" id="{50652A73-6101-4055-B75E-80CA979672F4}"/>
                  </a:ext>
                </a:extLst>
              </p:cNvPr>
              <p:cNvSpPr>
                <a:spLocks noChangeArrowheads="1"/>
              </p:cNvSpPr>
              <p:nvPr/>
            </p:nvSpPr>
            <p:spPr bwMode="auto">
              <a:xfrm>
                <a:off x="10885488" y="4162425"/>
                <a:ext cx="315913" cy="79375"/>
              </a:xfrm>
              <a:prstGeom prst="rect">
                <a:avLst/>
              </a:prstGeom>
              <a:solidFill>
                <a:srgbClr val="2B5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2" name="Rectangle 245">
                <a:extLst>
                  <a:ext uri="{FF2B5EF4-FFF2-40B4-BE49-F238E27FC236}">
                    <a16:creationId xmlns:a16="http://schemas.microsoft.com/office/drawing/2014/main" id="{7D2AB4CA-391E-4AB7-9E83-0EB73FF81941}"/>
                  </a:ext>
                </a:extLst>
              </p:cNvPr>
              <p:cNvSpPr>
                <a:spLocks noChangeArrowheads="1"/>
              </p:cNvSpPr>
              <p:nvPr/>
            </p:nvSpPr>
            <p:spPr bwMode="auto">
              <a:xfrm>
                <a:off x="10907713" y="4162425"/>
                <a:ext cx="6350" cy="79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3" name="Rectangle 246">
                <a:extLst>
                  <a:ext uri="{FF2B5EF4-FFF2-40B4-BE49-F238E27FC236}">
                    <a16:creationId xmlns:a16="http://schemas.microsoft.com/office/drawing/2014/main" id="{AD8B39FA-080F-477B-B707-0FD188289EFA}"/>
                  </a:ext>
                </a:extLst>
              </p:cNvPr>
              <p:cNvSpPr>
                <a:spLocks noChangeArrowheads="1"/>
              </p:cNvSpPr>
              <p:nvPr/>
            </p:nvSpPr>
            <p:spPr bwMode="auto">
              <a:xfrm>
                <a:off x="11169650" y="4162425"/>
                <a:ext cx="9525" cy="79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4" name="Rectangle 247">
                <a:extLst>
                  <a:ext uri="{FF2B5EF4-FFF2-40B4-BE49-F238E27FC236}">
                    <a16:creationId xmlns:a16="http://schemas.microsoft.com/office/drawing/2014/main" id="{CC21FA51-A91C-441E-ACF6-1DC603400E57}"/>
                  </a:ext>
                </a:extLst>
              </p:cNvPr>
              <p:cNvSpPr>
                <a:spLocks noChangeArrowheads="1"/>
              </p:cNvSpPr>
              <p:nvPr/>
            </p:nvSpPr>
            <p:spPr bwMode="auto">
              <a:xfrm>
                <a:off x="10928350" y="4162425"/>
                <a:ext cx="7938" cy="79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5" name="Freeform 248">
                <a:extLst>
                  <a:ext uri="{FF2B5EF4-FFF2-40B4-BE49-F238E27FC236}">
                    <a16:creationId xmlns:a16="http://schemas.microsoft.com/office/drawing/2014/main" id="{69990C47-ED7D-417E-AD93-92DECD67253F}"/>
                  </a:ext>
                </a:extLst>
              </p:cNvPr>
              <p:cNvSpPr>
                <a:spLocks/>
              </p:cNvSpPr>
              <p:nvPr/>
            </p:nvSpPr>
            <p:spPr bwMode="auto">
              <a:xfrm>
                <a:off x="10837863" y="4241800"/>
                <a:ext cx="284163" cy="117475"/>
              </a:xfrm>
              <a:custGeom>
                <a:avLst/>
                <a:gdLst>
                  <a:gd name="T0" fmla="*/ 100 w 100"/>
                  <a:gd name="T1" fmla="*/ 21 h 41"/>
                  <a:gd name="T2" fmla="*/ 98 w 100"/>
                  <a:gd name="T3" fmla="*/ 1 h 41"/>
                  <a:gd name="T4" fmla="*/ 98 w 100"/>
                  <a:gd name="T5" fmla="*/ 0 h 41"/>
                  <a:gd name="T6" fmla="*/ 98 w 100"/>
                  <a:gd name="T7" fmla="*/ 0 h 41"/>
                  <a:gd name="T8" fmla="*/ 98 w 100"/>
                  <a:gd name="T9" fmla="*/ 0 h 41"/>
                  <a:gd name="T10" fmla="*/ 98 w 100"/>
                  <a:gd name="T11" fmla="*/ 0 h 41"/>
                  <a:gd name="T12" fmla="*/ 0 w 100"/>
                  <a:gd name="T13" fmla="*/ 0 h 41"/>
                  <a:gd name="T14" fmla="*/ 0 w 100"/>
                  <a:gd name="T15" fmla="*/ 5 h 41"/>
                  <a:gd name="T16" fmla="*/ 93 w 100"/>
                  <a:gd name="T17" fmla="*/ 5 h 41"/>
                  <a:gd name="T18" fmla="*/ 93 w 100"/>
                  <a:gd name="T19" fmla="*/ 37 h 41"/>
                  <a:gd name="T20" fmla="*/ 0 w 100"/>
                  <a:gd name="T21" fmla="*/ 37 h 41"/>
                  <a:gd name="T22" fmla="*/ 0 w 100"/>
                  <a:gd name="T23" fmla="*/ 41 h 41"/>
                  <a:gd name="T24" fmla="*/ 98 w 100"/>
                  <a:gd name="T25" fmla="*/ 41 h 41"/>
                  <a:gd name="T26" fmla="*/ 98 w 100"/>
                  <a:gd name="T27" fmla="*/ 41 h 41"/>
                  <a:gd name="T28" fmla="*/ 100 w 100"/>
                  <a:gd name="T2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 h="41">
                    <a:moveTo>
                      <a:pt x="100" y="21"/>
                    </a:moveTo>
                    <a:cubicBezTo>
                      <a:pt x="100" y="11"/>
                      <a:pt x="99" y="2"/>
                      <a:pt x="98" y="1"/>
                    </a:cubicBezTo>
                    <a:cubicBezTo>
                      <a:pt x="98" y="0"/>
                      <a:pt x="98" y="0"/>
                      <a:pt x="98" y="0"/>
                    </a:cubicBezTo>
                    <a:cubicBezTo>
                      <a:pt x="98" y="0"/>
                      <a:pt x="98" y="0"/>
                      <a:pt x="98" y="0"/>
                    </a:cubicBezTo>
                    <a:cubicBezTo>
                      <a:pt x="98" y="0"/>
                      <a:pt x="98" y="0"/>
                      <a:pt x="98" y="0"/>
                    </a:cubicBezTo>
                    <a:cubicBezTo>
                      <a:pt x="98" y="0"/>
                      <a:pt x="98" y="0"/>
                      <a:pt x="98" y="0"/>
                    </a:cubicBezTo>
                    <a:cubicBezTo>
                      <a:pt x="0" y="0"/>
                      <a:pt x="0" y="0"/>
                      <a:pt x="0" y="0"/>
                    </a:cubicBezTo>
                    <a:cubicBezTo>
                      <a:pt x="0" y="5"/>
                      <a:pt x="0" y="5"/>
                      <a:pt x="0" y="5"/>
                    </a:cubicBezTo>
                    <a:cubicBezTo>
                      <a:pt x="93" y="5"/>
                      <a:pt x="93" y="5"/>
                      <a:pt x="93" y="5"/>
                    </a:cubicBezTo>
                    <a:cubicBezTo>
                      <a:pt x="93" y="37"/>
                      <a:pt x="93" y="37"/>
                      <a:pt x="93" y="37"/>
                    </a:cubicBezTo>
                    <a:cubicBezTo>
                      <a:pt x="0" y="37"/>
                      <a:pt x="0" y="37"/>
                      <a:pt x="0" y="37"/>
                    </a:cubicBezTo>
                    <a:cubicBezTo>
                      <a:pt x="0" y="41"/>
                      <a:pt x="0" y="41"/>
                      <a:pt x="0" y="41"/>
                    </a:cubicBezTo>
                    <a:cubicBezTo>
                      <a:pt x="98" y="41"/>
                      <a:pt x="98" y="41"/>
                      <a:pt x="98" y="41"/>
                    </a:cubicBezTo>
                    <a:cubicBezTo>
                      <a:pt x="98" y="41"/>
                      <a:pt x="98" y="41"/>
                      <a:pt x="98" y="41"/>
                    </a:cubicBezTo>
                    <a:cubicBezTo>
                      <a:pt x="99" y="40"/>
                      <a:pt x="100" y="31"/>
                      <a:pt x="100" y="21"/>
                    </a:cubicBezTo>
                    <a:close/>
                  </a:path>
                </a:pathLst>
              </a:custGeom>
              <a:solidFill>
                <a:srgbClr val="5D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6" name="Freeform 249">
                <a:extLst>
                  <a:ext uri="{FF2B5EF4-FFF2-40B4-BE49-F238E27FC236}">
                    <a16:creationId xmlns:a16="http://schemas.microsoft.com/office/drawing/2014/main" id="{98A14E97-6E1E-4FC9-857F-BC6236434244}"/>
                  </a:ext>
                </a:extLst>
              </p:cNvPr>
              <p:cNvSpPr>
                <a:spLocks/>
              </p:cNvSpPr>
              <p:nvPr/>
            </p:nvSpPr>
            <p:spPr bwMode="auto">
              <a:xfrm>
                <a:off x="11058525" y="4313238"/>
                <a:ext cx="23813" cy="65088"/>
              </a:xfrm>
              <a:custGeom>
                <a:avLst/>
                <a:gdLst>
                  <a:gd name="T0" fmla="*/ 0 w 15"/>
                  <a:gd name="T1" fmla="*/ 0 h 41"/>
                  <a:gd name="T2" fmla="*/ 0 w 15"/>
                  <a:gd name="T3" fmla="*/ 41 h 41"/>
                  <a:gd name="T4" fmla="*/ 8 w 15"/>
                  <a:gd name="T5" fmla="*/ 36 h 41"/>
                  <a:gd name="T6" fmla="*/ 15 w 15"/>
                  <a:gd name="T7" fmla="*/ 41 h 41"/>
                  <a:gd name="T8" fmla="*/ 15 w 15"/>
                  <a:gd name="T9" fmla="*/ 0 h 41"/>
                  <a:gd name="T10" fmla="*/ 0 w 15"/>
                  <a:gd name="T11" fmla="*/ 0 h 41"/>
                </a:gdLst>
                <a:ahLst/>
                <a:cxnLst>
                  <a:cxn ang="0">
                    <a:pos x="T0" y="T1"/>
                  </a:cxn>
                  <a:cxn ang="0">
                    <a:pos x="T2" y="T3"/>
                  </a:cxn>
                  <a:cxn ang="0">
                    <a:pos x="T4" y="T5"/>
                  </a:cxn>
                  <a:cxn ang="0">
                    <a:pos x="T6" y="T7"/>
                  </a:cxn>
                  <a:cxn ang="0">
                    <a:pos x="T8" y="T9"/>
                  </a:cxn>
                  <a:cxn ang="0">
                    <a:pos x="T10" y="T11"/>
                  </a:cxn>
                </a:cxnLst>
                <a:rect l="0" t="0" r="r" b="b"/>
                <a:pathLst>
                  <a:path w="15" h="41">
                    <a:moveTo>
                      <a:pt x="0" y="0"/>
                    </a:moveTo>
                    <a:lnTo>
                      <a:pt x="0" y="41"/>
                    </a:lnTo>
                    <a:lnTo>
                      <a:pt x="8" y="36"/>
                    </a:lnTo>
                    <a:lnTo>
                      <a:pt x="15" y="41"/>
                    </a:lnTo>
                    <a:lnTo>
                      <a:pt x="15" y="0"/>
                    </a:lnTo>
                    <a:lnTo>
                      <a:pt x="0" y="0"/>
                    </a:ln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7" name="Rectangle 250">
                <a:extLst>
                  <a:ext uri="{FF2B5EF4-FFF2-40B4-BE49-F238E27FC236}">
                    <a16:creationId xmlns:a16="http://schemas.microsoft.com/office/drawing/2014/main" id="{F8D8D860-8EBE-49E2-A3D8-7C2BAFBDA854}"/>
                  </a:ext>
                </a:extLst>
              </p:cNvPr>
              <p:cNvSpPr>
                <a:spLocks noChangeArrowheads="1"/>
              </p:cNvSpPr>
              <p:nvPr/>
            </p:nvSpPr>
            <p:spPr bwMode="auto">
              <a:xfrm>
                <a:off x="10213975" y="4059238"/>
                <a:ext cx="122238" cy="484188"/>
              </a:xfrm>
              <a:prstGeom prst="rect">
                <a:avLst/>
              </a:prstGeom>
              <a:solidFill>
                <a:srgbClr val="729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8" name="Rectangle 251">
                <a:extLst>
                  <a:ext uri="{FF2B5EF4-FFF2-40B4-BE49-F238E27FC236}">
                    <a16:creationId xmlns:a16="http://schemas.microsoft.com/office/drawing/2014/main" id="{8E379A54-59FB-4C5C-88F3-DDA63F2CF805}"/>
                  </a:ext>
                </a:extLst>
              </p:cNvPr>
              <p:cNvSpPr>
                <a:spLocks noChangeArrowheads="1"/>
              </p:cNvSpPr>
              <p:nvPr/>
            </p:nvSpPr>
            <p:spPr bwMode="auto">
              <a:xfrm>
                <a:off x="10213975" y="4475163"/>
                <a:ext cx="122238" cy="9525"/>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9" name="Rectangle 252">
                <a:extLst>
                  <a:ext uri="{FF2B5EF4-FFF2-40B4-BE49-F238E27FC236}">
                    <a16:creationId xmlns:a16="http://schemas.microsoft.com/office/drawing/2014/main" id="{AB6E2A59-511E-49A5-B6F4-04AB63E558BD}"/>
                  </a:ext>
                </a:extLst>
              </p:cNvPr>
              <p:cNvSpPr>
                <a:spLocks noChangeArrowheads="1"/>
              </p:cNvSpPr>
              <p:nvPr/>
            </p:nvSpPr>
            <p:spPr bwMode="auto">
              <a:xfrm>
                <a:off x="10213975" y="4438650"/>
                <a:ext cx="122238" cy="79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0" name="Rectangle 253">
                <a:extLst>
                  <a:ext uri="{FF2B5EF4-FFF2-40B4-BE49-F238E27FC236}">
                    <a16:creationId xmlns:a16="http://schemas.microsoft.com/office/drawing/2014/main" id="{9912C370-6CBE-46E5-A3F5-86337D158C00}"/>
                  </a:ext>
                </a:extLst>
              </p:cNvPr>
              <p:cNvSpPr>
                <a:spLocks noChangeArrowheads="1"/>
              </p:cNvSpPr>
              <p:nvPr/>
            </p:nvSpPr>
            <p:spPr bwMode="auto">
              <a:xfrm>
                <a:off x="10213975" y="4100513"/>
                <a:ext cx="122238" cy="79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1" name="Rectangle 254">
                <a:extLst>
                  <a:ext uri="{FF2B5EF4-FFF2-40B4-BE49-F238E27FC236}">
                    <a16:creationId xmlns:a16="http://schemas.microsoft.com/office/drawing/2014/main" id="{8926DD1C-11D5-41EF-A35D-4EFA23988DCE}"/>
                  </a:ext>
                </a:extLst>
              </p:cNvPr>
              <p:cNvSpPr>
                <a:spLocks noChangeArrowheads="1"/>
              </p:cNvSpPr>
              <p:nvPr/>
            </p:nvSpPr>
            <p:spPr bwMode="auto">
              <a:xfrm>
                <a:off x="10547350" y="3976688"/>
                <a:ext cx="65088" cy="566738"/>
              </a:xfrm>
              <a:prstGeom prst="rect">
                <a:avLst/>
              </a:prstGeom>
              <a:solidFill>
                <a:srgbClr val="C90D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2" name="Rectangle 255">
                <a:extLst>
                  <a:ext uri="{FF2B5EF4-FFF2-40B4-BE49-F238E27FC236}">
                    <a16:creationId xmlns:a16="http://schemas.microsoft.com/office/drawing/2014/main" id="{331D0FB7-76C7-4D27-A179-09097ED22542}"/>
                  </a:ext>
                </a:extLst>
              </p:cNvPr>
              <p:cNvSpPr>
                <a:spLocks noChangeArrowheads="1"/>
              </p:cNvSpPr>
              <p:nvPr/>
            </p:nvSpPr>
            <p:spPr bwMode="auto">
              <a:xfrm>
                <a:off x="10547350" y="4016375"/>
                <a:ext cx="65088"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3" name="Rectangle 256">
                <a:extLst>
                  <a:ext uri="{FF2B5EF4-FFF2-40B4-BE49-F238E27FC236}">
                    <a16:creationId xmlns:a16="http://schemas.microsoft.com/office/drawing/2014/main" id="{9D7C9C33-FE95-41E5-A2DE-05C0DF52287E}"/>
                  </a:ext>
                </a:extLst>
              </p:cNvPr>
              <p:cNvSpPr>
                <a:spLocks noChangeArrowheads="1"/>
              </p:cNvSpPr>
              <p:nvPr/>
            </p:nvSpPr>
            <p:spPr bwMode="auto">
              <a:xfrm>
                <a:off x="10547350" y="4489450"/>
                <a:ext cx="65088"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4" name="Freeform 257">
                <a:extLst>
                  <a:ext uri="{FF2B5EF4-FFF2-40B4-BE49-F238E27FC236}">
                    <a16:creationId xmlns:a16="http://schemas.microsoft.com/office/drawing/2014/main" id="{44DD4243-C3BC-498C-A8B0-6E77D077902F}"/>
                  </a:ext>
                </a:extLst>
              </p:cNvPr>
              <p:cNvSpPr>
                <a:spLocks/>
              </p:cNvSpPr>
              <p:nvPr/>
            </p:nvSpPr>
            <p:spPr bwMode="auto">
              <a:xfrm>
                <a:off x="10615613" y="4154488"/>
                <a:ext cx="141288" cy="384175"/>
              </a:xfrm>
              <a:custGeom>
                <a:avLst/>
                <a:gdLst>
                  <a:gd name="T0" fmla="*/ 63 w 89"/>
                  <a:gd name="T1" fmla="*/ 242 h 242"/>
                  <a:gd name="T2" fmla="*/ 0 w 89"/>
                  <a:gd name="T3" fmla="*/ 7 h 242"/>
                  <a:gd name="T4" fmla="*/ 27 w 89"/>
                  <a:gd name="T5" fmla="*/ 0 h 242"/>
                  <a:gd name="T6" fmla="*/ 89 w 89"/>
                  <a:gd name="T7" fmla="*/ 235 h 242"/>
                  <a:gd name="T8" fmla="*/ 63 w 89"/>
                  <a:gd name="T9" fmla="*/ 242 h 242"/>
                </a:gdLst>
                <a:ahLst/>
                <a:cxnLst>
                  <a:cxn ang="0">
                    <a:pos x="T0" y="T1"/>
                  </a:cxn>
                  <a:cxn ang="0">
                    <a:pos x="T2" y="T3"/>
                  </a:cxn>
                  <a:cxn ang="0">
                    <a:pos x="T4" y="T5"/>
                  </a:cxn>
                  <a:cxn ang="0">
                    <a:pos x="T6" y="T7"/>
                  </a:cxn>
                  <a:cxn ang="0">
                    <a:pos x="T8" y="T9"/>
                  </a:cxn>
                </a:cxnLst>
                <a:rect l="0" t="0" r="r" b="b"/>
                <a:pathLst>
                  <a:path w="89" h="242">
                    <a:moveTo>
                      <a:pt x="63" y="242"/>
                    </a:moveTo>
                    <a:lnTo>
                      <a:pt x="0" y="7"/>
                    </a:lnTo>
                    <a:lnTo>
                      <a:pt x="27" y="0"/>
                    </a:lnTo>
                    <a:lnTo>
                      <a:pt x="89" y="235"/>
                    </a:lnTo>
                    <a:lnTo>
                      <a:pt x="63" y="242"/>
                    </a:lnTo>
                    <a:close/>
                  </a:path>
                </a:pathLst>
              </a:custGeom>
              <a:solidFill>
                <a:srgbClr val="5D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5" name="Freeform 258">
                <a:extLst>
                  <a:ext uri="{FF2B5EF4-FFF2-40B4-BE49-F238E27FC236}">
                    <a16:creationId xmlns:a16="http://schemas.microsoft.com/office/drawing/2014/main" id="{32C78F03-2751-446A-831B-BC413316E2E7}"/>
                  </a:ext>
                </a:extLst>
              </p:cNvPr>
              <p:cNvSpPr>
                <a:spLocks/>
              </p:cNvSpPr>
              <p:nvPr/>
            </p:nvSpPr>
            <p:spPr bwMode="auto">
              <a:xfrm>
                <a:off x="10623550" y="4183063"/>
                <a:ext cx="42863" cy="19050"/>
              </a:xfrm>
              <a:custGeom>
                <a:avLst/>
                <a:gdLst>
                  <a:gd name="T0" fmla="*/ 2 w 27"/>
                  <a:gd name="T1" fmla="*/ 12 h 12"/>
                  <a:gd name="T2" fmla="*/ 0 w 27"/>
                  <a:gd name="T3" fmla="*/ 7 h 12"/>
                  <a:gd name="T4" fmla="*/ 27 w 27"/>
                  <a:gd name="T5" fmla="*/ 0 h 12"/>
                  <a:gd name="T6" fmla="*/ 27 w 27"/>
                  <a:gd name="T7" fmla="*/ 5 h 12"/>
                  <a:gd name="T8" fmla="*/ 2 w 27"/>
                  <a:gd name="T9" fmla="*/ 12 h 12"/>
                </a:gdLst>
                <a:ahLst/>
                <a:cxnLst>
                  <a:cxn ang="0">
                    <a:pos x="T0" y="T1"/>
                  </a:cxn>
                  <a:cxn ang="0">
                    <a:pos x="T2" y="T3"/>
                  </a:cxn>
                  <a:cxn ang="0">
                    <a:pos x="T4" y="T5"/>
                  </a:cxn>
                  <a:cxn ang="0">
                    <a:pos x="T6" y="T7"/>
                  </a:cxn>
                  <a:cxn ang="0">
                    <a:pos x="T8" y="T9"/>
                  </a:cxn>
                </a:cxnLst>
                <a:rect l="0" t="0" r="r" b="b"/>
                <a:pathLst>
                  <a:path w="27" h="12">
                    <a:moveTo>
                      <a:pt x="2" y="12"/>
                    </a:moveTo>
                    <a:lnTo>
                      <a:pt x="0" y="7"/>
                    </a:lnTo>
                    <a:lnTo>
                      <a:pt x="27" y="0"/>
                    </a:lnTo>
                    <a:lnTo>
                      <a:pt x="27" y="5"/>
                    </a:lnTo>
                    <a:lnTo>
                      <a:pt x="2"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6" name="Freeform 259">
                <a:extLst>
                  <a:ext uri="{FF2B5EF4-FFF2-40B4-BE49-F238E27FC236}">
                    <a16:creationId xmlns:a16="http://schemas.microsoft.com/office/drawing/2014/main" id="{CFAC167B-A6DC-447F-92AF-9AA165481B39}"/>
                  </a:ext>
                </a:extLst>
              </p:cNvPr>
              <p:cNvSpPr>
                <a:spLocks/>
              </p:cNvSpPr>
              <p:nvPr/>
            </p:nvSpPr>
            <p:spPr bwMode="auto">
              <a:xfrm>
                <a:off x="10706100" y="4492625"/>
                <a:ext cx="46038" cy="20638"/>
              </a:xfrm>
              <a:custGeom>
                <a:avLst/>
                <a:gdLst>
                  <a:gd name="T0" fmla="*/ 2 w 29"/>
                  <a:gd name="T1" fmla="*/ 13 h 13"/>
                  <a:gd name="T2" fmla="*/ 0 w 29"/>
                  <a:gd name="T3" fmla="*/ 7 h 13"/>
                  <a:gd name="T4" fmla="*/ 27 w 29"/>
                  <a:gd name="T5" fmla="*/ 0 h 13"/>
                  <a:gd name="T6" fmla="*/ 29 w 29"/>
                  <a:gd name="T7" fmla="*/ 5 h 13"/>
                  <a:gd name="T8" fmla="*/ 2 w 29"/>
                  <a:gd name="T9" fmla="*/ 13 h 13"/>
                </a:gdLst>
                <a:ahLst/>
                <a:cxnLst>
                  <a:cxn ang="0">
                    <a:pos x="T0" y="T1"/>
                  </a:cxn>
                  <a:cxn ang="0">
                    <a:pos x="T2" y="T3"/>
                  </a:cxn>
                  <a:cxn ang="0">
                    <a:pos x="T4" y="T5"/>
                  </a:cxn>
                  <a:cxn ang="0">
                    <a:pos x="T6" y="T7"/>
                  </a:cxn>
                  <a:cxn ang="0">
                    <a:pos x="T8" y="T9"/>
                  </a:cxn>
                </a:cxnLst>
                <a:rect l="0" t="0" r="r" b="b"/>
                <a:pathLst>
                  <a:path w="29" h="13">
                    <a:moveTo>
                      <a:pt x="2" y="13"/>
                    </a:moveTo>
                    <a:lnTo>
                      <a:pt x="0" y="7"/>
                    </a:lnTo>
                    <a:lnTo>
                      <a:pt x="27" y="0"/>
                    </a:lnTo>
                    <a:lnTo>
                      <a:pt x="29" y="5"/>
                    </a:ln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7" name="Rectangle 260">
                <a:extLst>
                  <a:ext uri="{FF2B5EF4-FFF2-40B4-BE49-F238E27FC236}">
                    <a16:creationId xmlns:a16="http://schemas.microsoft.com/office/drawing/2014/main" id="{8B621B52-E987-4026-8722-CBC9D480DC7F}"/>
                  </a:ext>
                </a:extLst>
              </p:cNvPr>
              <p:cNvSpPr>
                <a:spLocks noChangeArrowheads="1"/>
              </p:cNvSpPr>
              <p:nvPr/>
            </p:nvSpPr>
            <p:spPr bwMode="auto">
              <a:xfrm>
                <a:off x="10458450" y="4230688"/>
                <a:ext cx="79375" cy="312738"/>
              </a:xfrm>
              <a:prstGeom prst="rect">
                <a:avLst/>
              </a:prstGeom>
              <a:solidFill>
                <a:srgbClr val="2B5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8" name="Rectangle 261">
                <a:extLst>
                  <a:ext uri="{FF2B5EF4-FFF2-40B4-BE49-F238E27FC236}">
                    <a16:creationId xmlns:a16="http://schemas.microsoft.com/office/drawing/2014/main" id="{43EF96AA-19C5-4929-9B1F-C3FBCDD3B352}"/>
                  </a:ext>
                </a:extLst>
              </p:cNvPr>
              <p:cNvSpPr>
                <a:spLocks noChangeArrowheads="1"/>
              </p:cNvSpPr>
              <p:nvPr/>
            </p:nvSpPr>
            <p:spPr bwMode="auto">
              <a:xfrm>
                <a:off x="10458450" y="4251325"/>
                <a:ext cx="79375" cy="7938"/>
              </a:xfrm>
              <a:prstGeom prst="rect">
                <a:avLst/>
              </a:prstGeom>
              <a:solidFill>
                <a:srgbClr val="FCFB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9" name="Rectangle 262">
                <a:extLst>
                  <a:ext uri="{FF2B5EF4-FFF2-40B4-BE49-F238E27FC236}">
                    <a16:creationId xmlns:a16="http://schemas.microsoft.com/office/drawing/2014/main" id="{8B1104B8-619E-4AA9-9AAF-6580BDEAA5BD}"/>
                  </a:ext>
                </a:extLst>
              </p:cNvPr>
              <p:cNvSpPr>
                <a:spLocks noChangeArrowheads="1"/>
              </p:cNvSpPr>
              <p:nvPr/>
            </p:nvSpPr>
            <p:spPr bwMode="auto">
              <a:xfrm>
                <a:off x="10458450" y="4514850"/>
                <a:ext cx="79375" cy="9525"/>
              </a:xfrm>
              <a:prstGeom prst="rect">
                <a:avLst/>
              </a:prstGeom>
              <a:solidFill>
                <a:srgbClr val="FCFB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0" name="Rectangle 263">
                <a:extLst>
                  <a:ext uri="{FF2B5EF4-FFF2-40B4-BE49-F238E27FC236}">
                    <a16:creationId xmlns:a16="http://schemas.microsoft.com/office/drawing/2014/main" id="{28FE87D5-BBA4-40A5-94B8-67960D54FC94}"/>
                  </a:ext>
                </a:extLst>
              </p:cNvPr>
              <p:cNvSpPr>
                <a:spLocks noChangeArrowheads="1"/>
              </p:cNvSpPr>
              <p:nvPr/>
            </p:nvSpPr>
            <p:spPr bwMode="auto">
              <a:xfrm>
                <a:off x="10339388" y="4279900"/>
                <a:ext cx="111125" cy="255588"/>
              </a:xfrm>
              <a:prstGeom prst="rect">
                <a:avLst/>
              </a:prstGeom>
              <a:solidFill>
                <a:srgbClr val="5D9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1" name="Rectangle 264">
                <a:extLst>
                  <a:ext uri="{FF2B5EF4-FFF2-40B4-BE49-F238E27FC236}">
                    <a16:creationId xmlns:a16="http://schemas.microsoft.com/office/drawing/2014/main" id="{924DE66D-29FE-4824-AB25-33963D170D1B}"/>
                  </a:ext>
                </a:extLst>
              </p:cNvPr>
              <p:cNvSpPr>
                <a:spLocks noChangeArrowheads="1"/>
              </p:cNvSpPr>
              <p:nvPr/>
            </p:nvSpPr>
            <p:spPr bwMode="auto">
              <a:xfrm>
                <a:off x="10339388" y="4279900"/>
                <a:ext cx="111125"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2" name="Rectangle 265">
                <a:extLst>
                  <a:ext uri="{FF2B5EF4-FFF2-40B4-BE49-F238E27FC236}">
                    <a16:creationId xmlns:a16="http://schemas.microsoft.com/office/drawing/2014/main" id="{B214212D-88FF-4087-96BB-380B14E94FC9}"/>
                  </a:ext>
                </a:extLst>
              </p:cNvPr>
              <p:cNvSpPr>
                <a:spLocks noChangeArrowheads="1"/>
              </p:cNvSpPr>
              <p:nvPr/>
            </p:nvSpPr>
            <p:spPr bwMode="auto">
              <a:xfrm>
                <a:off x="10350500" y="4279900"/>
                <a:ext cx="90488" cy="255588"/>
              </a:xfrm>
              <a:prstGeom prst="rect">
                <a:avLst/>
              </a:prstGeom>
              <a:solidFill>
                <a:srgbClr val="F9EE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3" name="Rectangle 266">
                <a:extLst>
                  <a:ext uri="{FF2B5EF4-FFF2-40B4-BE49-F238E27FC236}">
                    <a16:creationId xmlns:a16="http://schemas.microsoft.com/office/drawing/2014/main" id="{EA9741E8-F197-45DC-AEC2-52526D45970A}"/>
                  </a:ext>
                </a:extLst>
              </p:cNvPr>
              <p:cNvSpPr>
                <a:spLocks noChangeArrowheads="1"/>
              </p:cNvSpPr>
              <p:nvPr/>
            </p:nvSpPr>
            <p:spPr bwMode="auto">
              <a:xfrm>
                <a:off x="10350500" y="4279900"/>
                <a:ext cx="90488"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4" name="Rectangle 267">
                <a:extLst>
                  <a:ext uri="{FF2B5EF4-FFF2-40B4-BE49-F238E27FC236}">
                    <a16:creationId xmlns:a16="http://schemas.microsoft.com/office/drawing/2014/main" id="{162FA2DA-612D-41A1-81AA-F07A0CEFD230}"/>
                  </a:ext>
                </a:extLst>
              </p:cNvPr>
              <p:cNvSpPr>
                <a:spLocks noChangeArrowheads="1"/>
              </p:cNvSpPr>
              <p:nvPr/>
            </p:nvSpPr>
            <p:spPr bwMode="auto">
              <a:xfrm>
                <a:off x="10390188" y="4279900"/>
                <a:ext cx="3175" cy="255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5" name="Rectangle 268">
                <a:extLst>
                  <a:ext uri="{FF2B5EF4-FFF2-40B4-BE49-F238E27FC236}">
                    <a16:creationId xmlns:a16="http://schemas.microsoft.com/office/drawing/2014/main" id="{A93CBA70-D0B4-420A-A9A5-25B814DC61C1}"/>
                  </a:ext>
                </a:extLst>
              </p:cNvPr>
              <p:cNvSpPr>
                <a:spLocks noChangeArrowheads="1"/>
              </p:cNvSpPr>
              <p:nvPr/>
            </p:nvSpPr>
            <p:spPr bwMode="auto">
              <a:xfrm>
                <a:off x="10390188" y="4279900"/>
                <a:ext cx="3175"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6" name="Rectangle 269">
                <a:extLst>
                  <a:ext uri="{FF2B5EF4-FFF2-40B4-BE49-F238E27FC236}">
                    <a16:creationId xmlns:a16="http://schemas.microsoft.com/office/drawing/2014/main" id="{FA145FF7-47CB-4180-93A0-3F5EEE8198A7}"/>
                  </a:ext>
                </a:extLst>
              </p:cNvPr>
              <p:cNvSpPr>
                <a:spLocks noChangeArrowheads="1"/>
              </p:cNvSpPr>
              <p:nvPr/>
            </p:nvSpPr>
            <p:spPr bwMode="auto">
              <a:xfrm>
                <a:off x="10407650" y="4279900"/>
                <a:ext cx="3175" cy="255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7" name="Rectangle 270">
                <a:extLst>
                  <a:ext uri="{FF2B5EF4-FFF2-40B4-BE49-F238E27FC236}">
                    <a16:creationId xmlns:a16="http://schemas.microsoft.com/office/drawing/2014/main" id="{22E17166-687A-4DC8-B53E-F523D9F21700}"/>
                  </a:ext>
                </a:extLst>
              </p:cNvPr>
              <p:cNvSpPr>
                <a:spLocks noChangeArrowheads="1"/>
              </p:cNvSpPr>
              <p:nvPr/>
            </p:nvSpPr>
            <p:spPr bwMode="auto">
              <a:xfrm>
                <a:off x="10407650" y="4279900"/>
                <a:ext cx="3175"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8" name="Rectangle 271">
                <a:extLst>
                  <a:ext uri="{FF2B5EF4-FFF2-40B4-BE49-F238E27FC236}">
                    <a16:creationId xmlns:a16="http://schemas.microsoft.com/office/drawing/2014/main" id="{342AD22B-A161-49AF-90C7-F4D29F859C12}"/>
                  </a:ext>
                </a:extLst>
              </p:cNvPr>
              <p:cNvSpPr>
                <a:spLocks noChangeArrowheads="1"/>
              </p:cNvSpPr>
              <p:nvPr/>
            </p:nvSpPr>
            <p:spPr bwMode="auto">
              <a:xfrm>
                <a:off x="10382250" y="4279900"/>
                <a:ext cx="1588" cy="255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9" name="Rectangle 272">
                <a:extLst>
                  <a:ext uri="{FF2B5EF4-FFF2-40B4-BE49-F238E27FC236}">
                    <a16:creationId xmlns:a16="http://schemas.microsoft.com/office/drawing/2014/main" id="{4E305BBC-F92D-4CBB-8E04-BDE5AB0DDF3B}"/>
                  </a:ext>
                </a:extLst>
              </p:cNvPr>
              <p:cNvSpPr>
                <a:spLocks noChangeArrowheads="1"/>
              </p:cNvSpPr>
              <p:nvPr/>
            </p:nvSpPr>
            <p:spPr bwMode="auto">
              <a:xfrm>
                <a:off x="10382250" y="4279900"/>
                <a:ext cx="1588"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0" name="Rectangle 273">
                <a:extLst>
                  <a:ext uri="{FF2B5EF4-FFF2-40B4-BE49-F238E27FC236}">
                    <a16:creationId xmlns:a16="http://schemas.microsoft.com/office/drawing/2014/main" id="{90C37B55-3027-4BE0-BBC4-3627CEDF4732}"/>
                  </a:ext>
                </a:extLst>
              </p:cNvPr>
              <p:cNvSpPr>
                <a:spLocks noChangeArrowheads="1"/>
              </p:cNvSpPr>
              <p:nvPr/>
            </p:nvSpPr>
            <p:spPr bwMode="auto">
              <a:xfrm>
                <a:off x="10356850" y="4279900"/>
                <a:ext cx="1588" cy="255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1" name="Rectangle 274">
                <a:extLst>
                  <a:ext uri="{FF2B5EF4-FFF2-40B4-BE49-F238E27FC236}">
                    <a16:creationId xmlns:a16="http://schemas.microsoft.com/office/drawing/2014/main" id="{145E9579-6E6C-4E86-B759-90858DCB4CEC}"/>
                  </a:ext>
                </a:extLst>
              </p:cNvPr>
              <p:cNvSpPr>
                <a:spLocks noChangeArrowheads="1"/>
              </p:cNvSpPr>
              <p:nvPr/>
            </p:nvSpPr>
            <p:spPr bwMode="auto">
              <a:xfrm>
                <a:off x="10356850" y="4279900"/>
                <a:ext cx="1588"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2" name="Rectangle 275">
                <a:extLst>
                  <a:ext uri="{FF2B5EF4-FFF2-40B4-BE49-F238E27FC236}">
                    <a16:creationId xmlns:a16="http://schemas.microsoft.com/office/drawing/2014/main" id="{8E966398-1F43-4A81-9582-4B2923DA20E1}"/>
                  </a:ext>
                </a:extLst>
              </p:cNvPr>
              <p:cNvSpPr>
                <a:spLocks noChangeArrowheads="1"/>
              </p:cNvSpPr>
              <p:nvPr/>
            </p:nvSpPr>
            <p:spPr bwMode="auto">
              <a:xfrm>
                <a:off x="10361613" y="4279900"/>
                <a:ext cx="3175" cy="255588"/>
              </a:xfrm>
              <a:prstGeom prst="rect">
                <a:avLst/>
              </a:prstGeom>
              <a:solidFill>
                <a:srgbClr val="F3DE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3" name="Rectangle 276">
                <a:extLst>
                  <a:ext uri="{FF2B5EF4-FFF2-40B4-BE49-F238E27FC236}">
                    <a16:creationId xmlns:a16="http://schemas.microsoft.com/office/drawing/2014/main" id="{F4CE8302-5684-4879-A5AA-B8E7E63527C1}"/>
                  </a:ext>
                </a:extLst>
              </p:cNvPr>
              <p:cNvSpPr>
                <a:spLocks noChangeArrowheads="1"/>
              </p:cNvSpPr>
              <p:nvPr/>
            </p:nvSpPr>
            <p:spPr bwMode="auto">
              <a:xfrm>
                <a:off x="10361613" y="4279900"/>
                <a:ext cx="3175"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4" name="Rectangle 277">
                <a:extLst>
                  <a:ext uri="{FF2B5EF4-FFF2-40B4-BE49-F238E27FC236}">
                    <a16:creationId xmlns:a16="http://schemas.microsoft.com/office/drawing/2014/main" id="{D4EA440D-8C97-409E-86BC-4F8D0B627777}"/>
                  </a:ext>
                </a:extLst>
              </p:cNvPr>
              <p:cNvSpPr>
                <a:spLocks noChangeArrowheads="1"/>
              </p:cNvSpPr>
              <p:nvPr/>
            </p:nvSpPr>
            <p:spPr bwMode="auto">
              <a:xfrm>
                <a:off x="10117138" y="4543425"/>
                <a:ext cx="1328738" cy="71438"/>
              </a:xfrm>
              <a:prstGeom prst="rect">
                <a:avLst/>
              </a:prstGeom>
              <a:solidFill>
                <a:srgbClr val="664A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19" name="组合 18">
              <a:extLst>
                <a:ext uri="{FF2B5EF4-FFF2-40B4-BE49-F238E27FC236}">
                  <a16:creationId xmlns:a16="http://schemas.microsoft.com/office/drawing/2014/main" id="{2E3CE429-3720-424F-9B41-69E0C6EEC060}"/>
                </a:ext>
              </a:extLst>
            </p:cNvPr>
            <p:cNvGrpSpPr/>
            <p:nvPr/>
          </p:nvGrpSpPr>
          <p:grpSpPr>
            <a:xfrm>
              <a:off x="4736611" y="3776384"/>
              <a:ext cx="888420" cy="887512"/>
              <a:chOff x="631825" y="3495675"/>
              <a:chExt cx="1554163" cy="1552575"/>
            </a:xfrm>
          </p:grpSpPr>
          <p:sp>
            <p:nvSpPr>
              <p:cNvPr id="268" name="Oval 278">
                <a:extLst>
                  <a:ext uri="{FF2B5EF4-FFF2-40B4-BE49-F238E27FC236}">
                    <a16:creationId xmlns:a16="http://schemas.microsoft.com/office/drawing/2014/main" id="{3A5534FF-082B-4D52-B78E-52E7543BACBF}"/>
                  </a:ext>
                </a:extLst>
              </p:cNvPr>
              <p:cNvSpPr>
                <a:spLocks noChangeArrowheads="1"/>
              </p:cNvSpPr>
              <p:nvPr/>
            </p:nvSpPr>
            <p:spPr bwMode="auto">
              <a:xfrm>
                <a:off x="631825" y="3495675"/>
                <a:ext cx="1554163" cy="1552575"/>
              </a:xfrm>
              <a:prstGeom prst="ellipse">
                <a:avLst/>
              </a:pr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9" name="Freeform 279">
                <a:extLst>
                  <a:ext uri="{FF2B5EF4-FFF2-40B4-BE49-F238E27FC236}">
                    <a16:creationId xmlns:a16="http://schemas.microsoft.com/office/drawing/2014/main" id="{66DF687F-E1A6-4204-8F15-987D513A28B1}"/>
                  </a:ext>
                </a:extLst>
              </p:cNvPr>
              <p:cNvSpPr>
                <a:spLocks/>
              </p:cNvSpPr>
              <p:nvPr/>
            </p:nvSpPr>
            <p:spPr bwMode="auto">
              <a:xfrm>
                <a:off x="1076325" y="3906838"/>
                <a:ext cx="668338" cy="933450"/>
              </a:xfrm>
              <a:custGeom>
                <a:avLst/>
                <a:gdLst>
                  <a:gd name="T0" fmla="*/ 232 w 235"/>
                  <a:gd name="T1" fmla="*/ 115 h 328"/>
                  <a:gd name="T2" fmla="*/ 117 w 235"/>
                  <a:gd name="T3" fmla="*/ 0 h 328"/>
                  <a:gd name="T4" fmla="*/ 2 w 235"/>
                  <a:gd name="T5" fmla="*/ 115 h 328"/>
                  <a:gd name="T6" fmla="*/ 52 w 235"/>
                  <a:gd name="T7" fmla="*/ 235 h 328"/>
                  <a:gd name="T8" fmla="*/ 117 w 235"/>
                  <a:gd name="T9" fmla="*/ 328 h 328"/>
                  <a:gd name="T10" fmla="*/ 182 w 235"/>
                  <a:gd name="T11" fmla="*/ 235 h 328"/>
                  <a:gd name="T12" fmla="*/ 232 w 235"/>
                  <a:gd name="T13" fmla="*/ 115 h 328"/>
                </a:gdLst>
                <a:ahLst/>
                <a:cxnLst>
                  <a:cxn ang="0">
                    <a:pos x="T0" y="T1"/>
                  </a:cxn>
                  <a:cxn ang="0">
                    <a:pos x="T2" y="T3"/>
                  </a:cxn>
                  <a:cxn ang="0">
                    <a:pos x="T4" y="T5"/>
                  </a:cxn>
                  <a:cxn ang="0">
                    <a:pos x="T6" y="T7"/>
                  </a:cxn>
                  <a:cxn ang="0">
                    <a:pos x="T8" y="T9"/>
                  </a:cxn>
                  <a:cxn ang="0">
                    <a:pos x="T10" y="T11"/>
                  </a:cxn>
                  <a:cxn ang="0">
                    <a:pos x="T12" y="T13"/>
                  </a:cxn>
                </a:cxnLst>
                <a:rect l="0" t="0" r="r" b="b"/>
                <a:pathLst>
                  <a:path w="235" h="328">
                    <a:moveTo>
                      <a:pt x="232" y="115"/>
                    </a:moveTo>
                    <a:cubicBezTo>
                      <a:pt x="230" y="52"/>
                      <a:pt x="181" y="0"/>
                      <a:pt x="117" y="0"/>
                    </a:cubicBezTo>
                    <a:cubicBezTo>
                      <a:pt x="53" y="0"/>
                      <a:pt x="5" y="52"/>
                      <a:pt x="2" y="115"/>
                    </a:cubicBezTo>
                    <a:cubicBezTo>
                      <a:pt x="0" y="171"/>
                      <a:pt x="36" y="194"/>
                      <a:pt x="52" y="235"/>
                    </a:cubicBezTo>
                    <a:cubicBezTo>
                      <a:pt x="77" y="299"/>
                      <a:pt x="81" y="328"/>
                      <a:pt x="117" y="328"/>
                    </a:cubicBezTo>
                    <a:cubicBezTo>
                      <a:pt x="153" y="328"/>
                      <a:pt x="157" y="299"/>
                      <a:pt x="182" y="235"/>
                    </a:cubicBezTo>
                    <a:cubicBezTo>
                      <a:pt x="198" y="194"/>
                      <a:pt x="235" y="171"/>
                      <a:pt x="232" y="115"/>
                    </a:cubicBezTo>
                    <a:close/>
                  </a:path>
                </a:pathLst>
              </a:custGeom>
              <a:solidFill>
                <a:srgbClr val="FFD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0" name="Freeform 280">
                <a:extLst>
                  <a:ext uri="{FF2B5EF4-FFF2-40B4-BE49-F238E27FC236}">
                    <a16:creationId xmlns:a16="http://schemas.microsoft.com/office/drawing/2014/main" id="{46763061-120E-4420-9D98-0B6042E4AFA3}"/>
                  </a:ext>
                </a:extLst>
              </p:cNvPr>
              <p:cNvSpPr>
                <a:spLocks/>
              </p:cNvSpPr>
              <p:nvPr/>
            </p:nvSpPr>
            <p:spPr bwMode="auto">
              <a:xfrm>
                <a:off x="1123950" y="3997325"/>
                <a:ext cx="233363" cy="282575"/>
              </a:xfrm>
              <a:custGeom>
                <a:avLst/>
                <a:gdLst>
                  <a:gd name="T0" fmla="*/ 15 w 82"/>
                  <a:gd name="T1" fmla="*/ 33 h 99"/>
                  <a:gd name="T2" fmla="*/ 14 w 82"/>
                  <a:gd name="T3" fmla="*/ 90 h 99"/>
                  <a:gd name="T4" fmla="*/ 67 w 82"/>
                  <a:gd name="T5" fmla="*/ 67 h 99"/>
                  <a:gd name="T6" fmla="*/ 67 w 82"/>
                  <a:gd name="T7" fmla="*/ 10 h 99"/>
                  <a:gd name="T8" fmla="*/ 15 w 82"/>
                  <a:gd name="T9" fmla="*/ 33 h 99"/>
                </a:gdLst>
                <a:ahLst/>
                <a:cxnLst>
                  <a:cxn ang="0">
                    <a:pos x="T0" y="T1"/>
                  </a:cxn>
                  <a:cxn ang="0">
                    <a:pos x="T2" y="T3"/>
                  </a:cxn>
                  <a:cxn ang="0">
                    <a:pos x="T4" y="T5"/>
                  </a:cxn>
                  <a:cxn ang="0">
                    <a:pos x="T6" y="T7"/>
                  </a:cxn>
                  <a:cxn ang="0">
                    <a:pos x="T8" y="T9"/>
                  </a:cxn>
                </a:cxnLst>
                <a:rect l="0" t="0" r="r" b="b"/>
                <a:pathLst>
                  <a:path w="82" h="99">
                    <a:moveTo>
                      <a:pt x="15" y="33"/>
                    </a:moveTo>
                    <a:cubicBezTo>
                      <a:pt x="0" y="55"/>
                      <a:pt x="0" y="80"/>
                      <a:pt x="14" y="90"/>
                    </a:cubicBezTo>
                    <a:cubicBezTo>
                      <a:pt x="28" y="99"/>
                      <a:pt x="52" y="89"/>
                      <a:pt x="67" y="67"/>
                    </a:cubicBezTo>
                    <a:cubicBezTo>
                      <a:pt x="81" y="45"/>
                      <a:pt x="82" y="19"/>
                      <a:pt x="67" y="10"/>
                    </a:cubicBezTo>
                    <a:cubicBezTo>
                      <a:pt x="53" y="0"/>
                      <a:pt x="29" y="10"/>
                      <a:pt x="15" y="33"/>
                    </a:cubicBezTo>
                    <a:close/>
                  </a:path>
                </a:pathLst>
              </a:custGeom>
              <a:solidFill>
                <a:srgbClr val="FFE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1" name="Freeform 281">
                <a:extLst>
                  <a:ext uri="{FF2B5EF4-FFF2-40B4-BE49-F238E27FC236}">
                    <a16:creationId xmlns:a16="http://schemas.microsoft.com/office/drawing/2014/main" id="{F9D72D37-AC2A-4BFB-B59F-65C39AEDA80A}"/>
                  </a:ext>
                </a:extLst>
              </p:cNvPr>
              <p:cNvSpPr>
                <a:spLocks noEditPoints="1"/>
              </p:cNvSpPr>
              <p:nvPr/>
            </p:nvSpPr>
            <p:spPr bwMode="auto">
              <a:xfrm>
                <a:off x="1235075" y="4256088"/>
                <a:ext cx="347663" cy="450850"/>
              </a:xfrm>
              <a:custGeom>
                <a:avLst/>
                <a:gdLst>
                  <a:gd name="T0" fmla="*/ 106 w 122"/>
                  <a:gd name="T1" fmla="*/ 4 h 158"/>
                  <a:gd name="T2" fmla="*/ 80 w 122"/>
                  <a:gd name="T3" fmla="*/ 18 h 158"/>
                  <a:gd name="T4" fmla="*/ 62 w 122"/>
                  <a:gd name="T5" fmla="*/ 6 h 158"/>
                  <a:gd name="T6" fmla="*/ 43 w 122"/>
                  <a:gd name="T7" fmla="*/ 19 h 158"/>
                  <a:gd name="T8" fmla="*/ 18 w 122"/>
                  <a:gd name="T9" fmla="*/ 9 h 158"/>
                  <a:gd name="T10" fmla="*/ 2 w 122"/>
                  <a:gd name="T11" fmla="*/ 41 h 158"/>
                  <a:gd name="T12" fmla="*/ 19 w 122"/>
                  <a:gd name="T13" fmla="*/ 87 h 158"/>
                  <a:gd name="T14" fmla="*/ 39 w 122"/>
                  <a:gd name="T15" fmla="*/ 144 h 158"/>
                  <a:gd name="T16" fmla="*/ 43 w 122"/>
                  <a:gd name="T17" fmla="*/ 142 h 158"/>
                  <a:gd name="T18" fmla="*/ 29 w 122"/>
                  <a:gd name="T19" fmla="*/ 96 h 158"/>
                  <a:gd name="T20" fmla="*/ 23 w 122"/>
                  <a:gd name="T21" fmla="*/ 80 h 158"/>
                  <a:gd name="T22" fmla="*/ 59 w 122"/>
                  <a:gd name="T23" fmla="*/ 80 h 158"/>
                  <a:gd name="T24" fmla="*/ 80 w 122"/>
                  <a:gd name="T25" fmla="*/ 80 h 158"/>
                  <a:gd name="T26" fmla="*/ 94 w 122"/>
                  <a:gd name="T27" fmla="*/ 80 h 158"/>
                  <a:gd name="T28" fmla="*/ 87 w 122"/>
                  <a:gd name="T29" fmla="*/ 100 h 158"/>
                  <a:gd name="T30" fmla="*/ 71 w 122"/>
                  <a:gd name="T31" fmla="*/ 150 h 158"/>
                  <a:gd name="T32" fmla="*/ 80 w 122"/>
                  <a:gd name="T33" fmla="*/ 153 h 158"/>
                  <a:gd name="T34" fmla="*/ 97 w 122"/>
                  <a:gd name="T35" fmla="*/ 93 h 158"/>
                  <a:gd name="T36" fmla="*/ 110 w 122"/>
                  <a:gd name="T37" fmla="*/ 65 h 158"/>
                  <a:gd name="T38" fmla="*/ 120 w 122"/>
                  <a:gd name="T39" fmla="*/ 38 h 158"/>
                  <a:gd name="T40" fmla="*/ 106 w 122"/>
                  <a:gd name="T41" fmla="*/ 4 h 158"/>
                  <a:gd name="T42" fmla="*/ 105 w 122"/>
                  <a:gd name="T43" fmla="*/ 57 h 158"/>
                  <a:gd name="T44" fmla="*/ 95 w 122"/>
                  <a:gd name="T45" fmla="*/ 78 h 158"/>
                  <a:gd name="T46" fmla="*/ 80 w 122"/>
                  <a:gd name="T47" fmla="*/ 78 h 158"/>
                  <a:gd name="T48" fmla="*/ 59 w 122"/>
                  <a:gd name="T49" fmla="*/ 78 h 158"/>
                  <a:gd name="T50" fmla="*/ 23 w 122"/>
                  <a:gd name="T51" fmla="*/ 78 h 158"/>
                  <a:gd name="T52" fmla="*/ 14 w 122"/>
                  <a:gd name="T53" fmla="*/ 56 h 158"/>
                  <a:gd name="T54" fmla="*/ 11 w 122"/>
                  <a:gd name="T55" fmla="*/ 24 h 158"/>
                  <a:gd name="T56" fmla="*/ 28 w 122"/>
                  <a:gd name="T57" fmla="*/ 14 h 158"/>
                  <a:gd name="T58" fmla="*/ 40 w 122"/>
                  <a:gd name="T59" fmla="*/ 29 h 158"/>
                  <a:gd name="T60" fmla="*/ 46 w 122"/>
                  <a:gd name="T61" fmla="*/ 28 h 158"/>
                  <a:gd name="T62" fmla="*/ 60 w 122"/>
                  <a:gd name="T63" fmla="*/ 13 h 158"/>
                  <a:gd name="T64" fmla="*/ 76 w 122"/>
                  <a:gd name="T65" fmla="*/ 27 h 158"/>
                  <a:gd name="T66" fmla="*/ 83 w 122"/>
                  <a:gd name="T67" fmla="*/ 27 h 158"/>
                  <a:gd name="T68" fmla="*/ 109 w 122"/>
                  <a:gd name="T69" fmla="*/ 17 h 158"/>
                  <a:gd name="T70" fmla="*/ 105 w 122"/>
                  <a:gd name="T71" fmla="*/ 5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158">
                    <a:moveTo>
                      <a:pt x="106" y="4"/>
                    </a:moveTo>
                    <a:cubicBezTo>
                      <a:pt x="94" y="0"/>
                      <a:pt x="86" y="9"/>
                      <a:pt x="80" y="18"/>
                    </a:cubicBezTo>
                    <a:cubicBezTo>
                      <a:pt x="77" y="11"/>
                      <a:pt x="70" y="6"/>
                      <a:pt x="62" y="6"/>
                    </a:cubicBezTo>
                    <a:cubicBezTo>
                      <a:pt x="53" y="7"/>
                      <a:pt x="46" y="12"/>
                      <a:pt x="43" y="19"/>
                    </a:cubicBezTo>
                    <a:cubicBezTo>
                      <a:pt x="37" y="10"/>
                      <a:pt x="29" y="4"/>
                      <a:pt x="18" y="9"/>
                    </a:cubicBezTo>
                    <a:cubicBezTo>
                      <a:pt x="6" y="15"/>
                      <a:pt x="0" y="28"/>
                      <a:pt x="2" y="41"/>
                    </a:cubicBezTo>
                    <a:cubicBezTo>
                      <a:pt x="5" y="57"/>
                      <a:pt x="14" y="72"/>
                      <a:pt x="19" y="87"/>
                    </a:cubicBezTo>
                    <a:cubicBezTo>
                      <a:pt x="26" y="106"/>
                      <a:pt x="29" y="126"/>
                      <a:pt x="39" y="144"/>
                    </a:cubicBezTo>
                    <a:cubicBezTo>
                      <a:pt x="40" y="146"/>
                      <a:pt x="44" y="145"/>
                      <a:pt x="43" y="142"/>
                    </a:cubicBezTo>
                    <a:cubicBezTo>
                      <a:pt x="38" y="127"/>
                      <a:pt x="33" y="112"/>
                      <a:pt x="29" y="96"/>
                    </a:cubicBezTo>
                    <a:cubicBezTo>
                      <a:pt x="27" y="91"/>
                      <a:pt x="25" y="85"/>
                      <a:pt x="23" y="80"/>
                    </a:cubicBezTo>
                    <a:cubicBezTo>
                      <a:pt x="35" y="82"/>
                      <a:pt x="48" y="80"/>
                      <a:pt x="59" y="80"/>
                    </a:cubicBezTo>
                    <a:cubicBezTo>
                      <a:pt x="80" y="80"/>
                      <a:pt x="80" y="80"/>
                      <a:pt x="80" y="80"/>
                    </a:cubicBezTo>
                    <a:cubicBezTo>
                      <a:pt x="85" y="80"/>
                      <a:pt x="89" y="81"/>
                      <a:pt x="94" y="80"/>
                    </a:cubicBezTo>
                    <a:cubicBezTo>
                      <a:pt x="91" y="87"/>
                      <a:pt x="89" y="93"/>
                      <a:pt x="87" y="100"/>
                    </a:cubicBezTo>
                    <a:cubicBezTo>
                      <a:pt x="81" y="117"/>
                      <a:pt x="78" y="134"/>
                      <a:pt x="71" y="150"/>
                    </a:cubicBezTo>
                    <a:cubicBezTo>
                      <a:pt x="69" y="156"/>
                      <a:pt x="78" y="158"/>
                      <a:pt x="80" y="153"/>
                    </a:cubicBezTo>
                    <a:cubicBezTo>
                      <a:pt x="88" y="134"/>
                      <a:pt x="91" y="113"/>
                      <a:pt x="97" y="93"/>
                    </a:cubicBezTo>
                    <a:cubicBezTo>
                      <a:pt x="101" y="83"/>
                      <a:pt x="105" y="74"/>
                      <a:pt x="110" y="65"/>
                    </a:cubicBezTo>
                    <a:cubicBezTo>
                      <a:pt x="114" y="56"/>
                      <a:pt x="118" y="47"/>
                      <a:pt x="120" y="38"/>
                    </a:cubicBezTo>
                    <a:cubicBezTo>
                      <a:pt x="122" y="27"/>
                      <a:pt x="118" y="8"/>
                      <a:pt x="106" y="4"/>
                    </a:cubicBezTo>
                    <a:close/>
                    <a:moveTo>
                      <a:pt x="105" y="57"/>
                    </a:moveTo>
                    <a:cubicBezTo>
                      <a:pt x="101" y="64"/>
                      <a:pt x="98" y="71"/>
                      <a:pt x="95" y="78"/>
                    </a:cubicBezTo>
                    <a:cubicBezTo>
                      <a:pt x="90" y="77"/>
                      <a:pt x="85" y="78"/>
                      <a:pt x="80" y="78"/>
                    </a:cubicBezTo>
                    <a:cubicBezTo>
                      <a:pt x="59" y="78"/>
                      <a:pt x="59" y="78"/>
                      <a:pt x="59" y="78"/>
                    </a:cubicBezTo>
                    <a:cubicBezTo>
                      <a:pt x="48" y="78"/>
                      <a:pt x="34" y="76"/>
                      <a:pt x="23" y="78"/>
                    </a:cubicBezTo>
                    <a:cubicBezTo>
                      <a:pt x="20" y="71"/>
                      <a:pt x="17" y="63"/>
                      <a:pt x="14" y="56"/>
                    </a:cubicBezTo>
                    <a:cubicBezTo>
                      <a:pt x="10" y="46"/>
                      <a:pt x="6" y="34"/>
                      <a:pt x="11" y="24"/>
                    </a:cubicBezTo>
                    <a:cubicBezTo>
                      <a:pt x="14" y="18"/>
                      <a:pt x="22" y="12"/>
                      <a:pt x="28" y="14"/>
                    </a:cubicBezTo>
                    <a:cubicBezTo>
                      <a:pt x="34" y="15"/>
                      <a:pt x="38" y="24"/>
                      <a:pt x="40" y="29"/>
                    </a:cubicBezTo>
                    <a:cubicBezTo>
                      <a:pt x="42" y="31"/>
                      <a:pt x="46" y="30"/>
                      <a:pt x="46" y="28"/>
                    </a:cubicBezTo>
                    <a:cubicBezTo>
                      <a:pt x="48" y="21"/>
                      <a:pt x="53" y="15"/>
                      <a:pt x="60" y="13"/>
                    </a:cubicBezTo>
                    <a:cubicBezTo>
                      <a:pt x="69" y="11"/>
                      <a:pt x="74" y="19"/>
                      <a:pt x="76" y="27"/>
                    </a:cubicBezTo>
                    <a:cubicBezTo>
                      <a:pt x="77" y="30"/>
                      <a:pt x="81" y="30"/>
                      <a:pt x="83" y="27"/>
                    </a:cubicBezTo>
                    <a:cubicBezTo>
                      <a:pt x="88" y="19"/>
                      <a:pt x="100" y="2"/>
                      <a:pt x="109" y="17"/>
                    </a:cubicBezTo>
                    <a:cubicBezTo>
                      <a:pt x="117" y="30"/>
                      <a:pt x="111" y="45"/>
                      <a:pt x="105" y="57"/>
                    </a:cubicBezTo>
                    <a:close/>
                  </a:path>
                </a:pathLst>
              </a:custGeom>
              <a:solidFill>
                <a:srgbClr val="FBF8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2" name="Rectangle 282">
                <a:extLst>
                  <a:ext uri="{FF2B5EF4-FFF2-40B4-BE49-F238E27FC236}">
                    <a16:creationId xmlns:a16="http://schemas.microsoft.com/office/drawing/2014/main" id="{85929335-5337-495F-9787-D110409BEA20}"/>
                  </a:ext>
                </a:extLst>
              </p:cNvPr>
              <p:cNvSpPr>
                <a:spLocks noChangeArrowheads="1"/>
              </p:cNvSpPr>
              <p:nvPr/>
            </p:nvSpPr>
            <p:spPr bwMode="auto">
              <a:xfrm>
                <a:off x="1246188" y="4635500"/>
                <a:ext cx="325438" cy="269875"/>
              </a:xfrm>
              <a:prstGeom prst="rect">
                <a:avLst/>
              </a:prstGeom>
              <a:solidFill>
                <a:srgbClr val="3B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3" name="Freeform 283">
                <a:extLst>
                  <a:ext uri="{FF2B5EF4-FFF2-40B4-BE49-F238E27FC236}">
                    <a16:creationId xmlns:a16="http://schemas.microsoft.com/office/drawing/2014/main" id="{B552CAE0-55B0-45A9-9938-6FB56F4340E0}"/>
                  </a:ext>
                </a:extLst>
              </p:cNvPr>
              <p:cNvSpPr>
                <a:spLocks/>
              </p:cNvSpPr>
              <p:nvPr/>
            </p:nvSpPr>
            <p:spPr bwMode="auto">
              <a:xfrm>
                <a:off x="1246188" y="4746625"/>
                <a:ext cx="325438" cy="139700"/>
              </a:xfrm>
              <a:custGeom>
                <a:avLst/>
                <a:gdLst>
                  <a:gd name="T0" fmla="*/ 0 w 205"/>
                  <a:gd name="T1" fmla="*/ 54 h 88"/>
                  <a:gd name="T2" fmla="*/ 0 w 205"/>
                  <a:gd name="T3" fmla="*/ 88 h 88"/>
                  <a:gd name="T4" fmla="*/ 205 w 205"/>
                  <a:gd name="T5" fmla="*/ 34 h 88"/>
                  <a:gd name="T6" fmla="*/ 205 w 205"/>
                  <a:gd name="T7" fmla="*/ 0 h 88"/>
                  <a:gd name="T8" fmla="*/ 0 w 205"/>
                  <a:gd name="T9" fmla="*/ 54 h 88"/>
                </a:gdLst>
                <a:ahLst/>
                <a:cxnLst>
                  <a:cxn ang="0">
                    <a:pos x="T0" y="T1"/>
                  </a:cxn>
                  <a:cxn ang="0">
                    <a:pos x="T2" y="T3"/>
                  </a:cxn>
                  <a:cxn ang="0">
                    <a:pos x="T4" y="T5"/>
                  </a:cxn>
                  <a:cxn ang="0">
                    <a:pos x="T6" y="T7"/>
                  </a:cxn>
                  <a:cxn ang="0">
                    <a:pos x="T8" y="T9"/>
                  </a:cxn>
                </a:cxnLst>
                <a:rect l="0" t="0" r="r" b="b"/>
                <a:pathLst>
                  <a:path w="205" h="88">
                    <a:moveTo>
                      <a:pt x="0" y="54"/>
                    </a:moveTo>
                    <a:lnTo>
                      <a:pt x="0" y="88"/>
                    </a:lnTo>
                    <a:lnTo>
                      <a:pt x="205" y="34"/>
                    </a:lnTo>
                    <a:lnTo>
                      <a:pt x="205" y="0"/>
                    </a:lnTo>
                    <a:lnTo>
                      <a:pt x="0" y="54"/>
                    </a:lnTo>
                    <a:close/>
                  </a:path>
                </a:pathLst>
              </a:custGeom>
              <a:solidFill>
                <a:srgbClr val="263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4" name="Freeform 284">
                <a:extLst>
                  <a:ext uri="{FF2B5EF4-FFF2-40B4-BE49-F238E27FC236}">
                    <a16:creationId xmlns:a16="http://schemas.microsoft.com/office/drawing/2014/main" id="{5F742A86-453D-48EC-A018-7EC3B054B2A3}"/>
                  </a:ext>
                </a:extLst>
              </p:cNvPr>
              <p:cNvSpPr>
                <a:spLocks/>
              </p:cNvSpPr>
              <p:nvPr/>
            </p:nvSpPr>
            <p:spPr bwMode="auto">
              <a:xfrm>
                <a:off x="1246188" y="4649788"/>
                <a:ext cx="325438" cy="141288"/>
              </a:xfrm>
              <a:custGeom>
                <a:avLst/>
                <a:gdLst>
                  <a:gd name="T0" fmla="*/ 205 w 205"/>
                  <a:gd name="T1" fmla="*/ 0 h 89"/>
                  <a:gd name="T2" fmla="*/ 0 w 205"/>
                  <a:gd name="T3" fmla="*/ 55 h 89"/>
                  <a:gd name="T4" fmla="*/ 0 w 205"/>
                  <a:gd name="T5" fmla="*/ 89 h 89"/>
                  <a:gd name="T6" fmla="*/ 205 w 205"/>
                  <a:gd name="T7" fmla="*/ 34 h 89"/>
                  <a:gd name="T8" fmla="*/ 205 w 205"/>
                  <a:gd name="T9" fmla="*/ 0 h 89"/>
                </a:gdLst>
                <a:ahLst/>
                <a:cxnLst>
                  <a:cxn ang="0">
                    <a:pos x="T0" y="T1"/>
                  </a:cxn>
                  <a:cxn ang="0">
                    <a:pos x="T2" y="T3"/>
                  </a:cxn>
                  <a:cxn ang="0">
                    <a:pos x="T4" y="T5"/>
                  </a:cxn>
                  <a:cxn ang="0">
                    <a:pos x="T6" y="T7"/>
                  </a:cxn>
                  <a:cxn ang="0">
                    <a:pos x="T8" y="T9"/>
                  </a:cxn>
                </a:cxnLst>
                <a:rect l="0" t="0" r="r" b="b"/>
                <a:pathLst>
                  <a:path w="205" h="89">
                    <a:moveTo>
                      <a:pt x="205" y="0"/>
                    </a:moveTo>
                    <a:lnTo>
                      <a:pt x="0" y="55"/>
                    </a:lnTo>
                    <a:lnTo>
                      <a:pt x="0" y="89"/>
                    </a:lnTo>
                    <a:lnTo>
                      <a:pt x="205" y="34"/>
                    </a:lnTo>
                    <a:lnTo>
                      <a:pt x="205" y="0"/>
                    </a:lnTo>
                    <a:close/>
                  </a:path>
                </a:pathLst>
              </a:custGeom>
              <a:solidFill>
                <a:srgbClr val="263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5" name="Freeform 285">
                <a:extLst>
                  <a:ext uri="{FF2B5EF4-FFF2-40B4-BE49-F238E27FC236}">
                    <a16:creationId xmlns:a16="http://schemas.microsoft.com/office/drawing/2014/main" id="{13F6A1CD-B0EC-4828-AD3B-397E29F8F94F}"/>
                  </a:ext>
                </a:extLst>
              </p:cNvPr>
              <p:cNvSpPr>
                <a:spLocks/>
              </p:cNvSpPr>
              <p:nvPr/>
            </p:nvSpPr>
            <p:spPr bwMode="auto">
              <a:xfrm>
                <a:off x="1246188" y="4905375"/>
                <a:ext cx="325438" cy="50800"/>
              </a:xfrm>
              <a:custGeom>
                <a:avLst/>
                <a:gdLst>
                  <a:gd name="T0" fmla="*/ 187 w 205"/>
                  <a:gd name="T1" fmla="*/ 32 h 32"/>
                  <a:gd name="T2" fmla="*/ 205 w 205"/>
                  <a:gd name="T3" fmla="*/ 0 h 32"/>
                  <a:gd name="T4" fmla="*/ 0 w 205"/>
                  <a:gd name="T5" fmla="*/ 0 h 32"/>
                  <a:gd name="T6" fmla="*/ 18 w 205"/>
                  <a:gd name="T7" fmla="*/ 32 h 32"/>
                  <a:gd name="T8" fmla="*/ 187 w 205"/>
                  <a:gd name="T9" fmla="*/ 32 h 32"/>
                </a:gdLst>
                <a:ahLst/>
                <a:cxnLst>
                  <a:cxn ang="0">
                    <a:pos x="T0" y="T1"/>
                  </a:cxn>
                  <a:cxn ang="0">
                    <a:pos x="T2" y="T3"/>
                  </a:cxn>
                  <a:cxn ang="0">
                    <a:pos x="T4" y="T5"/>
                  </a:cxn>
                  <a:cxn ang="0">
                    <a:pos x="T6" y="T7"/>
                  </a:cxn>
                  <a:cxn ang="0">
                    <a:pos x="T8" y="T9"/>
                  </a:cxn>
                </a:cxnLst>
                <a:rect l="0" t="0" r="r" b="b"/>
                <a:pathLst>
                  <a:path w="205" h="32">
                    <a:moveTo>
                      <a:pt x="187" y="32"/>
                    </a:moveTo>
                    <a:lnTo>
                      <a:pt x="205" y="0"/>
                    </a:lnTo>
                    <a:lnTo>
                      <a:pt x="0" y="0"/>
                    </a:lnTo>
                    <a:lnTo>
                      <a:pt x="18" y="32"/>
                    </a:lnTo>
                    <a:lnTo>
                      <a:pt x="187" y="32"/>
                    </a:lnTo>
                    <a:close/>
                  </a:path>
                </a:pathLst>
              </a:custGeom>
              <a:solidFill>
                <a:srgbClr val="263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6" name="Rectangle 286">
                <a:extLst>
                  <a:ext uri="{FF2B5EF4-FFF2-40B4-BE49-F238E27FC236}">
                    <a16:creationId xmlns:a16="http://schemas.microsoft.com/office/drawing/2014/main" id="{9B2C911F-6C0E-4D04-A641-69D7CA7F2A10}"/>
                  </a:ext>
                </a:extLst>
              </p:cNvPr>
              <p:cNvSpPr>
                <a:spLocks noChangeArrowheads="1"/>
              </p:cNvSpPr>
              <p:nvPr/>
            </p:nvSpPr>
            <p:spPr bwMode="auto">
              <a:xfrm>
                <a:off x="1368425" y="3587750"/>
                <a:ext cx="53975" cy="244475"/>
              </a:xfrm>
              <a:prstGeom prst="rect">
                <a:avLst/>
              </a:prstGeom>
              <a:solidFill>
                <a:srgbClr val="FFD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7" name="Freeform 287">
                <a:extLst>
                  <a:ext uri="{FF2B5EF4-FFF2-40B4-BE49-F238E27FC236}">
                    <a16:creationId xmlns:a16="http://schemas.microsoft.com/office/drawing/2014/main" id="{A509878F-8A33-4542-A588-7CE526CA2252}"/>
                  </a:ext>
                </a:extLst>
              </p:cNvPr>
              <p:cNvSpPr>
                <a:spLocks/>
              </p:cNvSpPr>
              <p:nvPr/>
            </p:nvSpPr>
            <p:spPr bwMode="auto">
              <a:xfrm>
                <a:off x="933450" y="3763963"/>
                <a:ext cx="211138" cy="211138"/>
              </a:xfrm>
              <a:custGeom>
                <a:avLst/>
                <a:gdLst>
                  <a:gd name="T0" fmla="*/ 133 w 133"/>
                  <a:gd name="T1" fmla="*/ 107 h 133"/>
                  <a:gd name="T2" fmla="*/ 109 w 133"/>
                  <a:gd name="T3" fmla="*/ 133 h 133"/>
                  <a:gd name="T4" fmla="*/ 0 w 133"/>
                  <a:gd name="T5" fmla="*/ 25 h 133"/>
                  <a:gd name="T6" fmla="*/ 25 w 133"/>
                  <a:gd name="T7" fmla="*/ 0 h 133"/>
                  <a:gd name="T8" fmla="*/ 133 w 133"/>
                  <a:gd name="T9" fmla="*/ 107 h 133"/>
                </a:gdLst>
                <a:ahLst/>
                <a:cxnLst>
                  <a:cxn ang="0">
                    <a:pos x="T0" y="T1"/>
                  </a:cxn>
                  <a:cxn ang="0">
                    <a:pos x="T2" y="T3"/>
                  </a:cxn>
                  <a:cxn ang="0">
                    <a:pos x="T4" y="T5"/>
                  </a:cxn>
                  <a:cxn ang="0">
                    <a:pos x="T6" y="T7"/>
                  </a:cxn>
                  <a:cxn ang="0">
                    <a:pos x="T8" y="T9"/>
                  </a:cxn>
                </a:cxnLst>
                <a:rect l="0" t="0" r="r" b="b"/>
                <a:pathLst>
                  <a:path w="133" h="133">
                    <a:moveTo>
                      <a:pt x="133" y="107"/>
                    </a:moveTo>
                    <a:lnTo>
                      <a:pt x="109" y="133"/>
                    </a:lnTo>
                    <a:lnTo>
                      <a:pt x="0" y="25"/>
                    </a:lnTo>
                    <a:lnTo>
                      <a:pt x="25" y="0"/>
                    </a:lnTo>
                    <a:lnTo>
                      <a:pt x="133" y="107"/>
                    </a:lnTo>
                    <a:close/>
                  </a:path>
                </a:pathLst>
              </a:custGeom>
              <a:solidFill>
                <a:srgbClr val="FFD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8" name="Rectangle 288">
                <a:extLst>
                  <a:ext uri="{FF2B5EF4-FFF2-40B4-BE49-F238E27FC236}">
                    <a16:creationId xmlns:a16="http://schemas.microsoft.com/office/drawing/2014/main" id="{D0F75FEC-8027-4729-BBC5-10C1DBBB1DA7}"/>
                  </a:ext>
                </a:extLst>
              </p:cNvPr>
              <p:cNvSpPr>
                <a:spLocks noChangeArrowheads="1"/>
              </p:cNvSpPr>
              <p:nvPr/>
            </p:nvSpPr>
            <p:spPr bwMode="auto">
              <a:xfrm>
                <a:off x="776288" y="4205288"/>
                <a:ext cx="246063" cy="57150"/>
              </a:xfrm>
              <a:prstGeom prst="rect">
                <a:avLst/>
              </a:prstGeom>
              <a:solidFill>
                <a:srgbClr val="FFD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9" name="Rectangle 289">
                <a:extLst>
                  <a:ext uri="{FF2B5EF4-FFF2-40B4-BE49-F238E27FC236}">
                    <a16:creationId xmlns:a16="http://schemas.microsoft.com/office/drawing/2014/main" id="{0C3515B6-0F5F-44C6-87F4-340C54883D69}"/>
                  </a:ext>
                </a:extLst>
              </p:cNvPr>
              <p:cNvSpPr>
                <a:spLocks noChangeArrowheads="1"/>
              </p:cNvSpPr>
              <p:nvPr/>
            </p:nvSpPr>
            <p:spPr bwMode="auto">
              <a:xfrm>
                <a:off x="1795463" y="4179888"/>
                <a:ext cx="244475" cy="57150"/>
              </a:xfrm>
              <a:prstGeom prst="rect">
                <a:avLst/>
              </a:prstGeom>
              <a:solidFill>
                <a:srgbClr val="FFD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0" name="Freeform 290">
                <a:extLst>
                  <a:ext uri="{FF2B5EF4-FFF2-40B4-BE49-F238E27FC236}">
                    <a16:creationId xmlns:a16="http://schemas.microsoft.com/office/drawing/2014/main" id="{B86759A1-4CA8-4D74-9A32-4FE7EC567B27}"/>
                  </a:ext>
                </a:extLst>
              </p:cNvPr>
              <p:cNvSpPr>
                <a:spLocks/>
              </p:cNvSpPr>
              <p:nvPr/>
            </p:nvSpPr>
            <p:spPr bwMode="auto">
              <a:xfrm>
                <a:off x="1654175" y="3743325"/>
                <a:ext cx="212725" cy="214313"/>
              </a:xfrm>
              <a:custGeom>
                <a:avLst/>
                <a:gdLst>
                  <a:gd name="T0" fmla="*/ 25 w 134"/>
                  <a:gd name="T1" fmla="*/ 135 h 135"/>
                  <a:gd name="T2" fmla="*/ 0 w 134"/>
                  <a:gd name="T3" fmla="*/ 110 h 135"/>
                  <a:gd name="T4" fmla="*/ 109 w 134"/>
                  <a:gd name="T5" fmla="*/ 0 h 135"/>
                  <a:gd name="T6" fmla="*/ 134 w 134"/>
                  <a:gd name="T7" fmla="*/ 25 h 135"/>
                  <a:gd name="T8" fmla="*/ 25 w 134"/>
                  <a:gd name="T9" fmla="*/ 135 h 135"/>
                </a:gdLst>
                <a:ahLst/>
                <a:cxnLst>
                  <a:cxn ang="0">
                    <a:pos x="T0" y="T1"/>
                  </a:cxn>
                  <a:cxn ang="0">
                    <a:pos x="T2" y="T3"/>
                  </a:cxn>
                  <a:cxn ang="0">
                    <a:pos x="T4" y="T5"/>
                  </a:cxn>
                  <a:cxn ang="0">
                    <a:pos x="T6" y="T7"/>
                  </a:cxn>
                  <a:cxn ang="0">
                    <a:pos x="T8" y="T9"/>
                  </a:cxn>
                </a:cxnLst>
                <a:rect l="0" t="0" r="r" b="b"/>
                <a:pathLst>
                  <a:path w="134" h="135">
                    <a:moveTo>
                      <a:pt x="25" y="135"/>
                    </a:moveTo>
                    <a:lnTo>
                      <a:pt x="0" y="110"/>
                    </a:lnTo>
                    <a:lnTo>
                      <a:pt x="109" y="0"/>
                    </a:lnTo>
                    <a:lnTo>
                      <a:pt x="134" y="25"/>
                    </a:lnTo>
                    <a:lnTo>
                      <a:pt x="25" y="135"/>
                    </a:lnTo>
                    <a:close/>
                  </a:path>
                </a:pathLst>
              </a:custGeom>
              <a:solidFill>
                <a:srgbClr val="FFD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20" name="组合 19">
              <a:extLst>
                <a:ext uri="{FF2B5EF4-FFF2-40B4-BE49-F238E27FC236}">
                  <a16:creationId xmlns:a16="http://schemas.microsoft.com/office/drawing/2014/main" id="{F60A536E-EAE4-4B89-BFEB-D2E7A5923C26}"/>
                </a:ext>
              </a:extLst>
            </p:cNvPr>
            <p:cNvGrpSpPr/>
            <p:nvPr/>
          </p:nvGrpSpPr>
          <p:grpSpPr>
            <a:xfrm>
              <a:off x="6566970" y="3776384"/>
              <a:ext cx="888420" cy="887512"/>
              <a:chOff x="8131175" y="123825"/>
              <a:chExt cx="1554163" cy="1552575"/>
            </a:xfrm>
          </p:grpSpPr>
          <p:sp>
            <p:nvSpPr>
              <p:cNvPr id="233" name="Oval 291">
                <a:extLst>
                  <a:ext uri="{FF2B5EF4-FFF2-40B4-BE49-F238E27FC236}">
                    <a16:creationId xmlns:a16="http://schemas.microsoft.com/office/drawing/2014/main" id="{30A02814-A9D1-4899-A050-E276642918AD}"/>
                  </a:ext>
                </a:extLst>
              </p:cNvPr>
              <p:cNvSpPr>
                <a:spLocks noChangeArrowheads="1"/>
              </p:cNvSpPr>
              <p:nvPr/>
            </p:nvSpPr>
            <p:spPr bwMode="auto">
              <a:xfrm>
                <a:off x="8131175" y="123825"/>
                <a:ext cx="1554163" cy="1552575"/>
              </a:xfrm>
              <a:prstGeom prst="ellipse">
                <a:avLst/>
              </a:pr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4" name="Rectangle 292">
                <a:extLst>
                  <a:ext uri="{FF2B5EF4-FFF2-40B4-BE49-F238E27FC236}">
                    <a16:creationId xmlns:a16="http://schemas.microsoft.com/office/drawing/2014/main" id="{F1BBE3A6-90A1-42C7-B685-88479FEA2C4A}"/>
                  </a:ext>
                </a:extLst>
              </p:cNvPr>
              <p:cNvSpPr>
                <a:spLocks noChangeArrowheads="1"/>
              </p:cNvSpPr>
              <p:nvPr/>
            </p:nvSpPr>
            <p:spPr bwMode="auto">
              <a:xfrm>
                <a:off x="8393113" y="395288"/>
                <a:ext cx="212725" cy="1009650"/>
              </a:xfrm>
              <a:prstGeom prst="rect">
                <a:avLst/>
              </a:prstGeom>
              <a:solidFill>
                <a:srgbClr val="FFB7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5" name="Rectangle 293">
                <a:extLst>
                  <a:ext uri="{FF2B5EF4-FFF2-40B4-BE49-F238E27FC236}">
                    <a16:creationId xmlns:a16="http://schemas.microsoft.com/office/drawing/2014/main" id="{CE52CAEE-2946-4CF3-BDD3-A09BF60AE186}"/>
                  </a:ext>
                </a:extLst>
              </p:cNvPr>
              <p:cNvSpPr>
                <a:spLocks noChangeArrowheads="1"/>
              </p:cNvSpPr>
              <p:nvPr/>
            </p:nvSpPr>
            <p:spPr bwMode="auto">
              <a:xfrm>
                <a:off x="8393113" y="395288"/>
                <a:ext cx="212725"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6" name="Rectangle 294">
                <a:extLst>
                  <a:ext uri="{FF2B5EF4-FFF2-40B4-BE49-F238E27FC236}">
                    <a16:creationId xmlns:a16="http://schemas.microsoft.com/office/drawing/2014/main" id="{5910A82B-E393-4603-937F-214213D0F1AB}"/>
                  </a:ext>
                </a:extLst>
              </p:cNvPr>
              <p:cNvSpPr>
                <a:spLocks noChangeArrowheads="1"/>
              </p:cNvSpPr>
              <p:nvPr/>
            </p:nvSpPr>
            <p:spPr bwMode="auto">
              <a:xfrm>
                <a:off x="8393113" y="395288"/>
                <a:ext cx="44450" cy="1009650"/>
              </a:xfrm>
              <a:prstGeom prst="rect">
                <a:avLst/>
              </a:prstGeom>
              <a:solidFill>
                <a:srgbClr val="ED85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7" name="Rectangle 295">
                <a:extLst>
                  <a:ext uri="{FF2B5EF4-FFF2-40B4-BE49-F238E27FC236}">
                    <a16:creationId xmlns:a16="http://schemas.microsoft.com/office/drawing/2014/main" id="{5AE72D82-DF16-470A-A9EC-4FCF4C25FD68}"/>
                  </a:ext>
                </a:extLst>
              </p:cNvPr>
              <p:cNvSpPr>
                <a:spLocks noChangeArrowheads="1"/>
              </p:cNvSpPr>
              <p:nvPr/>
            </p:nvSpPr>
            <p:spPr bwMode="auto">
              <a:xfrm>
                <a:off x="8393113" y="395288"/>
                <a:ext cx="44450"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8" name="Rectangle 296">
                <a:extLst>
                  <a:ext uri="{FF2B5EF4-FFF2-40B4-BE49-F238E27FC236}">
                    <a16:creationId xmlns:a16="http://schemas.microsoft.com/office/drawing/2014/main" id="{BA88FAC2-0332-4649-8859-04E4DC82BF1A}"/>
                  </a:ext>
                </a:extLst>
              </p:cNvPr>
              <p:cNvSpPr>
                <a:spLocks noChangeArrowheads="1"/>
              </p:cNvSpPr>
              <p:nvPr/>
            </p:nvSpPr>
            <p:spPr bwMode="auto">
              <a:xfrm>
                <a:off x="8518525" y="511175"/>
                <a:ext cx="87313" cy="11113"/>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9" name="Rectangle 297">
                <a:extLst>
                  <a:ext uri="{FF2B5EF4-FFF2-40B4-BE49-F238E27FC236}">
                    <a16:creationId xmlns:a16="http://schemas.microsoft.com/office/drawing/2014/main" id="{CFD63735-7E07-4B7B-BA04-71FD880EB069}"/>
                  </a:ext>
                </a:extLst>
              </p:cNvPr>
              <p:cNvSpPr>
                <a:spLocks noChangeArrowheads="1"/>
              </p:cNvSpPr>
              <p:nvPr/>
            </p:nvSpPr>
            <p:spPr bwMode="auto">
              <a:xfrm>
                <a:off x="8518525" y="625475"/>
                <a:ext cx="87313" cy="7938"/>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0" name="Rectangle 298">
                <a:extLst>
                  <a:ext uri="{FF2B5EF4-FFF2-40B4-BE49-F238E27FC236}">
                    <a16:creationId xmlns:a16="http://schemas.microsoft.com/office/drawing/2014/main" id="{33FA6165-CA39-4071-A78E-98CA95483A35}"/>
                  </a:ext>
                </a:extLst>
              </p:cNvPr>
              <p:cNvSpPr>
                <a:spLocks noChangeArrowheads="1"/>
              </p:cNvSpPr>
              <p:nvPr/>
            </p:nvSpPr>
            <p:spPr bwMode="auto">
              <a:xfrm>
                <a:off x="8518525" y="725488"/>
                <a:ext cx="87313" cy="11113"/>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1" name="Rectangle 299">
                <a:extLst>
                  <a:ext uri="{FF2B5EF4-FFF2-40B4-BE49-F238E27FC236}">
                    <a16:creationId xmlns:a16="http://schemas.microsoft.com/office/drawing/2014/main" id="{6F924CEC-8B0C-48EA-B866-38D0775A57F7}"/>
                  </a:ext>
                </a:extLst>
              </p:cNvPr>
              <p:cNvSpPr>
                <a:spLocks noChangeArrowheads="1"/>
              </p:cNvSpPr>
              <p:nvPr/>
            </p:nvSpPr>
            <p:spPr bwMode="auto">
              <a:xfrm>
                <a:off x="8518525" y="836613"/>
                <a:ext cx="87313" cy="11113"/>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2" name="Rectangle 300">
                <a:extLst>
                  <a:ext uri="{FF2B5EF4-FFF2-40B4-BE49-F238E27FC236}">
                    <a16:creationId xmlns:a16="http://schemas.microsoft.com/office/drawing/2014/main" id="{526AEC22-89BA-454E-B26A-C8F240A57A62}"/>
                  </a:ext>
                </a:extLst>
              </p:cNvPr>
              <p:cNvSpPr>
                <a:spLocks noChangeArrowheads="1"/>
              </p:cNvSpPr>
              <p:nvPr/>
            </p:nvSpPr>
            <p:spPr bwMode="auto">
              <a:xfrm>
                <a:off x="8518525" y="933450"/>
                <a:ext cx="87313" cy="11113"/>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3" name="Rectangle 301">
                <a:extLst>
                  <a:ext uri="{FF2B5EF4-FFF2-40B4-BE49-F238E27FC236}">
                    <a16:creationId xmlns:a16="http://schemas.microsoft.com/office/drawing/2014/main" id="{500C3C74-E5F2-41FF-B8DF-5BC6A1D65EF2}"/>
                  </a:ext>
                </a:extLst>
              </p:cNvPr>
              <p:cNvSpPr>
                <a:spLocks noChangeArrowheads="1"/>
              </p:cNvSpPr>
              <p:nvPr/>
            </p:nvSpPr>
            <p:spPr bwMode="auto">
              <a:xfrm>
                <a:off x="8518525" y="1046163"/>
                <a:ext cx="87313" cy="9525"/>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4" name="Rectangle 302">
                <a:extLst>
                  <a:ext uri="{FF2B5EF4-FFF2-40B4-BE49-F238E27FC236}">
                    <a16:creationId xmlns:a16="http://schemas.microsoft.com/office/drawing/2014/main" id="{503FFCCA-6DB0-4344-90DA-0F57638096A3}"/>
                  </a:ext>
                </a:extLst>
              </p:cNvPr>
              <p:cNvSpPr>
                <a:spLocks noChangeArrowheads="1"/>
              </p:cNvSpPr>
              <p:nvPr/>
            </p:nvSpPr>
            <p:spPr bwMode="auto">
              <a:xfrm>
                <a:off x="8518525" y="1166813"/>
                <a:ext cx="87313" cy="11113"/>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5" name="Rectangle 303">
                <a:extLst>
                  <a:ext uri="{FF2B5EF4-FFF2-40B4-BE49-F238E27FC236}">
                    <a16:creationId xmlns:a16="http://schemas.microsoft.com/office/drawing/2014/main" id="{DE4AF4DB-2BE8-4C94-9ABA-0BDC7B2ACA23}"/>
                  </a:ext>
                </a:extLst>
              </p:cNvPr>
              <p:cNvSpPr>
                <a:spLocks noChangeArrowheads="1"/>
              </p:cNvSpPr>
              <p:nvPr/>
            </p:nvSpPr>
            <p:spPr bwMode="auto">
              <a:xfrm>
                <a:off x="8518525" y="1277938"/>
                <a:ext cx="87313" cy="11113"/>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6" name="Freeform 304">
                <a:extLst>
                  <a:ext uri="{FF2B5EF4-FFF2-40B4-BE49-F238E27FC236}">
                    <a16:creationId xmlns:a16="http://schemas.microsoft.com/office/drawing/2014/main" id="{937EE63F-5262-430B-BFF0-AE25DECCB434}"/>
                  </a:ext>
                </a:extLst>
              </p:cNvPr>
              <p:cNvSpPr>
                <a:spLocks/>
              </p:cNvSpPr>
              <p:nvPr/>
            </p:nvSpPr>
            <p:spPr bwMode="auto">
              <a:xfrm>
                <a:off x="8777288" y="449263"/>
                <a:ext cx="485775" cy="488950"/>
              </a:xfrm>
              <a:custGeom>
                <a:avLst/>
                <a:gdLst>
                  <a:gd name="T0" fmla="*/ 28 w 171"/>
                  <a:gd name="T1" fmla="*/ 65 h 172"/>
                  <a:gd name="T2" fmla="*/ 106 w 171"/>
                  <a:gd name="T3" fmla="*/ 66 h 172"/>
                  <a:gd name="T4" fmla="*/ 107 w 171"/>
                  <a:gd name="T5" fmla="*/ 144 h 172"/>
                  <a:gd name="T6" fmla="*/ 134 w 171"/>
                  <a:gd name="T7" fmla="*/ 172 h 172"/>
                  <a:gd name="T8" fmla="*/ 135 w 171"/>
                  <a:gd name="T9" fmla="*/ 37 h 172"/>
                  <a:gd name="T10" fmla="*/ 0 w 171"/>
                  <a:gd name="T11" fmla="*/ 37 h 172"/>
                  <a:gd name="T12" fmla="*/ 28 w 171"/>
                  <a:gd name="T13" fmla="*/ 65 h 172"/>
                </a:gdLst>
                <a:ahLst/>
                <a:cxnLst>
                  <a:cxn ang="0">
                    <a:pos x="T0" y="T1"/>
                  </a:cxn>
                  <a:cxn ang="0">
                    <a:pos x="T2" y="T3"/>
                  </a:cxn>
                  <a:cxn ang="0">
                    <a:pos x="T4" y="T5"/>
                  </a:cxn>
                  <a:cxn ang="0">
                    <a:pos x="T6" y="T7"/>
                  </a:cxn>
                  <a:cxn ang="0">
                    <a:pos x="T8" y="T9"/>
                  </a:cxn>
                  <a:cxn ang="0">
                    <a:pos x="T10" y="T11"/>
                  </a:cxn>
                  <a:cxn ang="0">
                    <a:pos x="T12" y="T13"/>
                  </a:cxn>
                </a:cxnLst>
                <a:rect l="0" t="0" r="r" b="b"/>
                <a:pathLst>
                  <a:path w="171" h="172">
                    <a:moveTo>
                      <a:pt x="28" y="65"/>
                    </a:moveTo>
                    <a:cubicBezTo>
                      <a:pt x="51" y="45"/>
                      <a:pt x="85" y="45"/>
                      <a:pt x="106" y="66"/>
                    </a:cubicBezTo>
                    <a:cubicBezTo>
                      <a:pt x="127" y="87"/>
                      <a:pt x="127" y="121"/>
                      <a:pt x="107" y="144"/>
                    </a:cubicBezTo>
                    <a:cubicBezTo>
                      <a:pt x="134" y="172"/>
                      <a:pt x="134" y="172"/>
                      <a:pt x="134" y="172"/>
                    </a:cubicBezTo>
                    <a:cubicBezTo>
                      <a:pt x="171" y="133"/>
                      <a:pt x="171" y="73"/>
                      <a:pt x="135" y="37"/>
                    </a:cubicBezTo>
                    <a:cubicBezTo>
                      <a:pt x="98" y="0"/>
                      <a:pt x="39" y="1"/>
                      <a:pt x="0" y="37"/>
                    </a:cubicBezTo>
                    <a:lnTo>
                      <a:pt x="28" y="65"/>
                    </a:lnTo>
                    <a:close/>
                  </a:path>
                </a:pathLst>
              </a:custGeom>
              <a:solidFill>
                <a:srgbClr val="FFB1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7" name="Freeform 305">
                <a:extLst>
                  <a:ext uri="{FF2B5EF4-FFF2-40B4-BE49-F238E27FC236}">
                    <a16:creationId xmlns:a16="http://schemas.microsoft.com/office/drawing/2014/main" id="{AB88D6DB-4ED6-4BF9-8794-1A7DB5F43E02}"/>
                  </a:ext>
                </a:extLst>
              </p:cNvPr>
              <p:cNvSpPr>
                <a:spLocks/>
              </p:cNvSpPr>
              <p:nvPr/>
            </p:nvSpPr>
            <p:spPr bwMode="auto">
              <a:xfrm>
                <a:off x="8640763" y="488950"/>
                <a:ext cx="585788" cy="585788"/>
              </a:xfrm>
              <a:custGeom>
                <a:avLst/>
                <a:gdLst>
                  <a:gd name="T0" fmla="*/ 0 w 369"/>
                  <a:gd name="T1" fmla="*/ 63 h 369"/>
                  <a:gd name="T2" fmla="*/ 62 w 369"/>
                  <a:gd name="T3" fmla="*/ 0 h 369"/>
                  <a:gd name="T4" fmla="*/ 369 w 369"/>
                  <a:gd name="T5" fmla="*/ 307 h 369"/>
                  <a:gd name="T6" fmla="*/ 306 w 369"/>
                  <a:gd name="T7" fmla="*/ 369 h 369"/>
                  <a:gd name="T8" fmla="*/ 0 w 369"/>
                  <a:gd name="T9" fmla="*/ 63 h 369"/>
                </a:gdLst>
                <a:ahLst/>
                <a:cxnLst>
                  <a:cxn ang="0">
                    <a:pos x="T0" y="T1"/>
                  </a:cxn>
                  <a:cxn ang="0">
                    <a:pos x="T2" y="T3"/>
                  </a:cxn>
                  <a:cxn ang="0">
                    <a:pos x="T4" y="T5"/>
                  </a:cxn>
                  <a:cxn ang="0">
                    <a:pos x="T6" y="T7"/>
                  </a:cxn>
                  <a:cxn ang="0">
                    <a:pos x="T8" y="T9"/>
                  </a:cxn>
                </a:cxnLst>
                <a:rect l="0" t="0" r="r" b="b"/>
                <a:pathLst>
                  <a:path w="369" h="369">
                    <a:moveTo>
                      <a:pt x="0" y="63"/>
                    </a:moveTo>
                    <a:lnTo>
                      <a:pt x="62" y="0"/>
                    </a:lnTo>
                    <a:lnTo>
                      <a:pt x="369" y="307"/>
                    </a:lnTo>
                    <a:lnTo>
                      <a:pt x="306" y="369"/>
                    </a:lnTo>
                    <a:lnTo>
                      <a:pt x="0" y="63"/>
                    </a:lnTo>
                    <a:close/>
                  </a:path>
                </a:pathLst>
              </a:custGeom>
              <a:solidFill>
                <a:srgbClr val="FFB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8" name="Freeform 306">
                <a:extLst>
                  <a:ext uri="{FF2B5EF4-FFF2-40B4-BE49-F238E27FC236}">
                    <a16:creationId xmlns:a16="http://schemas.microsoft.com/office/drawing/2014/main" id="{71F9D602-EC61-4E8C-933B-B05BDA812F47}"/>
                  </a:ext>
                </a:extLst>
              </p:cNvPr>
              <p:cNvSpPr>
                <a:spLocks/>
              </p:cNvSpPr>
              <p:nvPr/>
            </p:nvSpPr>
            <p:spPr bwMode="auto">
              <a:xfrm>
                <a:off x="9083675" y="998538"/>
                <a:ext cx="39688" cy="39688"/>
              </a:xfrm>
              <a:custGeom>
                <a:avLst/>
                <a:gdLst>
                  <a:gd name="T0" fmla="*/ 0 w 25"/>
                  <a:gd name="T1" fmla="*/ 21 h 25"/>
                  <a:gd name="T2" fmla="*/ 22 w 25"/>
                  <a:gd name="T3" fmla="*/ 0 h 25"/>
                  <a:gd name="T4" fmla="*/ 25 w 25"/>
                  <a:gd name="T5" fmla="*/ 4 h 25"/>
                  <a:gd name="T6" fmla="*/ 4 w 25"/>
                  <a:gd name="T7" fmla="*/ 25 h 25"/>
                  <a:gd name="T8" fmla="*/ 0 w 25"/>
                  <a:gd name="T9" fmla="*/ 21 h 25"/>
                </a:gdLst>
                <a:ahLst/>
                <a:cxnLst>
                  <a:cxn ang="0">
                    <a:pos x="T0" y="T1"/>
                  </a:cxn>
                  <a:cxn ang="0">
                    <a:pos x="T2" y="T3"/>
                  </a:cxn>
                  <a:cxn ang="0">
                    <a:pos x="T4" y="T5"/>
                  </a:cxn>
                  <a:cxn ang="0">
                    <a:pos x="T6" y="T7"/>
                  </a:cxn>
                  <a:cxn ang="0">
                    <a:pos x="T8" y="T9"/>
                  </a:cxn>
                </a:cxnLst>
                <a:rect l="0" t="0" r="r" b="b"/>
                <a:pathLst>
                  <a:path w="25" h="25">
                    <a:moveTo>
                      <a:pt x="0" y="21"/>
                    </a:moveTo>
                    <a:lnTo>
                      <a:pt x="22" y="0"/>
                    </a:lnTo>
                    <a:lnTo>
                      <a:pt x="25" y="4"/>
                    </a:lnTo>
                    <a:lnTo>
                      <a:pt x="4" y="25"/>
                    </a:lnTo>
                    <a:lnTo>
                      <a:pt x="0" y="21"/>
                    </a:lnTo>
                    <a:close/>
                  </a:path>
                </a:pathLst>
              </a:custGeom>
              <a:solidFill>
                <a:srgbClr val="FB8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9" name="Freeform 307">
                <a:extLst>
                  <a:ext uri="{FF2B5EF4-FFF2-40B4-BE49-F238E27FC236}">
                    <a16:creationId xmlns:a16="http://schemas.microsoft.com/office/drawing/2014/main" id="{8556327F-1571-454F-A187-EC7AB142BE26}"/>
                  </a:ext>
                </a:extLst>
              </p:cNvPr>
              <p:cNvSpPr>
                <a:spLocks/>
              </p:cNvSpPr>
              <p:nvPr/>
            </p:nvSpPr>
            <p:spPr bwMode="auto">
              <a:xfrm>
                <a:off x="9024938" y="938213"/>
                <a:ext cx="39688" cy="39688"/>
              </a:xfrm>
              <a:custGeom>
                <a:avLst/>
                <a:gdLst>
                  <a:gd name="T0" fmla="*/ 0 w 25"/>
                  <a:gd name="T1" fmla="*/ 22 h 25"/>
                  <a:gd name="T2" fmla="*/ 21 w 25"/>
                  <a:gd name="T3" fmla="*/ 0 h 25"/>
                  <a:gd name="T4" fmla="*/ 25 w 25"/>
                  <a:gd name="T5" fmla="*/ 4 h 25"/>
                  <a:gd name="T6" fmla="*/ 3 w 25"/>
                  <a:gd name="T7" fmla="*/ 25 h 25"/>
                  <a:gd name="T8" fmla="*/ 0 w 25"/>
                  <a:gd name="T9" fmla="*/ 22 h 25"/>
                </a:gdLst>
                <a:ahLst/>
                <a:cxnLst>
                  <a:cxn ang="0">
                    <a:pos x="T0" y="T1"/>
                  </a:cxn>
                  <a:cxn ang="0">
                    <a:pos x="T2" y="T3"/>
                  </a:cxn>
                  <a:cxn ang="0">
                    <a:pos x="T4" y="T5"/>
                  </a:cxn>
                  <a:cxn ang="0">
                    <a:pos x="T6" y="T7"/>
                  </a:cxn>
                  <a:cxn ang="0">
                    <a:pos x="T8" y="T9"/>
                  </a:cxn>
                </a:cxnLst>
                <a:rect l="0" t="0" r="r" b="b"/>
                <a:pathLst>
                  <a:path w="25" h="25">
                    <a:moveTo>
                      <a:pt x="0" y="22"/>
                    </a:moveTo>
                    <a:lnTo>
                      <a:pt x="21" y="0"/>
                    </a:lnTo>
                    <a:lnTo>
                      <a:pt x="25" y="4"/>
                    </a:lnTo>
                    <a:lnTo>
                      <a:pt x="3" y="25"/>
                    </a:lnTo>
                    <a:lnTo>
                      <a:pt x="0" y="22"/>
                    </a:lnTo>
                    <a:close/>
                  </a:path>
                </a:pathLst>
              </a:custGeom>
              <a:solidFill>
                <a:srgbClr val="FB8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0" name="Freeform 308">
                <a:extLst>
                  <a:ext uri="{FF2B5EF4-FFF2-40B4-BE49-F238E27FC236}">
                    <a16:creationId xmlns:a16="http://schemas.microsoft.com/office/drawing/2014/main" id="{435CB3A0-CAA8-4EA5-86FE-721E9279775D}"/>
                  </a:ext>
                </a:extLst>
              </p:cNvPr>
              <p:cNvSpPr>
                <a:spLocks/>
              </p:cNvSpPr>
              <p:nvPr/>
            </p:nvSpPr>
            <p:spPr bwMode="auto">
              <a:xfrm>
                <a:off x="8970963" y="884238"/>
                <a:ext cx="39688" cy="39688"/>
              </a:xfrm>
              <a:custGeom>
                <a:avLst/>
                <a:gdLst>
                  <a:gd name="T0" fmla="*/ 0 w 25"/>
                  <a:gd name="T1" fmla="*/ 22 h 25"/>
                  <a:gd name="T2" fmla="*/ 21 w 25"/>
                  <a:gd name="T3" fmla="*/ 0 h 25"/>
                  <a:gd name="T4" fmla="*/ 25 w 25"/>
                  <a:gd name="T5" fmla="*/ 4 h 25"/>
                  <a:gd name="T6" fmla="*/ 3 w 25"/>
                  <a:gd name="T7" fmla="*/ 25 h 25"/>
                  <a:gd name="T8" fmla="*/ 0 w 25"/>
                  <a:gd name="T9" fmla="*/ 22 h 25"/>
                </a:gdLst>
                <a:ahLst/>
                <a:cxnLst>
                  <a:cxn ang="0">
                    <a:pos x="T0" y="T1"/>
                  </a:cxn>
                  <a:cxn ang="0">
                    <a:pos x="T2" y="T3"/>
                  </a:cxn>
                  <a:cxn ang="0">
                    <a:pos x="T4" y="T5"/>
                  </a:cxn>
                  <a:cxn ang="0">
                    <a:pos x="T6" y="T7"/>
                  </a:cxn>
                  <a:cxn ang="0">
                    <a:pos x="T8" y="T9"/>
                  </a:cxn>
                </a:cxnLst>
                <a:rect l="0" t="0" r="r" b="b"/>
                <a:pathLst>
                  <a:path w="25" h="25">
                    <a:moveTo>
                      <a:pt x="0" y="22"/>
                    </a:moveTo>
                    <a:lnTo>
                      <a:pt x="21" y="0"/>
                    </a:lnTo>
                    <a:lnTo>
                      <a:pt x="25" y="4"/>
                    </a:lnTo>
                    <a:lnTo>
                      <a:pt x="3" y="25"/>
                    </a:lnTo>
                    <a:lnTo>
                      <a:pt x="0" y="22"/>
                    </a:lnTo>
                    <a:close/>
                  </a:path>
                </a:pathLst>
              </a:custGeom>
              <a:solidFill>
                <a:srgbClr val="FB8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1" name="Freeform 309">
                <a:extLst>
                  <a:ext uri="{FF2B5EF4-FFF2-40B4-BE49-F238E27FC236}">
                    <a16:creationId xmlns:a16="http://schemas.microsoft.com/office/drawing/2014/main" id="{9B0FEDB0-2839-4DF6-A006-958F9C94E2D3}"/>
                  </a:ext>
                </a:extLst>
              </p:cNvPr>
              <p:cNvSpPr>
                <a:spLocks/>
              </p:cNvSpPr>
              <p:nvPr/>
            </p:nvSpPr>
            <p:spPr bwMode="auto">
              <a:xfrm>
                <a:off x="8910638" y="825500"/>
                <a:ext cx="39688" cy="39688"/>
              </a:xfrm>
              <a:custGeom>
                <a:avLst/>
                <a:gdLst>
                  <a:gd name="T0" fmla="*/ 0 w 25"/>
                  <a:gd name="T1" fmla="*/ 21 h 25"/>
                  <a:gd name="T2" fmla="*/ 21 w 25"/>
                  <a:gd name="T3" fmla="*/ 0 h 25"/>
                  <a:gd name="T4" fmla="*/ 25 w 25"/>
                  <a:gd name="T5" fmla="*/ 3 h 25"/>
                  <a:gd name="T6" fmla="*/ 4 w 25"/>
                  <a:gd name="T7" fmla="*/ 25 h 25"/>
                  <a:gd name="T8" fmla="*/ 0 w 25"/>
                  <a:gd name="T9" fmla="*/ 21 h 25"/>
                </a:gdLst>
                <a:ahLst/>
                <a:cxnLst>
                  <a:cxn ang="0">
                    <a:pos x="T0" y="T1"/>
                  </a:cxn>
                  <a:cxn ang="0">
                    <a:pos x="T2" y="T3"/>
                  </a:cxn>
                  <a:cxn ang="0">
                    <a:pos x="T4" y="T5"/>
                  </a:cxn>
                  <a:cxn ang="0">
                    <a:pos x="T6" y="T7"/>
                  </a:cxn>
                  <a:cxn ang="0">
                    <a:pos x="T8" y="T9"/>
                  </a:cxn>
                </a:cxnLst>
                <a:rect l="0" t="0" r="r" b="b"/>
                <a:pathLst>
                  <a:path w="25" h="25">
                    <a:moveTo>
                      <a:pt x="0" y="21"/>
                    </a:moveTo>
                    <a:lnTo>
                      <a:pt x="21" y="0"/>
                    </a:lnTo>
                    <a:lnTo>
                      <a:pt x="25" y="3"/>
                    </a:lnTo>
                    <a:lnTo>
                      <a:pt x="4" y="25"/>
                    </a:lnTo>
                    <a:lnTo>
                      <a:pt x="0" y="21"/>
                    </a:lnTo>
                    <a:close/>
                  </a:path>
                </a:pathLst>
              </a:custGeom>
              <a:solidFill>
                <a:srgbClr val="FB8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2" name="Freeform 310">
                <a:extLst>
                  <a:ext uri="{FF2B5EF4-FFF2-40B4-BE49-F238E27FC236}">
                    <a16:creationId xmlns:a16="http://schemas.microsoft.com/office/drawing/2014/main" id="{721A98DC-E31D-4FA3-AF10-1D1D0A6545E4}"/>
                  </a:ext>
                </a:extLst>
              </p:cNvPr>
              <p:cNvSpPr>
                <a:spLocks/>
              </p:cNvSpPr>
              <p:nvPr/>
            </p:nvSpPr>
            <p:spPr bwMode="auto">
              <a:xfrm>
                <a:off x="8859838" y="773113"/>
                <a:ext cx="39688" cy="39688"/>
              </a:xfrm>
              <a:custGeom>
                <a:avLst/>
                <a:gdLst>
                  <a:gd name="T0" fmla="*/ 0 w 25"/>
                  <a:gd name="T1" fmla="*/ 22 h 25"/>
                  <a:gd name="T2" fmla="*/ 21 w 25"/>
                  <a:gd name="T3" fmla="*/ 0 h 25"/>
                  <a:gd name="T4" fmla="*/ 25 w 25"/>
                  <a:gd name="T5" fmla="*/ 4 h 25"/>
                  <a:gd name="T6" fmla="*/ 3 w 25"/>
                  <a:gd name="T7" fmla="*/ 25 h 25"/>
                  <a:gd name="T8" fmla="*/ 0 w 25"/>
                  <a:gd name="T9" fmla="*/ 22 h 25"/>
                </a:gdLst>
                <a:ahLst/>
                <a:cxnLst>
                  <a:cxn ang="0">
                    <a:pos x="T0" y="T1"/>
                  </a:cxn>
                  <a:cxn ang="0">
                    <a:pos x="T2" y="T3"/>
                  </a:cxn>
                  <a:cxn ang="0">
                    <a:pos x="T4" y="T5"/>
                  </a:cxn>
                  <a:cxn ang="0">
                    <a:pos x="T6" y="T7"/>
                  </a:cxn>
                  <a:cxn ang="0">
                    <a:pos x="T8" y="T9"/>
                  </a:cxn>
                </a:cxnLst>
                <a:rect l="0" t="0" r="r" b="b"/>
                <a:pathLst>
                  <a:path w="25" h="25">
                    <a:moveTo>
                      <a:pt x="0" y="22"/>
                    </a:moveTo>
                    <a:lnTo>
                      <a:pt x="21" y="0"/>
                    </a:lnTo>
                    <a:lnTo>
                      <a:pt x="25" y="4"/>
                    </a:lnTo>
                    <a:lnTo>
                      <a:pt x="3" y="25"/>
                    </a:lnTo>
                    <a:lnTo>
                      <a:pt x="0" y="22"/>
                    </a:lnTo>
                    <a:close/>
                  </a:path>
                </a:pathLst>
              </a:custGeom>
              <a:solidFill>
                <a:srgbClr val="FB8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3" name="Freeform 311">
                <a:extLst>
                  <a:ext uri="{FF2B5EF4-FFF2-40B4-BE49-F238E27FC236}">
                    <a16:creationId xmlns:a16="http://schemas.microsoft.com/office/drawing/2014/main" id="{7540F723-E1A0-455B-B200-6578A99C78B1}"/>
                  </a:ext>
                </a:extLst>
              </p:cNvPr>
              <p:cNvSpPr>
                <a:spLocks/>
              </p:cNvSpPr>
              <p:nvPr/>
            </p:nvSpPr>
            <p:spPr bwMode="auto">
              <a:xfrm>
                <a:off x="8799513" y="714375"/>
                <a:ext cx="39688" cy="39688"/>
              </a:xfrm>
              <a:custGeom>
                <a:avLst/>
                <a:gdLst>
                  <a:gd name="T0" fmla="*/ 0 w 25"/>
                  <a:gd name="T1" fmla="*/ 21 h 25"/>
                  <a:gd name="T2" fmla="*/ 22 w 25"/>
                  <a:gd name="T3" fmla="*/ 0 h 25"/>
                  <a:gd name="T4" fmla="*/ 25 w 25"/>
                  <a:gd name="T5" fmla="*/ 3 h 25"/>
                  <a:gd name="T6" fmla="*/ 4 w 25"/>
                  <a:gd name="T7" fmla="*/ 25 h 25"/>
                  <a:gd name="T8" fmla="*/ 0 w 25"/>
                  <a:gd name="T9" fmla="*/ 21 h 25"/>
                </a:gdLst>
                <a:ahLst/>
                <a:cxnLst>
                  <a:cxn ang="0">
                    <a:pos x="T0" y="T1"/>
                  </a:cxn>
                  <a:cxn ang="0">
                    <a:pos x="T2" y="T3"/>
                  </a:cxn>
                  <a:cxn ang="0">
                    <a:pos x="T4" y="T5"/>
                  </a:cxn>
                  <a:cxn ang="0">
                    <a:pos x="T6" y="T7"/>
                  </a:cxn>
                  <a:cxn ang="0">
                    <a:pos x="T8" y="T9"/>
                  </a:cxn>
                </a:cxnLst>
                <a:rect l="0" t="0" r="r" b="b"/>
                <a:pathLst>
                  <a:path w="25" h="25">
                    <a:moveTo>
                      <a:pt x="0" y="21"/>
                    </a:moveTo>
                    <a:lnTo>
                      <a:pt x="22" y="0"/>
                    </a:lnTo>
                    <a:lnTo>
                      <a:pt x="25" y="3"/>
                    </a:lnTo>
                    <a:lnTo>
                      <a:pt x="4" y="25"/>
                    </a:lnTo>
                    <a:lnTo>
                      <a:pt x="0" y="21"/>
                    </a:lnTo>
                    <a:close/>
                  </a:path>
                </a:pathLst>
              </a:custGeom>
              <a:solidFill>
                <a:srgbClr val="FB8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4" name="Freeform 312">
                <a:extLst>
                  <a:ext uri="{FF2B5EF4-FFF2-40B4-BE49-F238E27FC236}">
                    <a16:creationId xmlns:a16="http://schemas.microsoft.com/office/drawing/2014/main" id="{15BC7A16-9CE9-416B-96E9-887E34E5E4A3}"/>
                  </a:ext>
                </a:extLst>
              </p:cNvPr>
              <p:cNvSpPr>
                <a:spLocks/>
              </p:cNvSpPr>
              <p:nvPr/>
            </p:nvSpPr>
            <p:spPr bwMode="auto">
              <a:xfrm>
                <a:off x="8734425" y="650875"/>
                <a:ext cx="42863" cy="39688"/>
              </a:xfrm>
              <a:custGeom>
                <a:avLst/>
                <a:gdLst>
                  <a:gd name="T0" fmla="*/ 0 w 27"/>
                  <a:gd name="T1" fmla="*/ 22 h 25"/>
                  <a:gd name="T2" fmla="*/ 21 w 27"/>
                  <a:gd name="T3" fmla="*/ 0 h 25"/>
                  <a:gd name="T4" fmla="*/ 27 w 27"/>
                  <a:gd name="T5" fmla="*/ 4 h 25"/>
                  <a:gd name="T6" fmla="*/ 5 w 27"/>
                  <a:gd name="T7" fmla="*/ 25 h 25"/>
                  <a:gd name="T8" fmla="*/ 0 w 27"/>
                  <a:gd name="T9" fmla="*/ 22 h 25"/>
                </a:gdLst>
                <a:ahLst/>
                <a:cxnLst>
                  <a:cxn ang="0">
                    <a:pos x="T0" y="T1"/>
                  </a:cxn>
                  <a:cxn ang="0">
                    <a:pos x="T2" y="T3"/>
                  </a:cxn>
                  <a:cxn ang="0">
                    <a:pos x="T4" y="T5"/>
                  </a:cxn>
                  <a:cxn ang="0">
                    <a:pos x="T6" y="T7"/>
                  </a:cxn>
                  <a:cxn ang="0">
                    <a:pos x="T8" y="T9"/>
                  </a:cxn>
                </a:cxnLst>
                <a:rect l="0" t="0" r="r" b="b"/>
                <a:pathLst>
                  <a:path w="27" h="25">
                    <a:moveTo>
                      <a:pt x="0" y="22"/>
                    </a:moveTo>
                    <a:lnTo>
                      <a:pt x="21" y="0"/>
                    </a:lnTo>
                    <a:lnTo>
                      <a:pt x="27" y="4"/>
                    </a:lnTo>
                    <a:lnTo>
                      <a:pt x="5" y="25"/>
                    </a:lnTo>
                    <a:lnTo>
                      <a:pt x="0" y="22"/>
                    </a:lnTo>
                    <a:close/>
                  </a:path>
                </a:pathLst>
              </a:custGeom>
              <a:solidFill>
                <a:srgbClr val="FB8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5" name="Freeform 313">
                <a:extLst>
                  <a:ext uri="{FF2B5EF4-FFF2-40B4-BE49-F238E27FC236}">
                    <a16:creationId xmlns:a16="http://schemas.microsoft.com/office/drawing/2014/main" id="{60381104-BA91-4ECB-870F-4DB678195F54}"/>
                  </a:ext>
                </a:extLst>
              </p:cNvPr>
              <p:cNvSpPr>
                <a:spLocks/>
              </p:cNvSpPr>
              <p:nvPr/>
            </p:nvSpPr>
            <p:spPr bwMode="auto">
              <a:xfrm>
                <a:off x="8677275" y="590550"/>
                <a:ext cx="39688" cy="41275"/>
              </a:xfrm>
              <a:custGeom>
                <a:avLst/>
                <a:gdLst>
                  <a:gd name="T0" fmla="*/ 0 w 25"/>
                  <a:gd name="T1" fmla="*/ 22 h 26"/>
                  <a:gd name="T2" fmla="*/ 21 w 25"/>
                  <a:gd name="T3" fmla="*/ 0 h 26"/>
                  <a:gd name="T4" fmla="*/ 25 w 25"/>
                  <a:gd name="T5" fmla="*/ 4 h 26"/>
                  <a:gd name="T6" fmla="*/ 4 w 25"/>
                  <a:gd name="T7" fmla="*/ 26 h 26"/>
                  <a:gd name="T8" fmla="*/ 0 w 25"/>
                  <a:gd name="T9" fmla="*/ 22 h 26"/>
                </a:gdLst>
                <a:ahLst/>
                <a:cxnLst>
                  <a:cxn ang="0">
                    <a:pos x="T0" y="T1"/>
                  </a:cxn>
                  <a:cxn ang="0">
                    <a:pos x="T2" y="T3"/>
                  </a:cxn>
                  <a:cxn ang="0">
                    <a:pos x="T4" y="T5"/>
                  </a:cxn>
                  <a:cxn ang="0">
                    <a:pos x="T6" y="T7"/>
                  </a:cxn>
                  <a:cxn ang="0">
                    <a:pos x="T8" y="T9"/>
                  </a:cxn>
                </a:cxnLst>
                <a:rect l="0" t="0" r="r" b="b"/>
                <a:pathLst>
                  <a:path w="25" h="26">
                    <a:moveTo>
                      <a:pt x="0" y="22"/>
                    </a:moveTo>
                    <a:lnTo>
                      <a:pt x="21" y="0"/>
                    </a:lnTo>
                    <a:lnTo>
                      <a:pt x="25" y="4"/>
                    </a:lnTo>
                    <a:lnTo>
                      <a:pt x="4" y="26"/>
                    </a:lnTo>
                    <a:lnTo>
                      <a:pt x="0" y="22"/>
                    </a:lnTo>
                    <a:close/>
                  </a:path>
                </a:pathLst>
              </a:custGeom>
              <a:solidFill>
                <a:srgbClr val="FB8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6" name="Freeform 314">
                <a:extLst>
                  <a:ext uri="{FF2B5EF4-FFF2-40B4-BE49-F238E27FC236}">
                    <a16:creationId xmlns:a16="http://schemas.microsoft.com/office/drawing/2014/main" id="{867A3750-3F8C-42EB-8793-FCCEBFDFDC1B}"/>
                  </a:ext>
                </a:extLst>
              </p:cNvPr>
              <p:cNvSpPr>
                <a:spLocks noEditPoints="1"/>
              </p:cNvSpPr>
              <p:nvPr/>
            </p:nvSpPr>
            <p:spPr bwMode="auto">
              <a:xfrm>
                <a:off x="8656638" y="736600"/>
                <a:ext cx="581025" cy="666750"/>
              </a:xfrm>
              <a:custGeom>
                <a:avLst/>
                <a:gdLst>
                  <a:gd name="T0" fmla="*/ 0 w 366"/>
                  <a:gd name="T1" fmla="*/ 0 h 420"/>
                  <a:gd name="T2" fmla="*/ 0 w 366"/>
                  <a:gd name="T3" fmla="*/ 420 h 420"/>
                  <a:gd name="T4" fmla="*/ 366 w 366"/>
                  <a:gd name="T5" fmla="*/ 420 h 420"/>
                  <a:gd name="T6" fmla="*/ 0 w 366"/>
                  <a:gd name="T7" fmla="*/ 0 h 420"/>
                  <a:gd name="T8" fmla="*/ 58 w 366"/>
                  <a:gd name="T9" fmla="*/ 154 h 420"/>
                  <a:gd name="T10" fmla="*/ 239 w 366"/>
                  <a:gd name="T11" fmla="*/ 362 h 420"/>
                  <a:gd name="T12" fmla="*/ 58 w 366"/>
                  <a:gd name="T13" fmla="*/ 362 h 420"/>
                  <a:gd name="T14" fmla="*/ 58 w 366"/>
                  <a:gd name="T15" fmla="*/ 154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420">
                    <a:moveTo>
                      <a:pt x="0" y="0"/>
                    </a:moveTo>
                    <a:lnTo>
                      <a:pt x="0" y="420"/>
                    </a:lnTo>
                    <a:lnTo>
                      <a:pt x="366" y="420"/>
                    </a:lnTo>
                    <a:lnTo>
                      <a:pt x="0" y="0"/>
                    </a:lnTo>
                    <a:close/>
                    <a:moveTo>
                      <a:pt x="58" y="154"/>
                    </a:moveTo>
                    <a:lnTo>
                      <a:pt x="239" y="362"/>
                    </a:lnTo>
                    <a:lnTo>
                      <a:pt x="58" y="362"/>
                    </a:lnTo>
                    <a:lnTo>
                      <a:pt x="58" y="154"/>
                    </a:lnTo>
                    <a:close/>
                  </a:path>
                </a:pathLst>
              </a:custGeom>
              <a:solidFill>
                <a:srgbClr val="FFB1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7" name="Rectangle 315">
                <a:extLst>
                  <a:ext uri="{FF2B5EF4-FFF2-40B4-BE49-F238E27FC236}">
                    <a16:creationId xmlns:a16="http://schemas.microsoft.com/office/drawing/2014/main" id="{DCE63DB6-40AF-4C17-9BAA-D9664340B94A}"/>
                  </a:ext>
                </a:extLst>
              </p:cNvPr>
              <p:cNvSpPr>
                <a:spLocks noChangeArrowheads="1"/>
              </p:cNvSpPr>
              <p:nvPr/>
            </p:nvSpPr>
            <p:spPr bwMode="auto">
              <a:xfrm>
                <a:off x="9269413" y="687388"/>
                <a:ext cx="153988" cy="573088"/>
              </a:xfrm>
              <a:prstGeom prst="rect">
                <a:avLst/>
              </a:prstGeom>
              <a:solidFill>
                <a:srgbClr val="FFB7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8" name="Rectangle 316">
                <a:extLst>
                  <a:ext uri="{FF2B5EF4-FFF2-40B4-BE49-F238E27FC236}">
                    <a16:creationId xmlns:a16="http://schemas.microsoft.com/office/drawing/2014/main" id="{C8EB5AC4-EB79-4FE5-A814-7F8E8AFBA611}"/>
                  </a:ext>
                </a:extLst>
              </p:cNvPr>
              <p:cNvSpPr>
                <a:spLocks noChangeArrowheads="1"/>
              </p:cNvSpPr>
              <p:nvPr/>
            </p:nvSpPr>
            <p:spPr bwMode="auto">
              <a:xfrm>
                <a:off x="9269413" y="687388"/>
                <a:ext cx="153988"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9" name="Rectangle 317">
                <a:extLst>
                  <a:ext uri="{FF2B5EF4-FFF2-40B4-BE49-F238E27FC236}">
                    <a16:creationId xmlns:a16="http://schemas.microsoft.com/office/drawing/2014/main" id="{B3062A4C-E550-40A2-8FA8-C0CE942D8372}"/>
                  </a:ext>
                </a:extLst>
              </p:cNvPr>
              <p:cNvSpPr>
                <a:spLocks noChangeArrowheads="1"/>
              </p:cNvSpPr>
              <p:nvPr/>
            </p:nvSpPr>
            <p:spPr bwMode="auto">
              <a:xfrm>
                <a:off x="9371013" y="687388"/>
                <a:ext cx="52388" cy="573088"/>
              </a:xfrm>
              <a:prstGeom prst="rect">
                <a:avLst/>
              </a:prstGeom>
              <a:solidFill>
                <a:srgbClr val="ED85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0" name="Rectangle 318">
                <a:extLst>
                  <a:ext uri="{FF2B5EF4-FFF2-40B4-BE49-F238E27FC236}">
                    <a16:creationId xmlns:a16="http://schemas.microsoft.com/office/drawing/2014/main" id="{7447928B-DC25-4F59-A939-77F70C07ECC5}"/>
                  </a:ext>
                </a:extLst>
              </p:cNvPr>
              <p:cNvSpPr>
                <a:spLocks noChangeArrowheads="1"/>
              </p:cNvSpPr>
              <p:nvPr/>
            </p:nvSpPr>
            <p:spPr bwMode="auto">
              <a:xfrm>
                <a:off x="9320213" y="687388"/>
                <a:ext cx="50800" cy="573088"/>
              </a:xfrm>
              <a:prstGeom prst="rect">
                <a:avLst/>
              </a:prstGeom>
              <a:solidFill>
                <a:srgbClr val="F8901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1" name="Rectangle 319">
                <a:extLst>
                  <a:ext uri="{FF2B5EF4-FFF2-40B4-BE49-F238E27FC236}">
                    <a16:creationId xmlns:a16="http://schemas.microsoft.com/office/drawing/2014/main" id="{6FE0B0D7-12BF-4B6C-8A34-9229838C5131}"/>
                  </a:ext>
                </a:extLst>
              </p:cNvPr>
              <p:cNvSpPr>
                <a:spLocks noChangeArrowheads="1"/>
              </p:cNvSpPr>
              <p:nvPr/>
            </p:nvSpPr>
            <p:spPr bwMode="auto">
              <a:xfrm>
                <a:off x="9320213" y="687388"/>
                <a:ext cx="508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2" name="Freeform 320">
                <a:extLst>
                  <a:ext uri="{FF2B5EF4-FFF2-40B4-BE49-F238E27FC236}">
                    <a16:creationId xmlns:a16="http://schemas.microsoft.com/office/drawing/2014/main" id="{628AFFA1-AAD2-4343-9BF8-4C1AEE97EB22}"/>
                  </a:ext>
                </a:extLst>
              </p:cNvPr>
              <p:cNvSpPr>
                <a:spLocks/>
              </p:cNvSpPr>
              <p:nvPr/>
            </p:nvSpPr>
            <p:spPr bwMode="auto">
              <a:xfrm>
                <a:off x="9323388" y="1363663"/>
                <a:ext cx="46038" cy="39688"/>
              </a:xfrm>
              <a:custGeom>
                <a:avLst/>
                <a:gdLst>
                  <a:gd name="T0" fmla="*/ 0 w 16"/>
                  <a:gd name="T1" fmla="*/ 2 h 14"/>
                  <a:gd name="T2" fmla="*/ 8 w 16"/>
                  <a:gd name="T3" fmla="*/ 14 h 14"/>
                  <a:gd name="T4" fmla="*/ 16 w 16"/>
                  <a:gd name="T5" fmla="*/ 2 h 14"/>
                  <a:gd name="T6" fmla="*/ 8 w 16"/>
                  <a:gd name="T7" fmla="*/ 0 h 14"/>
                  <a:gd name="T8" fmla="*/ 0 w 16"/>
                  <a:gd name="T9" fmla="*/ 2 h 14"/>
                </a:gdLst>
                <a:ahLst/>
                <a:cxnLst>
                  <a:cxn ang="0">
                    <a:pos x="T0" y="T1"/>
                  </a:cxn>
                  <a:cxn ang="0">
                    <a:pos x="T2" y="T3"/>
                  </a:cxn>
                  <a:cxn ang="0">
                    <a:pos x="T4" y="T5"/>
                  </a:cxn>
                  <a:cxn ang="0">
                    <a:pos x="T6" y="T7"/>
                  </a:cxn>
                  <a:cxn ang="0">
                    <a:pos x="T8" y="T9"/>
                  </a:cxn>
                </a:cxnLst>
                <a:rect l="0" t="0" r="r" b="b"/>
                <a:pathLst>
                  <a:path w="16" h="14">
                    <a:moveTo>
                      <a:pt x="0" y="2"/>
                    </a:moveTo>
                    <a:cubicBezTo>
                      <a:pt x="8" y="14"/>
                      <a:pt x="8" y="14"/>
                      <a:pt x="8" y="14"/>
                    </a:cubicBezTo>
                    <a:cubicBezTo>
                      <a:pt x="16" y="2"/>
                      <a:pt x="16" y="2"/>
                      <a:pt x="16" y="2"/>
                    </a:cubicBezTo>
                    <a:cubicBezTo>
                      <a:pt x="13" y="1"/>
                      <a:pt x="11" y="0"/>
                      <a:pt x="8" y="0"/>
                    </a:cubicBezTo>
                    <a:cubicBezTo>
                      <a:pt x="5" y="0"/>
                      <a:pt x="2" y="1"/>
                      <a:pt x="0" y="2"/>
                    </a:cubicBezTo>
                    <a:close/>
                  </a:path>
                </a:pathLst>
              </a:custGeom>
              <a:solidFill>
                <a:srgbClr val="E74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3" name="Rectangle 321">
                <a:extLst>
                  <a:ext uri="{FF2B5EF4-FFF2-40B4-BE49-F238E27FC236}">
                    <a16:creationId xmlns:a16="http://schemas.microsoft.com/office/drawing/2014/main" id="{1A556AC8-56D0-44DC-A992-29FD4CC99304}"/>
                  </a:ext>
                </a:extLst>
              </p:cNvPr>
              <p:cNvSpPr>
                <a:spLocks noChangeArrowheads="1"/>
              </p:cNvSpPr>
              <p:nvPr/>
            </p:nvSpPr>
            <p:spPr bwMode="auto">
              <a:xfrm>
                <a:off x="9269413" y="639763"/>
                <a:ext cx="153988" cy="47625"/>
              </a:xfrm>
              <a:prstGeom prst="rect">
                <a:avLst/>
              </a:prstGeom>
              <a:solidFill>
                <a:srgbClr val="D1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4" name="Rectangle 322">
                <a:extLst>
                  <a:ext uri="{FF2B5EF4-FFF2-40B4-BE49-F238E27FC236}">
                    <a16:creationId xmlns:a16="http://schemas.microsoft.com/office/drawing/2014/main" id="{B7889E1D-EDEC-4D92-83D0-BCDF4215680F}"/>
                  </a:ext>
                </a:extLst>
              </p:cNvPr>
              <p:cNvSpPr>
                <a:spLocks noChangeArrowheads="1"/>
              </p:cNvSpPr>
              <p:nvPr/>
            </p:nvSpPr>
            <p:spPr bwMode="auto">
              <a:xfrm>
                <a:off x="9269413" y="619125"/>
                <a:ext cx="153988" cy="46038"/>
              </a:xfrm>
              <a:prstGeom prst="rect">
                <a:avLst/>
              </a:prstGeom>
              <a:solidFill>
                <a:srgbClr val="BC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5" name="Rectangle 323">
                <a:extLst>
                  <a:ext uri="{FF2B5EF4-FFF2-40B4-BE49-F238E27FC236}">
                    <a16:creationId xmlns:a16="http://schemas.microsoft.com/office/drawing/2014/main" id="{CDC0989D-9CAB-41DD-80AA-6645FE497FAA}"/>
                  </a:ext>
                </a:extLst>
              </p:cNvPr>
              <p:cNvSpPr>
                <a:spLocks noChangeArrowheads="1"/>
              </p:cNvSpPr>
              <p:nvPr/>
            </p:nvSpPr>
            <p:spPr bwMode="auto">
              <a:xfrm>
                <a:off x="9269413" y="619125"/>
                <a:ext cx="153988" cy="23813"/>
              </a:xfrm>
              <a:prstGeom prst="rect">
                <a:avLst/>
              </a:prstGeom>
              <a:solidFill>
                <a:srgbClr val="9395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6" name="Freeform 324">
                <a:extLst>
                  <a:ext uri="{FF2B5EF4-FFF2-40B4-BE49-F238E27FC236}">
                    <a16:creationId xmlns:a16="http://schemas.microsoft.com/office/drawing/2014/main" id="{15AC8BAB-6F70-4391-82BC-C9B2C164AE9E}"/>
                  </a:ext>
                </a:extLst>
              </p:cNvPr>
              <p:cNvSpPr>
                <a:spLocks/>
              </p:cNvSpPr>
              <p:nvPr/>
            </p:nvSpPr>
            <p:spPr bwMode="auto">
              <a:xfrm>
                <a:off x="9269413" y="550863"/>
                <a:ext cx="153988" cy="68263"/>
              </a:xfrm>
              <a:custGeom>
                <a:avLst/>
                <a:gdLst>
                  <a:gd name="T0" fmla="*/ 27 w 54"/>
                  <a:gd name="T1" fmla="*/ 0 h 24"/>
                  <a:gd name="T2" fmla="*/ 0 w 54"/>
                  <a:gd name="T3" fmla="*/ 24 h 24"/>
                  <a:gd name="T4" fmla="*/ 54 w 54"/>
                  <a:gd name="T5" fmla="*/ 24 h 24"/>
                  <a:gd name="T6" fmla="*/ 27 w 54"/>
                  <a:gd name="T7" fmla="*/ 0 h 24"/>
                </a:gdLst>
                <a:ahLst/>
                <a:cxnLst>
                  <a:cxn ang="0">
                    <a:pos x="T0" y="T1"/>
                  </a:cxn>
                  <a:cxn ang="0">
                    <a:pos x="T2" y="T3"/>
                  </a:cxn>
                  <a:cxn ang="0">
                    <a:pos x="T4" y="T5"/>
                  </a:cxn>
                  <a:cxn ang="0">
                    <a:pos x="T6" y="T7"/>
                  </a:cxn>
                </a:cxnLst>
                <a:rect l="0" t="0" r="r" b="b"/>
                <a:pathLst>
                  <a:path w="54" h="24">
                    <a:moveTo>
                      <a:pt x="27" y="0"/>
                    </a:moveTo>
                    <a:cubicBezTo>
                      <a:pt x="12" y="0"/>
                      <a:pt x="0" y="11"/>
                      <a:pt x="0" y="24"/>
                    </a:cubicBezTo>
                    <a:cubicBezTo>
                      <a:pt x="54" y="24"/>
                      <a:pt x="54" y="24"/>
                      <a:pt x="54" y="24"/>
                    </a:cubicBezTo>
                    <a:cubicBezTo>
                      <a:pt x="54" y="11"/>
                      <a:pt x="42" y="0"/>
                      <a:pt x="27" y="0"/>
                    </a:cubicBezTo>
                    <a:close/>
                  </a:path>
                </a:pathLst>
              </a:cu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7" name="Freeform 325">
                <a:extLst>
                  <a:ext uri="{FF2B5EF4-FFF2-40B4-BE49-F238E27FC236}">
                    <a16:creationId xmlns:a16="http://schemas.microsoft.com/office/drawing/2014/main" id="{02D770D1-EC17-42EF-84C6-70F490B318BB}"/>
                  </a:ext>
                </a:extLst>
              </p:cNvPr>
              <p:cNvSpPr>
                <a:spLocks/>
              </p:cNvSpPr>
              <p:nvPr/>
            </p:nvSpPr>
            <p:spPr bwMode="auto">
              <a:xfrm>
                <a:off x="9269413" y="1238250"/>
                <a:ext cx="153988" cy="130175"/>
              </a:xfrm>
              <a:custGeom>
                <a:avLst/>
                <a:gdLst>
                  <a:gd name="T0" fmla="*/ 19 w 54"/>
                  <a:gd name="T1" fmla="*/ 46 h 46"/>
                  <a:gd name="T2" fmla="*/ 27 w 54"/>
                  <a:gd name="T3" fmla="*/ 44 h 46"/>
                  <a:gd name="T4" fmla="*/ 35 w 54"/>
                  <a:gd name="T5" fmla="*/ 46 h 46"/>
                  <a:gd name="T6" fmla="*/ 54 w 54"/>
                  <a:gd name="T7" fmla="*/ 8 h 46"/>
                  <a:gd name="T8" fmla="*/ 45 w 54"/>
                  <a:gd name="T9" fmla="*/ 0 h 46"/>
                  <a:gd name="T10" fmla="*/ 36 w 54"/>
                  <a:gd name="T11" fmla="*/ 8 h 46"/>
                  <a:gd name="T12" fmla="*/ 27 w 54"/>
                  <a:gd name="T13" fmla="*/ 0 h 46"/>
                  <a:gd name="T14" fmla="*/ 18 w 54"/>
                  <a:gd name="T15" fmla="*/ 8 h 46"/>
                  <a:gd name="T16" fmla="*/ 9 w 54"/>
                  <a:gd name="T17" fmla="*/ 0 h 46"/>
                  <a:gd name="T18" fmla="*/ 0 w 54"/>
                  <a:gd name="T19" fmla="*/ 8 h 46"/>
                  <a:gd name="T20" fmla="*/ 19 w 54"/>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46">
                    <a:moveTo>
                      <a:pt x="19" y="46"/>
                    </a:moveTo>
                    <a:cubicBezTo>
                      <a:pt x="21" y="45"/>
                      <a:pt x="24" y="44"/>
                      <a:pt x="27" y="44"/>
                    </a:cubicBezTo>
                    <a:cubicBezTo>
                      <a:pt x="30" y="44"/>
                      <a:pt x="32" y="45"/>
                      <a:pt x="35" y="46"/>
                    </a:cubicBezTo>
                    <a:cubicBezTo>
                      <a:pt x="54" y="8"/>
                      <a:pt x="54" y="8"/>
                      <a:pt x="54" y="8"/>
                    </a:cubicBezTo>
                    <a:cubicBezTo>
                      <a:pt x="54" y="4"/>
                      <a:pt x="50" y="0"/>
                      <a:pt x="45" y="0"/>
                    </a:cubicBezTo>
                    <a:cubicBezTo>
                      <a:pt x="40" y="0"/>
                      <a:pt x="36" y="4"/>
                      <a:pt x="36" y="8"/>
                    </a:cubicBezTo>
                    <a:cubicBezTo>
                      <a:pt x="36" y="4"/>
                      <a:pt x="32" y="0"/>
                      <a:pt x="27" y="0"/>
                    </a:cubicBezTo>
                    <a:cubicBezTo>
                      <a:pt x="22" y="0"/>
                      <a:pt x="18" y="4"/>
                      <a:pt x="18" y="8"/>
                    </a:cubicBezTo>
                    <a:cubicBezTo>
                      <a:pt x="18" y="4"/>
                      <a:pt x="14" y="0"/>
                      <a:pt x="9" y="0"/>
                    </a:cubicBezTo>
                    <a:cubicBezTo>
                      <a:pt x="4" y="0"/>
                      <a:pt x="0" y="4"/>
                      <a:pt x="0" y="8"/>
                    </a:cubicBezTo>
                    <a:lnTo>
                      <a:pt x="19" y="46"/>
                    </a:lnTo>
                    <a:close/>
                  </a:path>
                </a:pathLst>
              </a:custGeom>
              <a:solidFill>
                <a:srgbClr val="F4CF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21" name="组合 20">
              <a:extLst>
                <a:ext uri="{FF2B5EF4-FFF2-40B4-BE49-F238E27FC236}">
                  <a16:creationId xmlns:a16="http://schemas.microsoft.com/office/drawing/2014/main" id="{E4933928-2BB5-474F-A761-BE0727C84A9D}"/>
                </a:ext>
              </a:extLst>
            </p:cNvPr>
            <p:cNvGrpSpPr/>
            <p:nvPr/>
          </p:nvGrpSpPr>
          <p:grpSpPr>
            <a:xfrm>
              <a:off x="8397329" y="3776384"/>
              <a:ext cx="888420" cy="887512"/>
              <a:chOff x="4422775" y="5181600"/>
              <a:chExt cx="1554163" cy="1552575"/>
            </a:xfrm>
          </p:grpSpPr>
          <p:sp>
            <p:nvSpPr>
              <p:cNvPr id="230" name="Oval 326">
                <a:extLst>
                  <a:ext uri="{FF2B5EF4-FFF2-40B4-BE49-F238E27FC236}">
                    <a16:creationId xmlns:a16="http://schemas.microsoft.com/office/drawing/2014/main" id="{3FF19E9E-6C90-4A0F-BA8D-AFDA253B0A78}"/>
                  </a:ext>
                </a:extLst>
              </p:cNvPr>
              <p:cNvSpPr>
                <a:spLocks noChangeArrowheads="1"/>
              </p:cNvSpPr>
              <p:nvPr/>
            </p:nvSpPr>
            <p:spPr bwMode="auto">
              <a:xfrm>
                <a:off x="4422775" y="5181600"/>
                <a:ext cx="1554163" cy="1552575"/>
              </a:xfrm>
              <a:prstGeom prst="ellipse">
                <a:avLst/>
              </a:pr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1" name="Oval 327">
                <a:extLst>
                  <a:ext uri="{FF2B5EF4-FFF2-40B4-BE49-F238E27FC236}">
                    <a16:creationId xmlns:a16="http://schemas.microsoft.com/office/drawing/2014/main" id="{31A76807-9D16-4532-B795-2291103DCEED}"/>
                  </a:ext>
                </a:extLst>
              </p:cNvPr>
              <p:cNvSpPr>
                <a:spLocks noChangeArrowheads="1"/>
              </p:cNvSpPr>
              <p:nvPr/>
            </p:nvSpPr>
            <p:spPr bwMode="auto">
              <a:xfrm>
                <a:off x="4716463" y="5472113"/>
                <a:ext cx="969963" cy="971550"/>
              </a:xfrm>
              <a:prstGeom prst="ellipse">
                <a:avLst/>
              </a:prstGeom>
              <a:solidFill>
                <a:srgbClr val="F7E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2" name="Freeform 328">
                <a:extLst>
                  <a:ext uri="{FF2B5EF4-FFF2-40B4-BE49-F238E27FC236}">
                    <a16:creationId xmlns:a16="http://schemas.microsoft.com/office/drawing/2014/main" id="{430DE069-3B24-44F0-B536-311FB57B3781}"/>
                  </a:ext>
                </a:extLst>
              </p:cNvPr>
              <p:cNvSpPr>
                <a:spLocks noEditPoints="1"/>
              </p:cNvSpPr>
              <p:nvPr/>
            </p:nvSpPr>
            <p:spPr bwMode="auto">
              <a:xfrm>
                <a:off x="4716463" y="5472113"/>
                <a:ext cx="966788" cy="949325"/>
              </a:xfrm>
              <a:custGeom>
                <a:avLst/>
                <a:gdLst>
                  <a:gd name="T0" fmla="*/ 237 w 340"/>
                  <a:gd name="T1" fmla="*/ 168 h 333"/>
                  <a:gd name="T2" fmla="*/ 234 w 340"/>
                  <a:gd name="T3" fmla="*/ 162 h 333"/>
                  <a:gd name="T4" fmla="*/ 255 w 340"/>
                  <a:gd name="T5" fmla="*/ 97 h 333"/>
                  <a:gd name="T6" fmla="*/ 295 w 340"/>
                  <a:gd name="T7" fmla="*/ 101 h 333"/>
                  <a:gd name="T8" fmla="*/ 306 w 340"/>
                  <a:gd name="T9" fmla="*/ 102 h 333"/>
                  <a:gd name="T10" fmla="*/ 340 w 340"/>
                  <a:gd name="T11" fmla="*/ 150 h 333"/>
                  <a:gd name="T12" fmla="*/ 316 w 340"/>
                  <a:gd name="T13" fmla="*/ 82 h 333"/>
                  <a:gd name="T14" fmla="*/ 307 w 340"/>
                  <a:gd name="T15" fmla="*/ 95 h 333"/>
                  <a:gd name="T16" fmla="*/ 249 w 340"/>
                  <a:gd name="T17" fmla="*/ 91 h 333"/>
                  <a:gd name="T18" fmla="*/ 198 w 340"/>
                  <a:gd name="T19" fmla="*/ 54 h 333"/>
                  <a:gd name="T20" fmla="*/ 198 w 340"/>
                  <a:gd name="T21" fmla="*/ 20 h 333"/>
                  <a:gd name="T22" fmla="*/ 217 w 340"/>
                  <a:gd name="T23" fmla="*/ 6 h 333"/>
                  <a:gd name="T24" fmla="*/ 170 w 340"/>
                  <a:gd name="T25" fmla="*/ 0 h 333"/>
                  <a:gd name="T26" fmla="*/ 164 w 340"/>
                  <a:gd name="T27" fmla="*/ 0 h 333"/>
                  <a:gd name="T28" fmla="*/ 191 w 340"/>
                  <a:gd name="T29" fmla="*/ 20 h 333"/>
                  <a:gd name="T30" fmla="*/ 191 w 340"/>
                  <a:gd name="T31" fmla="*/ 54 h 333"/>
                  <a:gd name="T32" fmla="*/ 136 w 340"/>
                  <a:gd name="T33" fmla="*/ 94 h 333"/>
                  <a:gd name="T34" fmla="*/ 52 w 340"/>
                  <a:gd name="T35" fmla="*/ 96 h 333"/>
                  <a:gd name="T36" fmla="*/ 31 w 340"/>
                  <a:gd name="T37" fmla="*/ 72 h 333"/>
                  <a:gd name="T38" fmla="*/ 0 w 340"/>
                  <a:gd name="T39" fmla="*/ 157 h 333"/>
                  <a:gd name="T40" fmla="*/ 16 w 340"/>
                  <a:gd name="T41" fmla="*/ 161 h 333"/>
                  <a:gd name="T42" fmla="*/ 51 w 340"/>
                  <a:gd name="T43" fmla="*/ 242 h 333"/>
                  <a:gd name="T44" fmla="*/ 47 w 340"/>
                  <a:gd name="T45" fmla="*/ 289 h 333"/>
                  <a:gd name="T46" fmla="*/ 118 w 340"/>
                  <a:gd name="T47" fmla="*/ 333 h 333"/>
                  <a:gd name="T48" fmla="*/ 161 w 340"/>
                  <a:gd name="T49" fmla="*/ 289 h 333"/>
                  <a:gd name="T50" fmla="*/ 228 w 340"/>
                  <a:gd name="T51" fmla="*/ 289 h 333"/>
                  <a:gd name="T52" fmla="*/ 257 w 340"/>
                  <a:gd name="T53" fmla="*/ 318 h 333"/>
                  <a:gd name="T54" fmla="*/ 327 w 340"/>
                  <a:gd name="T55" fmla="*/ 236 h 333"/>
                  <a:gd name="T56" fmla="*/ 269 w 340"/>
                  <a:gd name="T57" fmla="*/ 223 h 333"/>
                  <a:gd name="T58" fmla="*/ 237 w 340"/>
                  <a:gd name="T59" fmla="*/ 168 h 333"/>
                  <a:gd name="T60" fmla="*/ 56 w 340"/>
                  <a:gd name="T61" fmla="*/ 238 h 333"/>
                  <a:gd name="T62" fmla="*/ 21 w 340"/>
                  <a:gd name="T63" fmla="*/ 158 h 333"/>
                  <a:gd name="T64" fmla="*/ 54 w 340"/>
                  <a:gd name="T65" fmla="*/ 104 h 333"/>
                  <a:gd name="T66" fmla="*/ 138 w 340"/>
                  <a:gd name="T67" fmla="*/ 101 h 333"/>
                  <a:gd name="T68" fmla="*/ 157 w 340"/>
                  <a:gd name="T69" fmla="*/ 159 h 333"/>
                  <a:gd name="T70" fmla="*/ 157 w 340"/>
                  <a:gd name="T71" fmla="*/ 160 h 333"/>
                  <a:gd name="T72" fmla="*/ 124 w 340"/>
                  <a:gd name="T73" fmla="*/ 223 h 333"/>
                  <a:gd name="T74" fmla="*/ 56 w 340"/>
                  <a:gd name="T75" fmla="*/ 238 h 333"/>
                  <a:gd name="T76" fmla="*/ 228 w 340"/>
                  <a:gd name="T77" fmla="*/ 282 h 333"/>
                  <a:gd name="T78" fmla="*/ 161 w 340"/>
                  <a:gd name="T79" fmla="*/ 282 h 333"/>
                  <a:gd name="T80" fmla="*/ 130 w 340"/>
                  <a:gd name="T81" fmla="*/ 226 h 333"/>
                  <a:gd name="T82" fmla="*/ 161 w 340"/>
                  <a:gd name="T83" fmla="*/ 166 h 333"/>
                  <a:gd name="T84" fmla="*/ 228 w 340"/>
                  <a:gd name="T85" fmla="*/ 166 h 333"/>
                  <a:gd name="T86" fmla="*/ 230 w 340"/>
                  <a:gd name="T87" fmla="*/ 170 h 333"/>
                  <a:gd name="T88" fmla="*/ 261 w 340"/>
                  <a:gd name="T89" fmla="*/ 225 h 333"/>
                  <a:gd name="T90" fmla="*/ 228 w 340"/>
                  <a:gd name="T91" fmla="*/ 28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33">
                    <a:moveTo>
                      <a:pt x="237" y="168"/>
                    </a:moveTo>
                    <a:cubicBezTo>
                      <a:pt x="234" y="162"/>
                      <a:pt x="234" y="162"/>
                      <a:pt x="234" y="162"/>
                    </a:cubicBezTo>
                    <a:cubicBezTo>
                      <a:pt x="255" y="97"/>
                      <a:pt x="255" y="97"/>
                      <a:pt x="255" y="97"/>
                    </a:cubicBezTo>
                    <a:cubicBezTo>
                      <a:pt x="295" y="101"/>
                      <a:pt x="295" y="101"/>
                      <a:pt x="295" y="101"/>
                    </a:cubicBezTo>
                    <a:cubicBezTo>
                      <a:pt x="306" y="102"/>
                      <a:pt x="306" y="102"/>
                      <a:pt x="306" y="102"/>
                    </a:cubicBezTo>
                    <a:cubicBezTo>
                      <a:pt x="340" y="150"/>
                      <a:pt x="340" y="150"/>
                      <a:pt x="340" y="150"/>
                    </a:cubicBezTo>
                    <a:cubicBezTo>
                      <a:pt x="337" y="125"/>
                      <a:pt x="328" y="102"/>
                      <a:pt x="316" y="82"/>
                    </a:cubicBezTo>
                    <a:cubicBezTo>
                      <a:pt x="307" y="95"/>
                      <a:pt x="307" y="95"/>
                      <a:pt x="307" y="95"/>
                    </a:cubicBezTo>
                    <a:cubicBezTo>
                      <a:pt x="249" y="91"/>
                      <a:pt x="249" y="91"/>
                      <a:pt x="249" y="91"/>
                    </a:cubicBezTo>
                    <a:cubicBezTo>
                      <a:pt x="198" y="54"/>
                      <a:pt x="198" y="54"/>
                      <a:pt x="198" y="54"/>
                    </a:cubicBezTo>
                    <a:cubicBezTo>
                      <a:pt x="198" y="20"/>
                      <a:pt x="198" y="20"/>
                      <a:pt x="198" y="20"/>
                    </a:cubicBezTo>
                    <a:cubicBezTo>
                      <a:pt x="217" y="6"/>
                      <a:pt x="217" y="6"/>
                      <a:pt x="217" y="6"/>
                    </a:cubicBezTo>
                    <a:cubicBezTo>
                      <a:pt x="202" y="2"/>
                      <a:pt x="186" y="0"/>
                      <a:pt x="170" y="0"/>
                    </a:cubicBezTo>
                    <a:cubicBezTo>
                      <a:pt x="168" y="0"/>
                      <a:pt x="166" y="0"/>
                      <a:pt x="164" y="0"/>
                    </a:cubicBezTo>
                    <a:cubicBezTo>
                      <a:pt x="191" y="20"/>
                      <a:pt x="191" y="20"/>
                      <a:pt x="191" y="20"/>
                    </a:cubicBezTo>
                    <a:cubicBezTo>
                      <a:pt x="191" y="54"/>
                      <a:pt x="191" y="54"/>
                      <a:pt x="191" y="54"/>
                    </a:cubicBezTo>
                    <a:cubicBezTo>
                      <a:pt x="136" y="94"/>
                      <a:pt x="136" y="94"/>
                      <a:pt x="136" y="94"/>
                    </a:cubicBezTo>
                    <a:cubicBezTo>
                      <a:pt x="52" y="96"/>
                      <a:pt x="52" y="96"/>
                      <a:pt x="52" y="96"/>
                    </a:cubicBezTo>
                    <a:cubicBezTo>
                      <a:pt x="31" y="72"/>
                      <a:pt x="31" y="72"/>
                      <a:pt x="31" y="72"/>
                    </a:cubicBezTo>
                    <a:cubicBezTo>
                      <a:pt x="13" y="97"/>
                      <a:pt x="2" y="126"/>
                      <a:pt x="0" y="157"/>
                    </a:cubicBezTo>
                    <a:cubicBezTo>
                      <a:pt x="16" y="161"/>
                      <a:pt x="16" y="161"/>
                      <a:pt x="16" y="161"/>
                    </a:cubicBezTo>
                    <a:cubicBezTo>
                      <a:pt x="51" y="242"/>
                      <a:pt x="51" y="242"/>
                      <a:pt x="51" y="242"/>
                    </a:cubicBezTo>
                    <a:cubicBezTo>
                      <a:pt x="47" y="289"/>
                      <a:pt x="47" y="289"/>
                      <a:pt x="47" y="289"/>
                    </a:cubicBezTo>
                    <a:cubicBezTo>
                      <a:pt x="66" y="309"/>
                      <a:pt x="90" y="324"/>
                      <a:pt x="118" y="333"/>
                    </a:cubicBezTo>
                    <a:cubicBezTo>
                      <a:pt x="161" y="289"/>
                      <a:pt x="161" y="289"/>
                      <a:pt x="161" y="289"/>
                    </a:cubicBezTo>
                    <a:cubicBezTo>
                      <a:pt x="228" y="289"/>
                      <a:pt x="228" y="289"/>
                      <a:pt x="228" y="289"/>
                    </a:cubicBezTo>
                    <a:cubicBezTo>
                      <a:pt x="257" y="318"/>
                      <a:pt x="257" y="318"/>
                      <a:pt x="257" y="318"/>
                    </a:cubicBezTo>
                    <a:cubicBezTo>
                      <a:pt x="288" y="299"/>
                      <a:pt x="313" y="271"/>
                      <a:pt x="327" y="236"/>
                    </a:cubicBezTo>
                    <a:cubicBezTo>
                      <a:pt x="269" y="223"/>
                      <a:pt x="269" y="223"/>
                      <a:pt x="269" y="223"/>
                    </a:cubicBezTo>
                    <a:lnTo>
                      <a:pt x="237" y="168"/>
                    </a:lnTo>
                    <a:close/>
                    <a:moveTo>
                      <a:pt x="56" y="238"/>
                    </a:moveTo>
                    <a:cubicBezTo>
                      <a:pt x="21" y="158"/>
                      <a:pt x="21" y="158"/>
                      <a:pt x="21" y="158"/>
                    </a:cubicBezTo>
                    <a:cubicBezTo>
                      <a:pt x="54" y="104"/>
                      <a:pt x="54" y="104"/>
                      <a:pt x="54" y="104"/>
                    </a:cubicBezTo>
                    <a:cubicBezTo>
                      <a:pt x="138" y="101"/>
                      <a:pt x="138" y="101"/>
                      <a:pt x="138" y="101"/>
                    </a:cubicBezTo>
                    <a:cubicBezTo>
                      <a:pt x="157" y="159"/>
                      <a:pt x="157" y="159"/>
                      <a:pt x="157" y="159"/>
                    </a:cubicBezTo>
                    <a:cubicBezTo>
                      <a:pt x="157" y="160"/>
                      <a:pt x="157" y="160"/>
                      <a:pt x="157" y="160"/>
                    </a:cubicBezTo>
                    <a:cubicBezTo>
                      <a:pt x="124" y="223"/>
                      <a:pt x="124" y="223"/>
                      <a:pt x="124" y="223"/>
                    </a:cubicBezTo>
                    <a:lnTo>
                      <a:pt x="56" y="238"/>
                    </a:lnTo>
                    <a:close/>
                    <a:moveTo>
                      <a:pt x="228" y="282"/>
                    </a:moveTo>
                    <a:cubicBezTo>
                      <a:pt x="161" y="282"/>
                      <a:pt x="161" y="282"/>
                      <a:pt x="161" y="282"/>
                    </a:cubicBezTo>
                    <a:cubicBezTo>
                      <a:pt x="130" y="226"/>
                      <a:pt x="130" y="226"/>
                      <a:pt x="130" y="226"/>
                    </a:cubicBezTo>
                    <a:cubicBezTo>
                      <a:pt x="161" y="166"/>
                      <a:pt x="161" y="166"/>
                      <a:pt x="161" y="166"/>
                    </a:cubicBezTo>
                    <a:cubicBezTo>
                      <a:pt x="228" y="166"/>
                      <a:pt x="228" y="166"/>
                      <a:pt x="228" y="166"/>
                    </a:cubicBezTo>
                    <a:cubicBezTo>
                      <a:pt x="230" y="170"/>
                      <a:pt x="230" y="170"/>
                      <a:pt x="230" y="170"/>
                    </a:cubicBezTo>
                    <a:cubicBezTo>
                      <a:pt x="261" y="225"/>
                      <a:pt x="261" y="225"/>
                      <a:pt x="261" y="225"/>
                    </a:cubicBezTo>
                    <a:lnTo>
                      <a:pt x="228" y="282"/>
                    </a:lnTo>
                    <a:close/>
                  </a:path>
                </a:pathLst>
              </a:custGeom>
              <a:solidFill>
                <a:srgbClr val="1839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22" name="组合 21">
              <a:extLst>
                <a:ext uri="{FF2B5EF4-FFF2-40B4-BE49-F238E27FC236}">
                  <a16:creationId xmlns:a16="http://schemas.microsoft.com/office/drawing/2014/main" id="{DD2F2508-3343-4A85-A124-3F2040E68FBE}"/>
                </a:ext>
              </a:extLst>
            </p:cNvPr>
            <p:cNvGrpSpPr/>
            <p:nvPr/>
          </p:nvGrpSpPr>
          <p:grpSpPr>
            <a:xfrm>
              <a:off x="10227689" y="3776384"/>
              <a:ext cx="888420" cy="887512"/>
              <a:chOff x="10002838" y="1809750"/>
              <a:chExt cx="1554163" cy="1552575"/>
            </a:xfrm>
          </p:grpSpPr>
          <p:sp>
            <p:nvSpPr>
              <p:cNvPr id="207" name="Oval 329">
                <a:extLst>
                  <a:ext uri="{FF2B5EF4-FFF2-40B4-BE49-F238E27FC236}">
                    <a16:creationId xmlns:a16="http://schemas.microsoft.com/office/drawing/2014/main" id="{8063BF81-4553-482B-B807-DAF5B28B576D}"/>
                  </a:ext>
                </a:extLst>
              </p:cNvPr>
              <p:cNvSpPr>
                <a:spLocks noChangeArrowheads="1"/>
              </p:cNvSpPr>
              <p:nvPr/>
            </p:nvSpPr>
            <p:spPr bwMode="auto">
              <a:xfrm>
                <a:off x="10002838" y="1809750"/>
                <a:ext cx="1554163" cy="1552575"/>
              </a:xfrm>
              <a:prstGeom prst="ellipse">
                <a:avLst/>
              </a:pr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8" name="Freeform 330">
                <a:extLst>
                  <a:ext uri="{FF2B5EF4-FFF2-40B4-BE49-F238E27FC236}">
                    <a16:creationId xmlns:a16="http://schemas.microsoft.com/office/drawing/2014/main" id="{E2296819-4F6F-4B2C-9FAE-F007E045DDE7}"/>
                  </a:ext>
                </a:extLst>
              </p:cNvPr>
              <p:cNvSpPr>
                <a:spLocks/>
              </p:cNvSpPr>
              <p:nvPr/>
            </p:nvSpPr>
            <p:spPr bwMode="auto">
              <a:xfrm>
                <a:off x="10142538" y="2459038"/>
                <a:ext cx="284163" cy="604838"/>
              </a:xfrm>
              <a:custGeom>
                <a:avLst/>
                <a:gdLst>
                  <a:gd name="T0" fmla="*/ 100 w 100"/>
                  <a:gd name="T1" fmla="*/ 15 h 212"/>
                  <a:gd name="T2" fmla="*/ 60 w 100"/>
                  <a:gd name="T3" fmla="*/ 44 h 212"/>
                  <a:gd name="T4" fmla="*/ 98 w 100"/>
                  <a:gd name="T5" fmla="*/ 209 h 212"/>
                  <a:gd name="T6" fmla="*/ 100 w 100"/>
                  <a:gd name="T7" fmla="*/ 15 h 212"/>
                </a:gdLst>
                <a:ahLst/>
                <a:cxnLst>
                  <a:cxn ang="0">
                    <a:pos x="T0" y="T1"/>
                  </a:cxn>
                  <a:cxn ang="0">
                    <a:pos x="T2" y="T3"/>
                  </a:cxn>
                  <a:cxn ang="0">
                    <a:pos x="T4" y="T5"/>
                  </a:cxn>
                  <a:cxn ang="0">
                    <a:pos x="T6" y="T7"/>
                  </a:cxn>
                </a:cxnLst>
                <a:rect l="0" t="0" r="r" b="b"/>
                <a:pathLst>
                  <a:path w="100" h="212">
                    <a:moveTo>
                      <a:pt x="100" y="15"/>
                    </a:moveTo>
                    <a:cubicBezTo>
                      <a:pt x="97" y="13"/>
                      <a:pt x="69" y="0"/>
                      <a:pt x="60" y="44"/>
                    </a:cubicBezTo>
                    <a:cubicBezTo>
                      <a:pt x="50" y="88"/>
                      <a:pt x="0" y="212"/>
                      <a:pt x="98" y="209"/>
                    </a:cubicBezTo>
                    <a:lnTo>
                      <a:pt x="100" y="15"/>
                    </a:lnTo>
                    <a:close/>
                  </a:path>
                </a:pathLst>
              </a:custGeom>
              <a:solidFill>
                <a:srgbClr val="AF17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9" name="Freeform 331">
                <a:extLst>
                  <a:ext uri="{FF2B5EF4-FFF2-40B4-BE49-F238E27FC236}">
                    <a16:creationId xmlns:a16="http://schemas.microsoft.com/office/drawing/2014/main" id="{9181E5A6-F419-43CA-AE0C-40FAD96A8D6F}"/>
                  </a:ext>
                </a:extLst>
              </p:cNvPr>
              <p:cNvSpPr>
                <a:spLocks/>
              </p:cNvSpPr>
              <p:nvPr/>
            </p:nvSpPr>
            <p:spPr bwMode="auto">
              <a:xfrm>
                <a:off x="10271125" y="2459038"/>
                <a:ext cx="176213" cy="228600"/>
              </a:xfrm>
              <a:custGeom>
                <a:avLst/>
                <a:gdLst>
                  <a:gd name="T0" fmla="*/ 58 w 62"/>
                  <a:gd name="T1" fmla="*/ 15 h 80"/>
                  <a:gd name="T2" fmla="*/ 26 w 62"/>
                  <a:gd name="T3" fmla="*/ 8 h 80"/>
                  <a:gd name="T4" fmla="*/ 4 w 62"/>
                  <a:gd name="T5" fmla="*/ 62 h 80"/>
                  <a:gd name="T6" fmla="*/ 53 w 62"/>
                  <a:gd name="T7" fmla="*/ 78 h 80"/>
                  <a:gd name="T8" fmla="*/ 58 w 62"/>
                  <a:gd name="T9" fmla="*/ 15 h 80"/>
                </a:gdLst>
                <a:ahLst/>
                <a:cxnLst>
                  <a:cxn ang="0">
                    <a:pos x="T0" y="T1"/>
                  </a:cxn>
                  <a:cxn ang="0">
                    <a:pos x="T2" y="T3"/>
                  </a:cxn>
                  <a:cxn ang="0">
                    <a:pos x="T4" y="T5"/>
                  </a:cxn>
                  <a:cxn ang="0">
                    <a:pos x="T6" y="T7"/>
                  </a:cxn>
                  <a:cxn ang="0">
                    <a:pos x="T8" y="T9"/>
                  </a:cxn>
                </a:cxnLst>
                <a:rect l="0" t="0" r="r" b="b"/>
                <a:pathLst>
                  <a:path w="62" h="80">
                    <a:moveTo>
                      <a:pt x="58" y="15"/>
                    </a:moveTo>
                    <a:cubicBezTo>
                      <a:pt x="58" y="15"/>
                      <a:pt x="38" y="0"/>
                      <a:pt x="26" y="8"/>
                    </a:cubicBezTo>
                    <a:cubicBezTo>
                      <a:pt x="14" y="17"/>
                      <a:pt x="0" y="52"/>
                      <a:pt x="4" y="62"/>
                    </a:cubicBezTo>
                    <a:cubicBezTo>
                      <a:pt x="7" y="73"/>
                      <a:pt x="43" y="80"/>
                      <a:pt x="53" y="78"/>
                    </a:cubicBezTo>
                    <a:cubicBezTo>
                      <a:pt x="62" y="76"/>
                      <a:pt x="58" y="15"/>
                      <a:pt x="58" y="15"/>
                    </a:cubicBezTo>
                    <a:close/>
                  </a:path>
                </a:pathLst>
              </a:custGeom>
              <a:solidFill>
                <a:srgbClr val="FFB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0" name="Freeform 332">
                <a:extLst>
                  <a:ext uri="{FF2B5EF4-FFF2-40B4-BE49-F238E27FC236}">
                    <a16:creationId xmlns:a16="http://schemas.microsoft.com/office/drawing/2014/main" id="{F8DFDC19-EA8A-4A88-9886-DDC56E44E53A}"/>
                  </a:ext>
                </a:extLst>
              </p:cNvPr>
              <p:cNvSpPr>
                <a:spLocks/>
              </p:cNvSpPr>
              <p:nvPr/>
            </p:nvSpPr>
            <p:spPr bwMode="auto">
              <a:xfrm>
                <a:off x="10142538" y="2459038"/>
                <a:ext cx="284163" cy="604838"/>
              </a:xfrm>
              <a:custGeom>
                <a:avLst/>
                <a:gdLst>
                  <a:gd name="T0" fmla="*/ 100 w 100"/>
                  <a:gd name="T1" fmla="*/ 15 h 212"/>
                  <a:gd name="T2" fmla="*/ 60 w 100"/>
                  <a:gd name="T3" fmla="*/ 44 h 212"/>
                  <a:gd name="T4" fmla="*/ 98 w 100"/>
                  <a:gd name="T5" fmla="*/ 209 h 212"/>
                  <a:gd name="T6" fmla="*/ 100 w 100"/>
                  <a:gd name="T7" fmla="*/ 15 h 212"/>
                </a:gdLst>
                <a:ahLst/>
                <a:cxnLst>
                  <a:cxn ang="0">
                    <a:pos x="T0" y="T1"/>
                  </a:cxn>
                  <a:cxn ang="0">
                    <a:pos x="T2" y="T3"/>
                  </a:cxn>
                  <a:cxn ang="0">
                    <a:pos x="T4" y="T5"/>
                  </a:cxn>
                  <a:cxn ang="0">
                    <a:pos x="T6" y="T7"/>
                  </a:cxn>
                </a:cxnLst>
                <a:rect l="0" t="0" r="r" b="b"/>
                <a:pathLst>
                  <a:path w="100" h="212">
                    <a:moveTo>
                      <a:pt x="100" y="15"/>
                    </a:moveTo>
                    <a:cubicBezTo>
                      <a:pt x="97" y="13"/>
                      <a:pt x="69" y="0"/>
                      <a:pt x="60" y="44"/>
                    </a:cubicBezTo>
                    <a:cubicBezTo>
                      <a:pt x="50" y="88"/>
                      <a:pt x="0" y="212"/>
                      <a:pt x="98" y="209"/>
                    </a:cubicBezTo>
                    <a:lnTo>
                      <a:pt x="100" y="15"/>
                    </a:lnTo>
                    <a:close/>
                  </a:path>
                </a:pathLst>
              </a:custGeom>
              <a:solidFill>
                <a:srgbClr val="264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1" name="Freeform 333">
                <a:extLst>
                  <a:ext uri="{FF2B5EF4-FFF2-40B4-BE49-F238E27FC236}">
                    <a16:creationId xmlns:a16="http://schemas.microsoft.com/office/drawing/2014/main" id="{F4D65D9D-F5C6-4B8E-AEB3-997D8AA03F00}"/>
                  </a:ext>
                </a:extLst>
              </p:cNvPr>
              <p:cNvSpPr>
                <a:spLocks/>
              </p:cNvSpPr>
              <p:nvPr/>
            </p:nvSpPr>
            <p:spPr bwMode="auto">
              <a:xfrm>
                <a:off x="10271125" y="2459038"/>
                <a:ext cx="176213" cy="228600"/>
              </a:xfrm>
              <a:custGeom>
                <a:avLst/>
                <a:gdLst>
                  <a:gd name="T0" fmla="*/ 58 w 62"/>
                  <a:gd name="T1" fmla="*/ 15 h 80"/>
                  <a:gd name="T2" fmla="*/ 26 w 62"/>
                  <a:gd name="T3" fmla="*/ 8 h 80"/>
                  <a:gd name="T4" fmla="*/ 4 w 62"/>
                  <a:gd name="T5" fmla="*/ 62 h 80"/>
                  <a:gd name="T6" fmla="*/ 53 w 62"/>
                  <a:gd name="T7" fmla="*/ 78 h 80"/>
                  <a:gd name="T8" fmla="*/ 58 w 62"/>
                  <a:gd name="T9" fmla="*/ 15 h 80"/>
                </a:gdLst>
                <a:ahLst/>
                <a:cxnLst>
                  <a:cxn ang="0">
                    <a:pos x="T0" y="T1"/>
                  </a:cxn>
                  <a:cxn ang="0">
                    <a:pos x="T2" y="T3"/>
                  </a:cxn>
                  <a:cxn ang="0">
                    <a:pos x="T4" y="T5"/>
                  </a:cxn>
                  <a:cxn ang="0">
                    <a:pos x="T6" y="T7"/>
                  </a:cxn>
                  <a:cxn ang="0">
                    <a:pos x="T8" y="T9"/>
                  </a:cxn>
                </a:cxnLst>
                <a:rect l="0" t="0" r="r" b="b"/>
                <a:pathLst>
                  <a:path w="62" h="80">
                    <a:moveTo>
                      <a:pt x="58" y="15"/>
                    </a:moveTo>
                    <a:cubicBezTo>
                      <a:pt x="58" y="15"/>
                      <a:pt x="38" y="0"/>
                      <a:pt x="26" y="8"/>
                    </a:cubicBezTo>
                    <a:cubicBezTo>
                      <a:pt x="14" y="17"/>
                      <a:pt x="0" y="52"/>
                      <a:pt x="4" y="62"/>
                    </a:cubicBezTo>
                    <a:cubicBezTo>
                      <a:pt x="7" y="73"/>
                      <a:pt x="43" y="80"/>
                      <a:pt x="53" y="78"/>
                    </a:cubicBezTo>
                    <a:cubicBezTo>
                      <a:pt x="62" y="76"/>
                      <a:pt x="58" y="15"/>
                      <a:pt x="58" y="15"/>
                    </a:cubicBezTo>
                    <a:close/>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2" name="Freeform 334">
                <a:extLst>
                  <a:ext uri="{FF2B5EF4-FFF2-40B4-BE49-F238E27FC236}">
                    <a16:creationId xmlns:a16="http://schemas.microsoft.com/office/drawing/2014/main" id="{31D87EB6-AD86-419E-BA12-6AFCDD04D0D3}"/>
                  </a:ext>
                </a:extLst>
              </p:cNvPr>
              <p:cNvSpPr>
                <a:spLocks/>
              </p:cNvSpPr>
              <p:nvPr/>
            </p:nvSpPr>
            <p:spPr bwMode="auto">
              <a:xfrm>
                <a:off x="11136313" y="2459038"/>
                <a:ext cx="280988" cy="604838"/>
              </a:xfrm>
              <a:custGeom>
                <a:avLst/>
                <a:gdLst>
                  <a:gd name="T0" fmla="*/ 0 w 99"/>
                  <a:gd name="T1" fmla="*/ 15 h 212"/>
                  <a:gd name="T2" fmla="*/ 40 w 99"/>
                  <a:gd name="T3" fmla="*/ 44 h 212"/>
                  <a:gd name="T4" fmla="*/ 2 w 99"/>
                  <a:gd name="T5" fmla="*/ 209 h 212"/>
                  <a:gd name="T6" fmla="*/ 0 w 99"/>
                  <a:gd name="T7" fmla="*/ 15 h 212"/>
                </a:gdLst>
                <a:ahLst/>
                <a:cxnLst>
                  <a:cxn ang="0">
                    <a:pos x="T0" y="T1"/>
                  </a:cxn>
                  <a:cxn ang="0">
                    <a:pos x="T2" y="T3"/>
                  </a:cxn>
                  <a:cxn ang="0">
                    <a:pos x="T4" y="T5"/>
                  </a:cxn>
                  <a:cxn ang="0">
                    <a:pos x="T6" y="T7"/>
                  </a:cxn>
                </a:cxnLst>
                <a:rect l="0" t="0" r="r" b="b"/>
                <a:pathLst>
                  <a:path w="99" h="212">
                    <a:moveTo>
                      <a:pt x="0" y="15"/>
                    </a:moveTo>
                    <a:cubicBezTo>
                      <a:pt x="3" y="13"/>
                      <a:pt x="31" y="0"/>
                      <a:pt x="40" y="44"/>
                    </a:cubicBezTo>
                    <a:cubicBezTo>
                      <a:pt x="49" y="88"/>
                      <a:pt x="99" y="212"/>
                      <a:pt x="2" y="209"/>
                    </a:cubicBezTo>
                    <a:lnTo>
                      <a:pt x="0" y="15"/>
                    </a:lnTo>
                    <a:close/>
                  </a:path>
                </a:pathLst>
              </a:custGeom>
              <a:solidFill>
                <a:srgbClr val="264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3" name="Freeform 335">
                <a:extLst>
                  <a:ext uri="{FF2B5EF4-FFF2-40B4-BE49-F238E27FC236}">
                    <a16:creationId xmlns:a16="http://schemas.microsoft.com/office/drawing/2014/main" id="{85844D3C-AC86-4122-9BC0-06D17C632A1C}"/>
                  </a:ext>
                </a:extLst>
              </p:cNvPr>
              <p:cNvSpPr>
                <a:spLocks/>
              </p:cNvSpPr>
              <p:nvPr/>
            </p:nvSpPr>
            <p:spPr bwMode="auto">
              <a:xfrm>
                <a:off x="11115675" y="2459038"/>
                <a:ext cx="176213" cy="228600"/>
              </a:xfrm>
              <a:custGeom>
                <a:avLst/>
                <a:gdLst>
                  <a:gd name="T0" fmla="*/ 4 w 62"/>
                  <a:gd name="T1" fmla="*/ 15 h 80"/>
                  <a:gd name="T2" fmla="*/ 35 w 62"/>
                  <a:gd name="T3" fmla="*/ 8 h 80"/>
                  <a:gd name="T4" fmla="*/ 58 w 62"/>
                  <a:gd name="T5" fmla="*/ 62 h 80"/>
                  <a:gd name="T6" fmla="*/ 9 w 62"/>
                  <a:gd name="T7" fmla="*/ 78 h 80"/>
                  <a:gd name="T8" fmla="*/ 4 w 62"/>
                  <a:gd name="T9" fmla="*/ 15 h 80"/>
                </a:gdLst>
                <a:ahLst/>
                <a:cxnLst>
                  <a:cxn ang="0">
                    <a:pos x="T0" y="T1"/>
                  </a:cxn>
                  <a:cxn ang="0">
                    <a:pos x="T2" y="T3"/>
                  </a:cxn>
                  <a:cxn ang="0">
                    <a:pos x="T4" y="T5"/>
                  </a:cxn>
                  <a:cxn ang="0">
                    <a:pos x="T6" y="T7"/>
                  </a:cxn>
                  <a:cxn ang="0">
                    <a:pos x="T8" y="T9"/>
                  </a:cxn>
                </a:cxnLst>
                <a:rect l="0" t="0" r="r" b="b"/>
                <a:pathLst>
                  <a:path w="62" h="80">
                    <a:moveTo>
                      <a:pt x="4" y="15"/>
                    </a:moveTo>
                    <a:cubicBezTo>
                      <a:pt x="4" y="15"/>
                      <a:pt x="23" y="0"/>
                      <a:pt x="35" y="8"/>
                    </a:cubicBezTo>
                    <a:cubicBezTo>
                      <a:pt x="48" y="17"/>
                      <a:pt x="62" y="52"/>
                      <a:pt x="58" y="62"/>
                    </a:cubicBezTo>
                    <a:cubicBezTo>
                      <a:pt x="55" y="73"/>
                      <a:pt x="18" y="80"/>
                      <a:pt x="9" y="78"/>
                    </a:cubicBezTo>
                    <a:cubicBezTo>
                      <a:pt x="0" y="76"/>
                      <a:pt x="4" y="15"/>
                      <a:pt x="4" y="15"/>
                    </a:cubicBezTo>
                    <a:close/>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4" name="Freeform 336">
                <a:extLst>
                  <a:ext uri="{FF2B5EF4-FFF2-40B4-BE49-F238E27FC236}">
                    <a16:creationId xmlns:a16="http://schemas.microsoft.com/office/drawing/2014/main" id="{75C8CC0A-31A4-449D-A7ED-FF5B95A04D13}"/>
                  </a:ext>
                </a:extLst>
              </p:cNvPr>
              <p:cNvSpPr>
                <a:spLocks noEditPoints="1"/>
              </p:cNvSpPr>
              <p:nvPr/>
            </p:nvSpPr>
            <p:spPr bwMode="auto">
              <a:xfrm>
                <a:off x="10647363" y="1952625"/>
                <a:ext cx="292100" cy="293688"/>
              </a:xfrm>
              <a:custGeom>
                <a:avLst/>
                <a:gdLst>
                  <a:gd name="T0" fmla="*/ 51 w 103"/>
                  <a:gd name="T1" fmla="*/ 0 h 103"/>
                  <a:gd name="T2" fmla="*/ 0 w 103"/>
                  <a:gd name="T3" fmla="*/ 52 h 103"/>
                  <a:gd name="T4" fmla="*/ 51 w 103"/>
                  <a:gd name="T5" fmla="*/ 103 h 103"/>
                  <a:gd name="T6" fmla="*/ 103 w 103"/>
                  <a:gd name="T7" fmla="*/ 52 h 103"/>
                  <a:gd name="T8" fmla="*/ 51 w 103"/>
                  <a:gd name="T9" fmla="*/ 0 h 103"/>
                  <a:gd name="T10" fmla="*/ 51 w 103"/>
                  <a:gd name="T11" fmla="*/ 88 h 103"/>
                  <a:gd name="T12" fmla="*/ 15 w 103"/>
                  <a:gd name="T13" fmla="*/ 52 h 103"/>
                  <a:gd name="T14" fmla="*/ 51 w 103"/>
                  <a:gd name="T15" fmla="*/ 15 h 103"/>
                  <a:gd name="T16" fmla="*/ 88 w 103"/>
                  <a:gd name="T17" fmla="*/ 52 h 103"/>
                  <a:gd name="T18" fmla="*/ 51 w 103"/>
                  <a:gd name="T19" fmla="*/ 8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3">
                    <a:moveTo>
                      <a:pt x="51" y="0"/>
                    </a:moveTo>
                    <a:cubicBezTo>
                      <a:pt x="23" y="0"/>
                      <a:pt x="0" y="23"/>
                      <a:pt x="0" y="52"/>
                    </a:cubicBezTo>
                    <a:cubicBezTo>
                      <a:pt x="0" y="80"/>
                      <a:pt x="23" y="103"/>
                      <a:pt x="51" y="103"/>
                    </a:cubicBezTo>
                    <a:cubicBezTo>
                      <a:pt x="80" y="103"/>
                      <a:pt x="103" y="80"/>
                      <a:pt x="103" y="52"/>
                    </a:cubicBezTo>
                    <a:cubicBezTo>
                      <a:pt x="103" y="23"/>
                      <a:pt x="80" y="0"/>
                      <a:pt x="51" y="0"/>
                    </a:cubicBezTo>
                    <a:close/>
                    <a:moveTo>
                      <a:pt x="51" y="88"/>
                    </a:moveTo>
                    <a:cubicBezTo>
                      <a:pt x="31" y="88"/>
                      <a:pt x="15" y="72"/>
                      <a:pt x="15" y="52"/>
                    </a:cubicBezTo>
                    <a:cubicBezTo>
                      <a:pt x="15" y="32"/>
                      <a:pt x="31" y="15"/>
                      <a:pt x="51" y="15"/>
                    </a:cubicBezTo>
                    <a:cubicBezTo>
                      <a:pt x="71" y="15"/>
                      <a:pt x="88" y="32"/>
                      <a:pt x="88" y="52"/>
                    </a:cubicBezTo>
                    <a:cubicBezTo>
                      <a:pt x="88" y="72"/>
                      <a:pt x="71" y="88"/>
                      <a:pt x="51" y="88"/>
                    </a:cubicBezTo>
                    <a:close/>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5" name="Freeform 337">
                <a:extLst>
                  <a:ext uri="{FF2B5EF4-FFF2-40B4-BE49-F238E27FC236}">
                    <a16:creationId xmlns:a16="http://schemas.microsoft.com/office/drawing/2014/main" id="{66E508E1-082C-4483-81CB-7572FFBB0375}"/>
                  </a:ext>
                </a:extLst>
              </p:cNvPr>
              <p:cNvSpPr>
                <a:spLocks/>
              </p:cNvSpPr>
              <p:nvPr/>
            </p:nvSpPr>
            <p:spPr bwMode="auto">
              <a:xfrm>
                <a:off x="10274300" y="2049463"/>
                <a:ext cx="1038225" cy="1169988"/>
              </a:xfrm>
              <a:custGeom>
                <a:avLst/>
                <a:gdLst>
                  <a:gd name="T0" fmla="*/ 309 w 365"/>
                  <a:gd name="T1" fmla="*/ 132 h 411"/>
                  <a:gd name="T2" fmla="*/ 209 w 365"/>
                  <a:gd name="T3" fmla="*/ 5 h 411"/>
                  <a:gd name="T4" fmla="*/ 156 w 365"/>
                  <a:gd name="T5" fmla="*/ 5 h 411"/>
                  <a:gd name="T6" fmla="*/ 56 w 365"/>
                  <a:gd name="T7" fmla="*/ 132 h 411"/>
                  <a:gd name="T8" fmla="*/ 56 w 365"/>
                  <a:gd name="T9" fmla="*/ 376 h 411"/>
                  <a:gd name="T10" fmla="*/ 182 w 365"/>
                  <a:gd name="T11" fmla="*/ 411 h 411"/>
                  <a:gd name="T12" fmla="*/ 309 w 365"/>
                  <a:gd name="T13" fmla="*/ 376 h 411"/>
                  <a:gd name="T14" fmla="*/ 309 w 365"/>
                  <a:gd name="T15" fmla="*/ 132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411">
                    <a:moveTo>
                      <a:pt x="309" y="132"/>
                    </a:moveTo>
                    <a:cubicBezTo>
                      <a:pt x="293" y="55"/>
                      <a:pt x="242" y="19"/>
                      <a:pt x="209" y="5"/>
                    </a:cubicBezTo>
                    <a:cubicBezTo>
                      <a:pt x="198" y="1"/>
                      <a:pt x="169" y="0"/>
                      <a:pt x="156" y="5"/>
                    </a:cubicBezTo>
                    <a:cubicBezTo>
                      <a:pt x="124" y="20"/>
                      <a:pt x="71" y="55"/>
                      <a:pt x="56" y="132"/>
                    </a:cubicBezTo>
                    <a:cubicBezTo>
                      <a:pt x="34" y="245"/>
                      <a:pt x="0" y="326"/>
                      <a:pt x="56" y="376"/>
                    </a:cubicBezTo>
                    <a:cubicBezTo>
                      <a:pt x="95" y="411"/>
                      <a:pt x="140" y="411"/>
                      <a:pt x="182" y="411"/>
                    </a:cubicBezTo>
                    <a:cubicBezTo>
                      <a:pt x="225" y="411"/>
                      <a:pt x="270" y="411"/>
                      <a:pt x="309" y="376"/>
                    </a:cubicBezTo>
                    <a:cubicBezTo>
                      <a:pt x="365" y="326"/>
                      <a:pt x="331" y="245"/>
                      <a:pt x="309" y="132"/>
                    </a:cubicBezTo>
                    <a:close/>
                  </a:path>
                </a:pathLst>
              </a:custGeom>
              <a:solidFill>
                <a:srgbClr val="2B5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6" name="Freeform 338">
                <a:extLst>
                  <a:ext uri="{FF2B5EF4-FFF2-40B4-BE49-F238E27FC236}">
                    <a16:creationId xmlns:a16="http://schemas.microsoft.com/office/drawing/2014/main" id="{EE2B509F-5201-478D-972F-272DF27AB86D}"/>
                  </a:ext>
                </a:extLst>
              </p:cNvPr>
              <p:cNvSpPr>
                <a:spLocks/>
              </p:cNvSpPr>
              <p:nvPr/>
            </p:nvSpPr>
            <p:spPr bwMode="auto">
              <a:xfrm>
                <a:off x="10367963" y="2078038"/>
                <a:ext cx="850900" cy="1119188"/>
              </a:xfrm>
              <a:custGeom>
                <a:avLst/>
                <a:gdLst>
                  <a:gd name="T0" fmla="*/ 147 w 299"/>
                  <a:gd name="T1" fmla="*/ 393 h 393"/>
                  <a:gd name="T2" fmla="*/ 85 w 299"/>
                  <a:gd name="T3" fmla="*/ 388 h 393"/>
                  <a:gd name="T4" fmla="*/ 28 w 299"/>
                  <a:gd name="T5" fmla="*/ 360 h 393"/>
                  <a:gd name="T6" fmla="*/ 0 w 299"/>
                  <a:gd name="T7" fmla="*/ 289 h 393"/>
                  <a:gd name="T8" fmla="*/ 18 w 299"/>
                  <a:gd name="T9" fmla="*/ 184 h 393"/>
                  <a:gd name="T10" fmla="*/ 31 w 299"/>
                  <a:gd name="T11" fmla="*/ 124 h 393"/>
                  <a:gd name="T12" fmla="*/ 126 w 299"/>
                  <a:gd name="T13" fmla="*/ 3 h 393"/>
                  <a:gd name="T14" fmla="*/ 148 w 299"/>
                  <a:gd name="T15" fmla="*/ 0 h 393"/>
                  <a:gd name="T16" fmla="*/ 173 w 299"/>
                  <a:gd name="T17" fmla="*/ 3 h 393"/>
                  <a:gd name="T18" fmla="*/ 268 w 299"/>
                  <a:gd name="T19" fmla="*/ 124 h 393"/>
                  <a:gd name="T20" fmla="*/ 281 w 299"/>
                  <a:gd name="T21" fmla="*/ 184 h 393"/>
                  <a:gd name="T22" fmla="*/ 299 w 299"/>
                  <a:gd name="T23" fmla="*/ 289 h 393"/>
                  <a:gd name="T24" fmla="*/ 271 w 299"/>
                  <a:gd name="T25" fmla="*/ 360 h 393"/>
                  <a:gd name="T26" fmla="*/ 214 w 299"/>
                  <a:gd name="T27" fmla="*/ 388 h 393"/>
                  <a:gd name="T28" fmla="*/ 152 w 299"/>
                  <a:gd name="T29" fmla="*/ 393 h 393"/>
                  <a:gd name="T30" fmla="*/ 147 w 299"/>
                  <a:gd name="T31" fmla="*/ 39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9" h="393">
                    <a:moveTo>
                      <a:pt x="147" y="393"/>
                    </a:moveTo>
                    <a:cubicBezTo>
                      <a:pt x="124" y="393"/>
                      <a:pt x="104" y="393"/>
                      <a:pt x="85" y="388"/>
                    </a:cubicBezTo>
                    <a:cubicBezTo>
                      <a:pt x="63" y="384"/>
                      <a:pt x="44" y="374"/>
                      <a:pt x="28" y="360"/>
                    </a:cubicBezTo>
                    <a:cubicBezTo>
                      <a:pt x="9" y="342"/>
                      <a:pt x="0" y="321"/>
                      <a:pt x="0" y="289"/>
                    </a:cubicBezTo>
                    <a:cubicBezTo>
                      <a:pt x="0" y="260"/>
                      <a:pt x="9" y="224"/>
                      <a:pt x="18" y="184"/>
                    </a:cubicBezTo>
                    <a:cubicBezTo>
                      <a:pt x="22" y="165"/>
                      <a:pt x="27" y="145"/>
                      <a:pt x="31" y="124"/>
                    </a:cubicBezTo>
                    <a:cubicBezTo>
                      <a:pt x="46" y="48"/>
                      <a:pt x="97" y="16"/>
                      <a:pt x="126" y="3"/>
                    </a:cubicBezTo>
                    <a:cubicBezTo>
                      <a:pt x="131" y="1"/>
                      <a:pt x="139" y="0"/>
                      <a:pt x="148" y="0"/>
                    </a:cubicBezTo>
                    <a:cubicBezTo>
                      <a:pt x="160" y="0"/>
                      <a:pt x="169" y="1"/>
                      <a:pt x="173" y="3"/>
                    </a:cubicBezTo>
                    <a:cubicBezTo>
                      <a:pt x="196" y="13"/>
                      <a:pt x="252" y="44"/>
                      <a:pt x="268" y="124"/>
                    </a:cubicBezTo>
                    <a:cubicBezTo>
                      <a:pt x="272" y="145"/>
                      <a:pt x="277" y="165"/>
                      <a:pt x="281" y="184"/>
                    </a:cubicBezTo>
                    <a:cubicBezTo>
                      <a:pt x="290" y="224"/>
                      <a:pt x="298" y="260"/>
                      <a:pt x="299" y="289"/>
                    </a:cubicBezTo>
                    <a:cubicBezTo>
                      <a:pt x="299" y="321"/>
                      <a:pt x="290" y="342"/>
                      <a:pt x="271" y="360"/>
                    </a:cubicBezTo>
                    <a:cubicBezTo>
                      <a:pt x="255" y="374"/>
                      <a:pt x="236" y="384"/>
                      <a:pt x="214" y="388"/>
                    </a:cubicBezTo>
                    <a:cubicBezTo>
                      <a:pt x="194" y="393"/>
                      <a:pt x="175" y="393"/>
                      <a:pt x="152" y="393"/>
                    </a:cubicBezTo>
                    <a:lnTo>
                      <a:pt x="147" y="393"/>
                    </a:lnTo>
                    <a:close/>
                  </a:path>
                </a:pathLst>
              </a:custGeom>
              <a:solidFill>
                <a:srgbClr val="176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7" name="Freeform 339">
                <a:extLst>
                  <a:ext uri="{FF2B5EF4-FFF2-40B4-BE49-F238E27FC236}">
                    <a16:creationId xmlns:a16="http://schemas.microsoft.com/office/drawing/2014/main" id="{6180FF0B-ED74-4A30-A67E-4A124952AD5C}"/>
                  </a:ext>
                </a:extLst>
              </p:cNvPr>
              <p:cNvSpPr>
                <a:spLocks noEditPoints="1"/>
              </p:cNvSpPr>
              <p:nvPr/>
            </p:nvSpPr>
            <p:spPr bwMode="auto">
              <a:xfrm>
                <a:off x="10382250" y="2089150"/>
                <a:ext cx="822325" cy="1096963"/>
              </a:xfrm>
              <a:custGeom>
                <a:avLst/>
                <a:gdLst>
                  <a:gd name="T0" fmla="*/ 147 w 289"/>
                  <a:gd name="T1" fmla="*/ 384 h 385"/>
                  <a:gd name="T2" fmla="*/ 129 w 289"/>
                  <a:gd name="T3" fmla="*/ 382 h 385"/>
                  <a:gd name="T4" fmla="*/ 117 w 289"/>
                  <a:gd name="T5" fmla="*/ 384 h 385"/>
                  <a:gd name="T6" fmla="*/ 180 w 289"/>
                  <a:gd name="T7" fmla="*/ 383 h 385"/>
                  <a:gd name="T8" fmla="*/ 185 w 289"/>
                  <a:gd name="T9" fmla="*/ 384 h 385"/>
                  <a:gd name="T10" fmla="*/ 86 w 289"/>
                  <a:gd name="T11" fmla="*/ 379 h 385"/>
                  <a:gd name="T12" fmla="*/ 80 w 289"/>
                  <a:gd name="T13" fmla="*/ 380 h 385"/>
                  <a:gd name="T14" fmla="*/ 215 w 289"/>
                  <a:gd name="T15" fmla="*/ 376 h 385"/>
                  <a:gd name="T16" fmla="*/ 69 w 289"/>
                  <a:gd name="T17" fmla="*/ 376 h 385"/>
                  <a:gd name="T18" fmla="*/ 56 w 289"/>
                  <a:gd name="T19" fmla="*/ 372 h 385"/>
                  <a:gd name="T20" fmla="*/ 239 w 289"/>
                  <a:gd name="T21" fmla="*/ 368 h 385"/>
                  <a:gd name="T22" fmla="*/ 244 w 289"/>
                  <a:gd name="T23" fmla="*/ 367 h 385"/>
                  <a:gd name="T24" fmla="*/ 30 w 289"/>
                  <a:gd name="T25" fmla="*/ 354 h 385"/>
                  <a:gd name="T26" fmla="*/ 255 w 289"/>
                  <a:gd name="T27" fmla="*/ 359 h 385"/>
                  <a:gd name="T28" fmla="*/ 263 w 289"/>
                  <a:gd name="T29" fmla="*/ 351 h 385"/>
                  <a:gd name="T30" fmla="*/ 15 w 289"/>
                  <a:gd name="T31" fmla="*/ 337 h 385"/>
                  <a:gd name="T32" fmla="*/ 11 w 289"/>
                  <a:gd name="T33" fmla="*/ 333 h 385"/>
                  <a:gd name="T34" fmla="*/ 282 w 289"/>
                  <a:gd name="T35" fmla="*/ 325 h 385"/>
                  <a:gd name="T36" fmla="*/ 283 w 289"/>
                  <a:gd name="T37" fmla="*/ 321 h 385"/>
                  <a:gd name="T38" fmla="*/ 2 w 289"/>
                  <a:gd name="T39" fmla="*/ 301 h 385"/>
                  <a:gd name="T40" fmla="*/ 286 w 289"/>
                  <a:gd name="T41" fmla="*/ 309 h 385"/>
                  <a:gd name="T42" fmla="*/ 287 w 289"/>
                  <a:gd name="T43" fmla="*/ 296 h 385"/>
                  <a:gd name="T44" fmla="*/ 2 w 289"/>
                  <a:gd name="T45" fmla="*/ 278 h 385"/>
                  <a:gd name="T46" fmla="*/ 1 w 289"/>
                  <a:gd name="T47" fmla="*/ 273 h 385"/>
                  <a:gd name="T48" fmla="*/ 288 w 289"/>
                  <a:gd name="T49" fmla="*/ 265 h 385"/>
                  <a:gd name="T50" fmla="*/ 286 w 289"/>
                  <a:gd name="T51" fmla="*/ 260 h 385"/>
                  <a:gd name="T52" fmla="*/ 6 w 289"/>
                  <a:gd name="T53" fmla="*/ 240 h 385"/>
                  <a:gd name="T54" fmla="*/ 284 w 289"/>
                  <a:gd name="T55" fmla="*/ 248 h 385"/>
                  <a:gd name="T56" fmla="*/ 280 w 289"/>
                  <a:gd name="T57" fmla="*/ 229 h 385"/>
                  <a:gd name="T58" fmla="*/ 10 w 289"/>
                  <a:gd name="T59" fmla="*/ 223 h 385"/>
                  <a:gd name="T60" fmla="*/ 10 w 289"/>
                  <a:gd name="T61" fmla="*/ 211 h 385"/>
                  <a:gd name="T62" fmla="*/ 278 w 289"/>
                  <a:gd name="T63" fmla="*/ 210 h 385"/>
                  <a:gd name="T64" fmla="*/ 275 w 289"/>
                  <a:gd name="T65" fmla="*/ 199 h 385"/>
                  <a:gd name="T66" fmla="*/ 18 w 289"/>
                  <a:gd name="T67" fmla="*/ 180 h 385"/>
                  <a:gd name="T68" fmla="*/ 20 w 289"/>
                  <a:gd name="T69" fmla="*/ 176 h 385"/>
                  <a:gd name="T70" fmla="*/ 267 w 289"/>
                  <a:gd name="T71" fmla="*/ 167 h 385"/>
                  <a:gd name="T72" fmla="*/ 22 w 289"/>
                  <a:gd name="T73" fmla="*/ 164 h 385"/>
                  <a:gd name="T74" fmla="*/ 24 w 289"/>
                  <a:gd name="T75" fmla="*/ 151 h 385"/>
                  <a:gd name="T76" fmla="*/ 265 w 289"/>
                  <a:gd name="T77" fmla="*/ 150 h 385"/>
                  <a:gd name="T78" fmla="*/ 260 w 289"/>
                  <a:gd name="T79" fmla="*/ 138 h 385"/>
                  <a:gd name="T80" fmla="*/ 32 w 289"/>
                  <a:gd name="T81" fmla="*/ 120 h 385"/>
                  <a:gd name="T82" fmla="*/ 259 w 289"/>
                  <a:gd name="T83" fmla="*/ 121 h 385"/>
                  <a:gd name="T84" fmla="*/ 256 w 289"/>
                  <a:gd name="T85" fmla="*/ 115 h 385"/>
                  <a:gd name="T86" fmla="*/ 38 w 289"/>
                  <a:gd name="T87" fmla="*/ 96 h 385"/>
                  <a:gd name="T88" fmla="*/ 40 w 289"/>
                  <a:gd name="T89" fmla="*/ 92 h 385"/>
                  <a:gd name="T90" fmla="*/ 246 w 289"/>
                  <a:gd name="T91" fmla="*/ 84 h 385"/>
                  <a:gd name="T92" fmla="*/ 46 w 289"/>
                  <a:gd name="T93" fmla="*/ 80 h 385"/>
                  <a:gd name="T94" fmla="*/ 49 w 289"/>
                  <a:gd name="T95" fmla="*/ 68 h 385"/>
                  <a:gd name="T96" fmla="*/ 239 w 289"/>
                  <a:gd name="T97" fmla="*/ 68 h 385"/>
                  <a:gd name="T98" fmla="*/ 232 w 289"/>
                  <a:gd name="T99" fmla="*/ 59 h 385"/>
                  <a:gd name="T100" fmla="*/ 69 w 289"/>
                  <a:gd name="T101" fmla="*/ 43 h 385"/>
                  <a:gd name="T102" fmla="*/ 224 w 289"/>
                  <a:gd name="T103" fmla="*/ 49 h 385"/>
                  <a:gd name="T104" fmla="*/ 211 w 289"/>
                  <a:gd name="T105" fmla="*/ 33 h 385"/>
                  <a:gd name="T106" fmla="*/ 82 w 289"/>
                  <a:gd name="T107" fmla="*/ 32 h 385"/>
                  <a:gd name="T108" fmla="*/ 90 w 289"/>
                  <a:gd name="T109" fmla="*/ 24 h 385"/>
                  <a:gd name="T110" fmla="*/ 193 w 289"/>
                  <a:gd name="T111" fmla="*/ 18 h 385"/>
                  <a:gd name="T112" fmla="*/ 101 w 289"/>
                  <a:gd name="T113" fmla="*/ 17 h 385"/>
                  <a:gd name="T114" fmla="*/ 111 w 289"/>
                  <a:gd name="T115" fmla="*/ 9 h 385"/>
                  <a:gd name="T116" fmla="*/ 178 w 289"/>
                  <a:gd name="T117" fmla="*/ 10 h 385"/>
                  <a:gd name="T118" fmla="*/ 165 w 289"/>
                  <a:gd name="T119" fmla="*/ 5 h 385"/>
                  <a:gd name="T120" fmla="*/ 146 w 289"/>
                  <a:gd name="T121" fmla="*/ 1 h 385"/>
                  <a:gd name="T122" fmla="*/ 141 w 289"/>
                  <a:gd name="T123" fmla="*/ 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9" h="385">
                    <a:moveTo>
                      <a:pt x="142" y="385"/>
                    </a:moveTo>
                    <a:cubicBezTo>
                      <a:pt x="142" y="385"/>
                      <a:pt x="142" y="385"/>
                      <a:pt x="142" y="385"/>
                    </a:cubicBezTo>
                    <a:cubicBezTo>
                      <a:pt x="140" y="385"/>
                      <a:pt x="137" y="385"/>
                      <a:pt x="135" y="385"/>
                    </a:cubicBezTo>
                    <a:cubicBezTo>
                      <a:pt x="135" y="385"/>
                      <a:pt x="134" y="384"/>
                      <a:pt x="134" y="383"/>
                    </a:cubicBezTo>
                    <a:cubicBezTo>
                      <a:pt x="134" y="383"/>
                      <a:pt x="135" y="382"/>
                      <a:pt x="135" y="382"/>
                    </a:cubicBezTo>
                    <a:cubicBezTo>
                      <a:pt x="138" y="382"/>
                      <a:pt x="140" y="382"/>
                      <a:pt x="142" y="382"/>
                    </a:cubicBezTo>
                    <a:cubicBezTo>
                      <a:pt x="142" y="382"/>
                      <a:pt x="142" y="382"/>
                      <a:pt x="142" y="382"/>
                    </a:cubicBezTo>
                    <a:cubicBezTo>
                      <a:pt x="142" y="382"/>
                      <a:pt x="143" y="383"/>
                      <a:pt x="143" y="384"/>
                    </a:cubicBezTo>
                    <a:cubicBezTo>
                      <a:pt x="143" y="384"/>
                      <a:pt x="142" y="385"/>
                      <a:pt x="142" y="385"/>
                    </a:cubicBezTo>
                    <a:close/>
                    <a:moveTo>
                      <a:pt x="148" y="385"/>
                    </a:moveTo>
                    <a:cubicBezTo>
                      <a:pt x="147" y="385"/>
                      <a:pt x="147" y="384"/>
                      <a:pt x="147" y="384"/>
                    </a:cubicBezTo>
                    <a:cubicBezTo>
                      <a:pt x="147" y="383"/>
                      <a:pt x="147" y="382"/>
                      <a:pt x="148" y="382"/>
                    </a:cubicBezTo>
                    <a:cubicBezTo>
                      <a:pt x="150" y="382"/>
                      <a:pt x="152" y="382"/>
                      <a:pt x="154" y="382"/>
                    </a:cubicBezTo>
                    <a:cubicBezTo>
                      <a:pt x="155" y="382"/>
                      <a:pt x="155" y="383"/>
                      <a:pt x="155" y="383"/>
                    </a:cubicBezTo>
                    <a:cubicBezTo>
                      <a:pt x="155" y="384"/>
                      <a:pt x="155" y="385"/>
                      <a:pt x="154" y="385"/>
                    </a:cubicBezTo>
                    <a:cubicBezTo>
                      <a:pt x="152" y="385"/>
                      <a:pt x="150" y="385"/>
                      <a:pt x="148" y="385"/>
                    </a:cubicBezTo>
                    <a:close/>
                    <a:moveTo>
                      <a:pt x="129" y="385"/>
                    </a:moveTo>
                    <a:cubicBezTo>
                      <a:pt x="129" y="385"/>
                      <a:pt x="129" y="385"/>
                      <a:pt x="129" y="385"/>
                    </a:cubicBezTo>
                    <a:cubicBezTo>
                      <a:pt x="127" y="385"/>
                      <a:pt x="125" y="385"/>
                      <a:pt x="123" y="385"/>
                    </a:cubicBezTo>
                    <a:cubicBezTo>
                      <a:pt x="122" y="385"/>
                      <a:pt x="122" y="384"/>
                      <a:pt x="122" y="383"/>
                    </a:cubicBezTo>
                    <a:cubicBezTo>
                      <a:pt x="122" y="383"/>
                      <a:pt x="122" y="382"/>
                      <a:pt x="123" y="382"/>
                    </a:cubicBezTo>
                    <a:cubicBezTo>
                      <a:pt x="125" y="382"/>
                      <a:pt x="127" y="382"/>
                      <a:pt x="129" y="382"/>
                    </a:cubicBezTo>
                    <a:cubicBezTo>
                      <a:pt x="130" y="382"/>
                      <a:pt x="130" y="383"/>
                      <a:pt x="130" y="383"/>
                    </a:cubicBezTo>
                    <a:cubicBezTo>
                      <a:pt x="130" y="384"/>
                      <a:pt x="130" y="385"/>
                      <a:pt x="129" y="385"/>
                    </a:cubicBezTo>
                    <a:close/>
                    <a:moveTo>
                      <a:pt x="160" y="385"/>
                    </a:moveTo>
                    <a:cubicBezTo>
                      <a:pt x="160" y="385"/>
                      <a:pt x="159" y="384"/>
                      <a:pt x="159" y="383"/>
                    </a:cubicBezTo>
                    <a:cubicBezTo>
                      <a:pt x="159" y="383"/>
                      <a:pt x="160" y="382"/>
                      <a:pt x="160" y="382"/>
                    </a:cubicBezTo>
                    <a:cubicBezTo>
                      <a:pt x="162" y="382"/>
                      <a:pt x="164" y="382"/>
                      <a:pt x="166" y="382"/>
                    </a:cubicBezTo>
                    <a:cubicBezTo>
                      <a:pt x="167" y="382"/>
                      <a:pt x="168" y="383"/>
                      <a:pt x="168" y="383"/>
                    </a:cubicBezTo>
                    <a:cubicBezTo>
                      <a:pt x="168" y="384"/>
                      <a:pt x="167" y="384"/>
                      <a:pt x="167" y="385"/>
                    </a:cubicBezTo>
                    <a:cubicBezTo>
                      <a:pt x="164" y="385"/>
                      <a:pt x="162" y="385"/>
                      <a:pt x="160" y="385"/>
                    </a:cubicBezTo>
                    <a:close/>
                    <a:moveTo>
                      <a:pt x="117" y="384"/>
                    </a:moveTo>
                    <a:cubicBezTo>
                      <a:pt x="117" y="384"/>
                      <a:pt x="117" y="384"/>
                      <a:pt x="117" y="384"/>
                    </a:cubicBezTo>
                    <a:cubicBezTo>
                      <a:pt x="115" y="384"/>
                      <a:pt x="113" y="384"/>
                      <a:pt x="111" y="384"/>
                    </a:cubicBezTo>
                    <a:cubicBezTo>
                      <a:pt x="110" y="384"/>
                      <a:pt x="110" y="383"/>
                      <a:pt x="110" y="383"/>
                    </a:cubicBezTo>
                    <a:cubicBezTo>
                      <a:pt x="110" y="382"/>
                      <a:pt x="110" y="382"/>
                      <a:pt x="111" y="382"/>
                    </a:cubicBezTo>
                    <a:cubicBezTo>
                      <a:pt x="113" y="382"/>
                      <a:pt x="115" y="382"/>
                      <a:pt x="117" y="382"/>
                    </a:cubicBezTo>
                    <a:cubicBezTo>
                      <a:pt x="118" y="382"/>
                      <a:pt x="118" y="383"/>
                      <a:pt x="118" y="383"/>
                    </a:cubicBezTo>
                    <a:cubicBezTo>
                      <a:pt x="118" y="384"/>
                      <a:pt x="118" y="384"/>
                      <a:pt x="117" y="384"/>
                    </a:cubicBezTo>
                    <a:close/>
                    <a:moveTo>
                      <a:pt x="173" y="384"/>
                    </a:moveTo>
                    <a:cubicBezTo>
                      <a:pt x="172" y="384"/>
                      <a:pt x="172" y="384"/>
                      <a:pt x="172" y="383"/>
                    </a:cubicBezTo>
                    <a:cubicBezTo>
                      <a:pt x="171" y="383"/>
                      <a:pt x="172" y="382"/>
                      <a:pt x="173" y="382"/>
                    </a:cubicBezTo>
                    <a:cubicBezTo>
                      <a:pt x="175" y="382"/>
                      <a:pt x="177" y="382"/>
                      <a:pt x="179" y="382"/>
                    </a:cubicBezTo>
                    <a:cubicBezTo>
                      <a:pt x="179" y="382"/>
                      <a:pt x="180" y="382"/>
                      <a:pt x="180" y="383"/>
                    </a:cubicBezTo>
                    <a:cubicBezTo>
                      <a:pt x="180" y="383"/>
                      <a:pt x="180" y="384"/>
                      <a:pt x="179" y="384"/>
                    </a:cubicBezTo>
                    <a:cubicBezTo>
                      <a:pt x="177" y="384"/>
                      <a:pt x="175" y="384"/>
                      <a:pt x="173" y="384"/>
                    </a:cubicBezTo>
                    <a:close/>
                    <a:moveTo>
                      <a:pt x="105" y="384"/>
                    </a:moveTo>
                    <a:cubicBezTo>
                      <a:pt x="105" y="384"/>
                      <a:pt x="105" y="384"/>
                      <a:pt x="105" y="384"/>
                    </a:cubicBezTo>
                    <a:cubicBezTo>
                      <a:pt x="102" y="383"/>
                      <a:pt x="100" y="383"/>
                      <a:pt x="98" y="383"/>
                    </a:cubicBezTo>
                    <a:cubicBezTo>
                      <a:pt x="98" y="383"/>
                      <a:pt x="97" y="382"/>
                      <a:pt x="97" y="382"/>
                    </a:cubicBezTo>
                    <a:cubicBezTo>
                      <a:pt x="97" y="381"/>
                      <a:pt x="98" y="381"/>
                      <a:pt x="99" y="381"/>
                    </a:cubicBezTo>
                    <a:cubicBezTo>
                      <a:pt x="101" y="381"/>
                      <a:pt x="103" y="381"/>
                      <a:pt x="105" y="381"/>
                    </a:cubicBezTo>
                    <a:cubicBezTo>
                      <a:pt x="105" y="381"/>
                      <a:pt x="106" y="382"/>
                      <a:pt x="106" y="383"/>
                    </a:cubicBezTo>
                    <a:cubicBezTo>
                      <a:pt x="106" y="383"/>
                      <a:pt x="105" y="384"/>
                      <a:pt x="105" y="384"/>
                    </a:cubicBezTo>
                    <a:close/>
                    <a:moveTo>
                      <a:pt x="185" y="384"/>
                    </a:moveTo>
                    <a:cubicBezTo>
                      <a:pt x="184" y="384"/>
                      <a:pt x="184" y="383"/>
                      <a:pt x="184" y="383"/>
                    </a:cubicBezTo>
                    <a:cubicBezTo>
                      <a:pt x="184" y="382"/>
                      <a:pt x="184" y="381"/>
                      <a:pt x="185" y="381"/>
                    </a:cubicBezTo>
                    <a:cubicBezTo>
                      <a:pt x="187" y="381"/>
                      <a:pt x="189" y="381"/>
                      <a:pt x="191" y="381"/>
                    </a:cubicBezTo>
                    <a:cubicBezTo>
                      <a:pt x="192" y="381"/>
                      <a:pt x="192" y="381"/>
                      <a:pt x="192" y="382"/>
                    </a:cubicBezTo>
                    <a:cubicBezTo>
                      <a:pt x="192" y="382"/>
                      <a:pt x="192" y="383"/>
                      <a:pt x="191" y="383"/>
                    </a:cubicBezTo>
                    <a:cubicBezTo>
                      <a:pt x="189" y="383"/>
                      <a:pt x="187" y="383"/>
                      <a:pt x="185" y="384"/>
                    </a:cubicBezTo>
                    <a:close/>
                    <a:moveTo>
                      <a:pt x="92" y="382"/>
                    </a:moveTo>
                    <a:cubicBezTo>
                      <a:pt x="92" y="382"/>
                      <a:pt x="92" y="382"/>
                      <a:pt x="92" y="382"/>
                    </a:cubicBezTo>
                    <a:cubicBezTo>
                      <a:pt x="90" y="382"/>
                      <a:pt x="88" y="382"/>
                      <a:pt x="86" y="381"/>
                    </a:cubicBezTo>
                    <a:cubicBezTo>
                      <a:pt x="85" y="381"/>
                      <a:pt x="85" y="381"/>
                      <a:pt x="85" y="380"/>
                    </a:cubicBezTo>
                    <a:cubicBezTo>
                      <a:pt x="85" y="379"/>
                      <a:pt x="86" y="379"/>
                      <a:pt x="86" y="379"/>
                    </a:cubicBezTo>
                    <a:cubicBezTo>
                      <a:pt x="88" y="379"/>
                      <a:pt x="91" y="380"/>
                      <a:pt x="93" y="380"/>
                    </a:cubicBezTo>
                    <a:cubicBezTo>
                      <a:pt x="93" y="380"/>
                      <a:pt x="94" y="381"/>
                      <a:pt x="94" y="381"/>
                    </a:cubicBezTo>
                    <a:cubicBezTo>
                      <a:pt x="93" y="382"/>
                      <a:pt x="93" y="382"/>
                      <a:pt x="92" y="382"/>
                    </a:cubicBezTo>
                    <a:close/>
                    <a:moveTo>
                      <a:pt x="197" y="382"/>
                    </a:moveTo>
                    <a:cubicBezTo>
                      <a:pt x="197" y="382"/>
                      <a:pt x="196" y="382"/>
                      <a:pt x="196" y="381"/>
                    </a:cubicBezTo>
                    <a:cubicBezTo>
                      <a:pt x="196" y="381"/>
                      <a:pt x="196" y="380"/>
                      <a:pt x="197" y="380"/>
                    </a:cubicBezTo>
                    <a:cubicBezTo>
                      <a:pt x="199" y="380"/>
                      <a:pt x="201" y="379"/>
                      <a:pt x="203" y="379"/>
                    </a:cubicBezTo>
                    <a:cubicBezTo>
                      <a:pt x="204" y="379"/>
                      <a:pt x="204" y="379"/>
                      <a:pt x="204" y="380"/>
                    </a:cubicBezTo>
                    <a:cubicBezTo>
                      <a:pt x="205" y="380"/>
                      <a:pt x="204" y="381"/>
                      <a:pt x="204" y="381"/>
                    </a:cubicBezTo>
                    <a:cubicBezTo>
                      <a:pt x="202" y="382"/>
                      <a:pt x="199" y="382"/>
                      <a:pt x="197" y="382"/>
                    </a:cubicBezTo>
                    <a:close/>
                    <a:moveTo>
                      <a:pt x="80" y="380"/>
                    </a:moveTo>
                    <a:cubicBezTo>
                      <a:pt x="80" y="380"/>
                      <a:pt x="80" y="380"/>
                      <a:pt x="80" y="380"/>
                    </a:cubicBezTo>
                    <a:cubicBezTo>
                      <a:pt x="78" y="380"/>
                      <a:pt x="76" y="379"/>
                      <a:pt x="74" y="379"/>
                    </a:cubicBezTo>
                    <a:cubicBezTo>
                      <a:pt x="73" y="378"/>
                      <a:pt x="73" y="378"/>
                      <a:pt x="73" y="377"/>
                    </a:cubicBezTo>
                    <a:cubicBezTo>
                      <a:pt x="73" y="377"/>
                      <a:pt x="74" y="376"/>
                      <a:pt x="75" y="376"/>
                    </a:cubicBezTo>
                    <a:cubicBezTo>
                      <a:pt x="76" y="377"/>
                      <a:pt x="78" y="377"/>
                      <a:pt x="80" y="378"/>
                    </a:cubicBezTo>
                    <a:cubicBezTo>
                      <a:pt x="81" y="378"/>
                      <a:pt x="81" y="379"/>
                      <a:pt x="81" y="379"/>
                    </a:cubicBezTo>
                    <a:cubicBezTo>
                      <a:pt x="81" y="380"/>
                      <a:pt x="81" y="380"/>
                      <a:pt x="80" y="380"/>
                    </a:cubicBezTo>
                    <a:close/>
                    <a:moveTo>
                      <a:pt x="209" y="380"/>
                    </a:moveTo>
                    <a:cubicBezTo>
                      <a:pt x="209" y="380"/>
                      <a:pt x="208" y="380"/>
                      <a:pt x="208" y="379"/>
                    </a:cubicBezTo>
                    <a:cubicBezTo>
                      <a:pt x="208" y="378"/>
                      <a:pt x="208" y="378"/>
                      <a:pt x="209" y="378"/>
                    </a:cubicBezTo>
                    <a:cubicBezTo>
                      <a:pt x="211" y="377"/>
                      <a:pt x="213" y="377"/>
                      <a:pt x="215" y="376"/>
                    </a:cubicBezTo>
                    <a:cubicBezTo>
                      <a:pt x="216" y="376"/>
                      <a:pt x="216" y="376"/>
                      <a:pt x="216" y="377"/>
                    </a:cubicBezTo>
                    <a:cubicBezTo>
                      <a:pt x="217" y="378"/>
                      <a:pt x="216" y="378"/>
                      <a:pt x="216" y="378"/>
                    </a:cubicBezTo>
                    <a:cubicBezTo>
                      <a:pt x="214" y="379"/>
                      <a:pt x="212" y="379"/>
                      <a:pt x="210" y="380"/>
                    </a:cubicBezTo>
                    <a:lnTo>
                      <a:pt x="209" y="380"/>
                    </a:lnTo>
                    <a:close/>
                    <a:moveTo>
                      <a:pt x="68" y="377"/>
                    </a:moveTo>
                    <a:cubicBezTo>
                      <a:pt x="68" y="377"/>
                      <a:pt x="68" y="377"/>
                      <a:pt x="68" y="377"/>
                    </a:cubicBezTo>
                    <a:cubicBezTo>
                      <a:pt x="66" y="376"/>
                      <a:pt x="64" y="376"/>
                      <a:pt x="62" y="375"/>
                    </a:cubicBezTo>
                    <a:cubicBezTo>
                      <a:pt x="62" y="375"/>
                      <a:pt x="61" y="374"/>
                      <a:pt x="61" y="373"/>
                    </a:cubicBezTo>
                    <a:cubicBezTo>
                      <a:pt x="62" y="373"/>
                      <a:pt x="62" y="372"/>
                      <a:pt x="63" y="373"/>
                    </a:cubicBezTo>
                    <a:cubicBezTo>
                      <a:pt x="65" y="373"/>
                      <a:pt x="67" y="374"/>
                      <a:pt x="69" y="375"/>
                    </a:cubicBezTo>
                    <a:cubicBezTo>
                      <a:pt x="69" y="375"/>
                      <a:pt x="70" y="375"/>
                      <a:pt x="69" y="376"/>
                    </a:cubicBezTo>
                    <a:cubicBezTo>
                      <a:pt x="69" y="377"/>
                      <a:pt x="69" y="377"/>
                      <a:pt x="68" y="377"/>
                    </a:cubicBezTo>
                    <a:close/>
                    <a:moveTo>
                      <a:pt x="221" y="377"/>
                    </a:moveTo>
                    <a:cubicBezTo>
                      <a:pt x="221" y="377"/>
                      <a:pt x="220" y="376"/>
                      <a:pt x="220" y="376"/>
                    </a:cubicBezTo>
                    <a:cubicBezTo>
                      <a:pt x="220" y="375"/>
                      <a:pt x="220" y="375"/>
                      <a:pt x="221" y="374"/>
                    </a:cubicBezTo>
                    <a:cubicBezTo>
                      <a:pt x="223" y="374"/>
                      <a:pt x="225" y="373"/>
                      <a:pt x="227" y="372"/>
                    </a:cubicBezTo>
                    <a:cubicBezTo>
                      <a:pt x="227" y="372"/>
                      <a:pt x="228" y="372"/>
                      <a:pt x="228" y="373"/>
                    </a:cubicBezTo>
                    <a:cubicBezTo>
                      <a:pt x="228" y="374"/>
                      <a:pt x="228" y="374"/>
                      <a:pt x="227" y="375"/>
                    </a:cubicBezTo>
                    <a:cubicBezTo>
                      <a:pt x="226" y="375"/>
                      <a:pt x="224" y="376"/>
                      <a:pt x="222" y="377"/>
                    </a:cubicBezTo>
                    <a:lnTo>
                      <a:pt x="221" y="377"/>
                    </a:lnTo>
                    <a:close/>
                    <a:moveTo>
                      <a:pt x="57" y="373"/>
                    </a:moveTo>
                    <a:cubicBezTo>
                      <a:pt x="56" y="372"/>
                      <a:pt x="56" y="372"/>
                      <a:pt x="56" y="372"/>
                    </a:cubicBezTo>
                    <a:cubicBezTo>
                      <a:pt x="54" y="372"/>
                      <a:pt x="53" y="371"/>
                      <a:pt x="51" y="370"/>
                    </a:cubicBezTo>
                    <a:cubicBezTo>
                      <a:pt x="50" y="369"/>
                      <a:pt x="50" y="369"/>
                      <a:pt x="50" y="368"/>
                    </a:cubicBezTo>
                    <a:cubicBezTo>
                      <a:pt x="50" y="368"/>
                      <a:pt x="51" y="367"/>
                      <a:pt x="52" y="368"/>
                    </a:cubicBezTo>
                    <a:cubicBezTo>
                      <a:pt x="54" y="369"/>
                      <a:pt x="55" y="369"/>
                      <a:pt x="57" y="370"/>
                    </a:cubicBezTo>
                    <a:cubicBezTo>
                      <a:pt x="58" y="371"/>
                      <a:pt x="58" y="371"/>
                      <a:pt x="58" y="372"/>
                    </a:cubicBezTo>
                    <a:cubicBezTo>
                      <a:pt x="58" y="372"/>
                      <a:pt x="57" y="373"/>
                      <a:pt x="57" y="373"/>
                    </a:cubicBezTo>
                    <a:close/>
                    <a:moveTo>
                      <a:pt x="233" y="372"/>
                    </a:moveTo>
                    <a:cubicBezTo>
                      <a:pt x="232" y="372"/>
                      <a:pt x="232" y="372"/>
                      <a:pt x="232" y="372"/>
                    </a:cubicBezTo>
                    <a:cubicBezTo>
                      <a:pt x="231" y="371"/>
                      <a:pt x="232" y="370"/>
                      <a:pt x="232" y="370"/>
                    </a:cubicBezTo>
                    <a:cubicBezTo>
                      <a:pt x="234" y="369"/>
                      <a:pt x="236" y="368"/>
                      <a:pt x="238" y="367"/>
                    </a:cubicBezTo>
                    <a:cubicBezTo>
                      <a:pt x="238" y="367"/>
                      <a:pt x="239" y="367"/>
                      <a:pt x="239" y="368"/>
                    </a:cubicBezTo>
                    <a:cubicBezTo>
                      <a:pt x="240" y="368"/>
                      <a:pt x="239" y="369"/>
                      <a:pt x="239" y="369"/>
                    </a:cubicBezTo>
                    <a:cubicBezTo>
                      <a:pt x="237" y="370"/>
                      <a:pt x="235" y="371"/>
                      <a:pt x="233" y="372"/>
                    </a:cubicBezTo>
                    <a:close/>
                    <a:moveTo>
                      <a:pt x="46" y="367"/>
                    </a:moveTo>
                    <a:cubicBezTo>
                      <a:pt x="45" y="367"/>
                      <a:pt x="45" y="367"/>
                      <a:pt x="45" y="367"/>
                    </a:cubicBezTo>
                    <a:cubicBezTo>
                      <a:pt x="43" y="366"/>
                      <a:pt x="42" y="365"/>
                      <a:pt x="40" y="363"/>
                    </a:cubicBezTo>
                    <a:cubicBezTo>
                      <a:pt x="39" y="363"/>
                      <a:pt x="39" y="362"/>
                      <a:pt x="40" y="362"/>
                    </a:cubicBezTo>
                    <a:cubicBezTo>
                      <a:pt x="40" y="361"/>
                      <a:pt x="41" y="361"/>
                      <a:pt x="41" y="362"/>
                    </a:cubicBezTo>
                    <a:cubicBezTo>
                      <a:pt x="43" y="363"/>
                      <a:pt x="45" y="364"/>
                      <a:pt x="46" y="365"/>
                    </a:cubicBezTo>
                    <a:cubicBezTo>
                      <a:pt x="47" y="365"/>
                      <a:pt x="47" y="366"/>
                      <a:pt x="47" y="366"/>
                    </a:cubicBezTo>
                    <a:cubicBezTo>
                      <a:pt x="47" y="367"/>
                      <a:pt x="46" y="367"/>
                      <a:pt x="46" y="367"/>
                    </a:cubicBezTo>
                    <a:close/>
                    <a:moveTo>
                      <a:pt x="244" y="367"/>
                    </a:moveTo>
                    <a:cubicBezTo>
                      <a:pt x="243" y="367"/>
                      <a:pt x="243" y="366"/>
                      <a:pt x="243" y="366"/>
                    </a:cubicBezTo>
                    <a:cubicBezTo>
                      <a:pt x="242" y="365"/>
                      <a:pt x="243" y="365"/>
                      <a:pt x="243" y="364"/>
                    </a:cubicBezTo>
                    <a:cubicBezTo>
                      <a:pt x="245" y="363"/>
                      <a:pt x="247" y="362"/>
                      <a:pt x="248" y="361"/>
                    </a:cubicBezTo>
                    <a:cubicBezTo>
                      <a:pt x="249" y="361"/>
                      <a:pt x="250" y="361"/>
                      <a:pt x="250" y="361"/>
                    </a:cubicBezTo>
                    <a:cubicBezTo>
                      <a:pt x="250" y="362"/>
                      <a:pt x="250" y="363"/>
                      <a:pt x="250" y="363"/>
                    </a:cubicBezTo>
                    <a:cubicBezTo>
                      <a:pt x="248" y="364"/>
                      <a:pt x="246" y="365"/>
                      <a:pt x="244" y="366"/>
                    </a:cubicBezTo>
                    <a:lnTo>
                      <a:pt x="244" y="367"/>
                    </a:lnTo>
                    <a:close/>
                    <a:moveTo>
                      <a:pt x="35" y="360"/>
                    </a:moveTo>
                    <a:cubicBezTo>
                      <a:pt x="35" y="360"/>
                      <a:pt x="35" y="360"/>
                      <a:pt x="35" y="360"/>
                    </a:cubicBezTo>
                    <a:cubicBezTo>
                      <a:pt x="33" y="359"/>
                      <a:pt x="32" y="357"/>
                      <a:pt x="30" y="356"/>
                    </a:cubicBezTo>
                    <a:cubicBezTo>
                      <a:pt x="29" y="356"/>
                      <a:pt x="29" y="355"/>
                      <a:pt x="30" y="354"/>
                    </a:cubicBezTo>
                    <a:cubicBezTo>
                      <a:pt x="30" y="354"/>
                      <a:pt x="31" y="354"/>
                      <a:pt x="31" y="354"/>
                    </a:cubicBezTo>
                    <a:cubicBezTo>
                      <a:pt x="33" y="356"/>
                      <a:pt x="35" y="357"/>
                      <a:pt x="36" y="358"/>
                    </a:cubicBezTo>
                    <a:cubicBezTo>
                      <a:pt x="37" y="358"/>
                      <a:pt x="37" y="359"/>
                      <a:pt x="36" y="360"/>
                    </a:cubicBezTo>
                    <a:lnTo>
                      <a:pt x="35" y="360"/>
                    </a:lnTo>
                    <a:close/>
                    <a:moveTo>
                      <a:pt x="254" y="360"/>
                    </a:moveTo>
                    <a:cubicBezTo>
                      <a:pt x="253" y="359"/>
                      <a:pt x="253" y="359"/>
                      <a:pt x="253" y="359"/>
                    </a:cubicBezTo>
                    <a:cubicBezTo>
                      <a:pt x="253" y="359"/>
                      <a:pt x="253" y="358"/>
                      <a:pt x="253" y="358"/>
                    </a:cubicBezTo>
                    <a:cubicBezTo>
                      <a:pt x="255" y="356"/>
                      <a:pt x="257" y="355"/>
                      <a:pt x="258" y="354"/>
                    </a:cubicBezTo>
                    <a:cubicBezTo>
                      <a:pt x="259" y="353"/>
                      <a:pt x="259" y="353"/>
                      <a:pt x="260" y="354"/>
                    </a:cubicBezTo>
                    <a:cubicBezTo>
                      <a:pt x="260" y="354"/>
                      <a:pt x="260" y="355"/>
                      <a:pt x="260" y="356"/>
                    </a:cubicBezTo>
                    <a:cubicBezTo>
                      <a:pt x="258" y="357"/>
                      <a:pt x="256" y="358"/>
                      <a:pt x="255" y="359"/>
                    </a:cubicBezTo>
                    <a:lnTo>
                      <a:pt x="254" y="360"/>
                    </a:lnTo>
                    <a:close/>
                    <a:moveTo>
                      <a:pt x="26" y="352"/>
                    </a:moveTo>
                    <a:cubicBezTo>
                      <a:pt x="25" y="352"/>
                      <a:pt x="25" y="352"/>
                      <a:pt x="25" y="352"/>
                    </a:cubicBezTo>
                    <a:cubicBezTo>
                      <a:pt x="24" y="351"/>
                      <a:pt x="22" y="349"/>
                      <a:pt x="21" y="348"/>
                    </a:cubicBezTo>
                    <a:cubicBezTo>
                      <a:pt x="20" y="347"/>
                      <a:pt x="20" y="346"/>
                      <a:pt x="21" y="346"/>
                    </a:cubicBezTo>
                    <a:cubicBezTo>
                      <a:pt x="21" y="346"/>
                      <a:pt x="22" y="346"/>
                      <a:pt x="22" y="346"/>
                    </a:cubicBezTo>
                    <a:cubicBezTo>
                      <a:pt x="24" y="348"/>
                      <a:pt x="25" y="349"/>
                      <a:pt x="27" y="350"/>
                    </a:cubicBezTo>
                    <a:cubicBezTo>
                      <a:pt x="27" y="351"/>
                      <a:pt x="27" y="351"/>
                      <a:pt x="27" y="352"/>
                    </a:cubicBezTo>
                    <a:lnTo>
                      <a:pt x="26" y="352"/>
                    </a:lnTo>
                    <a:close/>
                    <a:moveTo>
                      <a:pt x="263" y="352"/>
                    </a:moveTo>
                    <a:cubicBezTo>
                      <a:pt x="263" y="351"/>
                      <a:pt x="263" y="351"/>
                      <a:pt x="263" y="351"/>
                    </a:cubicBezTo>
                    <a:cubicBezTo>
                      <a:pt x="262" y="351"/>
                      <a:pt x="262" y="350"/>
                      <a:pt x="263" y="350"/>
                    </a:cubicBezTo>
                    <a:cubicBezTo>
                      <a:pt x="264" y="348"/>
                      <a:pt x="266" y="347"/>
                      <a:pt x="267" y="346"/>
                    </a:cubicBezTo>
                    <a:cubicBezTo>
                      <a:pt x="267" y="345"/>
                      <a:pt x="268" y="345"/>
                      <a:pt x="269" y="345"/>
                    </a:cubicBezTo>
                    <a:cubicBezTo>
                      <a:pt x="269" y="346"/>
                      <a:pt x="269" y="347"/>
                      <a:pt x="269" y="347"/>
                    </a:cubicBezTo>
                    <a:cubicBezTo>
                      <a:pt x="267" y="349"/>
                      <a:pt x="266" y="350"/>
                      <a:pt x="264" y="352"/>
                    </a:cubicBezTo>
                    <a:lnTo>
                      <a:pt x="263" y="352"/>
                    </a:lnTo>
                    <a:close/>
                    <a:moveTo>
                      <a:pt x="18" y="343"/>
                    </a:moveTo>
                    <a:cubicBezTo>
                      <a:pt x="17" y="343"/>
                      <a:pt x="17" y="343"/>
                      <a:pt x="17" y="343"/>
                    </a:cubicBezTo>
                    <a:cubicBezTo>
                      <a:pt x="15" y="341"/>
                      <a:pt x="14" y="340"/>
                      <a:pt x="13" y="338"/>
                    </a:cubicBezTo>
                    <a:cubicBezTo>
                      <a:pt x="13" y="337"/>
                      <a:pt x="13" y="337"/>
                      <a:pt x="13" y="336"/>
                    </a:cubicBezTo>
                    <a:cubicBezTo>
                      <a:pt x="14" y="336"/>
                      <a:pt x="14" y="336"/>
                      <a:pt x="15" y="337"/>
                    </a:cubicBezTo>
                    <a:cubicBezTo>
                      <a:pt x="16" y="338"/>
                      <a:pt x="17" y="340"/>
                      <a:pt x="18" y="341"/>
                    </a:cubicBezTo>
                    <a:cubicBezTo>
                      <a:pt x="19" y="342"/>
                      <a:pt x="19" y="343"/>
                      <a:pt x="18" y="343"/>
                    </a:cubicBezTo>
                    <a:close/>
                    <a:moveTo>
                      <a:pt x="272" y="343"/>
                    </a:moveTo>
                    <a:cubicBezTo>
                      <a:pt x="271" y="343"/>
                      <a:pt x="271" y="343"/>
                      <a:pt x="271" y="343"/>
                    </a:cubicBezTo>
                    <a:cubicBezTo>
                      <a:pt x="271" y="342"/>
                      <a:pt x="270" y="341"/>
                      <a:pt x="271" y="341"/>
                    </a:cubicBezTo>
                    <a:cubicBezTo>
                      <a:pt x="272" y="339"/>
                      <a:pt x="273" y="338"/>
                      <a:pt x="274" y="336"/>
                    </a:cubicBezTo>
                    <a:cubicBezTo>
                      <a:pt x="275" y="335"/>
                      <a:pt x="275" y="335"/>
                      <a:pt x="276" y="336"/>
                    </a:cubicBezTo>
                    <a:cubicBezTo>
                      <a:pt x="277" y="336"/>
                      <a:pt x="277" y="337"/>
                      <a:pt x="276" y="337"/>
                    </a:cubicBezTo>
                    <a:cubicBezTo>
                      <a:pt x="275" y="339"/>
                      <a:pt x="274" y="341"/>
                      <a:pt x="273" y="342"/>
                    </a:cubicBezTo>
                    <a:cubicBezTo>
                      <a:pt x="272" y="343"/>
                      <a:pt x="272" y="343"/>
                      <a:pt x="272" y="343"/>
                    </a:cubicBezTo>
                    <a:close/>
                    <a:moveTo>
                      <a:pt x="11" y="333"/>
                    </a:moveTo>
                    <a:cubicBezTo>
                      <a:pt x="10" y="333"/>
                      <a:pt x="10" y="333"/>
                      <a:pt x="10" y="333"/>
                    </a:cubicBezTo>
                    <a:cubicBezTo>
                      <a:pt x="9" y="331"/>
                      <a:pt x="8" y="329"/>
                      <a:pt x="7" y="327"/>
                    </a:cubicBezTo>
                    <a:cubicBezTo>
                      <a:pt x="7" y="326"/>
                      <a:pt x="7" y="326"/>
                      <a:pt x="7" y="325"/>
                    </a:cubicBezTo>
                    <a:cubicBezTo>
                      <a:pt x="8" y="325"/>
                      <a:pt x="9" y="325"/>
                      <a:pt x="9" y="326"/>
                    </a:cubicBezTo>
                    <a:cubicBezTo>
                      <a:pt x="10" y="328"/>
                      <a:pt x="11" y="330"/>
                      <a:pt x="12" y="331"/>
                    </a:cubicBezTo>
                    <a:cubicBezTo>
                      <a:pt x="12" y="332"/>
                      <a:pt x="12" y="333"/>
                      <a:pt x="11" y="333"/>
                    </a:cubicBezTo>
                    <a:close/>
                    <a:moveTo>
                      <a:pt x="279" y="332"/>
                    </a:moveTo>
                    <a:cubicBezTo>
                      <a:pt x="278" y="332"/>
                      <a:pt x="278" y="332"/>
                      <a:pt x="278" y="332"/>
                    </a:cubicBezTo>
                    <a:cubicBezTo>
                      <a:pt x="277" y="332"/>
                      <a:pt x="277" y="331"/>
                      <a:pt x="278" y="331"/>
                    </a:cubicBezTo>
                    <a:cubicBezTo>
                      <a:pt x="278" y="329"/>
                      <a:pt x="279" y="327"/>
                      <a:pt x="280" y="325"/>
                    </a:cubicBezTo>
                    <a:cubicBezTo>
                      <a:pt x="280" y="325"/>
                      <a:pt x="281" y="324"/>
                      <a:pt x="282" y="325"/>
                    </a:cubicBezTo>
                    <a:cubicBezTo>
                      <a:pt x="282" y="325"/>
                      <a:pt x="283" y="326"/>
                      <a:pt x="282" y="326"/>
                    </a:cubicBezTo>
                    <a:cubicBezTo>
                      <a:pt x="281" y="328"/>
                      <a:pt x="281" y="330"/>
                      <a:pt x="280" y="332"/>
                    </a:cubicBezTo>
                    <a:cubicBezTo>
                      <a:pt x="279" y="332"/>
                      <a:pt x="279" y="332"/>
                      <a:pt x="279" y="332"/>
                    </a:cubicBezTo>
                    <a:close/>
                    <a:moveTo>
                      <a:pt x="6" y="322"/>
                    </a:moveTo>
                    <a:cubicBezTo>
                      <a:pt x="5" y="322"/>
                      <a:pt x="5" y="322"/>
                      <a:pt x="5" y="321"/>
                    </a:cubicBezTo>
                    <a:cubicBezTo>
                      <a:pt x="4" y="319"/>
                      <a:pt x="3" y="317"/>
                      <a:pt x="3" y="315"/>
                    </a:cubicBezTo>
                    <a:cubicBezTo>
                      <a:pt x="3" y="314"/>
                      <a:pt x="3" y="314"/>
                      <a:pt x="4" y="314"/>
                    </a:cubicBezTo>
                    <a:cubicBezTo>
                      <a:pt x="4" y="313"/>
                      <a:pt x="5" y="314"/>
                      <a:pt x="5" y="314"/>
                    </a:cubicBezTo>
                    <a:cubicBezTo>
                      <a:pt x="6" y="316"/>
                      <a:pt x="6" y="318"/>
                      <a:pt x="7" y="320"/>
                    </a:cubicBezTo>
                    <a:cubicBezTo>
                      <a:pt x="7" y="321"/>
                      <a:pt x="7" y="322"/>
                      <a:pt x="6" y="322"/>
                    </a:cubicBezTo>
                    <a:close/>
                    <a:moveTo>
                      <a:pt x="283" y="321"/>
                    </a:moveTo>
                    <a:cubicBezTo>
                      <a:pt x="283" y="321"/>
                      <a:pt x="283" y="321"/>
                      <a:pt x="283" y="321"/>
                    </a:cubicBezTo>
                    <a:cubicBezTo>
                      <a:pt x="282" y="321"/>
                      <a:pt x="282" y="320"/>
                      <a:pt x="282" y="320"/>
                    </a:cubicBezTo>
                    <a:cubicBezTo>
                      <a:pt x="283" y="318"/>
                      <a:pt x="283" y="316"/>
                      <a:pt x="284" y="314"/>
                    </a:cubicBezTo>
                    <a:cubicBezTo>
                      <a:pt x="284" y="313"/>
                      <a:pt x="285" y="313"/>
                      <a:pt x="285" y="313"/>
                    </a:cubicBezTo>
                    <a:cubicBezTo>
                      <a:pt x="286" y="313"/>
                      <a:pt x="286" y="314"/>
                      <a:pt x="286" y="314"/>
                    </a:cubicBezTo>
                    <a:cubicBezTo>
                      <a:pt x="286" y="316"/>
                      <a:pt x="285" y="318"/>
                      <a:pt x="284" y="320"/>
                    </a:cubicBezTo>
                    <a:cubicBezTo>
                      <a:pt x="284" y="321"/>
                      <a:pt x="284" y="321"/>
                      <a:pt x="283" y="321"/>
                    </a:cubicBezTo>
                    <a:close/>
                    <a:moveTo>
                      <a:pt x="3" y="310"/>
                    </a:moveTo>
                    <a:cubicBezTo>
                      <a:pt x="2" y="310"/>
                      <a:pt x="2" y="310"/>
                      <a:pt x="1" y="309"/>
                    </a:cubicBezTo>
                    <a:cubicBezTo>
                      <a:pt x="1" y="307"/>
                      <a:pt x="1" y="305"/>
                      <a:pt x="1" y="303"/>
                    </a:cubicBezTo>
                    <a:cubicBezTo>
                      <a:pt x="0" y="302"/>
                      <a:pt x="1" y="302"/>
                      <a:pt x="2" y="301"/>
                    </a:cubicBezTo>
                    <a:cubicBezTo>
                      <a:pt x="2" y="301"/>
                      <a:pt x="3" y="302"/>
                      <a:pt x="3" y="303"/>
                    </a:cubicBezTo>
                    <a:cubicBezTo>
                      <a:pt x="3" y="305"/>
                      <a:pt x="3" y="307"/>
                      <a:pt x="4" y="309"/>
                    </a:cubicBezTo>
                    <a:cubicBezTo>
                      <a:pt x="4" y="309"/>
                      <a:pt x="3" y="310"/>
                      <a:pt x="3" y="310"/>
                    </a:cubicBezTo>
                    <a:close/>
                    <a:moveTo>
                      <a:pt x="286" y="309"/>
                    </a:moveTo>
                    <a:cubicBezTo>
                      <a:pt x="286" y="309"/>
                      <a:pt x="286" y="309"/>
                      <a:pt x="286" y="309"/>
                    </a:cubicBezTo>
                    <a:cubicBezTo>
                      <a:pt x="286" y="309"/>
                      <a:pt x="285" y="308"/>
                      <a:pt x="285" y="308"/>
                    </a:cubicBezTo>
                    <a:cubicBezTo>
                      <a:pt x="286" y="306"/>
                      <a:pt x="286" y="304"/>
                      <a:pt x="286" y="302"/>
                    </a:cubicBezTo>
                    <a:cubicBezTo>
                      <a:pt x="286" y="301"/>
                      <a:pt x="287" y="301"/>
                      <a:pt x="287" y="301"/>
                    </a:cubicBezTo>
                    <a:cubicBezTo>
                      <a:pt x="288" y="301"/>
                      <a:pt x="289" y="301"/>
                      <a:pt x="288" y="302"/>
                    </a:cubicBezTo>
                    <a:cubicBezTo>
                      <a:pt x="288" y="304"/>
                      <a:pt x="288" y="306"/>
                      <a:pt x="288" y="308"/>
                    </a:cubicBezTo>
                    <a:cubicBezTo>
                      <a:pt x="287" y="309"/>
                      <a:pt x="287" y="309"/>
                      <a:pt x="286" y="309"/>
                    </a:cubicBezTo>
                    <a:close/>
                    <a:moveTo>
                      <a:pt x="1" y="298"/>
                    </a:moveTo>
                    <a:cubicBezTo>
                      <a:pt x="0" y="298"/>
                      <a:pt x="0" y="297"/>
                      <a:pt x="0" y="297"/>
                    </a:cubicBezTo>
                    <a:cubicBezTo>
                      <a:pt x="0" y="295"/>
                      <a:pt x="0" y="292"/>
                      <a:pt x="0" y="290"/>
                    </a:cubicBezTo>
                    <a:cubicBezTo>
                      <a:pt x="0" y="290"/>
                      <a:pt x="0" y="289"/>
                      <a:pt x="1" y="289"/>
                    </a:cubicBezTo>
                    <a:cubicBezTo>
                      <a:pt x="1" y="289"/>
                      <a:pt x="1" y="289"/>
                      <a:pt x="1" y="289"/>
                    </a:cubicBezTo>
                    <a:cubicBezTo>
                      <a:pt x="1" y="289"/>
                      <a:pt x="2" y="290"/>
                      <a:pt x="2" y="290"/>
                    </a:cubicBezTo>
                    <a:cubicBezTo>
                      <a:pt x="2" y="292"/>
                      <a:pt x="2" y="294"/>
                      <a:pt x="2" y="296"/>
                    </a:cubicBezTo>
                    <a:cubicBezTo>
                      <a:pt x="2" y="297"/>
                      <a:pt x="2" y="298"/>
                      <a:pt x="1" y="298"/>
                    </a:cubicBezTo>
                    <a:close/>
                    <a:moveTo>
                      <a:pt x="288" y="297"/>
                    </a:moveTo>
                    <a:cubicBezTo>
                      <a:pt x="288" y="297"/>
                      <a:pt x="288" y="297"/>
                      <a:pt x="288" y="297"/>
                    </a:cubicBezTo>
                    <a:cubicBezTo>
                      <a:pt x="287" y="297"/>
                      <a:pt x="287" y="296"/>
                      <a:pt x="287" y="296"/>
                    </a:cubicBezTo>
                    <a:cubicBezTo>
                      <a:pt x="287" y="294"/>
                      <a:pt x="287" y="292"/>
                      <a:pt x="287" y="290"/>
                    </a:cubicBezTo>
                    <a:cubicBezTo>
                      <a:pt x="287" y="289"/>
                      <a:pt x="288" y="288"/>
                      <a:pt x="288" y="288"/>
                    </a:cubicBezTo>
                    <a:cubicBezTo>
                      <a:pt x="289" y="288"/>
                      <a:pt x="289" y="289"/>
                      <a:pt x="289" y="290"/>
                    </a:cubicBezTo>
                    <a:cubicBezTo>
                      <a:pt x="289" y="292"/>
                      <a:pt x="289" y="294"/>
                      <a:pt x="289" y="296"/>
                    </a:cubicBezTo>
                    <a:cubicBezTo>
                      <a:pt x="289" y="296"/>
                      <a:pt x="288" y="297"/>
                      <a:pt x="288" y="297"/>
                    </a:cubicBezTo>
                    <a:close/>
                    <a:moveTo>
                      <a:pt x="1" y="285"/>
                    </a:moveTo>
                    <a:cubicBezTo>
                      <a:pt x="1" y="285"/>
                      <a:pt x="1" y="285"/>
                      <a:pt x="1" y="285"/>
                    </a:cubicBezTo>
                    <a:cubicBezTo>
                      <a:pt x="0" y="285"/>
                      <a:pt x="0" y="285"/>
                      <a:pt x="0" y="284"/>
                    </a:cubicBezTo>
                    <a:cubicBezTo>
                      <a:pt x="0" y="282"/>
                      <a:pt x="0" y="280"/>
                      <a:pt x="0" y="278"/>
                    </a:cubicBezTo>
                    <a:cubicBezTo>
                      <a:pt x="0" y="277"/>
                      <a:pt x="0" y="277"/>
                      <a:pt x="1" y="277"/>
                    </a:cubicBezTo>
                    <a:cubicBezTo>
                      <a:pt x="2" y="277"/>
                      <a:pt x="2" y="277"/>
                      <a:pt x="2" y="278"/>
                    </a:cubicBezTo>
                    <a:cubicBezTo>
                      <a:pt x="2" y="280"/>
                      <a:pt x="2" y="282"/>
                      <a:pt x="2" y="284"/>
                    </a:cubicBezTo>
                    <a:cubicBezTo>
                      <a:pt x="2" y="285"/>
                      <a:pt x="1" y="285"/>
                      <a:pt x="1" y="285"/>
                    </a:cubicBezTo>
                    <a:close/>
                    <a:moveTo>
                      <a:pt x="288" y="285"/>
                    </a:moveTo>
                    <a:cubicBezTo>
                      <a:pt x="287" y="285"/>
                      <a:pt x="287" y="284"/>
                      <a:pt x="287" y="283"/>
                    </a:cubicBezTo>
                    <a:cubicBezTo>
                      <a:pt x="287" y="281"/>
                      <a:pt x="287" y="279"/>
                      <a:pt x="287" y="277"/>
                    </a:cubicBezTo>
                    <a:cubicBezTo>
                      <a:pt x="287" y="277"/>
                      <a:pt x="287" y="276"/>
                      <a:pt x="288" y="276"/>
                    </a:cubicBezTo>
                    <a:cubicBezTo>
                      <a:pt x="289" y="276"/>
                      <a:pt x="289" y="277"/>
                      <a:pt x="289" y="277"/>
                    </a:cubicBezTo>
                    <a:cubicBezTo>
                      <a:pt x="289" y="279"/>
                      <a:pt x="289" y="281"/>
                      <a:pt x="289" y="283"/>
                    </a:cubicBezTo>
                    <a:cubicBezTo>
                      <a:pt x="289" y="284"/>
                      <a:pt x="289" y="285"/>
                      <a:pt x="288" y="285"/>
                    </a:cubicBezTo>
                    <a:close/>
                    <a:moveTo>
                      <a:pt x="1" y="273"/>
                    </a:moveTo>
                    <a:cubicBezTo>
                      <a:pt x="1" y="273"/>
                      <a:pt x="1" y="273"/>
                      <a:pt x="1" y="273"/>
                    </a:cubicBezTo>
                    <a:cubicBezTo>
                      <a:pt x="1" y="273"/>
                      <a:pt x="0" y="272"/>
                      <a:pt x="0" y="272"/>
                    </a:cubicBezTo>
                    <a:cubicBezTo>
                      <a:pt x="0" y="270"/>
                      <a:pt x="0" y="268"/>
                      <a:pt x="1" y="266"/>
                    </a:cubicBezTo>
                    <a:cubicBezTo>
                      <a:pt x="1" y="265"/>
                      <a:pt x="1" y="265"/>
                      <a:pt x="2" y="265"/>
                    </a:cubicBezTo>
                    <a:cubicBezTo>
                      <a:pt x="3" y="265"/>
                      <a:pt x="3" y="265"/>
                      <a:pt x="3" y="266"/>
                    </a:cubicBezTo>
                    <a:cubicBezTo>
                      <a:pt x="3" y="268"/>
                      <a:pt x="3" y="270"/>
                      <a:pt x="2" y="272"/>
                    </a:cubicBezTo>
                    <a:cubicBezTo>
                      <a:pt x="2" y="273"/>
                      <a:pt x="2" y="273"/>
                      <a:pt x="1" y="273"/>
                    </a:cubicBezTo>
                    <a:close/>
                    <a:moveTo>
                      <a:pt x="288" y="272"/>
                    </a:moveTo>
                    <a:cubicBezTo>
                      <a:pt x="287" y="272"/>
                      <a:pt x="286" y="272"/>
                      <a:pt x="286" y="271"/>
                    </a:cubicBezTo>
                    <a:cubicBezTo>
                      <a:pt x="286" y="269"/>
                      <a:pt x="286" y="267"/>
                      <a:pt x="286" y="265"/>
                    </a:cubicBezTo>
                    <a:cubicBezTo>
                      <a:pt x="286" y="264"/>
                      <a:pt x="286" y="264"/>
                      <a:pt x="287" y="264"/>
                    </a:cubicBezTo>
                    <a:cubicBezTo>
                      <a:pt x="287" y="264"/>
                      <a:pt x="288" y="264"/>
                      <a:pt x="288" y="265"/>
                    </a:cubicBezTo>
                    <a:cubicBezTo>
                      <a:pt x="288" y="267"/>
                      <a:pt x="289" y="269"/>
                      <a:pt x="289" y="271"/>
                    </a:cubicBezTo>
                    <a:cubicBezTo>
                      <a:pt x="289" y="272"/>
                      <a:pt x="288" y="272"/>
                      <a:pt x="288" y="272"/>
                    </a:cubicBezTo>
                    <a:close/>
                    <a:moveTo>
                      <a:pt x="3" y="261"/>
                    </a:moveTo>
                    <a:cubicBezTo>
                      <a:pt x="2" y="261"/>
                      <a:pt x="2" y="261"/>
                      <a:pt x="2" y="261"/>
                    </a:cubicBezTo>
                    <a:cubicBezTo>
                      <a:pt x="2" y="261"/>
                      <a:pt x="1" y="260"/>
                      <a:pt x="1" y="259"/>
                    </a:cubicBezTo>
                    <a:cubicBezTo>
                      <a:pt x="2" y="257"/>
                      <a:pt x="2" y="255"/>
                      <a:pt x="2" y="253"/>
                    </a:cubicBezTo>
                    <a:cubicBezTo>
                      <a:pt x="2" y="253"/>
                      <a:pt x="3" y="252"/>
                      <a:pt x="4" y="252"/>
                    </a:cubicBezTo>
                    <a:cubicBezTo>
                      <a:pt x="4" y="252"/>
                      <a:pt x="5" y="253"/>
                      <a:pt x="5" y="254"/>
                    </a:cubicBezTo>
                    <a:cubicBezTo>
                      <a:pt x="4" y="256"/>
                      <a:pt x="4" y="258"/>
                      <a:pt x="4" y="260"/>
                    </a:cubicBezTo>
                    <a:cubicBezTo>
                      <a:pt x="4" y="260"/>
                      <a:pt x="3" y="261"/>
                      <a:pt x="3" y="261"/>
                    </a:cubicBezTo>
                    <a:close/>
                    <a:moveTo>
                      <a:pt x="286" y="260"/>
                    </a:moveTo>
                    <a:cubicBezTo>
                      <a:pt x="286" y="260"/>
                      <a:pt x="285" y="260"/>
                      <a:pt x="285" y="259"/>
                    </a:cubicBezTo>
                    <a:cubicBezTo>
                      <a:pt x="285" y="257"/>
                      <a:pt x="285" y="255"/>
                      <a:pt x="284" y="253"/>
                    </a:cubicBezTo>
                    <a:cubicBezTo>
                      <a:pt x="284" y="252"/>
                      <a:pt x="285" y="252"/>
                      <a:pt x="285" y="252"/>
                    </a:cubicBezTo>
                    <a:cubicBezTo>
                      <a:pt x="286" y="252"/>
                      <a:pt x="286" y="252"/>
                      <a:pt x="287" y="253"/>
                    </a:cubicBezTo>
                    <a:cubicBezTo>
                      <a:pt x="287" y="255"/>
                      <a:pt x="287" y="257"/>
                      <a:pt x="287" y="259"/>
                    </a:cubicBezTo>
                    <a:cubicBezTo>
                      <a:pt x="287" y="259"/>
                      <a:pt x="287" y="260"/>
                      <a:pt x="286" y="260"/>
                    </a:cubicBezTo>
                    <a:close/>
                    <a:moveTo>
                      <a:pt x="4" y="249"/>
                    </a:moveTo>
                    <a:cubicBezTo>
                      <a:pt x="4" y="249"/>
                      <a:pt x="4" y="249"/>
                      <a:pt x="4" y="249"/>
                    </a:cubicBezTo>
                    <a:cubicBezTo>
                      <a:pt x="3" y="248"/>
                      <a:pt x="3" y="248"/>
                      <a:pt x="3" y="247"/>
                    </a:cubicBezTo>
                    <a:cubicBezTo>
                      <a:pt x="3" y="245"/>
                      <a:pt x="4" y="243"/>
                      <a:pt x="4" y="241"/>
                    </a:cubicBezTo>
                    <a:cubicBezTo>
                      <a:pt x="4" y="240"/>
                      <a:pt x="5" y="240"/>
                      <a:pt x="6" y="240"/>
                    </a:cubicBezTo>
                    <a:cubicBezTo>
                      <a:pt x="6" y="240"/>
                      <a:pt x="7" y="241"/>
                      <a:pt x="6" y="241"/>
                    </a:cubicBezTo>
                    <a:cubicBezTo>
                      <a:pt x="6" y="244"/>
                      <a:pt x="6" y="246"/>
                      <a:pt x="5" y="248"/>
                    </a:cubicBezTo>
                    <a:cubicBezTo>
                      <a:pt x="5" y="248"/>
                      <a:pt x="5" y="249"/>
                      <a:pt x="4" y="249"/>
                    </a:cubicBezTo>
                    <a:close/>
                    <a:moveTo>
                      <a:pt x="284" y="248"/>
                    </a:moveTo>
                    <a:cubicBezTo>
                      <a:pt x="284" y="248"/>
                      <a:pt x="283" y="247"/>
                      <a:pt x="283" y="247"/>
                    </a:cubicBezTo>
                    <a:cubicBezTo>
                      <a:pt x="283" y="245"/>
                      <a:pt x="283" y="243"/>
                      <a:pt x="282" y="241"/>
                    </a:cubicBezTo>
                    <a:cubicBezTo>
                      <a:pt x="282" y="240"/>
                      <a:pt x="283" y="240"/>
                      <a:pt x="283" y="239"/>
                    </a:cubicBezTo>
                    <a:cubicBezTo>
                      <a:pt x="284" y="239"/>
                      <a:pt x="284" y="240"/>
                      <a:pt x="285" y="240"/>
                    </a:cubicBezTo>
                    <a:cubicBezTo>
                      <a:pt x="285" y="242"/>
                      <a:pt x="285" y="244"/>
                      <a:pt x="286" y="246"/>
                    </a:cubicBezTo>
                    <a:cubicBezTo>
                      <a:pt x="286" y="247"/>
                      <a:pt x="285" y="248"/>
                      <a:pt x="285" y="248"/>
                    </a:cubicBezTo>
                    <a:lnTo>
                      <a:pt x="284" y="248"/>
                    </a:lnTo>
                    <a:close/>
                    <a:moveTo>
                      <a:pt x="6" y="236"/>
                    </a:moveTo>
                    <a:cubicBezTo>
                      <a:pt x="6" y="236"/>
                      <a:pt x="6" y="236"/>
                      <a:pt x="6" y="236"/>
                    </a:cubicBezTo>
                    <a:cubicBezTo>
                      <a:pt x="6" y="236"/>
                      <a:pt x="5" y="236"/>
                      <a:pt x="5" y="235"/>
                    </a:cubicBezTo>
                    <a:cubicBezTo>
                      <a:pt x="6" y="233"/>
                      <a:pt x="6" y="231"/>
                      <a:pt x="6" y="229"/>
                    </a:cubicBezTo>
                    <a:cubicBezTo>
                      <a:pt x="7" y="228"/>
                      <a:pt x="7" y="228"/>
                      <a:pt x="8" y="228"/>
                    </a:cubicBezTo>
                    <a:cubicBezTo>
                      <a:pt x="8" y="228"/>
                      <a:pt x="9" y="229"/>
                      <a:pt x="9" y="229"/>
                    </a:cubicBezTo>
                    <a:cubicBezTo>
                      <a:pt x="8" y="231"/>
                      <a:pt x="8" y="233"/>
                      <a:pt x="8" y="235"/>
                    </a:cubicBezTo>
                    <a:cubicBezTo>
                      <a:pt x="7" y="236"/>
                      <a:pt x="7" y="236"/>
                      <a:pt x="6" y="236"/>
                    </a:cubicBezTo>
                    <a:close/>
                    <a:moveTo>
                      <a:pt x="282" y="236"/>
                    </a:moveTo>
                    <a:cubicBezTo>
                      <a:pt x="282" y="236"/>
                      <a:pt x="281" y="235"/>
                      <a:pt x="281" y="235"/>
                    </a:cubicBezTo>
                    <a:cubicBezTo>
                      <a:pt x="281" y="233"/>
                      <a:pt x="280" y="231"/>
                      <a:pt x="280" y="229"/>
                    </a:cubicBezTo>
                    <a:cubicBezTo>
                      <a:pt x="280" y="228"/>
                      <a:pt x="280" y="227"/>
                      <a:pt x="281" y="227"/>
                    </a:cubicBezTo>
                    <a:cubicBezTo>
                      <a:pt x="282" y="227"/>
                      <a:pt x="282" y="228"/>
                      <a:pt x="282" y="228"/>
                    </a:cubicBezTo>
                    <a:cubicBezTo>
                      <a:pt x="283" y="230"/>
                      <a:pt x="283" y="232"/>
                      <a:pt x="283" y="234"/>
                    </a:cubicBezTo>
                    <a:cubicBezTo>
                      <a:pt x="284" y="235"/>
                      <a:pt x="283" y="236"/>
                      <a:pt x="282" y="236"/>
                    </a:cubicBezTo>
                    <a:close/>
                    <a:moveTo>
                      <a:pt x="9" y="224"/>
                    </a:moveTo>
                    <a:cubicBezTo>
                      <a:pt x="9" y="224"/>
                      <a:pt x="9" y="224"/>
                      <a:pt x="9" y="224"/>
                    </a:cubicBezTo>
                    <a:cubicBezTo>
                      <a:pt x="8" y="224"/>
                      <a:pt x="8" y="224"/>
                      <a:pt x="8" y="223"/>
                    </a:cubicBezTo>
                    <a:cubicBezTo>
                      <a:pt x="8" y="221"/>
                      <a:pt x="9" y="219"/>
                      <a:pt x="9" y="217"/>
                    </a:cubicBezTo>
                    <a:cubicBezTo>
                      <a:pt x="9" y="216"/>
                      <a:pt x="10" y="216"/>
                      <a:pt x="10" y="216"/>
                    </a:cubicBezTo>
                    <a:cubicBezTo>
                      <a:pt x="11" y="216"/>
                      <a:pt x="11" y="217"/>
                      <a:pt x="11" y="217"/>
                    </a:cubicBezTo>
                    <a:cubicBezTo>
                      <a:pt x="11" y="219"/>
                      <a:pt x="10" y="221"/>
                      <a:pt x="10" y="223"/>
                    </a:cubicBezTo>
                    <a:cubicBezTo>
                      <a:pt x="10" y="224"/>
                      <a:pt x="9" y="224"/>
                      <a:pt x="9" y="224"/>
                    </a:cubicBezTo>
                    <a:close/>
                    <a:moveTo>
                      <a:pt x="280" y="224"/>
                    </a:moveTo>
                    <a:cubicBezTo>
                      <a:pt x="279" y="224"/>
                      <a:pt x="279" y="223"/>
                      <a:pt x="279" y="223"/>
                    </a:cubicBezTo>
                    <a:cubicBezTo>
                      <a:pt x="278" y="221"/>
                      <a:pt x="278" y="219"/>
                      <a:pt x="277" y="217"/>
                    </a:cubicBezTo>
                    <a:cubicBezTo>
                      <a:pt x="277" y="216"/>
                      <a:pt x="278" y="215"/>
                      <a:pt x="278" y="215"/>
                    </a:cubicBezTo>
                    <a:cubicBezTo>
                      <a:pt x="279" y="215"/>
                      <a:pt x="280" y="215"/>
                      <a:pt x="280" y="216"/>
                    </a:cubicBezTo>
                    <a:cubicBezTo>
                      <a:pt x="280" y="218"/>
                      <a:pt x="281" y="220"/>
                      <a:pt x="281" y="222"/>
                    </a:cubicBezTo>
                    <a:cubicBezTo>
                      <a:pt x="281" y="223"/>
                      <a:pt x="281" y="223"/>
                      <a:pt x="280" y="224"/>
                    </a:cubicBezTo>
                    <a:close/>
                    <a:moveTo>
                      <a:pt x="11" y="212"/>
                    </a:moveTo>
                    <a:cubicBezTo>
                      <a:pt x="11" y="212"/>
                      <a:pt x="11" y="212"/>
                      <a:pt x="11" y="212"/>
                    </a:cubicBezTo>
                    <a:cubicBezTo>
                      <a:pt x="10" y="212"/>
                      <a:pt x="10" y="211"/>
                      <a:pt x="10" y="211"/>
                    </a:cubicBezTo>
                    <a:cubicBezTo>
                      <a:pt x="11" y="209"/>
                      <a:pt x="11" y="207"/>
                      <a:pt x="12" y="205"/>
                    </a:cubicBezTo>
                    <a:cubicBezTo>
                      <a:pt x="12" y="204"/>
                      <a:pt x="12" y="204"/>
                      <a:pt x="13" y="204"/>
                    </a:cubicBezTo>
                    <a:cubicBezTo>
                      <a:pt x="14" y="204"/>
                      <a:pt x="14" y="205"/>
                      <a:pt x="14" y="205"/>
                    </a:cubicBezTo>
                    <a:cubicBezTo>
                      <a:pt x="13" y="207"/>
                      <a:pt x="13" y="209"/>
                      <a:pt x="13" y="211"/>
                    </a:cubicBezTo>
                    <a:cubicBezTo>
                      <a:pt x="12" y="212"/>
                      <a:pt x="12" y="212"/>
                      <a:pt x="11" y="212"/>
                    </a:cubicBezTo>
                    <a:close/>
                    <a:moveTo>
                      <a:pt x="277" y="211"/>
                    </a:moveTo>
                    <a:cubicBezTo>
                      <a:pt x="277" y="211"/>
                      <a:pt x="276" y="211"/>
                      <a:pt x="276" y="211"/>
                    </a:cubicBezTo>
                    <a:cubicBezTo>
                      <a:pt x="276" y="209"/>
                      <a:pt x="275" y="207"/>
                      <a:pt x="275" y="205"/>
                    </a:cubicBezTo>
                    <a:cubicBezTo>
                      <a:pt x="275" y="204"/>
                      <a:pt x="275" y="203"/>
                      <a:pt x="276" y="203"/>
                    </a:cubicBezTo>
                    <a:cubicBezTo>
                      <a:pt x="276" y="203"/>
                      <a:pt x="277" y="203"/>
                      <a:pt x="277" y="204"/>
                    </a:cubicBezTo>
                    <a:cubicBezTo>
                      <a:pt x="278" y="206"/>
                      <a:pt x="278" y="208"/>
                      <a:pt x="278" y="210"/>
                    </a:cubicBezTo>
                    <a:cubicBezTo>
                      <a:pt x="279" y="211"/>
                      <a:pt x="278" y="211"/>
                      <a:pt x="278" y="211"/>
                    </a:cubicBezTo>
                    <a:lnTo>
                      <a:pt x="277" y="211"/>
                    </a:lnTo>
                    <a:close/>
                    <a:moveTo>
                      <a:pt x="14" y="200"/>
                    </a:moveTo>
                    <a:cubicBezTo>
                      <a:pt x="14" y="200"/>
                      <a:pt x="14" y="200"/>
                      <a:pt x="14" y="200"/>
                    </a:cubicBezTo>
                    <a:cubicBezTo>
                      <a:pt x="13" y="200"/>
                      <a:pt x="13" y="199"/>
                      <a:pt x="13" y="199"/>
                    </a:cubicBezTo>
                    <a:cubicBezTo>
                      <a:pt x="13" y="197"/>
                      <a:pt x="14" y="195"/>
                      <a:pt x="14" y="193"/>
                    </a:cubicBezTo>
                    <a:cubicBezTo>
                      <a:pt x="14" y="192"/>
                      <a:pt x="15" y="192"/>
                      <a:pt x="16" y="192"/>
                    </a:cubicBezTo>
                    <a:cubicBezTo>
                      <a:pt x="16" y="192"/>
                      <a:pt x="17" y="193"/>
                      <a:pt x="17" y="193"/>
                    </a:cubicBezTo>
                    <a:cubicBezTo>
                      <a:pt x="16" y="195"/>
                      <a:pt x="16" y="197"/>
                      <a:pt x="15" y="199"/>
                    </a:cubicBezTo>
                    <a:cubicBezTo>
                      <a:pt x="15" y="200"/>
                      <a:pt x="15" y="200"/>
                      <a:pt x="14" y="200"/>
                    </a:cubicBezTo>
                    <a:close/>
                    <a:moveTo>
                      <a:pt x="275" y="199"/>
                    </a:moveTo>
                    <a:cubicBezTo>
                      <a:pt x="274" y="199"/>
                      <a:pt x="274" y="199"/>
                      <a:pt x="274" y="199"/>
                    </a:cubicBezTo>
                    <a:cubicBezTo>
                      <a:pt x="273" y="197"/>
                      <a:pt x="273" y="195"/>
                      <a:pt x="272" y="193"/>
                    </a:cubicBezTo>
                    <a:cubicBezTo>
                      <a:pt x="272" y="192"/>
                      <a:pt x="272" y="191"/>
                      <a:pt x="273" y="191"/>
                    </a:cubicBezTo>
                    <a:cubicBezTo>
                      <a:pt x="274" y="191"/>
                      <a:pt x="274" y="191"/>
                      <a:pt x="274" y="192"/>
                    </a:cubicBezTo>
                    <a:cubicBezTo>
                      <a:pt x="275" y="194"/>
                      <a:pt x="275" y="196"/>
                      <a:pt x="276" y="198"/>
                    </a:cubicBezTo>
                    <a:cubicBezTo>
                      <a:pt x="276" y="199"/>
                      <a:pt x="275" y="199"/>
                      <a:pt x="275" y="199"/>
                    </a:cubicBezTo>
                    <a:close/>
                    <a:moveTo>
                      <a:pt x="17" y="188"/>
                    </a:moveTo>
                    <a:cubicBezTo>
                      <a:pt x="17" y="188"/>
                      <a:pt x="17" y="188"/>
                      <a:pt x="17" y="188"/>
                    </a:cubicBezTo>
                    <a:cubicBezTo>
                      <a:pt x="16" y="188"/>
                      <a:pt x="16" y="187"/>
                      <a:pt x="16" y="187"/>
                    </a:cubicBezTo>
                    <a:cubicBezTo>
                      <a:pt x="17" y="181"/>
                      <a:pt x="17" y="181"/>
                      <a:pt x="17" y="181"/>
                    </a:cubicBezTo>
                    <a:cubicBezTo>
                      <a:pt x="17" y="180"/>
                      <a:pt x="18" y="180"/>
                      <a:pt x="18" y="180"/>
                    </a:cubicBezTo>
                    <a:cubicBezTo>
                      <a:pt x="19" y="180"/>
                      <a:pt x="19" y="181"/>
                      <a:pt x="19" y="181"/>
                    </a:cubicBezTo>
                    <a:cubicBezTo>
                      <a:pt x="18" y="187"/>
                      <a:pt x="18" y="187"/>
                      <a:pt x="18" y="187"/>
                    </a:cubicBezTo>
                    <a:cubicBezTo>
                      <a:pt x="18" y="188"/>
                      <a:pt x="17" y="188"/>
                      <a:pt x="17" y="188"/>
                    </a:cubicBezTo>
                    <a:close/>
                    <a:moveTo>
                      <a:pt x="272" y="187"/>
                    </a:moveTo>
                    <a:cubicBezTo>
                      <a:pt x="271" y="187"/>
                      <a:pt x="271" y="187"/>
                      <a:pt x="271" y="187"/>
                    </a:cubicBezTo>
                    <a:cubicBezTo>
                      <a:pt x="269" y="180"/>
                      <a:pt x="269" y="180"/>
                      <a:pt x="269" y="180"/>
                    </a:cubicBezTo>
                    <a:cubicBezTo>
                      <a:pt x="269" y="180"/>
                      <a:pt x="270" y="179"/>
                      <a:pt x="270" y="179"/>
                    </a:cubicBezTo>
                    <a:cubicBezTo>
                      <a:pt x="271" y="179"/>
                      <a:pt x="271" y="179"/>
                      <a:pt x="272" y="180"/>
                    </a:cubicBezTo>
                    <a:cubicBezTo>
                      <a:pt x="273" y="186"/>
                      <a:pt x="273" y="186"/>
                      <a:pt x="273" y="186"/>
                    </a:cubicBezTo>
                    <a:cubicBezTo>
                      <a:pt x="273" y="187"/>
                      <a:pt x="273" y="187"/>
                      <a:pt x="272" y="187"/>
                    </a:cubicBezTo>
                    <a:close/>
                    <a:moveTo>
                      <a:pt x="20" y="176"/>
                    </a:moveTo>
                    <a:cubicBezTo>
                      <a:pt x="19" y="176"/>
                      <a:pt x="19" y="176"/>
                      <a:pt x="19" y="176"/>
                    </a:cubicBezTo>
                    <a:cubicBezTo>
                      <a:pt x="19" y="176"/>
                      <a:pt x="18" y="175"/>
                      <a:pt x="18" y="175"/>
                    </a:cubicBezTo>
                    <a:cubicBezTo>
                      <a:pt x="19" y="173"/>
                      <a:pt x="19" y="171"/>
                      <a:pt x="20" y="169"/>
                    </a:cubicBezTo>
                    <a:cubicBezTo>
                      <a:pt x="20" y="168"/>
                      <a:pt x="21" y="168"/>
                      <a:pt x="21" y="168"/>
                    </a:cubicBezTo>
                    <a:cubicBezTo>
                      <a:pt x="22" y="168"/>
                      <a:pt x="22" y="169"/>
                      <a:pt x="22" y="169"/>
                    </a:cubicBezTo>
                    <a:cubicBezTo>
                      <a:pt x="22" y="171"/>
                      <a:pt x="21" y="173"/>
                      <a:pt x="21" y="175"/>
                    </a:cubicBezTo>
                    <a:cubicBezTo>
                      <a:pt x="21" y="176"/>
                      <a:pt x="20" y="176"/>
                      <a:pt x="20" y="176"/>
                    </a:cubicBezTo>
                    <a:close/>
                    <a:moveTo>
                      <a:pt x="269" y="175"/>
                    </a:moveTo>
                    <a:cubicBezTo>
                      <a:pt x="269" y="175"/>
                      <a:pt x="268" y="175"/>
                      <a:pt x="268" y="174"/>
                    </a:cubicBezTo>
                    <a:cubicBezTo>
                      <a:pt x="267" y="168"/>
                      <a:pt x="267" y="168"/>
                      <a:pt x="267" y="168"/>
                    </a:cubicBezTo>
                    <a:cubicBezTo>
                      <a:pt x="266" y="168"/>
                      <a:pt x="267" y="167"/>
                      <a:pt x="267" y="167"/>
                    </a:cubicBezTo>
                    <a:cubicBezTo>
                      <a:pt x="268" y="167"/>
                      <a:pt x="269" y="167"/>
                      <a:pt x="269" y="168"/>
                    </a:cubicBezTo>
                    <a:cubicBezTo>
                      <a:pt x="270" y="174"/>
                      <a:pt x="270" y="174"/>
                      <a:pt x="270" y="174"/>
                    </a:cubicBezTo>
                    <a:cubicBezTo>
                      <a:pt x="270" y="175"/>
                      <a:pt x="270" y="175"/>
                      <a:pt x="269" y="175"/>
                    </a:cubicBezTo>
                    <a:close/>
                    <a:moveTo>
                      <a:pt x="22" y="164"/>
                    </a:moveTo>
                    <a:cubicBezTo>
                      <a:pt x="22" y="164"/>
                      <a:pt x="22" y="164"/>
                      <a:pt x="22" y="164"/>
                    </a:cubicBezTo>
                    <a:cubicBezTo>
                      <a:pt x="21" y="164"/>
                      <a:pt x="21" y="163"/>
                      <a:pt x="21" y="163"/>
                    </a:cubicBezTo>
                    <a:cubicBezTo>
                      <a:pt x="22" y="161"/>
                      <a:pt x="22" y="159"/>
                      <a:pt x="23" y="157"/>
                    </a:cubicBezTo>
                    <a:cubicBezTo>
                      <a:pt x="23" y="156"/>
                      <a:pt x="23" y="156"/>
                      <a:pt x="24" y="156"/>
                    </a:cubicBezTo>
                    <a:cubicBezTo>
                      <a:pt x="25" y="156"/>
                      <a:pt x="25" y="157"/>
                      <a:pt x="25" y="157"/>
                    </a:cubicBezTo>
                    <a:cubicBezTo>
                      <a:pt x="24" y="159"/>
                      <a:pt x="24" y="161"/>
                      <a:pt x="23" y="163"/>
                    </a:cubicBezTo>
                    <a:cubicBezTo>
                      <a:pt x="23" y="164"/>
                      <a:pt x="23" y="164"/>
                      <a:pt x="22" y="164"/>
                    </a:cubicBezTo>
                    <a:close/>
                    <a:moveTo>
                      <a:pt x="266" y="163"/>
                    </a:moveTo>
                    <a:cubicBezTo>
                      <a:pt x="266" y="163"/>
                      <a:pt x="265" y="163"/>
                      <a:pt x="265" y="162"/>
                    </a:cubicBezTo>
                    <a:cubicBezTo>
                      <a:pt x="265" y="160"/>
                      <a:pt x="264" y="158"/>
                      <a:pt x="264" y="156"/>
                    </a:cubicBezTo>
                    <a:cubicBezTo>
                      <a:pt x="264" y="156"/>
                      <a:pt x="264" y="155"/>
                      <a:pt x="265" y="155"/>
                    </a:cubicBezTo>
                    <a:cubicBezTo>
                      <a:pt x="265" y="155"/>
                      <a:pt x="266" y="155"/>
                      <a:pt x="266" y="156"/>
                    </a:cubicBezTo>
                    <a:cubicBezTo>
                      <a:pt x="267" y="158"/>
                      <a:pt x="267" y="160"/>
                      <a:pt x="267" y="162"/>
                    </a:cubicBezTo>
                    <a:cubicBezTo>
                      <a:pt x="268" y="163"/>
                      <a:pt x="267" y="163"/>
                      <a:pt x="267" y="163"/>
                    </a:cubicBezTo>
                    <a:lnTo>
                      <a:pt x="266" y="163"/>
                    </a:lnTo>
                    <a:close/>
                    <a:moveTo>
                      <a:pt x="25" y="152"/>
                    </a:moveTo>
                    <a:cubicBezTo>
                      <a:pt x="25" y="152"/>
                      <a:pt x="25" y="152"/>
                      <a:pt x="25" y="152"/>
                    </a:cubicBezTo>
                    <a:cubicBezTo>
                      <a:pt x="24" y="152"/>
                      <a:pt x="24" y="151"/>
                      <a:pt x="24" y="151"/>
                    </a:cubicBezTo>
                    <a:cubicBezTo>
                      <a:pt x="24" y="149"/>
                      <a:pt x="25" y="147"/>
                      <a:pt x="25" y="145"/>
                    </a:cubicBezTo>
                    <a:cubicBezTo>
                      <a:pt x="25" y="144"/>
                      <a:pt x="26" y="144"/>
                      <a:pt x="27" y="144"/>
                    </a:cubicBezTo>
                    <a:cubicBezTo>
                      <a:pt x="27" y="144"/>
                      <a:pt x="28" y="144"/>
                      <a:pt x="27" y="145"/>
                    </a:cubicBezTo>
                    <a:cubicBezTo>
                      <a:pt x="27" y="147"/>
                      <a:pt x="27" y="149"/>
                      <a:pt x="26" y="151"/>
                    </a:cubicBezTo>
                    <a:cubicBezTo>
                      <a:pt x="26" y="152"/>
                      <a:pt x="26" y="152"/>
                      <a:pt x="25" y="152"/>
                    </a:cubicBezTo>
                    <a:close/>
                    <a:moveTo>
                      <a:pt x="264" y="151"/>
                    </a:moveTo>
                    <a:cubicBezTo>
                      <a:pt x="263" y="151"/>
                      <a:pt x="263" y="151"/>
                      <a:pt x="263" y="150"/>
                    </a:cubicBezTo>
                    <a:cubicBezTo>
                      <a:pt x="262" y="148"/>
                      <a:pt x="262" y="146"/>
                      <a:pt x="261" y="144"/>
                    </a:cubicBezTo>
                    <a:cubicBezTo>
                      <a:pt x="261" y="144"/>
                      <a:pt x="261" y="143"/>
                      <a:pt x="262" y="143"/>
                    </a:cubicBezTo>
                    <a:cubicBezTo>
                      <a:pt x="263" y="143"/>
                      <a:pt x="263" y="143"/>
                      <a:pt x="263" y="144"/>
                    </a:cubicBezTo>
                    <a:cubicBezTo>
                      <a:pt x="264" y="146"/>
                      <a:pt x="264" y="148"/>
                      <a:pt x="265" y="150"/>
                    </a:cubicBezTo>
                    <a:cubicBezTo>
                      <a:pt x="265" y="151"/>
                      <a:pt x="265" y="151"/>
                      <a:pt x="264" y="151"/>
                    </a:cubicBezTo>
                    <a:close/>
                    <a:moveTo>
                      <a:pt x="28" y="140"/>
                    </a:moveTo>
                    <a:cubicBezTo>
                      <a:pt x="27" y="140"/>
                      <a:pt x="27" y="140"/>
                      <a:pt x="27" y="140"/>
                    </a:cubicBezTo>
                    <a:cubicBezTo>
                      <a:pt x="27" y="140"/>
                      <a:pt x="26" y="139"/>
                      <a:pt x="26" y="139"/>
                    </a:cubicBezTo>
                    <a:cubicBezTo>
                      <a:pt x="27" y="137"/>
                      <a:pt x="27" y="135"/>
                      <a:pt x="28" y="133"/>
                    </a:cubicBezTo>
                    <a:cubicBezTo>
                      <a:pt x="28" y="132"/>
                      <a:pt x="29" y="132"/>
                      <a:pt x="29" y="132"/>
                    </a:cubicBezTo>
                    <a:cubicBezTo>
                      <a:pt x="30" y="132"/>
                      <a:pt x="30" y="132"/>
                      <a:pt x="30" y="133"/>
                    </a:cubicBezTo>
                    <a:cubicBezTo>
                      <a:pt x="30" y="135"/>
                      <a:pt x="29" y="137"/>
                      <a:pt x="29" y="139"/>
                    </a:cubicBezTo>
                    <a:cubicBezTo>
                      <a:pt x="29" y="140"/>
                      <a:pt x="28" y="140"/>
                      <a:pt x="28" y="140"/>
                    </a:cubicBezTo>
                    <a:close/>
                    <a:moveTo>
                      <a:pt x="261" y="139"/>
                    </a:moveTo>
                    <a:cubicBezTo>
                      <a:pt x="261" y="139"/>
                      <a:pt x="260" y="139"/>
                      <a:pt x="260" y="138"/>
                    </a:cubicBezTo>
                    <a:cubicBezTo>
                      <a:pt x="259" y="136"/>
                      <a:pt x="259" y="134"/>
                      <a:pt x="259" y="132"/>
                    </a:cubicBezTo>
                    <a:cubicBezTo>
                      <a:pt x="259" y="132"/>
                      <a:pt x="259" y="131"/>
                      <a:pt x="260" y="131"/>
                    </a:cubicBezTo>
                    <a:cubicBezTo>
                      <a:pt x="260" y="131"/>
                      <a:pt x="261" y="131"/>
                      <a:pt x="261" y="132"/>
                    </a:cubicBezTo>
                    <a:cubicBezTo>
                      <a:pt x="261" y="134"/>
                      <a:pt x="262" y="136"/>
                      <a:pt x="262" y="138"/>
                    </a:cubicBezTo>
                    <a:cubicBezTo>
                      <a:pt x="262" y="138"/>
                      <a:pt x="262" y="139"/>
                      <a:pt x="261" y="139"/>
                    </a:cubicBezTo>
                    <a:close/>
                    <a:moveTo>
                      <a:pt x="30" y="128"/>
                    </a:moveTo>
                    <a:cubicBezTo>
                      <a:pt x="30" y="128"/>
                      <a:pt x="30" y="128"/>
                      <a:pt x="30" y="128"/>
                    </a:cubicBezTo>
                    <a:cubicBezTo>
                      <a:pt x="29" y="128"/>
                      <a:pt x="29" y="127"/>
                      <a:pt x="29" y="127"/>
                    </a:cubicBezTo>
                    <a:cubicBezTo>
                      <a:pt x="29" y="125"/>
                      <a:pt x="30" y="123"/>
                      <a:pt x="30" y="121"/>
                    </a:cubicBezTo>
                    <a:cubicBezTo>
                      <a:pt x="30" y="121"/>
                      <a:pt x="30" y="121"/>
                      <a:pt x="30" y="121"/>
                    </a:cubicBezTo>
                    <a:cubicBezTo>
                      <a:pt x="30" y="120"/>
                      <a:pt x="31" y="119"/>
                      <a:pt x="32" y="120"/>
                    </a:cubicBezTo>
                    <a:cubicBezTo>
                      <a:pt x="32" y="120"/>
                      <a:pt x="33" y="120"/>
                      <a:pt x="33" y="121"/>
                    </a:cubicBezTo>
                    <a:cubicBezTo>
                      <a:pt x="32" y="121"/>
                      <a:pt x="32" y="121"/>
                      <a:pt x="32" y="121"/>
                    </a:cubicBezTo>
                    <a:cubicBezTo>
                      <a:pt x="32" y="123"/>
                      <a:pt x="32" y="125"/>
                      <a:pt x="31" y="127"/>
                    </a:cubicBezTo>
                    <a:cubicBezTo>
                      <a:pt x="31" y="128"/>
                      <a:pt x="31" y="128"/>
                      <a:pt x="30" y="128"/>
                    </a:cubicBezTo>
                    <a:close/>
                    <a:moveTo>
                      <a:pt x="259" y="127"/>
                    </a:moveTo>
                    <a:cubicBezTo>
                      <a:pt x="258" y="127"/>
                      <a:pt x="258" y="127"/>
                      <a:pt x="257" y="126"/>
                    </a:cubicBezTo>
                    <a:cubicBezTo>
                      <a:pt x="257" y="125"/>
                      <a:pt x="257" y="123"/>
                      <a:pt x="256" y="121"/>
                    </a:cubicBezTo>
                    <a:cubicBezTo>
                      <a:pt x="256" y="120"/>
                      <a:pt x="256" y="120"/>
                      <a:pt x="256" y="120"/>
                    </a:cubicBezTo>
                    <a:cubicBezTo>
                      <a:pt x="256" y="120"/>
                      <a:pt x="256" y="119"/>
                      <a:pt x="257" y="119"/>
                    </a:cubicBezTo>
                    <a:cubicBezTo>
                      <a:pt x="258" y="119"/>
                      <a:pt x="258" y="119"/>
                      <a:pt x="258" y="120"/>
                    </a:cubicBezTo>
                    <a:cubicBezTo>
                      <a:pt x="259" y="121"/>
                      <a:pt x="259" y="121"/>
                      <a:pt x="259" y="121"/>
                    </a:cubicBezTo>
                    <a:cubicBezTo>
                      <a:pt x="259" y="122"/>
                      <a:pt x="259" y="124"/>
                      <a:pt x="260" y="126"/>
                    </a:cubicBezTo>
                    <a:cubicBezTo>
                      <a:pt x="260" y="126"/>
                      <a:pt x="259" y="127"/>
                      <a:pt x="259" y="127"/>
                    </a:cubicBezTo>
                    <a:close/>
                    <a:moveTo>
                      <a:pt x="33" y="116"/>
                    </a:moveTo>
                    <a:cubicBezTo>
                      <a:pt x="32" y="116"/>
                      <a:pt x="32" y="116"/>
                      <a:pt x="32" y="116"/>
                    </a:cubicBezTo>
                    <a:cubicBezTo>
                      <a:pt x="32" y="116"/>
                      <a:pt x="31" y="115"/>
                      <a:pt x="32" y="114"/>
                    </a:cubicBezTo>
                    <a:cubicBezTo>
                      <a:pt x="32" y="112"/>
                      <a:pt x="33" y="110"/>
                      <a:pt x="33" y="108"/>
                    </a:cubicBezTo>
                    <a:cubicBezTo>
                      <a:pt x="33" y="108"/>
                      <a:pt x="34" y="107"/>
                      <a:pt x="34" y="108"/>
                    </a:cubicBezTo>
                    <a:cubicBezTo>
                      <a:pt x="35" y="108"/>
                      <a:pt x="35" y="108"/>
                      <a:pt x="35" y="109"/>
                    </a:cubicBezTo>
                    <a:cubicBezTo>
                      <a:pt x="35" y="111"/>
                      <a:pt x="34" y="113"/>
                      <a:pt x="34" y="115"/>
                    </a:cubicBezTo>
                    <a:cubicBezTo>
                      <a:pt x="34" y="116"/>
                      <a:pt x="33" y="116"/>
                      <a:pt x="33" y="116"/>
                    </a:cubicBezTo>
                    <a:close/>
                    <a:moveTo>
                      <a:pt x="256" y="115"/>
                    </a:moveTo>
                    <a:cubicBezTo>
                      <a:pt x="255" y="115"/>
                      <a:pt x="255" y="115"/>
                      <a:pt x="255" y="114"/>
                    </a:cubicBezTo>
                    <a:cubicBezTo>
                      <a:pt x="254" y="112"/>
                      <a:pt x="254" y="110"/>
                      <a:pt x="253" y="108"/>
                    </a:cubicBezTo>
                    <a:cubicBezTo>
                      <a:pt x="253" y="108"/>
                      <a:pt x="254" y="107"/>
                      <a:pt x="254" y="107"/>
                    </a:cubicBezTo>
                    <a:cubicBezTo>
                      <a:pt x="255" y="107"/>
                      <a:pt x="255" y="107"/>
                      <a:pt x="256" y="108"/>
                    </a:cubicBezTo>
                    <a:cubicBezTo>
                      <a:pt x="256" y="110"/>
                      <a:pt x="257" y="112"/>
                      <a:pt x="257" y="114"/>
                    </a:cubicBezTo>
                    <a:cubicBezTo>
                      <a:pt x="257" y="114"/>
                      <a:pt x="257" y="115"/>
                      <a:pt x="256" y="115"/>
                    </a:cubicBezTo>
                    <a:close/>
                    <a:moveTo>
                      <a:pt x="36" y="104"/>
                    </a:moveTo>
                    <a:cubicBezTo>
                      <a:pt x="36" y="104"/>
                      <a:pt x="36" y="104"/>
                      <a:pt x="36" y="104"/>
                    </a:cubicBezTo>
                    <a:cubicBezTo>
                      <a:pt x="35" y="104"/>
                      <a:pt x="35" y="103"/>
                      <a:pt x="35" y="102"/>
                    </a:cubicBezTo>
                    <a:cubicBezTo>
                      <a:pt x="35" y="100"/>
                      <a:pt x="36" y="99"/>
                      <a:pt x="37" y="97"/>
                    </a:cubicBezTo>
                    <a:cubicBezTo>
                      <a:pt x="37" y="96"/>
                      <a:pt x="38" y="96"/>
                      <a:pt x="38" y="96"/>
                    </a:cubicBezTo>
                    <a:cubicBezTo>
                      <a:pt x="39" y="96"/>
                      <a:pt x="39" y="97"/>
                      <a:pt x="39" y="97"/>
                    </a:cubicBezTo>
                    <a:cubicBezTo>
                      <a:pt x="38" y="99"/>
                      <a:pt x="38" y="101"/>
                      <a:pt x="37" y="103"/>
                    </a:cubicBezTo>
                    <a:cubicBezTo>
                      <a:pt x="37" y="104"/>
                      <a:pt x="36" y="104"/>
                      <a:pt x="36" y="104"/>
                    </a:cubicBezTo>
                    <a:close/>
                    <a:moveTo>
                      <a:pt x="253" y="103"/>
                    </a:moveTo>
                    <a:cubicBezTo>
                      <a:pt x="252" y="103"/>
                      <a:pt x="252" y="103"/>
                      <a:pt x="252" y="102"/>
                    </a:cubicBezTo>
                    <a:cubicBezTo>
                      <a:pt x="251" y="100"/>
                      <a:pt x="250" y="98"/>
                      <a:pt x="250" y="97"/>
                    </a:cubicBezTo>
                    <a:cubicBezTo>
                      <a:pt x="250" y="96"/>
                      <a:pt x="250" y="95"/>
                      <a:pt x="250" y="95"/>
                    </a:cubicBezTo>
                    <a:cubicBezTo>
                      <a:pt x="251" y="95"/>
                      <a:pt x="252" y="95"/>
                      <a:pt x="252" y="96"/>
                    </a:cubicBezTo>
                    <a:cubicBezTo>
                      <a:pt x="253" y="98"/>
                      <a:pt x="253" y="100"/>
                      <a:pt x="254" y="102"/>
                    </a:cubicBezTo>
                    <a:cubicBezTo>
                      <a:pt x="254" y="102"/>
                      <a:pt x="254" y="103"/>
                      <a:pt x="253" y="103"/>
                    </a:cubicBezTo>
                    <a:close/>
                    <a:moveTo>
                      <a:pt x="40" y="92"/>
                    </a:moveTo>
                    <a:cubicBezTo>
                      <a:pt x="39" y="92"/>
                      <a:pt x="39" y="92"/>
                      <a:pt x="39" y="92"/>
                    </a:cubicBezTo>
                    <a:cubicBezTo>
                      <a:pt x="39" y="92"/>
                      <a:pt x="39" y="91"/>
                      <a:pt x="39" y="91"/>
                    </a:cubicBezTo>
                    <a:cubicBezTo>
                      <a:pt x="40" y="89"/>
                      <a:pt x="40" y="87"/>
                      <a:pt x="41" y="85"/>
                    </a:cubicBezTo>
                    <a:cubicBezTo>
                      <a:pt x="41" y="84"/>
                      <a:pt x="42" y="84"/>
                      <a:pt x="43" y="84"/>
                    </a:cubicBezTo>
                    <a:cubicBezTo>
                      <a:pt x="43" y="85"/>
                      <a:pt x="44" y="85"/>
                      <a:pt x="43" y="86"/>
                    </a:cubicBezTo>
                    <a:cubicBezTo>
                      <a:pt x="42" y="88"/>
                      <a:pt x="42" y="90"/>
                      <a:pt x="41" y="92"/>
                    </a:cubicBezTo>
                    <a:cubicBezTo>
                      <a:pt x="41" y="92"/>
                      <a:pt x="40" y="92"/>
                      <a:pt x="40" y="92"/>
                    </a:cubicBezTo>
                    <a:close/>
                    <a:moveTo>
                      <a:pt x="249" y="92"/>
                    </a:moveTo>
                    <a:cubicBezTo>
                      <a:pt x="248" y="92"/>
                      <a:pt x="248" y="91"/>
                      <a:pt x="248" y="91"/>
                    </a:cubicBezTo>
                    <a:cubicBezTo>
                      <a:pt x="247" y="89"/>
                      <a:pt x="246" y="87"/>
                      <a:pt x="245" y="85"/>
                    </a:cubicBezTo>
                    <a:cubicBezTo>
                      <a:pt x="245" y="85"/>
                      <a:pt x="245" y="84"/>
                      <a:pt x="246" y="84"/>
                    </a:cubicBezTo>
                    <a:cubicBezTo>
                      <a:pt x="246" y="83"/>
                      <a:pt x="247" y="84"/>
                      <a:pt x="247" y="84"/>
                    </a:cubicBezTo>
                    <a:cubicBezTo>
                      <a:pt x="248" y="86"/>
                      <a:pt x="249" y="88"/>
                      <a:pt x="250" y="90"/>
                    </a:cubicBezTo>
                    <a:cubicBezTo>
                      <a:pt x="250" y="91"/>
                      <a:pt x="250" y="91"/>
                      <a:pt x="249" y="91"/>
                    </a:cubicBezTo>
                    <a:lnTo>
                      <a:pt x="249" y="92"/>
                    </a:lnTo>
                    <a:close/>
                    <a:moveTo>
                      <a:pt x="45" y="81"/>
                    </a:moveTo>
                    <a:cubicBezTo>
                      <a:pt x="44" y="81"/>
                      <a:pt x="44" y="81"/>
                      <a:pt x="44" y="81"/>
                    </a:cubicBezTo>
                    <a:cubicBezTo>
                      <a:pt x="44" y="81"/>
                      <a:pt x="43" y="80"/>
                      <a:pt x="44" y="79"/>
                    </a:cubicBezTo>
                    <a:cubicBezTo>
                      <a:pt x="45" y="77"/>
                      <a:pt x="46" y="76"/>
                      <a:pt x="46" y="74"/>
                    </a:cubicBezTo>
                    <a:cubicBezTo>
                      <a:pt x="47" y="73"/>
                      <a:pt x="47" y="73"/>
                      <a:pt x="48" y="73"/>
                    </a:cubicBezTo>
                    <a:cubicBezTo>
                      <a:pt x="49" y="74"/>
                      <a:pt x="49" y="74"/>
                      <a:pt x="49" y="75"/>
                    </a:cubicBezTo>
                    <a:cubicBezTo>
                      <a:pt x="48" y="77"/>
                      <a:pt x="47" y="78"/>
                      <a:pt x="46" y="80"/>
                    </a:cubicBezTo>
                    <a:cubicBezTo>
                      <a:pt x="46" y="81"/>
                      <a:pt x="45" y="81"/>
                      <a:pt x="45" y="81"/>
                    </a:cubicBezTo>
                    <a:close/>
                    <a:moveTo>
                      <a:pt x="244" y="80"/>
                    </a:moveTo>
                    <a:cubicBezTo>
                      <a:pt x="243" y="80"/>
                      <a:pt x="243" y="80"/>
                      <a:pt x="243" y="80"/>
                    </a:cubicBezTo>
                    <a:cubicBezTo>
                      <a:pt x="242" y="78"/>
                      <a:pt x="241" y="76"/>
                      <a:pt x="240" y="74"/>
                    </a:cubicBezTo>
                    <a:cubicBezTo>
                      <a:pt x="240" y="74"/>
                      <a:pt x="240" y="73"/>
                      <a:pt x="241" y="73"/>
                    </a:cubicBezTo>
                    <a:cubicBezTo>
                      <a:pt x="241" y="72"/>
                      <a:pt x="242" y="72"/>
                      <a:pt x="242" y="73"/>
                    </a:cubicBezTo>
                    <a:cubicBezTo>
                      <a:pt x="243" y="75"/>
                      <a:pt x="244" y="77"/>
                      <a:pt x="245" y="79"/>
                    </a:cubicBezTo>
                    <a:cubicBezTo>
                      <a:pt x="245" y="79"/>
                      <a:pt x="245" y="80"/>
                      <a:pt x="244" y="80"/>
                    </a:cubicBezTo>
                    <a:close/>
                    <a:moveTo>
                      <a:pt x="50" y="70"/>
                    </a:moveTo>
                    <a:cubicBezTo>
                      <a:pt x="50" y="70"/>
                      <a:pt x="50" y="70"/>
                      <a:pt x="50" y="70"/>
                    </a:cubicBezTo>
                    <a:cubicBezTo>
                      <a:pt x="49" y="70"/>
                      <a:pt x="49" y="69"/>
                      <a:pt x="49" y="68"/>
                    </a:cubicBezTo>
                    <a:cubicBezTo>
                      <a:pt x="50" y="67"/>
                      <a:pt x="52" y="65"/>
                      <a:pt x="53" y="63"/>
                    </a:cubicBezTo>
                    <a:cubicBezTo>
                      <a:pt x="53" y="62"/>
                      <a:pt x="54" y="62"/>
                      <a:pt x="54" y="63"/>
                    </a:cubicBezTo>
                    <a:cubicBezTo>
                      <a:pt x="55" y="63"/>
                      <a:pt x="55" y="64"/>
                      <a:pt x="55" y="64"/>
                    </a:cubicBezTo>
                    <a:cubicBezTo>
                      <a:pt x="54" y="66"/>
                      <a:pt x="53" y="68"/>
                      <a:pt x="51" y="69"/>
                    </a:cubicBezTo>
                    <a:cubicBezTo>
                      <a:pt x="51" y="70"/>
                      <a:pt x="51" y="70"/>
                      <a:pt x="50" y="70"/>
                    </a:cubicBezTo>
                    <a:close/>
                    <a:moveTo>
                      <a:pt x="238" y="69"/>
                    </a:moveTo>
                    <a:cubicBezTo>
                      <a:pt x="238" y="69"/>
                      <a:pt x="237" y="69"/>
                      <a:pt x="237" y="69"/>
                    </a:cubicBezTo>
                    <a:cubicBezTo>
                      <a:pt x="236" y="67"/>
                      <a:pt x="235" y="65"/>
                      <a:pt x="234" y="63"/>
                    </a:cubicBezTo>
                    <a:cubicBezTo>
                      <a:pt x="234" y="63"/>
                      <a:pt x="234" y="62"/>
                      <a:pt x="234" y="62"/>
                    </a:cubicBezTo>
                    <a:cubicBezTo>
                      <a:pt x="235" y="62"/>
                      <a:pt x="236" y="62"/>
                      <a:pt x="236" y="62"/>
                    </a:cubicBezTo>
                    <a:cubicBezTo>
                      <a:pt x="237" y="64"/>
                      <a:pt x="238" y="66"/>
                      <a:pt x="239" y="68"/>
                    </a:cubicBezTo>
                    <a:cubicBezTo>
                      <a:pt x="239" y="68"/>
                      <a:pt x="239" y="69"/>
                      <a:pt x="239" y="69"/>
                    </a:cubicBezTo>
                    <a:lnTo>
                      <a:pt x="238" y="69"/>
                    </a:lnTo>
                    <a:close/>
                    <a:moveTo>
                      <a:pt x="57" y="60"/>
                    </a:moveTo>
                    <a:cubicBezTo>
                      <a:pt x="56" y="59"/>
                      <a:pt x="56" y="59"/>
                      <a:pt x="56" y="59"/>
                    </a:cubicBezTo>
                    <a:cubicBezTo>
                      <a:pt x="56" y="59"/>
                      <a:pt x="56" y="58"/>
                      <a:pt x="56" y="58"/>
                    </a:cubicBezTo>
                    <a:cubicBezTo>
                      <a:pt x="57" y="56"/>
                      <a:pt x="58" y="54"/>
                      <a:pt x="60" y="53"/>
                    </a:cubicBezTo>
                    <a:cubicBezTo>
                      <a:pt x="60" y="52"/>
                      <a:pt x="61" y="52"/>
                      <a:pt x="61" y="52"/>
                    </a:cubicBezTo>
                    <a:cubicBezTo>
                      <a:pt x="62" y="53"/>
                      <a:pt x="62" y="54"/>
                      <a:pt x="62" y="54"/>
                    </a:cubicBezTo>
                    <a:cubicBezTo>
                      <a:pt x="60" y="56"/>
                      <a:pt x="59" y="57"/>
                      <a:pt x="58" y="59"/>
                    </a:cubicBezTo>
                    <a:lnTo>
                      <a:pt x="57" y="60"/>
                    </a:lnTo>
                    <a:close/>
                    <a:moveTo>
                      <a:pt x="232" y="59"/>
                    </a:moveTo>
                    <a:cubicBezTo>
                      <a:pt x="231" y="59"/>
                      <a:pt x="231" y="59"/>
                      <a:pt x="231" y="58"/>
                    </a:cubicBezTo>
                    <a:cubicBezTo>
                      <a:pt x="229" y="57"/>
                      <a:pt x="228" y="55"/>
                      <a:pt x="227" y="53"/>
                    </a:cubicBezTo>
                    <a:cubicBezTo>
                      <a:pt x="227" y="53"/>
                      <a:pt x="227" y="52"/>
                      <a:pt x="227" y="52"/>
                    </a:cubicBezTo>
                    <a:cubicBezTo>
                      <a:pt x="228" y="51"/>
                      <a:pt x="228" y="51"/>
                      <a:pt x="229" y="52"/>
                    </a:cubicBezTo>
                    <a:cubicBezTo>
                      <a:pt x="230" y="54"/>
                      <a:pt x="231" y="55"/>
                      <a:pt x="232" y="57"/>
                    </a:cubicBezTo>
                    <a:cubicBezTo>
                      <a:pt x="233" y="58"/>
                      <a:pt x="233" y="58"/>
                      <a:pt x="232" y="59"/>
                    </a:cubicBezTo>
                    <a:close/>
                    <a:moveTo>
                      <a:pt x="64" y="50"/>
                    </a:moveTo>
                    <a:cubicBezTo>
                      <a:pt x="64" y="49"/>
                      <a:pt x="64" y="49"/>
                      <a:pt x="64" y="49"/>
                    </a:cubicBezTo>
                    <a:cubicBezTo>
                      <a:pt x="63" y="49"/>
                      <a:pt x="63" y="48"/>
                      <a:pt x="64" y="48"/>
                    </a:cubicBezTo>
                    <a:cubicBezTo>
                      <a:pt x="65" y="46"/>
                      <a:pt x="66" y="45"/>
                      <a:pt x="68" y="43"/>
                    </a:cubicBezTo>
                    <a:cubicBezTo>
                      <a:pt x="68" y="43"/>
                      <a:pt x="69" y="43"/>
                      <a:pt x="69" y="43"/>
                    </a:cubicBezTo>
                    <a:cubicBezTo>
                      <a:pt x="70" y="43"/>
                      <a:pt x="70" y="44"/>
                      <a:pt x="69" y="45"/>
                    </a:cubicBezTo>
                    <a:cubicBezTo>
                      <a:pt x="68" y="46"/>
                      <a:pt x="67" y="48"/>
                      <a:pt x="65" y="49"/>
                    </a:cubicBezTo>
                    <a:lnTo>
                      <a:pt x="64" y="50"/>
                    </a:lnTo>
                    <a:close/>
                    <a:moveTo>
                      <a:pt x="224" y="49"/>
                    </a:moveTo>
                    <a:cubicBezTo>
                      <a:pt x="223" y="49"/>
                      <a:pt x="223" y="49"/>
                      <a:pt x="223" y="49"/>
                    </a:cubicBezTo>
                    <a:cubicBezTo>
                      <a:pt x="222" y="47"/>
                      <a:pt x="221" y="45"/>
                      <a:pt x="219" y="44"/>
                    </a:cubicBezTo>
                    <a:cubicBezTo>
                      <a:pt x="219" y="43"/>
                      <a:pt x="219" y="43"/>
                      <a:pt x="219" y="42"/>
                    </a:cubicBezTo>
                    <a:cubicBezTo>
                      <a:pt x="220" y="42"/>
                      <a:pt x="221" y="42"/>
                      <a:pt x="221" y="42"/>
                    </a:cubicBezTo>
                    <a:cubicBezTo>
                      <a:pt x="222" y="44"/>
                      <a:pt x="224" y="46"/>
                      <a:pt x="225" y="47"/>
                    </a:cubicBezTo>
                    <a:cubicBezTo>
                      <a:pt x="225" y="48"/>
                      <a:pt x="225" y="48"/>
                      <a:pt x="225" y="49"/>
                    </a:cubicBezTo>
                    <a:lnTo>
                      <a:pt x="224" y="49"/>
                    </a:lnTo>
                    <a:close/>
                    <a:moveTo>
                      <a:pt x="73" y="40"/>
                    </a:moveTo>
                    <a:cubicBezTo>
                      <a:pt x="72" y="40"/>
                      <a:pt x="72" y="40"/>
                      <a:pt x="72" y="40"/>
                    </a:cubicBezTo>
                    <a:cubicBezTo>
                      <a:pt x="71" y="40"/>
                      <a:pt x="71" y="39"/>
                      <a:pt x="72" y="38"/>
                    </a:cubicBezTo>
                    <a:cubicBezTo>
                      <a:pt x="73" y="37"/>
                      <a:pt x="75" y="36"/>
                      <a:pt x="76" y="34"/>
                    </a:cubicBezTo>
                    <a:cubicBezTo>
                      <a:pt x="77" y="34"/>
                      <a:pt x="77" y="34"/>
                      <a:pt x="78" y="34"/>
                    </a:cubicBezTo>
                    <a:cubicBezTo>
                      <a:pt x="78" y="35"/>
                      <a:pt x="78" y="35"/>
                      <a:pt x="78" y="36"/>
                    </a:cubicBezTo>
                    <a:cubicBezTo>
                      <a:pt x="76" y="37"/>
                      <a:pt x="75" y="39"/>
                      <a:pt x="73" y="40"/>
                    </a:cubicBezTo>
                    <a:close/>
                    <a:moveTo>
                      <a:pt x="216" y="40"/>
                    </a:moveTo>
                    <a:cubicBezTo>
                      <a:pt x="215" y="39"/>
                      <a:pt x="215" y="39"/>
                      <a:pt x="215" y="39"/>
                    </a:cubicBezTo>
                    <a:cubicBezTo>
                      <a:pt x="214" y="38"/>
                      <a:pt x="212" y="36"/>
                      <a:pt x="211" y="35"/>
                    </a:cubicBezTo>
                    <a:cubicBezTo>
                      <a:pt x="210" y="35"/>
                      <a:pt x="210" y="34"/>
                      <a:pt x="211" y="33"/>
                    </a:cubicBezTo>
                    <a:cubicBezTo>
                      <a:pt x="211" y="33"/>
                      <a:pt x="212" y="33"/>
                      <a:pt x="212" y="33"/>
                    </a:cubicBezTo>
                    <a:cubicBezTo>
                      <a:pt x="214" y="35"/>
                      <a:pt x="215" y="36"/>
                      <a:pt x="217" y="38"/>
                    </a:cubicBezTo>
                    <a:cubicBezTo>
                      <a:pt x="217" y="38"/>
                      <a:pt x="217" y="39"/>
                      <a:pt x="217" y="39"/>
                    </a:cubicBezTo>
                    <a:lnTo>
                      <a:pt x="216" y="40"/>
                    </a:lnTo>
                    <a:close/>
                    <a:moveTo>
                      <a:pt x="81" y="32"/>
                    </a:moveTo>
                    <a:cubicBezTo>
                      <a:pt x="81" y="32"/>
                      <a:pt x="81" y="32"/>
                      <a:pt x="81" y="32"/>
                    </a:cubicBezTo>
                    <a:cubicBezTo>
                      <a:pt x="80" y="31"/>
                      <a:pt x="80" y="30"/>
                      <a:pt x="81" y="30"/>
                    </a:cubicBezTo>
                    <a:cubicBezTo>
                      <a:pt x="82" y="29"/>
                      <a:pt x="84" y="27"/>
                      <a:pt x="85" y="26"/>
                    </a:cubicBezTo>
                    <a:cubicBezTo>
                      <a:pt x="86" y="25"/>
                      <a:pt x="87" y="26"/>
                      <a:pt x="87" y="26"/>
                    </a:cubicBezTo>
                    <a:cubicBezTo>
                      <a:pt x="87" y="27"/>
                      <a:pt x="87" y="27"/>
                      <a:pt x="87" y="28"/>
                    </a:cubicBezTo>
                    <a:cubicBezTo>
                      <a:pt x="85" y="29"/>
                      <a:pt x="84" y="30"/>
                      <a:pt x="82" y="32"/>
                    </a:cubicBezTo>
                    <a:lnTo>
                      <a:pt x="81" y="32"/>
                    </a:lnTo>
                    <a:close/>
                    <a:moveTo>
                      <a:pt x="207" y="31"/>
                    </a:moveTo>
                    <a:cubicBezTo>
                      <a:pt x="206" y="31"/>
                      <a:pt x="206" y="31"/>
                      <a:pt x="206" y="31"/>
                    </a:cubicBezTo>
                    <a:cubicBezTo>
                      <a:pt x="205" y="30"/>
                      <a:pt x="203" y="28"/>
                      <a:pt x="202" y="27"/>
                    </a:cubicBezTo>
                    <a:cubicBezTo>
                      <a:pt x="201" y="27"/>
                      <a:pt x="201" y="26"/>
                      <a:pt x="201" y="25"/>
                    </a:cubicBezTo>
                    <a:cubicBezTo>
                      <a:pt x="202" y="25"/>
                      <a:pt x="203" y="25"/>
                      <a:pt x="203" y="25"/>
                    </a:cubicBezTo>
                    <a:cubicBezTo>
                      <a:pt x="205" y="26"/>
                      <a:pt x="206" y="28"/>
                      <a:pt x="208" y="29"/>
                    </a:cubicBezTo>
                    <a:cubicBezTo>
                      <a:pt x="208" y="30"/>
                      <a:pt x="208" y="30"/>
                      <a:pt x="208" y="31"/>
                    </a:cubicBezTo>
                    <a:lnTo>
                      <a:pt x="207" y="31"/>
                    </a:lnTo>
                    <a:close/>
                    <a:moveTo>
                      <a:pt x="91" y="24"/>
                    </a:moveTo>
                    <a:cubicBezTo>
                      <a:pt x="91" y="24"/>
                      <a:pt x="90" y="24"/>
                      <a:pt x="90" y="24"/>
                    </a:cubicBezTo>
                    <a:cubicBezTo>
                      <a:pt x="90" y="23"/>
                      <a:pt x="90" y="22"/>
                      <a:pt x="90" y="22"/>
                    </a:cubicBezTo>
                    <a:cubicBezTo>
                      <a:pt x="92" y="21"/>
                      <a:pt x="94" y="20"/>
                      <a:pt x="95" y="18"/>
                    </a:cubicBezTo>
                    <a:cubicBezTo>
                      <a:pt x="96" y="18"/>
                      <a:pt x="97" y="18"/>
                      <a:pt x="97" y="19"/>
                    </a:cubicBezTo>
                    <a:cubicBezTo>
                      <a:pt x="97" y="19"/>
                      <a:pt x="97" y="20"/>
                      <a:pt x="97" y="20"/>
                    </a:cubicBezTo>
                    <a:cubicBezTo>
                      <a:pt x="95" y="21"/>
                      <a:pt x="93" y="23"/>
                      <a:pt x="92" y="24"/>
                    </a:cubicBezTo>
                    <a:lnTo>
                      <a:pt x="91" y="24"/>
                    </a:lnTo>
                    <a:close/>
                    <a:moveTo>
                      <a:pt x="197" y="23"/>
                    </a:moveTo>
                    <a:cubicBezTo>
                      <a:pt x="197" y="23"/>
                      <a:pt x="197" y="23"/>
                      <a:pt x="197" y="23"/>
                    </a:cubicBezTo>
                    <a:cubicBezTo>
                      <a:pt x="195" y="22"/>
                      <a:pt x="193" y="21"/>
                      <a:pt x="192" y="20"/>
                    </a:cubicBezTo>
                    <a:cubicBezTo>
                      <a:pt x="191" y="19"/>
                      <a:pt x="191" y="19"/>
                      <a:pt x="192" y="18"/>
                    </a:cubicBezTo>
                    <a:cubicBezTo>
                      <a:pt x="192" y="17"/>
                      <a:pt x="193" y="17"/>
                      <a:pt x="193" y="18"/>
                    </a:cubicBezTo>
                    <a:cubicBezTo>
                      <a:pt x="195" y="19"/>
                      <a:pt x="197" y="20"/>
                      <a:pt x="198" y="21"/>
                    </a:cubicBezTo>
                    <a:cubicBezTo>
                      <a:pt x="199" y="22"/>
                      <a:pt x="199" y="22"/>
                      <a:pt x="198" y="23"/>
                    </a:cubicBezTo>
                    <a:cubicBezTo>
                      <a:pt x="198" y="23"/>
                      <a:pt x="198" y="23"/>
                      <a:pt x="197" y="23"/>
                    </a:cubicBezTo>
                    <a:close/>
                    <a:moveTo>
                      <a:pt x="101" y="17"/>
                    </a:moveTo>
                    <a:cubicBezTo>
                      <a:pt x="101" y="17"/>
                      <a:pt x="100" y="17"/>
                      <a:pt x="100" y="16"/>
                    </a:cubicBezTo>
                    <a:cubicBezTo>
                      <a:pt x="100" y="16"/>
                      <a:pt x="100" y="15"/>
                      <a:pt x="100" y="15"/>
                    </a:cubicBezTo>
                    <a:cubicBezTo>
                      <a:pt x="102" y="14"/>
                      <a:pt x="104" y="13"/>
                      <a:pt x="106" y="12"/>
                    </a:cubicBezTo>
                    <a:cubicBezTo>
                      <a:pt x="106" y="11"/>
                      <a:pt x="107" y="11"/>
                      <a:pt x="107" y="12"/>
                    </a:cubicBezTo>
                    <a:cubicBezTo>
                      <a:pt x="108" y="13"/>
                      <a:pt x="108" y="13"/>
                      <a:pt x="107" y="14"/>
                    </a:cubicBezTo>
                    <a:cubicBezTo>
                      <a:pt x="105" y="15"/>
                      <a:pt x="103" y="16"/>
                      <a:pt x="102" y="17"/>
                    </a:cubicBezTo>
                    <a:lnTo>
                      <a:pt x="101" y="17"/>
                    </a:lnTo>
                    <a:close/>
                    <a:moveTo>
                      <a:pt x="187" y="16"/>
                    </a:moveTo>
                    <a:cubicBezTo>
                      <a:pt x="187" y="16"/>
                      <a:pt x="187" y="16"/>
                      <a:pt x="187" y="16"/>
                    </a:cubicBezTo>
                    <a:cubicBezTo>
                      <a:pt x="185" y="15"/>
                      <a:pt x="183" y="14"/>
                      <a:pt x="181" y="13"/>
                    </a:cubicBezTo>
                    <a:cubicBezTo>
                      <a:pt x="181" y="13"/>
                      <a:pt x="181" y="12"/>
                      <a:pt x="181" y="12"/>
                    </a:cubicBezTo>
                    <a:cubicBezTo>
                      <a:pt x="181" y="11"/>
                      <a:pt x="182" y="11"/>
                      <a:pt x="183" y="11"/>
                    </a:cubicBezTo>
                    <a:cubicBezTo>
                      <a:pt x="184" y="12"/>
                      <a:pt x="186" y="13"/>
                      <a:pt x="188" y="14"/>
                    </a:cubicBezTo>
                    <a:cubicBezTo>
                      <a:pt x="188" y="15"/>
                      <a:pt x="189" y="15"/>
                      <a:pt x="188" y="16"/>
                    </a:cubicBezTo>
                    <a:cubicBezTo>
                      <a:pt x="188" y="16"/>
                      <a:pt x="188" y="16"/>
                      <a:pt x="187" y="16"/>
                    </a:cubicBezTo>
                    <a:close/>
                    <a:moveTo>
                      <a:pt x="112" y="11"/>
                    </a:moveTo>
                    <a:cubicBezTo>
                      <a:pt x="111" y="11"/>
                      <a:pt x="111" y="11"/>
                      <a:pt x="111" y="10"/>
                    </a:cubicBezTo>
                    <a:cubicBezTo>
                      <a:pt x="110" y="10"/>
                      <a:pt x="111" y="9"/>
                      <a:pt x="111" y="9"/>
                    </a:cubicBezTo>
                    <a:cubicBezTo>
                      <a:pt x="113" y="8"/>
                      <a:pt x="115" y="7"/>
                      <a:pt x="117" y="6"/>
                    </a:cubicBezTo>
                    <a:cubicBezTo>
                      <a:pt x="117" y="5"/>
                      <a:pt x="118" y="6"/>
                      <a:pt x="118" y="6"/>
                    </a:cubicBezTo>
                    <a:cubicBezTo>
                      <a:pt x="119" y="7"/>
                      <a:pt x="118" y="8"/>
                      <a:pt x="118" y="8"/>
                    </a:cubicBezTo>
                    <a:cubicBezTo>
                      <a:pt x="116" y="9"/>
                      <a:pt x="114" y="10"/>
                      <a:pt x="112" y="11"/>
                    </a:cubicBezTo>
                    <a:close/>
                    <a:moveTo>
                      <a:pt x="177" y="10"/>
                    </a:moveTo>
                    <a:cubicBezTo>
                      <a:pt x="176" y="10"/>
                      <a:pt x="176" y="10"/>
                      <a:pt x="176" y="10"/>
                    </a:cubicBezTo>
                    <a:cubicBezTo>
                      <a:pt x="174" y="9"/>
                      <a:pt x="172" y="8"/>
                      <a:pt x="171" y="7"/>
                    </a:cubicBezTo>
                    <a:cubicBezTo>
                      <a:pt x="170" y="7"/>
                      <a:pt x="170" y="6"/>
                      <a:pt x="170" y="6"/>
                    </a:cubicBezTo>
                    <a:cubicBezTo>
                      <a:pt x="170" y="5"/>
                      <a:pt x="171" y="5"/>
                      <a:pt x="172" y="5"/>
                    </a:cubicBezTo>
                    <a:cubicBezTo>
                      <a:pt x="173" y="6"/>
                      <a:pt x="175" y="7"/>
                      <a:pt x="177" y="8"/>
                    </a:cubicBezTo>
                    <a:cubicBezTo>
                      <a:pt x="178" y="8"/>
                      <a:pt x="178" y="9"/>
                      <a:pt x="178" y="10"/>
                    </a:cubicBezTo>
                    <a:cubicBezTo>
                      <a:pt x="177" y="10"/>
                      <a:pt x="177" y="10"/>
                      <a:pt x="177" y="10"/>
                    </a:cubicBezTo>
                    <a:close/>
                    <a:moveTo>
                      <a:pt x="123" y="5"/>
                    </a:moveTo>
                    <a:cubicBezTo>
                      <a:pt x="122" y="5"/>
                      <a:pt x="122" y="5"/>
                      <a:pt x="122" y="5"/>
                    </a:cubicBezTo>
                    <a:cubicBezTo>
                      <a:pt x="122" y="4"/>
                      <a:pt x="122" y="3"/>
                      <a:pt x="122" y="3"/>
                    </a:cubicBezTo>
                    <a:cubicBezTo>
                      <a:pt x="123" y="3"/>
                      <a:pt x="123" y="3"/>
                      <a:pt x="123" y="3"/>
                    </a:cubicBezTo>
                    <a:cubicBezTo>
                      <a:pt x="124" y="2"/>
                      <a:pt x="126" y="2"/>
                      <a:pt x="129" y="1"/>
                    </a:cubicBezTo>
                    <a:cubicBezTo>
                      <a:pt x="129" y="1"/>
                      <a:pt x="130" y="2"/>
                      <a:pt x="130" y="2"/>
                    </a:cubicBezTo>
                    <a:cubicBezTo>
                      <a:pt x="130" y="3"/>
                      <a:pt x="130" y="3"/>
                      <a:pt x="129" y="3"/>
                    </a:cubicBezTo>
                    <a:cubicBezTo>
                      <a:pt x="126" y="4"/>
                      <a:pt x="125" y="5"/>
                      <a:pt x="124" y="5"/>
                    </a:cubicBezTo>
                    <a:cubicBezTo>
                      <a:pt x="123" y="5"/>
                      <a:pt x="123" y="5"/>
                      <a:pt x="123" y="5"/>
                    </a:cubicBezTo>
                    <a:close/>
                    <a:moveTo>
                      <a:pt x="165" y="5"/>
                    </a:moveTo>
                    <a:cubicBezTo>
                      <a:pt x="165" y="5"/>
                      <a:pt x="165" y="5"/>
                      <a:pt x="165" y="5"/>
                    </a:cubicBezTo>
                    <a:cubicBezTo>
                      <a:pt x="164" y="4"/>
                      <a:pt x="162" y="4"/>
                      <a:pt x="159" y="4"/>
                    </a:cubicBezTo>
                    <a:cubicBezTo>
                      <a:pt x="159" y="3"/>
                      <a:pt x="158" y="3"/>
                      <a:pt x="158" y="2"/>
                    </a:cubicBezTo>
                    <a:cubicBezTo>
                      <a:pt x="158" y="2"/>
                      <a:pt x="159" y="1"/>
                      <a:pt x="160" y="1"/>
                    </a:cubicBezTo>
                    <a:cubicBezTo>
                      <a:pt x="162" y="2"/>
                      <a:pt x="164" y="2"/>
                      <a:pt x="166" y="3"/>
                    </a:cubicBezTo>
                    <a:cubicBezTo>
                      <a:pt x="166" y="3"/>
                      <a:pt x="167" y="4"/>
                      <a:pt x="167" y="4"/>
                    </a:cubicBezTo>
                    <a:cubicBezTo>
                      <a:pt x="166" y="5"/>
                      <a:pt x="166" y="5"/>
                      <a:pt x="165" y="5"/>
                    </a:cubicBezTo>
                    <a:close/>
                    <a:moveTo>
                      <a:pt x="153" y="3"/>
                    </a:moveTo>
                    <a:cubicBezTo>
                      <a:pt x="153" y="3"/>
                      <a:pt x="153" y="3"/>
                      <a:pt x="153" y="3"/>
                    </a:cubicBezTo>
                    <a:cubicBezTo>
                      <a:pt x="151" y="3"/>
                      <a:pt x="149" y="2"/>
                      <a:pt x="147" y="2"/>
                    </a:cubicBezTo>
                    <a:cubicBezTo>
                      <a:pt x="146" y="2"/>
                      <a:pt x="146" y="2"/>
                      <a:pt x="146" y="1"/>
                    </a:cubicBezTo>
                    <a:cubicBezTo>
                      <a:pt x="146" y="1"/>
                      <a:pt x="147" y="0"/>
                      <a:pt x="147" y="0"/>
                    </a:cubicBezTo>
                    <a:cubicBezTo>
                      <a:pt x="149" y="0"/>
                      <a:pt x="151" y="0"/>
                      <a:pt x="153" y="0"/>
                    </a:cubicBezTo>
                    <a:cubicBezTo>
                      <a:pt x="154" y="1"/>
                      <a:pt x="155" y="1"/>
                      <a:pt x="154" y="2"/>
                    </a:cubicBezTo>
                    <a:cubicBezTo>
                      <a:pt x="154" y="2"/>
                      <a:pt x="154" y="3"/>
                      <a:pt x="153" y="3"/>
                    </a:cubicBezTo>
                    <a:close/>
                    <a:moveTo>
                      <a:pt x="135" y="3"/>
                    </a:moveTo>
                    <a:cubicBezTo>
                      <a:pt x="134" y="3"/>
                      <a:pt x="134" y="2"/>
                      <a:pt x="134" y="2"/>
                    </a:cubicBezTo>
                    <a:cubicBezTo>
                      <a:pt x="134" y="1"/>
                      <a:pt x="134" y="0"/>
                      <a:pt x="135" y="0"/>
                    </a:cubicBezTo>
                    <a:cubicBezTo>
                      <a:pt x="137" y="0"/>
                      <a:pt x="139" y="0"/>
                      <a:pt x="141" y="0"/>
                    </a:cubicBezTo>
                    <a:cubicBezTo>
                      <a:pt x="141" y="0"/>
                      <a:pt x="141" y="0"/>
                      <a:pt x="141" y="0"/>
                    </a:cubicBezTo>
                    <a:cubicBezTo>
                      <a:pt x="142" y="0"/>
                      <a:pt x="142" y="1"/>
                      <a:pt x="142" y="1"/>
                    </a:cubicBezTo>
                    <a:cubicBezTo>
                      <a:pt x="142" y="2"/>
                      <a:pt x="142" y="2"/>
                      <a:pt x="141" y="2"/>
                    </a:cubicBezTo>
                    <a:cubicBezTo>
                      <a:pt x="139" y="2"/>
                      <a:pt x="137" y="2"/>
                      <a:pt x="135" y="3"/>
                    </a:cubicBezTo>
                    <a:close/>
                  </a:path>
                </a:pathLst>
              </a:custGeom>
              <a:solidFill>
                <a:srgbClr val="FAA9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8" name="Freeform 340">
                <a:extLst>
                  <a:ext uri="{FF2B5EF4-FFF2-40B4-BE49-F238E27FC236}">
                    <a16:creationId xmlns:a16="http://schemas.microsoft.com/office/drawing/2014/main" id="{42698AFF-0B92-4E68-88B8-C60E8AE9B72A}"/>
                  </a:ext>
                </a:extLst>
              </p:cNvPr>
              <p:cNvSpPr>
                <a:spLocks/>
              </p:cNvSpPr>
              <p:nvPr/>
            </p:nvSpPr>
            <p:spPr bwMode="auto">
              <a:xfrm>
                <a:off x="10518775" y="2179638"/>
                <a:ext cx="549275" cy="311150"/>
              </a:xfrm>
              <a:custGeom>
                <a:avLst/>
                <a:gdLst>
                  <a:gd name="T0" fmla="*/ 164 w 193"/>
                  <a:gd name="T1" fmla="*/ 20 h 109"/>
                  <a:gd name="T2" fmla="*/ 121 w 193"/>
                  <a:gd name="T3" fmla="*/ 1 h 109"/>
                  <a:gd name="T4" fmla="*/ 74 w 193"/>
                  <a:gd name="T5" fmla="*/ 1 h 109"/>
                  <a:gd name="T6" fmla="*/ 29 w 193"/>
                  <a:gd name="T7" fmla="*/ 20 h 109"/>
                  <a:gd name="T8" fmla="*/ 80 w 193"/>
                  <a:gd name="T9" fmla="*/ 108 h 109"/>
                  <a:gd name="T10" fmla="*/ 96 w 193"/>
                  <a:gd name="T11" fmla="*/ 107 h 109"/>
                  <a:gd name="T12" fmla="*/ 113 w 193"/>
                  <a:gd name="T13" fmla="*/ 108 h 109"/>
                  <a:gd name="T14" fmla="*/ 164 w 193"/>
                  <a:gd name="T15" fmla="*/ 20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109">
                    <a:moveTo>
                      <a:pt x="164" y="20"/>
                    </a:moveTo>
                    <a:cubicBezTo>
                      <a:pt x="154" y="7"/>
                      <a:pt x="136" y="2"/>
                      <a:pt x="121" y="1"/>
                    </a:cubicBezTo>
                    <a:cubicBezTo>
                      <a:pt x="110" y="0"/>
                      <a:pt x="84" y="0"/>
                      <a:pt x="74" y="1"/>
                    </a:cubicBezTo>
                    <a:cubicBezTo>
                      <a:pt x="58" y="2"/>
                      <a:pt x="40" y="6"/>
                      <a:pt x="29" y="20"/>
                    </a:cubicBezTo>
                    <a:cubicBezTo>
                      <a:pt x="9" y="45"/>
                      <a:pt x="0" y="109"/>
                      <a:pt x="80" y="108"/>
                    </a:cubicBezTo>
                    <a:cubicBezTo>
                      <a:pt x="86" y="107"/>
                      <a:pt x="92" y="107"/>
                      <a:pt x="96" y="107"/>
                    </a:cubicBezTo>
                    <a:cubicBezTo>
                      <a:pt x="101" y="107"/>
                      <a:pt x="107" y="107"/>
                      <a:pt x="113" y="108"/>
                    </a:cubicBezTo>
                    <a:cubicBezTo>
                      <a:pt x="193" y="109"/>
                      <a:pt x="183" y="45"/>
                      <a:pt x="164" y="20"/>
                    </a:cubicBezTo>
                    <a:close/>
                  </a:path>
                </a:pathLst>
              </a:cu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9" name="Freeform 341">
                <a:extLst>
                  <a:ext uri="{FF2B5EF4-FFF2-40B4-BE49-F238E27FC236}">
                    <a16:creationId xmlns:a16="http://schemas.microsoft.com/office/drawing/2014/main" id="{FC1A2600-C154-4393-9032-ED37202CEB38}"/>
                  </a:ext>
                </a:extLst>
              </p:cNvPr>
              <p:cNvSpPr>
                <a:spLocks noEditPoints="1"/>
              </p:cNvSpPr>
              <p:nvPr/>
            </p:nvSpPr>
            <p:spPr bwMode="auto">
              <a:xfrm>
                <a:off x="10575925" y="2193925"/>
                <a:ext cx="434975" cy="279400"/>
              </a:xfrm>
              <a:custGeom>
                <a:avLst/>
                <a:gdLst>
                  <a:gd name="T0" fmla="*/ 89 w 153"/>
                  <a:gd name="T1" fmla="*/ 96 h 98"/>
                  <a:gd name="T2" fmla="*/ 101 w 153"/>
                  <a:gd name="T3" fmla="*/ 98 h 98"/>
                  <a:gd name="T4" fmla="*/ 52 w 153"/>
                  <a:gd name="T5" fmla="*/ 96 h 98"/>
                  <a:gd name="T6" fmla="*/ 57 w 153"/>
                  <a:gd name="T7" fmla="*/ 98 h 98"/>
                  <a:gd name="T8" fmla="*/ 71 w 153"/>
                  <a:gd name="T9" fmla="*/ 97 h 98"/>
                  <a:gd name="T10" fmla="*/ 77 w 153"/>
                  <a:gd name="T11" fmla="*/ 98 h 98"/>
                  <a:gd name="T12" fmla="*/ 84 w 153"/>
                  <a:gd name="T13" fmla="*/ 97 h 98"/>
                  <a:gd name="T14" fmla="*/ 39 w 153"/>
                  <a:gd name="T15" fmla="*/ 96 h 98"/>
                  <a:gd name="T16" fmla="*/ 107 w 153"/>
                  <a:gd name="T17" fmla="*/ 97 h 98"/>
                  <a:gd name="T18" fmla="*/ 114 w 153"/>
                  <a:gd name="T19" fmla="*/ 96 h 98"/>
                  <a:gd name="T20" fmla="*/ 27 w 153"/>
                  <a:gd name="T21" fmla="*/ 93 h 98"/>
                  <a:gd name="T22" fmla="*/ 119 w 153"/>
                  <a:gd name="T23" fmla="*/ 95 h 98"/>
                  <a:gd name="T24" fmla="*/ 126 w 153"/>
                  <a:gd name="T25" fmla="*/ 93 h 98"/>
                  <a:gd name="T26" fmla="*/ 17 w 153"/>
                  <a:gd name="T27" fmla="*/ 88 h 98"/>
                  <a:gd name="T28" fmla="*/ 22 w 153"/>
                  <a:gd name="T29" fmla="*/ 91 h 98"/>
                  <a:gd name="T30" fmla="*/ 137 w 153"/>
                  <a:gd name="T31" fmla="*/ 87 h 98"/>
                  <a:gd name="T32" fmla="*/ 7 w 153"/>
                  <a:gd name="T33" fmla="*/ 79 h 98"/>
                  <a:gd name="T34" fmla="*/ 12 w 153"/>
                  <a:gd name="T35" fmla="*/ 84 h 98"/>
                  <a:gd name="T36" fmla="*/ 146 w 153"/>
                  <a:gd name="T37" fmla="*/ 78 h 98"/>
                  <a:gd name="T38" fmla="*/ 4 w 153"/>
                  <a:gd name="T39" fmla="*/ 74 h 98"/>
                  <a:gd name="T40" fmla="*/ 5 w 153"/>
                  <a:gd name="T41" fmla="*/ 74 h 98"/>
                  <a:gd name="T42" fmla="*/ 151 w 153"/>
                  <a:gd name="T43" fmla="*/ 67 h 98"/>
                  <a:gd name="T44" fmla="*/ 1 w 153"/>
                  <a:gd name="T45" fmla="*/ 62 h 98"/>
                  <a:gd name="T46" fmla="*/ 1 w 153"/>
                  <a:gd name="T47" fmla="*/ 63 h 98"/>
                  <a:gd name="T48" fmla="*/ 152 w 153"/>
                  <a:gd name="T49" fmla="*/ 55 h 98"/>
                  <a:gd name="T50" fmla="*/ 1 w 153"/>
                  <a:gd name="T51" fmla="*/ 50 h 98"/>
                  <a:gd name="T52" fmla="*/ 2 w 153"/>
                  <a:gd name="T53" fmla="*/ 50 h 98"/>
                  <a:gd name="T54" fmla="*/ 150 w 153"/>
                  <a:gd name="T55" fmla="*/ 42 h 98"/>
                  <a:gd name="T56" fmla="*/ 3 w 153"/>
                  <a:gd name="T57" fmla="*/ 38 h 98"/>
                  <a:gd name="T58" fmla="*/ 4 w 153"/>
                  <a:gd name="T59" fmla="*/ 38 h 98"/>
                  <a:gd name="T60" fmla="*/ 148 w 153"/>
                  <a:gd name="T61" fmla="*/ 31 h 98"/>
                  <a:gd name="T62" fmla="*/ 8 w 153"/>
                  <a:gd name="T63" fmla="*/ 26 h 98"/>
                  <a:gd name="T64" fmla="*/ 8 w 153"/>
                  <a:gd name="T65" fmla="*/ 27 h 98"/>
                  <a:gd name="T66" fmla="*/ 142 w 153"/>
                  <a:gd name="T67" fmla="*/ 20 h 98"/>
                  <a:gd name="T68" fmla="*/ 15 w 153"/>
                  <a:gd name="T69" fmla="*/ 17 h 98"/>
                  <a:gd name="T70" fmla="*/ 16 w 153"/>
                  <a:gd name="T71" fmla="*/ 16 h 98"/>
                  <a:gd name="T72" fmla="*/ 132 w 153"/>
                  <a:gd name="T73" fmla="*/ 11 h 98"/>
                  <a:gd name="T74" fmla="*/ 25 w 153"/>
                  <a:gd name="T75" fmla="*/ 9 h 98"/>
                  <a:gd name="T76" fmla="*/ 31 w 153"/>
                  <a:gd name="T77" fmla="*/ 7 h 98"/>
                  <a:gd name="T78" fmla="*/ 121 w 153"/>
                  <a:gd name="T79" fmla="*/ 6 h 98"/>
                  <a:gd name="T80" fmla="*/ 36 w 153"/>
                  <a:gd name="T81" fmla="*/ 5 h 98"/>
                  <a:gd name="T82" fmla="*/ 43 w 153"/>
                  <a:gd name="T83" fmla="*/ 3 h 98"/>
                  <a:gd name="T84" fmla="*/ 110 w 153"/>
                  <a:gd name="T85" fmla="*/ 3 h 98"/>
                  <a:gd name="T86" fmla="*/ 116 w 153"/>
                  <a:gd name="T87" fmla="*/ 5 h 98"/>
                  <a:gd name="T88" fmla="*/ 55 w 153"/>
                  <a:gd name="T89" fmla="*/ 0 h 98"/>
                  <a:gd name="T90" fmla="*/ 48 w 153"/>
                  <a:gd name="T91" fmla="*/ 2 h 98"/>
                  <a:gd name="T92" fmla="*/ 97 w 153"/>
                  <a:gd name="T93" fmla="*/ 1 h 98"/>
                  <a:gd name="T94" fmla="*/ 104 w 153"/>
                  <a:gd name="T95" fmla="*/ 2 h 98"/>
                  <a:gd name="T96" fmla="*/ 68 w 153"/>
                  <a:gd name="T97" fmla="*/ 0 h 98"/>
                  <a:gd name="T98" fmla="*/ 85 w 153"/>
                  <a:gd name="T99" fmla="*/ 1 h 98"/>
                  <a:gd name="T100" fmla="*/ 92 w 153"/>
                  <a:gd name="T101" fmla="*/ 1 h 98"/>
                  <a:gd name="T102" fmla="*/ 79 w 153"/>
                  <a:gd name="T103" fmla="*/ 0 h 98"/>
                  <a:gd name="T104" fmla="*/ 73 w 153"/>
                  <a:gd name="T105" fmla="*/ 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3" h="98">
                    <a:moveTo>
                      <a:pt x="95" y="98"/>
                    </a:moveTo>
                    <a:cubicBezTo>
                      <a:pt x="95" y="98"/>
                      <a:pt x="94" y="98"/>
                      <a:pt x="93" y="98"/>
                    </a:cubicBezTo>
                    <a:cubicBezTo>
                      <a:pt x="89" y="98"/>
                      <a:pt x="89" y="98"/>
                      <a:pt x="89" y="98"/>
                    </a:cubicBezTo>
                    <a:cubicBezTo>
                      <a:pt x="89" y="98"/>
                      <a:pt x="88" y="97"/>
                      <a:pt x="88" y="97"/>
                    </a:cubicBezTo>
                    <a:cubicBezTo>
                      <a:pt x="88" y="97"/>
                      <a:pt x="89" y="96"/>
                      <a:pt x="89" y="96"/>
                    </a:cubicBezTo>
                    <a:cubicBezTo>
                      <a:pt x="89" y="96"/>
                      <a:pt x="89" y="96"/>
                      <a:pt x="89" y="96"/>
                    </a:cubicBezTo>
                    <a:cubicBezTo>
                      <a:pt x="93" y="96"/>
                      <a:pt x="93" y="96"/>
                      <a:pt x="93" y="96"/>
                    </a:cubicBezTo>
                    <a:cubicBezTo>
                      <a:pt x="96" y="96"/>
                      <a:pt x="99" y="96"/>
                      <a:pt x="101" y="96"/>
                    </a:cubicBezTo>
                    <a:cubicBezTo>
                      <a:pt x="102" y="96"/>
                      <a:pt x="102" y="97"/>
                      <a:pt x="102" y="97"/>
                    </a:cubicBezTo>
                    <a:cubicBezTo>
                      <a:pt x="102" y="97"/>
                      <a:pt x="102" y="98"/>
                      <a:pt x="101" y="98"/>
                    </a:cubicBezTo>
                    <a:cubicBezTo>
                      <a:pt x="99" y="98"/>
                      <a:pt x="97" y="98"/>
                      <a:pt x="95" y="98"/>
                    </a:cubicBezTo>
                    <a:close/>
                    <a:moveTo>
                      <a:pt x="57" y="98"/>
                    </a:moveTo>
                    <a:cubicBezTo>
                      <a:pt x="56" y="98"/>
                      <a:pt x="54" y="98"/>
                      <a:pt x="52" y="98"/>
                    </a:cubicBezTo>
                    <a:cubicBezTo>
                      <a:pt x="52" y="98"/>
                      <a:pt x="51" y="97"/>
                      <a:pt x="51" y="97"/>
                    </a:cubicBezTo>
                    <a:cubicBezTo>
                      <a:pt x="51" y="97"/>
                      <a:pt x="52" y="96"/>
                      <a:pt x="52" y="96"/>
                    </a:cubicBezTo>
                    <a:cubicBezTo>
                      <a:pt x="54" y="96"/>
                      <a:pt x="56" y="96"/>
                      <a:pt x="57" y="96"/>
                    </a:cubicBezTo>
                    <a:cubicBezTo>
                      <a:pt x="58" y="96"/>
                      <a:pt x="58" y="96"/>
                      <a:pt x="58" y="96"/>
                    </a:cubicBezTo>
                    <a:cubicBezTo>
                      <a:pt x="59" y="96"/>
                      <a:pt x="59" y="97"/>
                      <a:pt x="59" y="97"/>
                    </a:cubicBezTo>
                    <a:cubicBezTo>
                      <a:pt x="59" y="98"/>
                      <a:pt x="59" y="98"/>
                      <a:pt x="58" y="98"/>
                    </a:cubicBezTo>
                    <a:lnTo>
                      <a:pt x="57" y="98"/>
                    </a:lnTo>
                    <a:close/>
                    <a:moveTo>
                      <a:pt x="65" y="98"/>
                    </a:moveTo>
                    <a:cubicBezTo>
                      <a:pt x="64" y="98"/>
                      <a:pt x="64" y="97"/>
                      <a:pt x="64" y="97"/>
                    </a:cubicBezTo>
                    <a:cubicBezTo>
                      <a:pt x="64" y="97"/>
                      <a:pt x="64" y="96"/>
                      <a:pt x="65" y="96"/>
                    </a:cubicBezTo>
                    <a:cubicBezTo>
                      <a:pt x="67" y="96"/>
                      <a:pt x="69" y="96"/>
                      <a:pt x="71" y="96"/>
                    </a:cubicBezTo>
                    <a:cubicBezTo>
                      <a:pt x="71" y="96"/>
                      <a:pt x="71" y="97"/>
                      <a:pt x="71" y="97"/>
                    </a:cubicBezTo>
                    <a:cubicBezTo>
                      <a:pt x="71" y="97"/>
                      <a:pt x="71" y="98"/>
                      <a:pt x="71" y="98"/>
                    </a:cubicBezTo>
                    <a:cubicBezTo>
                      <a:pt x="69" y="98"/>
                      <a:pt x="67" y="98"/>
                      <a:pt x="65" y="98"/>
                    </a:cubicBezTo>
                    <a:close/>
                    <a:moveTo>
                      <a:pt x="83" y="98"/>
                    </a:moveTo>
                    <a:cubicBezTo>
                      <a:pt x="83" y="98"/>
                      <a:pt x="83" y="98"/>
                      <a:pt x="83" y="98"/>
                    </a:cubicBezTo>
                    <a:cubicBezTo>
                      <a:pt x="81" y="98"/>
                      <a:pt x="79" y="98"/>
                      <a:pt x="77" y="98"/>
                    </a:cubicBezTo>
                    <a:cubicBezTo>
                      <a:pt x="76" y="98"/>
                      <a:pt x="76" y="97"/>
                      <a:pt x="76" y="97"/>
                    </a:cubicBezTo>
                    <a:cubicBezTo>
                      <a:pt x="76" y="96"/>
                      <a:pt x="76" y="96"/>
                      <a:pt x="77" y="96"/>
                    </a:cubicBezTo>
                    <a:cubicBezTo>
                      <a:pt x="77" y="96"/>
                      <a:pt x="77" y="96"/>
                      <a:pt x="77" y="96"/>
                    </a:cubicBezTo>
                    <a:cubicBezTo>
                      <a:pt x="79" y="96"/>
                      <a:pt x="81" y="96"/>
                      <a:pt x="83" y="96"/>
                    </a:cubicBezTo>
                    <a:cubicBezTo>
                      <a:pt x="83" y="96"/>
                      <a:pt x="84" y="97"/>
                      <a:pt x="84" y="97"/>
                    </a:cubicBezTo>
                    <a:cubicBezTo>
                      <a:pt x="84" y="97"/>
                      <a:pt x="83" y="98"/>
                      <a:pt x="83" y="98"/>
                    </a:cubicBezTo>
                    <a:close/>
                    <a:moveTo>
                      <a:pt x="46" y="97"/>
                    </a:moveTo>
                    <a:cubicBezTo>
                      <a:pt x="46" y="97"/>
                      <a:pt x="46" y="97"/>
                      <a:pt x="46" y="97"/>
                    </a:cubicBezTo>
                    <a:cubicBezTo>
                      <a:pt x="44" y="97"/>
                      <a:pt x="42" y="97"/>
                      <a:pt x="40" y="97"/>
                    </a:cubicBezTo>
                    <a:cubicBezTo>
                      <a:pt x="39" y="96"/>
                      <a:pt x="39" y="96"/>
                      <a:pt x="39" y="96"/>
                    </a:cubicBezTo>
                    <a:cubicBezTo>
                      <a:pt x="39" y="95"/>
                      <a:pt x="40" y="95"/>
                      <a:pt x="40" y="95"/>
                    </a:cubicBezTo>
                    <a:cubicBezTo>
                      <a:pt x="42" y="95"/>
                      <a:pt x="44" y="96"/>
                      <a:pt x="46" y="96"/>
                    </a:cubicBezTo>
                    <a:cubicBezTo>
                      <a:pt x="47" y="96"/>
                      <a:pt x="47" y="96"/>
                      <a:pt x="47" y="97"/>
                    </a:cubicBezTo>
                    <a:cubicBezTo>
                      <a:pt x="47" y="97"/>
                      <a:pt x="46" y="97"/>
                      <a:pt x="46" y="97"/>
                    </a:cubicBezTo>
                    <a:close/>
                    <a:moveTo>
                      <a:pt x="107" y="97"/>
                    </a:moveTo>
                    <a:cubicBezTo>
                      <a:pt x="107" y="97"/>
                      <a:pt x="107" y="97"/>
                      <a:pt x="107" y="97"/>
                    </a:cubicBezTo>
                    <a:cubicBezTo>
                      <a:pt x="106" y="96"/>
                      <a:pt x="107" y="96"/>
                      <a:pt x="107" y="96"/>
                    </a:cubicBezTo>
                    <a:cubicBezTo>
                      <a:pt x="109" y="96"/>
                      <a:pt x="111" y="95"/>
                      <a:pt x="113" y="95"/>
                    </a:cubicBezTo>
                    <a:cubicBezTo>
                      <a:pt x="114" y="95"/>
                      <a:pt x="114" y="95"/>
                      <a:pt x="114" y="96"/>
                    </a:cubicBezTo>
                    <a:cubicBezTo>
                      <a:pt x="114" y="96"/>
                      <a:pt x="114" y="96"/>
                      <a:pt x="114" y="96"/>
                    </a:cubicBezTo>
                    <a:cubicBezTo>
                      <a:pt x="112" y="97"/>
                      <a:pt x="109" y="97"/>
                      <a:pt x="107" y="97"/>
                    </a:cubicBezTo>
                    <a:close/>
                    <a:moveTo>
                      <a:pt x="34" y="95"/>
                    </a:moveTo>
                    <a:cubicBezTo>
                      <a:pt x="34" y="95"/>
                      <a:pt x="34" y="95"/>
                      <a:pt x="34" y="95"/>
                    </a:cubicBezTo>
                    <a:cubicBezTo>
                      <a:pt x="32" y="95"/>
                      <a:pt x="30" y="94"/>
                      <a:pt x="28" y="94"/>
                    </a:cubicBezTo>
                    <a:cubicBezTo>
                      <a:pt x="27" y="93"/>
                      <a:pt x="27" y="93"/>
                      <a:pt x="27" y="93"/>
                    </a:cubicBezTo>
                    <a:cubicBezTo>
                      <a:pt x="27" y="92"/>
                      <a:pt x="28" y="92"/>
                      <a:pt x="28" y="92"/>
                    </a:cubicBezTo>
                    <a:cubicBezTo>
                      <a:pt x="30" y="93"/>
                      <a:pt x="32" y="93"/>
                      <a:pt x="34" y="94"/>
                    </a:cubicBezTo>
                    <a:cubicBezTo>
                      <a:pt x="34" y="94"/>
                      <a:pt x="35" y="94"/>
                      <a:pt x="35" y="95"/>
                    </a:cubicBezTo>
                    <a:cubicBezTo>
                      <a:pt x="35" y="95"/>
                      <a:pt x="34" y="95"/>
                      <a:pt x="34" y="95"/>
                    </a:cubicBezTo>
                    <a:close/>
                    <a:moveTo>
                      <a:pt x="119" y="95"/>
                    </a:moveTo>
                    <a:cubicBezTo>
                      <a:pt x="119" y="95"/>
                      <a:pt x="119" y="95"/>
                      <a:pt x="119" y="95"/>
                    </a:cubicBezTo>
                    <a:cubicBezTo>
                      <a:pt x="119" y="94"/>
                      <a:pt x="119" y="94"/>
                      <a:pt x="119" y="94"/>
                    </a:cubicBezTo>
                    <a:cubicBezTo>
                      <a:pt x="121" y="93"/>
                      <a:pt x="123" y="93"/>
                      <a:pt x="125" y="92"/>
                    </a:cubicBezTo>
                    <a:cubicBezTo>
                      <a:pt x="125" y="92"/>
                      <a:pt x="126" y="92"/>
                      <a:pt x="126" y="92"/>
                    </a:cubicBezTo>
                    <a:cubicBezTo>
                      <a:pt x="126" y="93"/>
                      <a:pt x="126" y="93"/>
                      <a:pt x="126" y="93"/>
                    </a:cubicBezTo>
                    <a:cubicBezTo>
                      <a:pt x="124" y="94"/>
                      <a:pt x="122" y="95"/>
                      <a:pt x="120" y="95"/>
                    </a:cubicBezTo>
                    <a:lnTo>
                      <a:pt x="119" y="95"/>
                    </a:lnTo>
                    <a:close/>
                    <a:moveTo>
                      <a:pt x="22" y="91"/>
                    </a:moveTo>
                    <a:cubicBezTo>
                      <a:pt x="22" y="91"/>
                      <a:pt x="22" y="91"/>
                      <a:pt x="22" y="91"/>
                    </a:cubicBezTo>
                    <a:cubicBezTo>
                      <a:pt x="20" y="90"/>
                      <a:pt x="18" y="89"/>
                      <a:pt x="17" y="88"/>
                    </a:cubicBezTo>
                    <a:cubicBezTo>
                      <a:pt x="16" y="88"/>
                      <a:pt x="16" y="87"/>
                      <a:pt x="16" y="87"/>
                    </a:cubicBezTo>
                    <a:cubicBezTo>
                      <a:pt x="17" y="87"/>
                      <a:pt x="17" y="87"/>
                      <a:pt x="17" y="87"/>
                    </a:cubicBezTo>
                    <a:cubicBezTo>
                      <a:pt x="19" y="88"/>
                      <a:pt x="21" y="89"/>
                      <a:pt x="23" y="90"/>
                    </a:cubicBezTo>
                    <a:cubicBezTo>
                      <a:pt x="23" y="90"/>
                      <a:pt x="23" y="90"/>
                      <a:pt x="23" y="91"/>
                    </a:cubicBezTo>
                    <a:lnTo>
                      <a:pt x="22" y="91"/>
                    </a:lnTo>
                    <a:close/>
                    <a:moveTo>
                      <a:pt x="131" y="91"/>
                    </a:moveTo>
                    <a:cubicBezTo>
                      <a:pt x="130" y="91"/>
                      <a:pt x="130" y="91"/>
                      <a:pt x="130" y="91"/>
                    </a:cubicBezTo>
                    <a:cubicBezTo>
                      <a:pt x="130" y="90"/>
                      <a:pt x="130" y="90"/>
                      <a:pt x="131" y="90"/>
                    </a:cubicBezTo>
                    <a:cubicBezTo>
                      <a:pt x="132" y="89"/>
                      <a:pt x="134" y="88"/>
                      <a:pt x="136" y="86"/>
                    </a:cubicBezTo>
                    <a:cubicBezTo>
                      <a:pt x="137" y="87"/>
                      <a:pt x="137" y="87"/>
                      <a:pt x="137" y="87"/>
                    </a:cubicBezTo>
                    <a:cubicBezTo>
                      <a:pt x="137" y="87"/>
                      <a:pt x="137" y="88"/>
                      <a:pt x="137" y="88"/>
                    </a:cubicBezTo>
                    <a:cubicBezTo>
                      <a:pt x="135" y="89"/>
                      <a:pt x="133" y="90"/>
                      <a:pt x="131" y="91"/>
                    </a:cubicBezTo>
                    <a:close/>
                    <a:moveTo>
                      <a:pt x="12" y="84"/>
                    </a:moveTo>
                    <a:cubicBezTo>
                      <a:pt x="12" y="84"/>
                      <a:pt x="12" y="84"/>
                      <a:pt x="12" y="84"/>
                    </a:cubicBezTo>
                    <a:cubicBezTo>
                      <a:pt x="10" y="83"/>
                      <a:pt x="9" y="81"/>
                      <a:pt x="7" y="79"/>
                    </a:cubicBezTo>
                    <a:cubicBezTo>
                      <a:pt x="8" y="78"/>
                      <a:pt x="8" y="78"/>
                      <a:pt x="8" y="78"/>
                    </a:cubicBezTo>
                    <a:cubicBezTo>
                      <a:pt x="9" y="79"/>
                      <a:pt x="9" y="79"/>
                      <a:pt x="9" y="79"/>
                    </a:cubicBezTo>
                    <a:cubicBezTo>
                      <a:pt x="10" y="80"/>
                      <a:pt x="11" y="82"/>
                      <a:pt x="13" y="83"/>
                    </a:cubicBezTo>
                    <a:cubicBezTo>
                      <a:pt x="13" y="84"/>
                      <a:pt x="13" y="84"/>
                      <a:pt x="13" y="84"/>
                    </a:cubicBezTo>
                    <a:lnTo>
                      <a:pt x="12" y="84"/>
                    </a:lnTo>
                    <a:close/>
                    <a:moveTo>
                      <a:pt x="141" y="84"/>
                    </a:moveTo>
                    <a:cubicBezTo>
                      <a:pt x="140" y="84"/>
                      <a:pt x="140" y="84"/>
                      <a:pt x="140" y="84"/>
                    </a:cubicBezTo>
                    <a:cubicBezTo>
                      <a:pt x="140" y="83"/>
                      <a:pt x="140" y="83"/>
                      <a:pt x="140" y="83"/>
                    </a:cubicBezTo>
                    <a:cubicBezTo>
                      <a:pt x="142" y="81"/>
                      <a:pt x="143" y="80"/>
                      <a:pt x="144" y="78"/>
                    </a:cubicBezTo>
                    <a:cubicBezTo>
                      <a:pt x="146" y="78"/>
                      <a:pt x="146" y="78"/>
                      <a:pt x="146" y="78"/>
                    </a:cubicBezTo>
                    <a:cubicBezTo>
                      <a:pt x="146" y="79"/>
                      <a:pt x="146" y="79"/>
                      <a:pt x="146" y="79"/>
                    </a:cubicBezTo>
                    <a:cubicBezTo>
                      <a:pt x="144" y="81"/>
                      <a:pt x="143" y="82"/>
                      <a:pt x="142" y="84"/>
                    </a:cubicBezTo>
                    <a:lnTo>
                      <a:pt x="141" y="84"/>
                    </a:lnTo>
                    <a:close/>
                    <a:moveTo>
                      <a:pt x="5" y="74"/>
                    </a:moveTo>
                    <a:cubicBezTo>
                      <a:pt x="4" y="74"/>
                      <a:pt x="4" y="74"/>
                      <a:pt x="4" y="74"/>
                    </a:cubicBezTo>
                    <a:cubicBezTo>
                      <a:pt x="3" y="72"/>
                      <a:pt x="3" y="70"/>
                      <a:pt x="2" y="68"/>
                    </a:cubicBezTo>
                    <a:cubicBezTo>
                      <a:pt x="2" y="68"/>
                      <a:pt x="2" y="67"/>
                      <a:pt x="2" y="67"/>
                    </a:cubicBezTo>
                    <a:cubicBezTo>
                      <a:pt x="3" y="67"/>
                      <a:pt x="3" y="67"/>
                      <a:pt x="3" y="68"/>
                    </a:cubicBezTo>
                    <a:cubicBezTo>
                      <a:pt x="4" y="70"/>
                      <a:pt x="5" y="72"/>
                      <a:pt x="6" y="73"/>
                    </a:cubicBezTo>
                    <a:cubicBezTo>
                      <a:pt x="6" y="74"/>
                      <a:pt x="6" y="74"/>
                      <a:pt x="5" y="74"/>
                    </a:cubicBezTo>
                    <a:close/>
                    <a:moveTo>
                      <a:pt x="148" y="74"/>
                    </a:moveTo>
                    <a:cubicBezTo>
                      <a:pt x="148" y="74"/>
                      <a:pt x="148" y="74"/>
                      <a:pt x="148" y="74"/>
                    </a:cubicBezTo>
                    <a:cubicBezTo>
                      <a:pt x="147" y="74"/>
                      <a:pt x="147" y="73"/>
                      <a:pt x="147" y="73"/>
                    </a:cubicBezTo>
                    <a:cubicBezTo>
                      <a:pt x="148" y="71"/>
                      <a:pt x="149" y="69"/>
                      <a:pt x="150" y="67"/>
                    </a:cubicBezTo>
                    <a:cubicBezTo>
                      <a:pt x="150" y="67"/>
                      <a:pt x="150" y="67"/>
                      <a:pt x="151" y="67"/>
                    </a:cubicBezTo>
                    <a:cubicBezTo>
                      <a:pt x="151" y="67"/>
                      <a:pt x="151" y="67"/>
                      <a:pt x="151" y="68"/>
                    </a:cubicBezTo>
                    <a:cubicBezTo>
                      <a:pt x="150" y="70"/>
                      <a:pt x="150" y="72"/>
                      <a:pt x="149" y="74"/>
                    </a:cubicBezTo>
                    <a:lnTo>
                      <a:pt x="148" y="74"/>
                    </a:lnTo>
                    <a:close/>
                    <a:moveTo>
                      <a:pt x="1" y="63"/>
                    </a:moveTo>
                    <a:cubicBezTo>
                      <a:pt x="1" y="63"/>
                      <a:pt x="1" y="62"/>
                      <a:pt x="1" y="62"/>
                    </a:cubicBezTo>
                    <a:cubicBezTo>
                      <a:pt x="0" y="60"/>
                      <a:pt x="0" y="58"/>
                      <a:pt x="0" y="56"/>
                    </a:cubicBezTo>
                    <a:cubicBezTo>
                      <a:pt x="0" y="55"/>
                      <a:pt x="0" y="55"/>
                      <a:pt x="1" y="55"/>
                    </a:cubicBezTo>
                    <a:cubicBezTo>
                      <a:pt x="1" y="55"/>
                      <a:pt x="2" y="55"/>
                      <a:pt x="2" y="56"/>
                    </a:cubicBezTo>
                    <a:cubicBezTo>
                      <a:pt x="2" y="58"/>
                      <a:pt x="2" y="60"/>
                      <a:pt x="2" y="62"/>
                    </a:cubicBezTo>
                    <a:cubicBezTo>
                      <a:pt x="2" y="62"/>
                      <a:pt x="2" y="63"/>
                      <a:pt x="1" y="63"/>
                    </a:cubicBezTo>
                    <a:close/>
                    <a:moveTo>
                      <a:pt x="152" y="62"/>
                    </a:moveTo>
                    <a:cubicBezTo>
                      <a:pt x="151" y="62"/>
                      <a:pt x="151" y="62"/>
                      <a:pt x="151" y="62"/>
                    </a:cubicBezTo>
                    <a:cubicBezTo>
                      <a:pt x="151" y="62"/>
                      <a:pt x="151" y="62"/>
                      <a:pt x="151" y="61"/>
                    </a:cubicBezTo>
                    <a:cubicBezTo>
                      <a:pt x="151" y="59"/>
                      <a:pt x="151" y="57"/>
                      <a:pt x="151" y="55"/>
                    </a:cubicBezTo>
                    <a:cubicBezTo>
                      <a:pt x="151" y="55"/>
                      <a:pt x="152" y="55"/>
                      <a:pt x="152" y="55"/>
                    </a:cubicBezTo>
                    <a:cubicBezTo>
                      <a:pt x="152" y="55"/>
                      <a:pt x="153" y="55"/>
                      <a:pt x="153" y="55"/>
                    </a:cubicBezTo>
                    <a:cubicBezTo>
                      <a:pt x="153" y="57"/>
                      <a:pt x="153" y="60"/>
                      <a:pt x="152" y="62"/>
                    </a:cubicBezTo>
                    <a:cubicBezTo>
                      <a:pt x="152" y="62"/>
                      <a:pt x="152" y="62"/>
                      <a:pt x="152" y="62"/>
                    </a:cubicBezTo>
                    <a:close/>
                    <a:moveTo>
                      <a:pt x="1" y="50"/>
                    </a:moveTo>
                    <a:cubicBezTo>
                      <a:pt x="1" y="50"/>
                      <a:pt x="1" y="50"/>
                      <a:pt x="1" y="50"/>
                    </a:cubicBezTo>
                    <a:cubicBezTo>
                      <a:pt x="1" y="50"/>
                      <a:pt x="0" y="50"/>
                      <a:pt x="0" y="50"/>
                    </a:cubicBezTo>
                    <a:cubicBezTo>
                      <a:pt x="1" y="48"/>
                      <a:pt x="1" y="45"/>
                      <a:pt x="1" y="43"/>
                    </a:cubicBezTo>
                    <a:cubicBezTo>
                      <a:pt x="1" y="43"/>
                      <a:pt x="2" y="43"/>
                      <a:pt x="2" y="43"/>
                    </a:cubicBezTo>
                    <a:cubicBezTo>
                      <a:pt x="3" y="43"/>
                      <a:pt x="3" y="43"/>
                      <a:pt x="3" y="44"/>
                    </a:cubicBezTo>
                    <a:cubicBezTo>
                      <a:pt x="2" y="46"/>
                      <a:pt x="2" y="48"/>
                      <a:pt x="2" y="50"/>
                    </a:cubicBezTo>
                    <a:cubicBezTo>
                      <a:pt x="2" y="50"/>
                      <a:pt x="2" y="50"/>
                      <a:pt x="1" y="50"/>
                    </a:cubicBezTo>
                    <a:close/>
                    <a:moveTo>
                      <a:pt x="152" y="50"/>
                    </a:moveTo>
                    <a:cubicBezTo>
                      <a:pt x="151" y="50"/>
                      <a:pt x="151" y="50"/>
                      <a:pt x="151" y="49"/>
                    </a:cubicBezTo>
                    <a:cubicBezTo>
                      <a:pt x="151" y="47"/>
                      <a:pt x="150" y="45"/>
                      <a:pt x="150" y="43"/>
                    </a:cubicBezTo>
                    <a:cubicBezTo>
                      <a:pt x="150" y="43"/>
                      <a:pt x="150" y="42"/>
                      <a:pt x="150" y="42"/>
                    </a:cubicBezTo>
                    <a:cubicBezTo>
                      <a:pt x="151" y="42"/>
                      <a:pt x="151" y="43"/>
                      <a:pt x="151" y="43"/>
                    </a:cubicBezTo>
                    <a:cubicBezTo>
                      <a:pt x="152" y="45"/>
                      <a:pt x="152" y="47"/>
                      <a:pt x="152" y="49"/>
                    </a:cubicBezTo>
                    <a:cubicBezTo>
                      <a:pt x="152" y="49"/>
                      <a:pt x="152" y="50"/>
                      <a:pt x="152" y="50"/>
                    </a:cubicBezTo>
                    <a:close/>
                    <a:moveTo>
                      <a:pt x="4" y="38"/>
                    </a:moveTo>
                    <a:cubicBezTo>
                      <a:pt x="3" y="38"/>
                      <a:pt x="3" y="38"/>
                      <a:pt x="3" y="38"/>
                    </a:cubicBezTo>
                    <a:cubicBezTo>
                      <a:pt x="3" y="38"/>
                      <a:pt x="3" y="38"/>
                      <a:pt x="3" y="37"/>
                    </a:cubicBezTo>
                    <a:cubicBezTo>
                      <a:pt x="4" y="35"/>
                      <a:pt x="4" y="33"/>
                      <a:pt x="5" y="31"/>
                    </a:cubicBezTo>
                    <a:cubicBezTo>
                      <a:pt x="5" y="31"/>
                      <a:pt x="6" y="31"/>
                      <a:pt x="6" y="31"/>
                    </a:cubicBezTo>
                    <a:cubicBezTo>
                      <a:pt x="6" y="31"/>
                      <a:pt x="7" y="32"/>
                      <a:pt x="6" y="32"/>
                    </a:cubicBezTo>
                    <a:cubicBezTo>
                      <a:pt x="6" y="34"/>
                      <a:pt x="5" y="36"/>
                      <a:pt x="4" y="38"/>
                    </a:cubicBezTo>
                    <a:close/>
                    <a:moveTo>
                      <a:pt x="149" y="38"/>
                    </a:moveTo>
                    <a:cubicBezTo>
                      <a:pt x="148" y="37"/>
                      <a:pt x="148" y="37"/>
                      <a:pt x="148" y="37"/>
                    </a:cubicBezTo>
                    <a:cubicBezTo>
                      <a:pt x="148" y="35"/>
                      <a:pt x="147" y="33"/>
                      <a:pt x="146" y="32"/>
                    </a:cubicBezTo>
                    <a:cubicBezTo>
                      <a:pt x="146" y="31"/>
                      <a:pt x="146" y="31"/>
                      <a:pt x="147" y="31"/>
                    </a:cubicBezTo>
                    <a:cubicBezTo>
                      <a:pt x="147" y="30"/>
                      <a:pt x="147" y="31"/>
                      <a:pt x="148" y="31"/>
                    </a:cubicBezTo>
                    <a:cubicBezTo>
                      <a:pt x="148" y="33"/>
                      <a:pt x="149" y="35"/>
                      <a:pt x="150" y="37"/>
                    </a:cubicBezTo>
                    <a:cubicBezTo>
                      <a:pt x="150" y="37"/>
                      <a:pt x="150" y="38"/>
                      <a:pt x="149" y="38"/>
                    </a:cubicBezTo>
                    <a:close/>
                    <a:moveTo>
                      <a:pt x="8" y="27"/>
                    </a:moveTo>
                    <a:cubicBezTo>
                      <a:pt x="8" y="27"/>
                      <a:pt x="8" y="27"/>
                      <a:pt x="8" y="27"/>
                    </a:cubicBezTo>
                    <a:cubicBezTo>
                      <a:pt x="8" y="27"/>
                      <a:pt x="7" y="26"/>
                      <a:pt x="8" y="26"/>
                    </a:cubicBezTo>
                    <a:cubicBezTo>
                      <a:pt x="9" y="24"/>
                      <a:pt x="10" y="22"/>
                      <a:pt x="11" y="20"/>
                    </a:cubicBezTo>
                    <a:cubicBezTo>
                      <a:pt x="11" y="20"/>
                      <a:pt x="12" y="20"/>
                      <a:pt x="12" y="20"/>
                    </a:cubicBezTo>
                    <a:cubicBezTo>
                      <a:pt x="12" y="20"/>
                      <a:pt x="12" y="21"/>
                      <a:pt x="12" y="21"/>
                    </a:cubicBezTo>
                    <a:cubicBezTo>
                      <a:pt x="11" y="23"/>
                      <a:pt x="10" y="25"/>
                      <a:pt x="9" y="27"/>
                    </a:cubicBezTo>
                    <a:lnTo>
                      <a:pt x="8" y="27"/>
                    </a:lnTo>
                    <a:close/>
                    <a:moveTo>
                      <a:pt x="144" y="27"/>
                    </a:moveTo>
                    <a:cubicBezTo>
                      <a:pt x="144" y="26"/>
                      <a:pt x="144" y="26"/>
                      <a:pt x="144" y="26"/>
                    </a:cubicBezTo>
                    <a:cubicBezTo>
                      <a:pt x="143" y="24"/>
                      <a:pt x="142" y="23"/>
                      <a:pt x="140" y="21"/>
                    </a:cubicBezTo>
                    <a:cubicBezTo>
                      <a:pt x="141" y="20"/>
                      <a:pt x="141" y="20"/>
                      <a:pt x="141" y="20"/>
                    </a:cubicBezTo>
                    <a:cubicBezTo>
                      <a:pt x="141" y="20"/>
                      <a:pt x="142" y="20"/>
                      <a:pt x="142" y="20"/>
                    </a:cubicBezTo>
                    <a:cubicBezTo>
                      <a:pt x="143" y="22"/>
                      <a:pt x="144" y="23"/>
                      <a:pt x="145" y="25"/>
                    </a:cubicBezTo>
                    <a:cubicBezTo>
                      <a:pt x="145" y="26"/>
                      <a:pt x="145" y="26"/>
                      <a:pt x="145" y="26"/>
                    </a:cubicBezTo>
                    <a:lnTo>
                      <a:pt x="144" y="27"/>
                    </a:lnTo>
                    <a:close/>
                    <a:moveTo>
                      <a:pt x="15" y="17"/>
                    </a:moveTo>
                    <a:cubicBezTo>
                      <a:pt x="15" y="17"/>
                      <a:pt x="15" y="17"/>
                      <a:pt x="15" y="17"/>
                    </a:cubicBezTo>
                    <a:cubicBezTo>
                      <a:pt x="15" y="15"/>
                      <a:pt x="15" y="15"/>
                      <a:pt x="15" y="15"/>
                    </a:cubicBezTo>
                    <a:cubicBezTo>
                      <a:pt x="16" y="14"/>
                      <a:pt x="18" y="13"/>
                      <a:pt x="19" y="11"/>
                    </a:cubicBezTo>
                    <a:cubicBezTo>
                      <a:pt x="20" y="11"/>
                      <a:pt x="20" y="11"/>
                      <a:pt x="20" y="11"/>
                    </a:cubicBezTo>
                    <a:cubicBezTo>
                      <a:pt x="20" y="12"/>
                      <a:pt x="20" y="12"/>
                      <a:pt x="20" y="12"/>
                    </a:cubicBezTo>
                    <a:cubicBezTo>
                      <a:pt x="19" y="14"/>
                      <a:pt x="17" y="15"/>
                      <a:pt x="16" y="16"/>
                    </a:cubicBezTo>
                    <a:lnTo>
                      <a:pt x="15" y="17"/>
                    </a:lnTo>
                    <a:close/>
                    <a:moveTo>
                      <a:pt x="137" y="16"/>
                    </a:moveTo>
                    <a:cubicBezTo>
                      <a:pt x="137" y="16"/>
                      <a:pt x="137" y="16"/>
                      <a:pt x="137" y="16"/>
                    </a:cubicBezTo>
                    <a:cubicBezTo>
                      <a:pt x="135" y="15"/>
                      <a:pt x="134" y="13"/>
                      <a:pt x="132" y="12"/>
                    </a:cubicBezTo>
                    <a:cubicBezTo>
                      <a:pt x="132" y="11"/>
                      <a:pt x="132" y="11"/>
                      <a:pt x="132" y="11"/>
                    </a:cubicBezTo>
                    <a:cubicBezTo>
                      <a:pt x="133" y="11"/>
                      <a:pt x="133" y="11"/>
                      <a:pt x="133" y="11"/>
                    </a:cubicBezTo>
                    <a:cubicBezTo>
                      <a:pt x="135" y="12"/>
                      <a:pt x="136" y="14"/>
                      <a:pt x="138" y="15"/>
                    </a:cubicBezTo>
                    <a:cubicBezTo>
                      <a:pt x="138" y="16"/>
                      <a:pt x="138" y="16"/>
                      <a:pt x="138" y="16"/>
                    </a:cubicBezTo>
                    <a:lnTo>
                      <a:pt x="137" y="16"/>
                    </a:lnTo>
                    <a:close/>
                    <a:moveTo>
                      <a:pt x="25" y="9"/>
                    </a:moveTo>
                    <a:cubicBezTo>
                      <a:pt x="24" y="9"/>
                      <a:pt x="24" y="9"/>
                      <a:pt x="24" y="9"/>
                    </a:cubicBezTo>
                    <a:cubicBezTo>
                      <a:pt x="24" y="9"/>
                      <a:pt x="24" y="8"/>
                      <a:pt x="25" y="8"/>
                    </a:cubicBezTo>
                    <a:cubicBezTo>
                      <a:pt x="26" y="7"/>
                      <a:pt x="28" y="6"/>
                      <a:pt x="30" y="5"/>
                    </a:cubicBezTo>
                    <a:cubicBezTo>
                      <a:pt x="31" y="5"/>
                      <a:pt x="31" y="5"/>
                      <a:pt x="31" y="6"/>
                    </a:cubicBezTo>
                    <a:cubicBezTo>
                      <a:pt x="31" y="6"/>
                      <a:pt x="31" y="7"/>
                      <a:pt x="31" y="7"/>
                    </a:cubicBezTo>
                    <a:cubicBezTo>
                      <a:pt x="29" y="7"/>
                      <a:pt x="27" y="8"/>
                      <a:pt x="25" y="9"/>
                    </a:cubicBezTo>
                    <a:close/>
                    <a:moveTo>
                      <a:pt x="127" y="9"/>
                    </a:moveTo>
                    <a:cubicBezTo>
                      <a:pt x="127" y="9"/>
                      <a:pt x="127" y="9"/>
                      <a:pt x="127" y="9"/>
                    </a:cubicBezTo>
                    <a:cubicBezTo>
                      <a:pt x="125" y="8"/>
                      <a:pt x="124" y="7"/>
                      <a:pt x="122" y="7"/>
                    </a:cubicBezTo>
                    <a:cubicBezTo>
                      <a:pt x="121" y="6"/>
                      <a:pt x="121" y="6"/>
                      <a:pt x="121" y="6"/>
                    </a:cubicBezTo>
                    <a:cubicBezTo>
                      <a:pt x="121" y="5"/>
                      <a:pt x="122" y="5"/>
                      <a:pt x="122" y="5"/>
                    </a:cubicBezTo>
                    <a:cubicBezTo>
                      <a:pt x="124" y="6"/>
                      <a:pt x="126" y="7"/>
                      <a:pt x="128" y="8"/>
                    </a:cubicBezTo>
                    <a:cubicBezTo>
                      <a:pt x="128" y="8"/>
                      <a:pt x="128" y="8"/>
                      <a:pt x="128" y="9"/>
                    </a:cubicBezTo>
                    <a:lnTo>
                      <a:pt x="127" y="9"/>
                    </a:lnTo>
                    <a:close/>
                    <a:moveTo>
                      <a:pt x="36" y="5"/>
                    </a:moveTo>
                    <a:cubicBezTo>
                      <a:pt x="36" y="4"/>
                      <a:pt x="36" y="4"/>
                      <a:pt x="36" y="4"/>
                    </a:cubicBezTo>
                    <a:cubicBezTo>
                      <a:pt x="36" y="4"/>
                      <a:pt x="36" y="3"/>
                      <a:pt x="36" y="3"/>
                    </a:cubicBezTo>
                    <a:cubicBezTo>
                      <a:pt x="38" y="3"/>
                      <a:pt x="40" y="2"/>
                      <a:pt x="42" y="2"/>
                    </a:cubicBezTo>
                    <a:cubicBezTo>
                      <a:pt x="43" y="2"/>
                      <a:pt x="43" y="2"/>
                      <a:pt x="43" y="2"/>
                    </a:cubicBezTo>
                    <a:cubicBezTo>
                      <a:pt x="43" y="3"/>
                      <a:pt x="43" y="3"/>
                      <a:pt x="43" y="3"/>
                    </a:cubicBezTo>
                    <a:cubicBezTo>
                      <a:pt x="40" y="4"/>
                      <a:pt x="38" y="4"/>
                      <a:pt x="37" y="5"/>
                    </a:cubicBezTo>
                    <a:lnTo>
                      <a:pt x="36" y="5"/>
                    </a:lnTo>
                    <a:close/>
                    <a:moveTo>
                      <a:pt x="116" y="5"/>
                    </a:moveTo>
                    <a:cubicBezTo>
                      <a:pt x="116" y="5"/>
                      <a:pt x="116" y="5"/>
                      <a:pt x="116" y="5"/>
                    </a:cubicBezTo>
                    <a:cubicBezTo>
                      <a:pt x="114" y="4"/>
                      <a:pt x="112" y="4"/>
                      <a:pt x="110" y="3"/>
                    </a:cubicBezTo>
                    <a:cubicBezTo>
                      <a:pt x="109" y="3"/>
                      <a:pt x="109" y="3"/>
                      <a:pt x="109" y="2"/>
                    </a:cubicBezTo>
                    <a:cubicBezTo>
                      <a:pt x="109" y="2"/>
                      <a:pt x="110" y="2"/>
                      <a:pt x="110" y="2"/>
                    </a:cubicBezTo>
                    <a:cubicBezTo>
                      <a:pt x="112" y="2"/>
                      <a:pt x="114" y="3"/>
                      <a:pt x="116" y="3"/>
                    </a:cubicBezTo>
                    <a:cubicBezTo>
                      <a:pt x="117" y="3"/>
                      <a:pt x="117" y="4"/>
                      <a:pt x="117" y="4"/>
                    </a:cubicBezTo>
                    <a:lnTo>
                      <a:pt x="116" y="5"/>
                    </a:lnTo>
                    <a:close/>
                    <a:moveTo>
                      <a:pt x="48" y="2"/>
                    </a:moveTo>
                    <a:cubicBezTo>
                      <a:pt x="48" y="2"/>
                      <a:pt x="48" y="2"/>
                      <a:pt x="48" y="2"/>
                    </a:cubicBezTo>
                    <a:cubicBezTo>
                      <a:pt x="48" y="1"/>
                      <a:pt x="48" y="1"/>
                      <a:pt x="48" y="1"/>
                    </a:cubicBezTo>
                    <a:cubicBezTo>
                      <a:pt x="50" y="1"/>
                      <a:pt x="52" y="0"/>
                      <a:pt x="54" y="0"/>
                    </a:cubicBezTo>
                    <a:cubicBezTo>
                      <a:pt x="55" y="0"/>
                      <a:pt x="55" y="0"/>
                      <a:pt x="55" y="0"/>
                    </a:cubicBezTo>
                    <a:cubicBezTo>
                      <a:pt x="55" y="0"/>
                      <a:pt x="55" y="0"/>
                      <a:pt x="55" y="1"/>
                    </a:cubicBezTo>
                    <a:cubicBezTo>
                      <a:pt x="55" y="1"/>
                      <a:pt x="55" y="2"/>
                      <a:pt x="55" y="2"/>
                    </a:cubicBezTo>
                    <a:cubicBezTo>
                      <a:pt x="54" y="2"/>
                      <a:pt x="54" y="2"/>
                      <a:pt x="54" y="2"/>
                    </a:cubicBezTo>
                    <a:cubicBezTo>
                      <a:pt x="52" y="2"/>
                      <a:pt x="50" y="2"/>
                      <a:pt x="49" y="2"/>
                    </a:cubicBezTo>
                    <a:lnTo>
                      <a:pt x="48" y="2"/>
                    </a:lnTo>
                    <a:close/>
                    <a:moveTo>
                      <a:pt x="104" y="2"/>
                    </a:moveTo>
                    <a:cubicBezTo>
                      <a:pt x="104" y="2"/>
                      <a:pt x="104" y="2"/>
                      <a:pt x="104" y="2"/>
                    </a:cubicBezTo>
                    <a:cubicBezTo>
                      <a:pt x="103" y="2"/>
                      <a:pt x="101" y="2"/>
                      <a:pt x="100" y="2"/>
                    </a:cubicBezTo>
                    <a:cubicBezTo>
                      <a:pt x="99" y="2"/>
                      <a:pt x="99" y="2"/>
                      <a:pt x="98" y="2"/>
                    </a:cubicBezTo>
                    <a:cubicBezTo>
                      <a:pt x="97" y="2"/>
                      <a:pt x="97" y="1"/>
                      <a:pt x="97" y="1"/>
                    </a:cubicBezTo>
                    <a:cubicBezTo>
                      <a:pt x="97" y="0"/>
                      <a:pt x="97" y="0"/>
                      <a:pt x="98" y="0"/>
                    </a:cubicBezTo>
                    <a:cubicBezTo>
                      <a:pt x="99" y="0"/>
                      <a:pt x="100" y="0"/>
                      <a:pt x="100" y="0"/>
                    </a:cubicBezTo>
                    <a:cubicBezTo>
                      <a:pt x="102" y="0"/>
                      <a:pt x="103" y="1"/>
                      <a:pt x="104" y="1"/>
                    </a:cubicBezTo>
                    <a:cubicBezTo>
                      <a:pt x="104" y="1"/>
                      <a:pt x="105" y="1"/>
                      <a:pt x="105" y="2"/>
                    </a:cubicBezTo>
                    <a:cubicBezTo>
                      <a:pt x="105" y="2"/>
                      <a:pt x="104" y="2"/>
                      <a:pt x="104" y="2"/>
                    </a:cubicBezTo>
                    <a:close/>
                    <a:moveTo>
                      <a:pt x="61" y="1"/>
                    </a:moveTo>
                    <a:cubicBezTo>
                      <a:pt x="60" y="1"/>
                      <a:pt x="60" y="1"/>
                      <a:pt x="60" y="1"/>
                    </a:cubicBezTo>
                    <a:cubicBezTo>
                      <a:pt x="60" y="0"/>
                      <a:pt x="60" y="0"/>
                      <a:pt x="61" y="0"/>
                    </a:cubicBezTo>
                    <a:cubicBezTo>
                      <a:pt x="63" y="0"/>
                      <a:pt x="65" y="0"/>
                      <a:pt x="67" y="0"/>
                    </a:cubicBezTo>
                    <a:cubicBezTo>
                      <a:pt x="67" y="0"/>
                      <a:pt x="68" y="0"/>
                      <a:pt x="68" y="0"/>
                    </a:cubicBezTo>
                    <a:cubicBezTo>
                      <a:pt x="68" y="1"/>
                      <a:pt x="67" y="1"/>
                      <a:pt x="67" y="1"/>
                    </a:cubicBezTo>
                    <a:cubicBezTo>
                      <a:pt x="65" y="1"/>
                      <a:pt x="63" y="1"/>
                      <a:pt x="61" y="1"/>
                    </a:cubicBezTo>
                    <a:close/>
                    <a:moveTo>
                      <a:pt x="92" y="1"/>
                    </a:moveTo>
                    <a:cubicBezTo>
                      <a:pt x="92" y="1"/>
                      <a:pt x="92" y="1"/>
                      <a:pt x="92" y="1"/>
                    </a:cubicBezTo>
                    <a:cubicBezTo>
                      <a:pt x="90" y="1"/>
                      <a:pt x="88" y="1"/>
                      <a:pt x="85" y="1"/>
                    </a:cubicBezTo>
                    <a:cubicBezTo>
                      <a:pt x="85" y="1"/>
                      <a:pt x="85" y="1"/>
                      <a:pt x="85" y="0"/>
                    </a:cubicBezTo>
                    <a:cubicBezTo>
                      <a:pt x="85" y="0"/>
                      <a:pt x="85" y="0"/>
                      <a:pt x="85" y="0"/>
                    </a:cubicBezTo>
                    <a:cubicBezTo>
                      <a:pt x="88" y="0"/>
                      <a:pt x="90" y="0"/>
                      <a:pt x="92" y="0"/>
                    </a:cubicBezTo>
                    <a:cubicBezTo>
                      <a:pt x="92" y="0"/>
                      <a:pt x="92" y="0"/>
                      <a:pt x="92" y="1"/>
                    </a:cubicBezTo>
                    <a:cubicBezTo>
                      <a:pt x="92" y="1"/>
                      <a:pt x="92" y="1"/>
                      <a:pt x="92" y="1"/>
                    </a:cubicBezTo>
                    <a:close/>
                    <a:moveTo>
                      <a:pt x="73" y="1"/>
                    </a:moveTo>
                    <a:cubicBezTo>
                      <a:pt x="73" y="1"/>
                      <a:pt x="72" y="1"/>
                      <a:pt x="72" y="0"/>
                    </a:cubicBezTo>
                    <a:cubicBezTo>
                      <a:pt x="72" y="0"/>
                      <a:pt x="73" y="0"/>
                      <a:pt x="73" y="0"/>
                    </a:cubicBezTo>
                    <a:cubicBezTo>
                      <a:pt x="74" y="0"/>
                      <a:pt x="75" y="0"/>
                      <a:pt x="76" y="0"/>
                    </a:cubicBezTo>
                    <a:cubicBezTo>
                      <a:pt x="77" y="0"/>
                      <a:pt x="78" y="0"/>
                      <a:pt x="79" y="0"/>
                    </a:cubicBezTo>
                    <a:cubicBezTo>
                      <a:pt x="80" y="0"/>
                      <a:pt x="80" y="0"/>
                      <a:pt x="80" y="0"/>
                    </a:cubicBezTo>
                    <a:cubicBezTo>
                      <a:pt x="80" y="1"/>
                      <a:pt x="80" y="1"/>
                      <a:pt x="79" y="1"/>
                    </a:cubicBezTo>
                    <a:cubicBezTo>
                      <a:pt x="79" y="1"/>
                      <a:pt x="79" y="1"/>
                      <a:pt x="79" y="1"/>
                    </a:cubicBezTo>
                    <a:cubicBezTo>
                      <a:pt x="78" y="1"/>
                      <a:pt x="77" y="1"/>
                      <a:pt x="76" y="1"/>
                    </a:cubicBezTo>
                    <a:cubicBezTo>
                      <a:pt x="75" y="1"/>
                      <a:pt x="74" y="1"/>
                      <a:pt x="73" y="1"/>
                    </a:cubicBezTo>
                    <a:close/>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0" name="Freeform 342">
                <a:extLst>
                  <a:ext uri="{FF2B5EF4-FFF2-40B4-BE49-F238E27FC236}">
                    <a16:creationId xmlns:a16="http://schemas.microsoft.com/office/drawing/2014/main" id="{637597EA-9CBE-4E0B-8395-1594EF547F38}"/>
                  </a:ext>
                </a:extLst>
              </p:cNvPr>
              <p:cNvSpPr>
                <a:spLocks/>
              </p:cNvSpPr>
              <p:nvPr/>
            </p:nvSpPr>
            <p:spPr bwMode="auto">
              <a:xfrm>
                <a:off x="10364788" y="2593975"/>
                <a:ext cx="839788" cy="539750"/>
              </a:xfrm>
              <a:custGeom>
                <a:avLst/>
                <a:gdLst>
                  <a:gd name="T0" fmla="*/ 256 w 295"/>
                  <a:gd name="T1" fmla="*/ 18 h 190"/>
                  <a:gd name="T2" fmla="*/ 153 w 295"/>
                  <a:gd name="T3" fmla="*/ 4 h 190"/>
                  <a:gd name="T4" fmla="*/ 45 w 295"/>
                  <a:gd name="T5" fmla="*/ 18 h 190"/>
                  <a:gd name="T6" fmla="*/ 81 w 295"/>
                  <a:gd name="T7" fmla="*/ 180 h 190"/>
                  <a:gd name="T8" fmla="*/ 227 w 295"/>
                  <a:gd name="T9" fmla="*/ 177 h 190"/>
                  <a:gd name="T10" fmla="*/ 238 w 295"/>
                  <a:gd name="T11" fmla="*/ 173 h 190"/>
                  <a:gd name="T12" fmla="*/ 256 w 295"/>
                  <a:gd name="T13" fmla="*/ 18 h 190"/>
                </a:gdLst>
                <a:ahLst/>
                <a:cxnLst>
                  <a:cxn ang="0">
                    <a:pos x="T0" y="T1"/>
                  </a:cxn>
                  <a:cxn ang="0">
                    <a:pos x="T2" y="T3"/>
                  </a:cxn>
                  <a:cxn ang="0">
                    <a:pos x="T4" y="T5"/>
                  </a:cxn>
                  <a:cxn ang="0">
                    <a:pos x="T6" y="T7"/>
                  </a:cxn>
                  <a:cxn ang="0">
                    <a:pos x="T8" y="T9"/>
                  </a:cxn>
                  <a:cxn ang="0">
                    <a:pos x="T10" y="T11"/>
                  </a:cxn>
                  <a:cxn ang="0">
                    <a:pos x="T12" y="T13"/>
                  </a:cxn>
                </a:cxnLst>
                <a:rect l="0" t="0" r="r" b="b"/>
                <a:pathLst>
                  <a:path w="295" h="190">
                    <a:moveTo>
                      <a:pt x="256" y="18"/>
                    </a:moveTo>
                    <a:cubicBezTo>
                      <a:pt x="243" y="1"/>
                      <a:pt x="198" y="5"/>
                      <a:pt x="153" y="4"/>
                    </a:cubicBezTo>
                    <a:cubicBezTo>
                      <a:pt x="105" y="2"/>
                      <a:pt x="59" y="0"/>
                      <a:pt x="45" y="18"/>
                    </a:cubicBezTo>
                    <a:cubicBezTo>
                      <a:pt x="18" y="54"/>
                      <a:pt x="0" y="160"/>
                      <a:pt x="81" y="180"/>
                    </a:cubicBezTo>
                    <a:cubicBezTo>
                      <a:pt x="93" y="183"/>
                      <a:pt x="202" y="190"/>
                      <a:pt x="227" y="177"/>
                    </a:cubicBezTo>
                    <a:cubicBezTo>
                      <a:pt x="231" y="175"/>
                      <a:pt x="235" y="174"/>
                      <a:pt x="238" y="173"/>
                    </a:cubicBezTo>
                    <a:cubicBezTo>
                      <a:pt x="295" y="143"/>
                      <a:pt x="283" y="53"/>
                      <a:pt x="256" y="18"/>
                    </a:cubicBezTo>
                    <a:close/>
                  </a:path>
                </a:pathLst>
              </a:cu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1" name="Freeform 343">
                <a:extLst>
                  <a:ext uri="{FF2B5EF4-FFF2-40B4-BE49-F238E27FC236}">
                    <a16:creationId xmlns:a16="http://schemas.microsoft.com/office/drawing/2014/main" id="{70465DA3-4A8F-446E-8416-A93CC7D510E2}"/>
                  </a:ext>
                </a:extLst>
              </p:cNvPr>
              <p:cNvSpPr>
                <a:spLocks noEditPoints="1"/>
              </p:cNvSpPr>
              <p:nvPr/>
            </p:nvSpPr>
            <p:spPr bwMode="auto">
              <a:xfrm>
                <a:off x="10440988" y="2613025"/>
                <a:ext cx="703263" cy="492125"/>
              </a:xfrm>
              <a:custGeom>
                <a:avLst/>
                <a:gdLst>
                  <a:gd name="T0" fmla="*/ 134 w 247"/>
                  <a:gd name="T1" fmla="*/ 173 h 173"/>
                  <a:gd name="T2" fmla="*/ 120 w 247"/>
                  <a:gd name="T3" fmla="*/ 173 h 173"/>
                  <a:gd name="T4" fmla="*/ 146 w 247"/>
                  <a:gd name="T5" fmla="*/ 172 h 173"/>
                  <a:gd name="T6" fmla="*/ 101 w 247"/>
                  <a:gd name="T7" fmla="*/ 173 h 173"/>
                  <a:gd name="T8" fmla="*/ 159 w 247"/>
                  <a:gd name="T9" fmla="*/ 171 h 173"/>
                  <a:gd name="T10" fmla="*/ 88 w 247"/>
                  <a:gd name="T11" fmla="*/ 171 h 173"/>
                  <a:gd name="T12" fmla="*/ 177 w 247"/>
                  <a:gd name="T13" fmla="*/ 170 h 173"/>
                  <a:gd name="T14" fmla="*/ 77 w 247"/>
                  <a:gd name="T15" fmla="*/ 170 h 173"/>
                  <a:gd name="T16" fmla="*/ 64 w 247"/>
                  <a:gd name="T17" fmla="*/ 169 h 173"/>
                  <a:gd name="T18" fmla="*/ 190 w 247"/>
                  <a:gd name="T19" fmla="*/ 168 h 173"/>
                  <a:gd name="T20" fmla="*/ 51 w 247"/>
                  <a:gd name="T21" fmla="*/ 167 h 173"/>
                  <a:gd name="T22" fmla="*/ 195 w 247"/>
                  <a:gd name="T23" fmla="*/ 166 h 173"/>
                  <a:gd name="T24" fmla="*/ 46 w 247"/>
                  <a:gd name="T25" fmla="*/ 166 h 173"/>
                  <a:gd name="T26" fmla="*/ 207 w 247"/>
                  <a:gd name="T27" fmla="*/ 163 h 173"/>
                  <a:gd name="T28" fmla="*/ 207 w 247"/>
                  <a:gd name="T29" fmla="*/ 162 h 173"/>
                  <a:gd name="T30" fmla="*/ 36 w 247"/>
                  <a:gd name="T31" fmla="*/ 161 h 173"/>
                  <a:gd name="T32" fmla="*/ 218 w 247"/>
                  <a:gd name="T33" fmla="*/ 156 h 173"/>
                  <a:gd name="T34" fmla="*/ 26 w 247"/>
                  <a:gd name="T35" fmla="*/ 153 h 173"/>
                  <a:gd name="T36" fmla="*/ 227 w 247"/>
                  <a:gd name="T37" fmla="*/ 148 h 173"/>
                  <a:gd name="T38" fmla="*/ 17 w 247"/>
                  <a:gd name="T39" fmla="*/ 145 h 173"/>
                  <a:gd name="T40" fmla="*/ 10 w 247"/>
                  <a:gd name="T41" fmla="*/ 134 h 173"/>
                  <a:gd name="T42" fmla="*/ 239 w 247"/>
                  <a:gd name="T43" fmla="*/ 127 h 173"/>
                  <a:gd name="T44" fmla="*/ 6 w 247"/>
                  <a:gd name="T45" fmla="*/ 123 h 173"/>
                  <a:gd name="T46" fmla="*/ 243 w 247"/>
                  <a:gd name="T47" fmla="*/ 115 h 173"/>
                  <a:gd name="T48" fmla="*/ 243 w 247"/>
                  <a:gd name="T49" fmla="*/ 115 h 173"/>
                  <a:gd name="T50" fmla="*/ 245 w 247"/>
                  <a:gd name="T51" fmla="*/ 103 h 173"/>
                  <a:gd name="T52" fmla="*/ 1 w 247"/>
                  <a:gd name="T53" fmla="*/ 99 h 173"/>
                  <a:gd name="T54" fmla="*/ 246 w 247"/>
                  <a:gd name="T55" fmla="*/ 91 h 173"/>
                  <a:gd name="T56" fmla="*/ 246 w 247"/>
                  <a:gd name="T57" fmla="*/ 91 h 173"/>
                  <a:gd name="T58" fmla="*/ 1 w 247"/>
                  <a:gd name="T59" fmla="*/ 86 h 173"/>
                  <a:gd name="T60" fmla="*/ 1 w 247"/>
                  <a:gd name="T61" fmla="*/ 74 h 173"/>
                  <a:gd name="T62" fmla="*/ 245 w 247"/>
                  <a:gd name="T63" fmla="*/ 66 h 173"/>
                  <a:gd name="T64" fmla="*/ 3 w 247"/>
                  <a:gd name="T65" fmla="*/ 62 h 173"/>
                  <a:gd name="T66" fmla="*/ 241 w 247"/>
                  <a:gd name="T67" fmla="*/ 54 h 173"/>
                  <a:gd name="T68" fmla="*/ 5 w 247"/>
                  <a:gd name="T69" fmla="*/ 49 h 173"/>
                  <a:gd name="T70" fmla="*/ 236 w 247"/>
                  <a:gd name="T71" fmla="*/ 36 h 173"/>
                  <a:gd name="T72" fmla="*/ 12 w 247"/>
                  <a:gd name="T73" fmla="*/ 31 h 173"/>
                  <a:gd name="T74" fmla="*/ 231 w 247"/>
                  <a:gd name="T75" fmla="*/ 24 h 173"/>
                  <a:gd name="T76" fmla="*/ 18 w 247"/>
                  <a:gd name="T77" fmla="*/ 20 h 173"/>
                  <a:gd name="T78" fmla="*/ 224 w 247"/>
                  <a:gd name="T79" fmla="*/ 14 h 173"/>
                  <a:gd name="T80" fmla="*/ 21 w 247"/>
                  <a:gd name="T81" fmla="*/ 15 h 173"/>
                  <a:gd name="T82" fmla="*/ 220 w 247"/>
                  <a:gd name="T83" fmla="*/ 11 h 173"/>
                  <a:gd name="T84" fmla="*/ 31 w 247"/>
                  <a:gd name="T85" fmla="*/ 9 h 173"/>
                  <a:gd name="T86" fmla="*/ 208 w 247"/>
                  <a:gd name="T87" fmla="*/ 7 h 173"/>
                  <a:gd name="T88" fmla="*/ 42 w 247"/>
                  <a:gd name="T89" fmla="*/ 4 h 173"/>
                  <a:gd name="T90" fmla="*/ 196 w 247"/>
                  <a:gd name="T91" fmla="*/ 5 h 173"/>
                  <a:gd name="T92" fmla="*/ 184 w 247"/>
                  <a:gd name="T93" fmla="*/ 4 h 173"/>
                  <a:gd name="T94" fmla="*/ 172 w 247"/>
                  <a:gd name="T95" fmla="*/ 3 h 173"/>
                  <a:gd name="T96" fmla="*/ 159 w 247"/>
                  <a:gd name="T97" fmla="*/ 3 h 173"/>
                  <a:gd name="T98" fmla="*/ 55 w 247"/>
                  <a:gd name="T99" fmla="*/ 3 h 173"/>
                  <a:gd name="T100" fmla="*/ 147 w 247"/>
                  <a:gd name="T101" fmla="*/ 3 h 173"/>
                  <a:gd name="T102" fmla="*/ 135 w 247"/>
                  <a:gd name="T103" fmla="*/ 3 h 173"/>
                  <a:gd name="T104" fmla="*/ 122 w 247"/>
                  <a:gd name="T105" fmla="*/ 3 h 173"/>
                  <a:gd name="T106" fmla="*/ 110 w 247"/>
                  <a:gd name="T107" fmla="*/ 2 h 173"/>
                  <a:gd name="T108" fmla="*/ 66 w 247"/>
                  <a:gd name="T109" fmla="*/ 1 h 173"/>
                  <a:gd name="T110" fmla="*/ 92 w 247"/>
                  <a:gd name="T111" fmla="*/ 2 h 173"/>
                  <a:gd name="T112" fmla="*/ 79 w 247"/>
                  <a:gd name="T113" fmla="*/ 1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 h="173">
                    <a:moveTo>
                      <a:pt x="132" y="173"/>
                    </a:moveTo>
                    <a:cubicBezTo>
                      <a:pt x="130" y="173"/>
                      <a:pt x="128" y="173"/>
                      <a:pt x="126" y="173"/>
                    </a:cubicBezTo>
                    <a:cubicBezTo>
                      <a:pt x="125" y="173"/>
                      <a:pt x="125" y="173"/>
                      <a:pt x="125" y="173"/>
                    </a:cubicBezTo>
                    <a:cubicBezTo>
                      <a:pt x="125" y="172"/>
                      <a:pt x="125" y="172"/>
                      <a:pt x="126" y="172"/>
                    </a:cubicBezTo>
                    <a:cubicBezTo>
                      <a:pt x="128" y="172"/>
                      <a:pt x="130" y="172"/>
                      <a:pt x="132" y="172"/>
                    </a:cubicBezTo>
                    <a:cubicBezTo>
                      <a:pt x="132" y="172"/>
                      <a:pt x="133" y="172"/>
                      <a:pt x="133" y="173"/>
                    </a:cubicBezTo>
                    <a:cubicBezTo>
                      <a:pt x="133" y="173"/>
                      <a:pt x="132" y="173"/>
                      <a:pt x="132" y="173"/>
                    </a:cubicBezTo>
                    <a:close/>
                    <a:moveTo>
                      <a:pt x="134" y="173"/>
                    </a:moveTo>
                    <a:cubicBezTo>
                      <a:pt x="134" y="173"/>
                      <a:pt x="134" y="173"/>
                      <a:pt x="134" y="173"/>
                    </a:cubicBezTo>
                    <a:cubicBezTo>
                      <a:pt x="134" y="172"/>
                      <a:pt x="134" y="172"/>
                      <a:pt x="134" y="172"/>
                    </a:cubicBezTo>
                    <a:cubicBezTo>
                      <a:pt x="136" y="172"/>
                      <a:pt x="138" y="172"/>
                      <a:pt x="140" y="172"/>
                    </a:cubicBezTo>
                    <a:cubicBezTo>
                      <a:pt x="141" y="172"/>
                      <a:pt x="141" y="172"/>
                      <a:pt x="141" y="172"/>
                    </a:cubicBezTo>
                    <a:cubicBezTo>
                      <a:pt x="141" y="173"/>
                      <a:pt x="141" y="173"/>
                      <a:pt x="140" y="173"/>
                    </a:cubicBezTo>
                    <a:cubicBezTo>
                      <a:pt x="138" y="173"/>
                      <a:pt x="136" y="173"/>
                      <a:pt x="134" y="173"/>
                    </a:cubicBezTo>
                    <a:close/>
                    <a:moveTo>
                      <a:pt x="120" y="173"/>
                    </a:moveTo>
                    <a:cubicBezTo>
                      <a:pt x="120" y="173"/>
                      <a:pt x="120" y="173"/>
                      <a:pt x="120" y="173"/>
                    </a:cubicBezTo>
                    <a:cubicBezTo>
                      <a:pt x="118" y="173"/>
                      <a:pt x="116" y="173"/>
                      <a:pt x="114" y="173"/>
                    </a:cubicBezTo>
                    <a:cubicBezTo>
                      <a:pt x="113" y="173"/>
                      <a:pt x="113" y="173"/>
                      <a:pt x="113" y="172"/>
                    </a:cubicBezTo>
                    <a:cubicBezTo>
                      <a:pt x="113" y="172"/>
                      <a:pt x="113" y="172"/>
                      <a:pt x="114" y="172"/>
                    </a:cubicBezTo>
                    <a:cubicBezTo>
                      <a:pt x="116" y="172"/>
                      <a:pt x="118" y="172"/>
                      <a:pt x="120" y="172"/>
                    </a:cubicBezTo>
                    <a:cubicBezTo>
                      <a:pt x="120" y="172"/>
                      <a:pt x="120" y="172"/>
                      <a:pt x="120" y="172"/>
                    </a:cubicBezTo>
                    <a:cubicBezTo>
                      <a:pt x="120" y="173"/>
                      <a:pt x="120" y="173"/>
                      <a:pt x="120" y="173"/>
                    </a:cubicBezTo>
                    <a:close/>
                    <a:moveTo>
                      <a:pt x="147" y="173"/>
                    </a:moveTo>
                    <a:cubicBezTo>
                      <a:pt x="146" y="173"/>
                      <a:pt x="146" y="173"/>
                      <a:pt x="146" y="172"/>
                    </a:cubicBezTo>
                    <a:cubicBezTo>
                      <a:pt x="146" y="172"/>
                      <a:pt x="146" y="172"/>
                      <a:pt x="147" y="172"/>
                    </a:cubicBezTo>
                    <a:cubicBezTo>
                      <a:pt x="149" y="172"/>
                      <a:pt x="151" y="172"/>
                      <a:pt x="153" y="171"/>
                    </a:cubicBezTo>
                    <a:cubicBezTo>
                      <a:pt x="153" y="171"/>
                      <a:pt x="154" y="172"/>
                      <a:pt x="154" y="172"/>
                    </a:cubicBezTo>
                    <a:cubicBezTo>
                      <a:pt x="154" y="173"/>
                      <a:pt x="153" y="173"/>
                      <a:pt x="153" y="173"/>
                    </a:cubicBezTo>
                    <a:cubicBezTo>
                      <a:pt x="151" y="173"/>
                      <a:pt x="149" y="173"/>
                      <a:pt x="147" y="173"/>
                    </a:cubicBezTo>
                    <a:close/>
                    <a:moveTo>
                      <a:pt x="107" y="173"/>
                    </a:moveTo>
                    <a:cubicBezTo>
                      <a:pt x="107" y="173"/>
                      <a:pt x="107" y="173"/>
                      <a:pt x="107" y="173"/>
                    </a:cubicBezTo>
                    <a:cubicBezTo>
                      <a:pt x="105" y="173"/>
                      <a:pt x="103" y="173"/>
                      <a:pt x="101" y="173"/>
                    </a:cubicBezTo>
                    <a:cubicBezTo>
                      <a:pt x="101" y="173"/>
                      <a:pt x="100" y="172"/>
                      <a:pt x="100" y="172"/>
                    </a:cubicBezTo>
                    <a:cubicBezTo>
                      <a:pt x="100" y="171"/>
                      <a:pt x="101" y="171"/>
                      <a:pt x="101" y="171"/>
                    </a:cubicBezTo>
                    <a:cubicBezTo>
                      <a:pt x="103" y="171"/>
                      <a:pt x="105" y="171"/>
                      <a:pt x="107" y="171"/>
                    </a:cubicBezTo>
                    <a:cubicBezTo>
                      <a:pt x="108" y="171"/>
                      <a:pt x="108" y="172"/>
                      <a:pt x="108" y="172"/>
                    </a:cubicBezTo>
                    <a:cubicBezTo>
                      <a:pt x="108" y="173"/>
                      <a:pt x="108" y="173"/>
                      <a:pt x="107" y="173"/>
                    </a:cubicBezTo>
                    <a:close/>
                    <a:moveTo>
                      <a:pt x="159" y="173"/>
                    </a:moveTo>
                    <a:cubicBezTo>
                      <a:pt x="159" y="173"/>
                      <a:pt x="158" y="172"/>
                      <a:pt x="158" y="172"/>
                    </a:cubicBezTo>
                    <a:cubicBezTo>
                      <a:pt x="158" y="172"/>
                      <a:pt x="158" y="171"/>
                      <a:pt x="159" y="171"/>
                    </a:cubicBezTo>
                    <a:cubicBezTo>
                      <a:pt x="161" y="171"/>
                      <a:pt x="163" y="171"/>
                      <a:pt x="165" y="171"/>
                    </a:cubicBezTo>
                    <a:cubicBezTo>
                      <a:pt x="165" y="171"/>
                      <a:pt x="166" y="171"/>
                      <a:pt x="166" y="172"/>
                    </a:cubicBezTo>
                    <a:cubicBezTo>
                      <a:pt x="166" y="172"/>
                      <a:pt x="166" y="172"/>
                      <a:pt x="165" y="172"/>
                    </a:cubicBezTo>
                    <a:cubicBezTo>
                      <a:pt x="163" y="172"/>
                      <a:pt x="161" y="173"/>
                      <a:pt x="159" y="173"/>
                    </a:cubicBezTo>
                    <a:close/>
                    <a:moveTo>
                      <a:pt x="95" y="172"/>
                    </a:moveTo>
                    <a:cubicBezTo>
                      <a:pt x="95" y="172"/>
                      <a:pt x="95" y="172"/>
                      <a:pt x="95" y="172"/>
                    </a:cubicBezTo>
                    <a:cubicBezTo>
                      <a:pt x="93" y="172"/>
                      <a:pt x="91" y="172"/>
                      <a:pt x="89" y="172"/>
                    </a:cubicBezTo>
                    <a:cubicBezTo>
                      <a:pt x="88" y="172"/>
                      <a:pt x="88" y="172"/>
                      <a:pt x="88" y="171"/>
                    </a:cubicBezTo>
                    <a:cubicBezTo>
                      <a:pt x="88" y="171"/>
                      <a:pt x="89" y="171"/>
                      <a:pt x="89" y="171"/>
                    </a:cubicBezTo>
                    <a:cubicBezTo>
                      <a:pt x="91" y="171"/>
                      <a:pt x="93" y="171"/>
                      <a:pt x="95" y="171"/>
                    </a:cubicBezTo>
                    <a:cubicBezTo>
                      <a:pt x="96" y="171"/>
                      <a:pt x="96" y="171"/>
                      <a:pt x="96" y="172"/>
                    </a:cubicBezTo>
                    <a:cubicBezTo>
                      <a:pt x="96" y="172"/>
                      <a:pt x="95" y="172"/>
                      <a:pt x="95" y="172"/>
                    </a:cubicBezTo>
                    <a:close/>
                    <a:moveTo>
                      <a:pt x="171" y="172"/>
                    </a:moveTo>
                    <a:cubicBezTo>
                      <a:pt x="171" y="172"/>
                      <a:pt x="171" y="172"/>
                      <a:pt x="170" y="171"/>
                    </a:cubicBezTo>
                    <a:cubicBezTo>
                      <a:pt x="170" y="171"/>
                      <a:pt x="171" y="170"/>
                      <a:pt x="171" y="170"/>
                    </a:cubicBezTo>
                    <a:cubicBezTo>
                      <a:pt x="173" y="170"/>
                      <a:pt x="175" y="170"/>
                      <a:pt x="177" y="170"/>
                    </a:cubicBezTo>
                    <a:cubicBezTo>
                      <a:pt x="178" y="170"/>
                      <a:pt x="178" y="170"/>
                      <a:pt x="178" y="170"/>
                    </a:cubicBezTo>
                    <a:cubicBezTo>
                      <a:pt x="178" y="171"/>
                      <a:pt x="178" y="171"/>
                      <a:pt x="177" y="171"/>
                    </a:cubicBezTo>
                    <a:cubicBezTo>
                      <a:pt x="176" y="171"/>
                      <a:pt x="173" y="172"/>
                      <a:pt x="171" y="172"/>
                    </a:cubicBezTo>
                    <a:close/>
                    <a:moveTo>
                      <a:pt x="83" y="172"/>
                    </a:moveTo>
                    <a:cubicBezTo>
                      <a:pt x="83" y="172"/>
                      <a:pt x="83" y="172"/>
                      <a:pt x="83" y="172"/>
                    </a:cubicBezTo>
                    <a:cubicBezTo>
                      <a:pt x="81" y="172"/>
                      <a:pt x="78" y="172"/>
                      <a:pt x="77" y="171"/>
                    </a:cubicBezTo>
                    <a:cubicBezTo>
                      <a:pt x="76" y="171"/>
                      <a:pt x="76" y="171"/>
                      <a:pt x="76" y="171"/>
                    </a:cubicBezTo>
                    <a:cubicBezTo>
                      <a:pt x="76" y="170"/>
                      <a:pt x="76" y="170"/>
                      <a:pt x="77" y="170"/>
                    </a:cubicBezTo>
                    <a:cubicBezTo>
                      <a:pt x="79" y="170"/>
                      <a:pt x="81" y="170"/>
                      <a:pt x="83" y="170"/>
                    </a:cubicBezTo>
                    <a:cubicBezTo>
                      <a:pt x="83" y="170"/>
                      <a:pt x="84" y="171"/>
                      <a:pt x="83" y="171"/>
                    </a:cubicBezTo>
                    <a:cubicBezTo>
                      <a:pt x="83" y="171"/>
                      <a:pt x="83" y="172"/>
                      <a:pt x="83" y="172"/>
                    </a:cubicBezTo>
                    <a:close/>
                    <a:moveTo>
                      <a:pt x="70" y="171"/>
                    </a:moveTo>
                    <a:cubicBezTo>
                      <a:pt x="70" y="171"/>
                      <a:pt x="70" y="171"/>
                      <a:pt x="70" y="171"/>
                    </a:cubicBezTo>
                    <a:cubicBezTo>
                      <a:pt x="68" y="171"/>
                      <a:pt x="66" y="170"/>
                      <a:pt x="64" y="170"/>
                    </a:cubicBezTo>
                    <a:cubicBezTo>
                      <a:pt x="64" y="170"/>
                      <a:pt x="63" y="170"/>
                      <a:pt x="64" y="169"/>
                    </a:cubicBezTo>
                    <a:cubicBezTo>
                      <a:pt x="64" y="169"/>
                      <a:pt x="64" y="169"/>
                      <a:pt x="64" y="169"/>
                    </a:cubicBezTo>
                    <a:cubicBezTo>
                      <a:pt x="66" y="169"/>
                      <a:pt x="68" y="169"/>
                      <a:pt x="70" y="169"/>
                    </a:cubicBezTo>
                    <a:cubicBezTo>
                      <a:pt x="71" y="169"/>
                      <a:pt x="71" y="170"/>
                      <a:pt x="71" y="170"/>
                    </a:cubicBezTo>
                    <a:cubicBezTo>
                      <a:pt x="71" y="171"/>
                      <a:pt x="71" y="171"/>
                      <a:pt x="70" y="171"/>
                    </a:cubicBezTo>
                    <a:close/>
                    <a:moveTo>
                      <a:pt x="183" y="170"/>
                    </a:moveTo>
                    <a:cubicBezTo>
                      <a:pt x="183" y="170"/>
                      <a:pt x="183" y="170"/>
                      <a:pt x="183" y="170"/>
                    </a:cubicBezTo>
                    <a:cubicBezTo>
                      <a:pt x="183" y="169"/>
                      <a:pt x="183" y="169"/>
                      <a:pt x="183" y="169"/>
                    </a:cubicBezTo>
                    <a:cubicBezTo>
                      <a:pt x="186" y="168"/>
                      <a:pt x="188" y="168"/>
                      <a:pt x="189" y="168"/>
                    </a:cubicBezTo>
                    <a:cubicBezTo>
                      <a:pt x="190" y="167"/>
                      <a:pt x="190" y="168"/>
                      <a:pt x="190" y="168"/>
                    </a:cubicBezTo>
                    <a:cubicBezTo>
                      <a:pt x="190" y="169"/>
                      <a:pt x="190" y="169"/>
                      <a:pt x="190" y="169"/>
                    </a:cubicBezTo>
                    <a:cubicBezTo>
                      <a:pt x="188" y="169"/>
                      <a:pt x="186" y="170"/>
                      <a:pt x="184" y="170"/>
                    </a:cubicBezTo>
                    <a:lnTo>
                      <a:pt x="183" y="170"/>
                    </a:lnTo>
                    <a:close/>
                    <a:moveTo>
                      <a:pt x="58" y="170"/>
                    </a:moveTo>
                    <a:cubicBezTo>
                      <a:pt x="58" y="170"/>
                      <a:pt x="58" y="170"/>
                      <a:pt x="58" y="170"/>
                    </a:cubicBezTo>
                    <a:cubicBezTo>
                      <a:pt x="57" y="169"/>
                      <a:pt x="56" y="169"/>
                      <a:pt x="55" y="169"/>
                    </a:cubicBezTo>
                    <a:cubicBezTo>
                      <a:pt x="54" y="169"/>
                      <a:pt x="53" y="168"/>
                      <a:pt x="52" y="168"/>
                    </a:cubicBezTo>
                    <a:cubicBezTo>
                      <a:pt x="52" y="168"/>
                      <a:pt x="51" y="168"/>
                      <a:pt x="51" y="167"/>
                    </a:cubicBezTo>
                    <a:cubicBezTo>
                      <a:pt x="52" y="167"/>
                      <a:pt x="52" y="167"/>
                      <a:pt x="52" y="167"/>
                    </a:cubicBezTo>
                    <a:cubicBezTo>
                      <a:pt x="53" y="167"/>
                      <a:pt x="54" y="167"/>
                      <a:pt x="55" y="168"/>
                    </a:cubicBezTo>
                    <a:cubicBezTo>
                      <a:pt x="56" y="168"/>
                      <a:pt x="57" y="168"/>
                      <a:pt x="58" y="168"/>
                    </a:cubicBezTo>
                    <a:cubicBezTo>
                      <a:pt x="59" y="168"/>
                      <a:pt x="59" y="168"/>
                      <a:pt x="59" y="169"/>
                    </a:cubicBezTo>
                    <a:cubicBezTo>
                      <a:pt x="59" y="169"/>
                      <a:pt x="59" y="170"/>
                      <a:pt x="58" y="170"/>
                    </a:cubicBezTo>
                    <a:close/>
                    <a:moveTo>
                      <a:pt x="195" y="167"/>
                    </a:moveTo>
                    <a:cubicBezTo>
                      <a:pt x="195" y="167"/>
                      <a:pt x="195" y="167"/>
                      <a:pt x="195" y="167"/>
                    </a:cubicBezTo>
                    <a:cubicBezTo>
                      <a:pt x="195" y="166"/>
                      <a:pt x="195" y="166"/>
                      <a:pt x="195" y="166"/>
                    </a:cubicBezTo>
                    <a:cubicBezTo>
                      <a:pt x="196" y="166"/>
                      <a:pt x="197" y="165"/>
                      <a:pt x="198" y="165"/>
                    </a:cubicBezTo>
                    <a:cubicBezTo>
                      <a:pt x="199" y="164"/>
                      <a:pt x="200" y="164"/>
                      <a:pt x="201" y="163"/>
                    </a:cubicBezTo>
                    <a:cubicBezTo>
                      <a:pt x="201" y="163"/>
                      <a:pt x="202" y="163"/>
                      <a:pt x="202" y="164"/>
                    </a:cubicBezTo>
                    <a:cubicBezTo>
                      <a:pt x="202" y="164"/>
                      <a:pt x="202" y="165"/>
                      <a:pt x="201" y="165"/>
                    </a:cubicBezTo>
                    <a:cubicBezTo>
                      <a:pt x="200" y="165"/>
                      <a:pt x="199" y="166"/>
                      <a:pt x="198" y="166"/>
                    </a:cubicBezTo>
                    <a:cubicBezTo>
                      <a:pt x="198" y="167"/>
                      <a:pt x="197" y="167"/>
                      <a:pt x="196" y="167"/>
                    </a:cubicBezTo>
                    <a:lnTo>
                      <a:pt x="195" y="167"/>
                    </a:lnTo>
                    <a:close/>
                    <a:moveTo>
                      <a:pt x="46" y="166"/>
                    </a:moveTo>
                    <a:cubicBezTo>
                      <a:pt x="46" y="166"/>
                      <a:pt x="46" y="166"/>
                      <a:pt x="46" y="166"/>
                    </a:cubicBezTo>
                    <a:cubicBezTo>
                      <a:pt x="44" y="165"/>
                      <a:pt x="42" y="165"/>
                      <a:pt x="40" y="164"/>
                    </a:cubicBezTo>
                    <a:cubicBezTo>
                      <a:pt x="40" y="164"/>
                      <a:pt x="40" y="163"/>
                      <a:pt x="40" y="163"/>
                    </a:cubicBezTo>
                    <a:cubicBezTo>
                      <a:pt x="40" y="162"/>
                      <a:pt x="41" y="162"/>
                      <a:pt x="41" y="162"/>
                    </a:cubicBezTo>
                    <a:cubicBezTo>
                      <a:pt x="43" y="163"/>
                      <a:pt x="45" y="164"/>
                      <a:pt x="47" y="165"/>
                    </a:cubicBezTo>
                    <a:cubicBezTo>
                      <a:pt x="47" y="165"/>
                      <a:pt x="47" y="165"/>
                      <a:pt x="47" y="166"/>
                    </a:cubicBezTo>
                    <a:lnTo>
                      <a:pt x="46" y="166"/>
                    </a:lnTo>
                    <a:close/>
                    <a:moveTo>
                      <a:pt x="207" y="163"/>
                    </a:moveTo>
                    <a:cubicBezTo>
                      <a:pt x="206" y="162"/>
                      <a:pt x="206" y="162"/>
                      <a:pt x="206" y="162"/>
                    </a:cubicBezTo>
                    <a:cubicBezTo>
                      <a:pt x="206" y="162"/>
                      <a:pt x="206" y="161"/>
                      <a:pt x="206" y="161"/>
                    </a:cubicBezTo>
                    <a:cubicBezTo>
                      <a:pt x="207" y="161"/>
                      <a:pt x="208" y="160"/>
                      <a:pt x="209" y="160"/>
                    </a:cubicBezTo>
                    <a:cubicBezTo>
                      <a:pt x="210" y="160"/>
                      <a:pt x="211" y="159"/>
                      <a:pt x="212" y="158"/>
                    </a:cubicBezTo>
                    <a:cubicBezTo>
                      <a:pt x="212" y="158"/>
                      <a:pt x="213" y="158"/>
                      <a:pt x="213" y="159"/>
                    </a:cubicBezTo>
                    <a:cubicBezTo>
                      <a:pt x="213" y="159"/>
                      <a:pt x="213" y="159"/>
                      <a:pt x="213" y="160"/>
                    </a:cubicBezTo>
                    <a:cubicBezTo>
                      <a:pt x="212" y="160"/>
                      <a:pt x="210" y="161"/>
                      <a:pt x="209" y="161"/>
                    </a:cubicBezTo>
                    <a:cubicBezTo>
                      <a:pt x="209" y="162"/>
                      <a:pt x="208" y="162"/>
                      <a:pt x="207" y="162"/>
                    </a:cubicBezTo>
                    <a:lnTo>
                      <a:pt x="207" y="163"/>
                    </a:lnTo>
                    <a:close/>
                    <a:moveTo>
                      <a:pt x="35" y="161"/>
                    </a:moveTo>
                    <a:cubicBezTo>
                      <a:pt x="35" y="161"/>
                      <a:pt x="35" y="161"/>
                      <a:pt x="35" y="161"/>
                    </a:cubicBezTo>
                    <a:cubicBezTo>
                      <a:pt x="33" y="160"/>
                      <a:pt x="31" y="159"/>
                      <a:pt x="30" y="157"/>
                    </a:cubicBezTo>
                    <a:cubicBezTo>
                      <a:pt x="29" y="156"/>
                      <a:pt x="29" y="156"/>
                      <a:pt x="29" y="156"/>
                    </a:cubicBezTo>
                    <a:cubicBezTo>
                      <a:pt x="30" y="156"/>
                      <a:pt x="30" y="156"/>
                      <a:pt x="30" y="156"/>
                    </a:cubicBezTo>
                    <a:cubicBezTo>
                      <a:pt x="32" y="157"/>
                      <a:pt x="34" y="158"/>
                      <a:pt x="36" y="159"/>
                    </a:cubicBezTo>
                    <a:cubicBezTo>
                      <a:pt x="36" y="160"/>
                      <a:pt x="36" y="160"/>
                      <a:pt x="36" y="161"/>
                    </a:cubicBezTo>
                    <a:lnTo>
                      <a:pt x="35" y="161"/>
                    </a:lnTo>
                    <a:close/>
                    <a:moveTo>
                      <a:pt x="217" y="156"/>
                    </a:moveTo>
                    <a:cubicBezTo>
                      <a:pt x="217" y="156"/>
                      <a:pt x="217" y="156"/>
                      <a:pt x="217" y="156"/>
                    </a:cubicBezTo>
                    <a:cubicBezTo>
                      <a:pt x="217" y="155"/>
                      <a:pt x="217" y="155"/>
                      <a:pt x="217" y="155"/>
                    </a:cubicBezTo>
                    <a:cubicBezTo>
                      <a:pt x="219" y="154"/>
                      <a:pt x="220" y="152"/>
                      <a:pt x="222" y="151"/>
                    </a:cubicBezTo>
                    <a:cubicBezTo>
                      <a:pt x="223" y="151"/>
                      <a:pt x="223" y="151"/>
                      <a:pt x="223" y="151"/>
                    </a:cubicBezTo>
                    <a:cubicBezTo>
                      <a:pt x="223" y="152"/>
                      <a:pt x="223" y="152"/>
                      <a:pt x="223" y="152"/>
                    </a:cubicBezTo>
                    <a:cubicBezTo>
                      <a:pt x="221" y="154"/>
                      <a:pt x="219" y="155"/>
                      <a:pt x="218" y="156"/>
                    </a:cubicBezTo>
                    <a:lnTo>
                      <a:pt x="217" y="156"/>
                    </a:lnTo>
                    <a:close/>
                    <a:moveTo>
                      <a:pt x="25" y="154"/>
                    </a:moveTo>
                    <a:cubicBezTo>
                      <a:pt x="25" y="154"/>
                      <a:pt x="25" y="154"/>
                      <a:pt x="25" y="154"/>
                    </a:cubicBezTo>
                    <a:cubicBezTo>
                      <a:pt x="23" y="152"/>
                      <a:pt x="22" y="151"/>
                      <a:pt x="20" y="149"/>
                    </a:cubicBezTo>
                    <a:cubicBezTo>
                      <a:pt x="20" y="148"/>
                      <a:pt x="20" y="148"/>
                      <a:pt x="20" y="148"/>
                    </a:cubicBezTo>
                    <a:cubicBezTo>
                      <a:pt x="21" y="148"/>
                      <a:pt x="21" y="148"/>
                      <a:pt x="21" y="148"/>
                    </a:cubicBezTo>
                    <a:cubicBezTo>
                      <a:pt x="23" y="150"/>
                      <a:pt x="24" y="151"/>
                      <a:pt x="26" y="152"/>
                    </a:cubicBezTo>
                    <a:cubicBezTo>
                      <a:pt x="26" y="153"/>
                      <a:pt x="26" y="153"/>
                      <a:pt x="26" y="153"/>
                    </a:cubicBezTo>
                    <a:lnTo>
                      <a:pt x="25" y="154"/>
                    </a:lnTo>
                    <a:close/>
                    <a:moveTo>
                      <a:pt x="226" y="148"/>
                    </a:moveTo>
                    <a:cubicBezTo>
                      <a:pt x="226" y="148"/>
                      <a:pt x="226" y="148"/>
                      <a:pt x="226" y="148"/>
                    </a:cubicBezTo>
                    <a:cubicBezTo>
                      <a:pt x="226" y="147"/>
                      <a:pt x="226" y="147"/>
                      <a:pt x="226" y="147"/>
                    </a:cubicBezTo>
                    <a:cubicBezTo>
                      <a:pt x="227" y="145"/>
                      <a:pt x="229" y="144"/>
                      <a:pt x="230" y="142"/>
                    </a:cubicBezTo>
                    <a:cubicBezTo>
                      <a:pt x="230" y="142"/>
                      <a:pt x="230" y="142"/>
                      <a:pt x="231" y="142"/>
                    </a:cubicBezTo>
                    <a:cubicBezTo>
                      <a:pt x="231" y="143"/>
                      <a:pt x="231" y="143"/>
                      <a:pt x="231" y="143"/>
                    </a:cubicBezTo>
                    <a:cubicBezTo>
                      <a:pt x="230" y="145"/>
                      <a:pt x="228" y="146"/>
                      <a:pt x="227" y="148"/>
                    </a:cubicBezTo>
                    <a:lnTo>
                      <a:pt x="226" y="148"/>
                    </a:lnTo>
                    <a:close/>
                    <a:moveTo>
                      <a:pt x="17" y="145"/>
                    </a:moveTo>
                    <a:cubicBezTo>
                      <a:pt x="16" y="144"/>
                      <a:pt x="16" y="144"/>
                      <a:pt x="16" y="144"/>
                    </a:cubicBezTo>
                    <a:cubicBezTo>
                      <a:pt x="15" y="143"/>
                      <a:pt x="14" y="141"/>
                      <a:pt x="13" y="139"/>
                    </a:cubicBezTo>
                    <a:cubicBezTo>
                      <a:pt x="12" y="139"/>
                      <a:pt x="13" y="138"/>
                      <a:pt x="13" y="138"/>
                    </a:cubicBezTo>
                    <a:cubicBezTo>
                      <a:pt x="13" y="138"/>
                      <a:pt x="14" y="138"/>
                      <a:pt x="14" y="138"/>
                    </a:cubicBezTo>
                    <a:cubicBezTo>
                      <a:pt x="15" y="140"/>
                      <a:pt x="16" y="142"/>
                      <a:pt x="17" y="143"/>
                    </a:cubicBezTo>
                    <a:cubicBezTo>
                      <a:pt x="17" y="145"/>
                      <a:pt x="17" y="145"/>
                      <a:pt x="17" y="145"/>
                    </a:cubicBezTo>
                    <a:close/>
                    <a:moveTo>
                      <a:pt x="234" y="138"/>
                    </a:moveTo>
                    <a:cubicBezTo>
                      <a:pt x="233" y="138"/>
                      <a:pt x="233" y="138"/>
                      <a:pt x="233" y="138"/>
                    </a:cubicBezTo>
                    <a:cubicBezTo>
                      <a:pt x="233" y="138"/>
                      <a:pt x="233" y="137"/>
                      <a:pt x="233" y="137"/>
                    </a:cubicBezTo>
                    <a:cubicBezTo>
                      <a:pt x="234" y="135"/>
                      <a:pt x="235" y="133"/>
                      <a:pt x="236" y="132"/>
                    </a:cubicBezTo>
                    <a:cubicBezTo>
                      <a:pt x="236" y="131"/>
                      <a:pt x="237" y="131"/>
                      <a:pt x="237" y="131"/>
                    </a:cubicBezTo>
                    <a:cubicBezTo>
                      <a:pt x="238" y="131"/>
                      <a:pt x="238" y="132"/>
                      <a:pt x="237" y="132"/>
                    </a:cubicBezTo>
                    <a:cubicBezTo>
                      <a:pt x="237" y="134"/>
                      <a:pt x="236" y="136"/>
                      <a:pt x="234" y="138"/>
                    </a:cubicBezTo>
                    <a:close/>
                    <a:moveTo>
                      <a:pt x="10" y="134"/>
                    </a:moveTo>
                    <a:cubicBezTo>
                      <a:pt x="10" y="134"/>
                      <a:pt x="10" y="134"/>
                      <a:pt x="10" y="134"/>
                    </a:cubicBezTo>
                    <a:cubicBezTo>
                      <a:pt x="9" y="132"/>
                      <a:pt x="8" y="130"/>
                      <a:pt x="7" y="128"/>
                    </a:cubicBezTo>
                    <a:cubicBezTo>
                      <a:pt x="7" y="128"/>
                      <a:pt x="7" y="127"/>
                      <a:pt x="7" y="127"/>
                    </a:cubicBezTo>
                    <a:cubicBezTo>
                      <a:pt x="8" y="127"/>
                      <a:pt x="8" y="127"/>
                      <a:pt x="8" y="128"/>
                    </a:cubicBezTo>
                    <a:cubicBezTo>
                      <a:pt x="9" y="130"/>
                      <a:pt x="10" y="131"/>
                      <a:pt x="11" y="133"/>
                    </a:cubicBezTo>
                    <a:cubicBezTo>
                      <a:pt x="11" y="134"/>
                      <a:pt x="11" y="134"/>
                      <a:pt x="11" y="134"/>
                    </a:cubicBezTo>
                    <a:lnTo>
                      <a:pt x="10" y="134"/>
                    </a:lnTo>
                    <a:close/>
                    <a:moveTo>
                      <a:pt x="239" y="127"/>
                    </a:moveTo>
                    <a:cubicBezTo>
                      <a:pt x="239" y="127"/>
                      <a:pt x="239" y="127"/>
                      <a:pt x="239" y="127"/>
                    </a:cubicBezTo>
                    <a:cubicBezTo>
                      <a:pt x="239" y="127"/>
                      <a:pt x="238" y="126"/>
                      <a:pt x="239" y="126"/>
                    </a:cubicBezTo>
                    <a:cubicBezTo>
                      <a:pt x="239" y="124"/>
                      <a:pt x="240" y="122"/>
                      <a:pt x="241" y="120"/>
                    </a:cubicBezTo>
                    <a:cubicBezTo>
                      <a:pt x="241" y="120"/>
                      <a:pt x="241" y="120"/>
                      <a:pt x="242" y="120"/>
                    </a:cubicBezTo>
                    <a:cubicBezTo>
                      <a:pt x="242" y="120"/>
                      <a:pt x="242" y="120"/>
                      <a:pt x="242" y="121"/>
                    </a:cubicBezTo>
                    <a:cubicBezTo>
                      <a:pt x="241" y="123"/>
                      <a:pt x="241" y="125"/>
                      <a:pt x="240" y="127"/>
                    </a:cubicBezTo>
                    <a:lnTo>
                      <a:pt x="239" y="127"/>
                    </a:lnTo>
                    <a:close/>
                    <a:moveTo>
                      <a:pt x="6" y="123"/>
                    </a:moveTo>
                    <a:cubicBezTo>
                      <a:pt x="5" y="122"/>
                      <a:pt x="5" y="122"/>
                      <a:pt x="5" y="122"/>
                    </a:cubicBezTo>
                    <a:cubicBezTo>
                      <a:pt x="4" y="120"/>
                      <a:pt x="4" y="118"/>
                      <a:pt x="3" y="116"/>
                    </a:cubicBezTo>
                    <a:cubicBezTo>
                      <a:pt x="3" y="116"/>
                      <a:pt x="3" y="116"/>
                      <a:pt x="4" y="115"/>
                    </a:cubicBezTo>
                    <a:cubicBezTo>
                      <a:pt x="4" y="115"/>
                      <a:pt x="4" y="116"/>
                      <a:pt x="5" y="116"/>
                    </a:cubicBezTo>
                    <a:cubicBezTo>
                      <a:pt x="5" y="118"/>
                      <a:pt x="6" y="120"/>
                      <a:pt x="6" y="122"/>
                    </a:cubicBezTo>
                    <a:cubicBezTo>
                      <a:pt x="6" y="122"/>
                      <a:pt x="6" y="123"/>
                      <a:pt x="6" y="123"/>
                    </a:cubicBezTo>
                    <a:close/>
                    <a:moveTo>
                      <a:pt x="243" y="115"/>
                    </a:moveTo>
                    <a:cubicBezTo>
                      <a:pt x="243" y="115"/>
                      <a:pt x="243" y="115"/>
                      <a:pt x="243" y="115"/>
                    </a:cubicBezTo>
                    <a:cubicBezTo>
                      <a:pt x="242" y="115"/>
                      <a:pt x="242" y="115"/>
                      <a:pt x="242" y="114"/>
                    </a:cubicBezTo>
                    <a:cubicBezTo>
                      <a:pt x="243" y="114"/>
                      <a:pt x="243" y="113"/>
                      <a:pt x="243" y="112"/>
                    </a:cubicBezTo>
                    <a:cubicBezTo>
                      <a:pt x="243" y="111"/>
                      <a:pt x="243" y="110"/>
                      <a:pt x="244" y="108"/>
                    </a:cubicBezTo>
                    <a:cubicBezTo>
                      <a:pt x="244" y="108"/>
                      <a:pt x="244" y="108"/>
                      <a:pt x="245" y="108"/>
                    </a:cubicBezTo>
                    <a:cubicBezTo>
                      <a:pt x="245" y="108"/>
                      <a:pt x="245" y="108"/>
                      <a:pt x="245" y="109"/>
                    </a:cubicBezTo>
                    <a:cubicBezTo>
                      <a:pt x="245" y="110"/>
                      <a:pt x="245" y="111"/>
                      <a:pt x="244" y="112"/>
                    </a:cubicBezTo>
                    <a:cubicBezTo>
                      <a:pt x="244" y="113"/>
                      <a:pt x="244" y="114"/>
                      <a:pt x="244" y="115"/>
                    </a:cubicBezTo>
                    <a:cubicBezTo>
                      <a:pt x="244" y="115"/>
                      <a:pt x="243" y="115"/>
                      <a:pt x="243" y="115"/>
                    </a:cubicBezTo>
                    <a:close/>
                    <a:moveTo>
                      <a:pt x="3" y="111"/>
                    </a:moveTo>
                    <a:cubicBezTo>
                      <a:pt x="2" y="111"/>
                      <a:pt x="2" y="111"/>
                      <a:pt x="2" y="110"/>
                    </a:cubicBezTo>
                    <a:cubicBezTo>
                      <a:pt x="1" y="108"/>
                      <a:pt x="1" y="106"/>
                      <a:pt x="1" y="104"/>
                    </a:cubicBezTo>
                    <a:cubicBezTo>
                      <a:pt x="1" y="104"/>
                      <a:pt x="1" y="103"/>
                      <a:pt x="1" y="103"/>
                    </a:cubicBezTo>
                    <a:cubicBezTo>
                      <a:pt x="2" y="103"/>
                      <a:pt x="2" y="104"/>
                      <a:pt x="2" y="104"/>
                    </a:cubicBezTo>
                    <a:cubicBezTo>
                      <a:pt x="3" y="106"/>
                      <a:pt x="3" y="108"/>
                      <a:pt x="3" y="110"/>
                    </a:cubicBezTo>
                    <a:cubicBezTo>
                      <a:pt x="3" y="110"/>
                      <a:pt x="3" y="111"/>
                      <a:pt x="3" y="111"/>
                    </a:cubicBezTo>
                    <a:close/>
                    <a:moveTo>
                      <a:pt x="245" y="103"/>
                    </a:moveTo>
                    <a:cubicBezTo>
                      <a:pt x="245" y="103"/>
                      <a:pt x="245" y="103"/>
                      <a:pt x="245" y="103"/>
                    </a:cubicBezTo>
                    <a:cubicBezTo>
                      <a:pt x="245" y="103"/>
                      <a:pt x="245" y="103"/>
                      <a:pt x="245" y="102"/>
                    </a:cubicBezTo>
                    <a:cubicBezTo>
                      <a:pt x="245" y="100"/>
                      <a:pt x="245" y="98"/>
                      <a:pt x="245" y="96"/>
                    </a:cubicBezTo>
                    <a:cubicBezTo>
                      <a:pt x="245" y="96"/>
                      <a:pt x="246" y="96"/>
                      <a:pt x="246" y="96"/>
                    </a:cubicBezTo>
                    <a:cubicBezTo>
                      <a:pt x="246" y="96"/>
                      <a:pt x="247" y="96"/>
                      <a:pt x="247" y="96"/>
                    </a:cubicBezTo>
                    <a:cubicBezTo>
                      <a:pt x="247" y="98"/>
                      <a:pt x="246" y="101"/>
                      <a:pt x="246" y="103"/>
                    </a:cubicBezTo>
                    <a:cubicBezTo>
                      <a:pt x="246" y="103"/>
                      <a:pt x="246" y="103"/>
                      <a:pt x="245" y="103"/>
                    </a:cubicBezTo>
                    <a:close/>
                    <a:moveTo>
                      <a:pt x="1" y="99"/>
                    </a:moveTo>
                    <a:cubicBezTo>
                      <a:pt x="1" y="99"/>
                      <a:pt x="0" y="98"/>
                      <a:pt x="0" y="98"/>
                    </a:cubicBezTo>
                    <a:cubicBezTo>
                      <a:pt x="0" y="96"/>
                      <a:pt x="0" y="94"/>
                      <a:pt x="0" y="92"/>
                    </a:cubicBezTo>
                    <a:cubicBezTo>
                      <a:pt x="0" y="91"/>
                      <a:pt x="0" y="91"/>
                      <a:pt x="1" y="91"/>
                    </a:cubicBezTo>
                    <a:cubicBezTo>
                      <a:pt x="1" y="91"/>
                      <a:pt x="1" y="91"/>
                      <a:pt x="1" y="92"/>
                    </a:cubicBezTo>
                    <a:cubicBezTo>
                      <a:pt x="1" y="94"/>
                      <a:pt x="2" y="96"/>
                      <a:pt x="2" y="98"/>
                    </a:cubicBezTo>
                    <a:cubicBezTo>
                      <a:pt x="2" y="98"/>
                      <a:pt x="1" y="99"/>
                      <a:pt x="1" y="99"/>
                    </a:cubicBezTo>
                    <a:close/>
                    <a:moveTo>
                      <a:pt x="246" y="91"/>
                    </a:moveTo>
                    <a:cubicBezTo>
                      <a:pt x="246" y="91"/>
                      <a:pt x="246" y="91"/>
                      <a:pt x="246" y="91"/>
                    </a:cubicBezTo>
                    <a:cubicBezTo>
                      <a:pt x="246" y="91"/>
                      <a:pt x="245" y="91"/>
                      <a:pt x="245" y="90"/>
                    </a:cubicBezTo>
                    <a:cubicBezTo>
                      <a:pt x="245" y="89"/>
                      <a:pt x="245" y="88"/>
                      <a:pt x="245" y="87"/>
                    </a:cubicBezTo>
                    <a:cubicBezTo>
                      <a:pt x="245" y="86"/>
                      <a:pt x="245" y="85"/>
                      <a:pt x="245" y="84"/>
                    </a:cubicBezTo>
                    <a:cubicBezTo>
                      <a:pt x="245" y="84"/>
                      <a:pt x="246" y="83"/>
                      <a:pt x="246" y="83"/>
                    </a:cubicBezTo>
                    <a:cubicBezTo>
                      <a:pt x="247" y="83"/>
                      <a:pt x="247" y="84"/>
                      <a:pt x="247" y="84"/>
                    </a:cubicBezTo>
                    <a:cubicBezTo>
                      <a:pt x="247" y="85"/>
                      <a:pt x="247" y="86"/>
                      <a:pt x="247" y="87"/>
                    </a:cubicBezTo>
                    <a:cubicBezTo>
                      <a:pt x="247" y="88"/>
                      <a:pt x="247" y="89"/>
                      <a:pt x="247" y="90"/>
                    </a:cubicBezTo>
                    <a:cubicBezTo>
                      <a:pt x="247" y="91"/>
                      <a:pt x="247" y="91"/>
                      <a:pt x="246" y="91"/>
                    </a:cubicBezTo>
                    <a:close/>
                    <a:moveTo>
                      <a:pt x="1" y="86"/>
                    </a:moveTo>
                    <a:cubicBezTo>
                      <a:pt x="1" y="86"/>
                      <a:pt x="1" y="86"/>
                      <a:pt x="1" y="86"/>
                    </a:cubicBezTo>
                    <a:cubicBezTo>
                      <a:pt x="0" y="86"/>
                      <a:pt x="0" y="86"/>
                      <a:pt x="0" y="86"/>
                    </a:cubicBezTo>
                    <a:cubicBezTo>
                      <a:pt x="0" y="84"/>
                      <a:pt x="0" y="82"/>
                      <a:pt x="0" y="79"/>
                    </a:cubicBezTo>
                    <a:cubicBezTo>
                      <a:pt x="0" y="79"/>
                      <a:pt x="1" y="79"/>
                      <a:pt x="1" y="79"/>
                    </a:cubicBezTo>
                    <a:cubicBezTo>
                      <a:pt x="1" y="79"/>
                      <a:pt x="2" y="79"/>
                      <a:pt x="2" y="80"/>
                    </a:cubicBezTo>
                    <a:cubicBezTo>
                      <a:pt x="2" y="82"/>
                      <a:pt x="1" y="84"/>
                      <a:pt x="1" y="86"/>
                    </a:cubicBezTo>
                    <a:cubicBezTo>
                      <a:pt x="1" y="86"/>
                      <a:pt x="1" y="86"/>
                      <a:pt x="1" y="86"/>
                    </a:cubicBezTo>
                    <a:close/>
                    <a:moveTo>
                      <a:pt x="246" y="79"/>
                    </a:moveTo>
                    <a:cubicBezTo>
                      <a:pt x="245" y="79"/>
                      <a:pt x="245" y="78"/>
                      <a:pt x="245" y="78"/>
                    </a:cubicBezTo>
                    <a:cubicBezTo>
                      <a:pt x="245" y="76"/>
                      <a:pt x="245" y="74"/>
                      <a:pt x="245" y="72"/>
                    </a:cubicBezTo>
                    <a:cubicBezTo>
                      <a:pt x="245" y="71"/>
                      <a:pt x="245" y="71"/>
                      <a:pt x="245" y="71"/>
                    </a:cubicBezTo>
                    <a:cubicBezTo>
                      <a:pt x="246" y="71"/>
                      <a:pt x="246" y="71"/>
                      <a:pt x="246" y="72"/>
                    </a:cubicBezTo>
                    <a:cubicBezTo>
                      <a:pt x="246" y="74"/>
                      <a:pt x="247" y="76"/>
                      <a:pt x="247" y="78"/>
                    </a:cubicBezTo>
                    <a:cubicBezTo>
                      <a:pt x="247" y="78"/>
                      <a:pt x="246" y="79"/>
                      <a:pt x="246" y="79"/>
                    </a:cubicBezTo>
                    <a:close/>
                    <a:moveTo>
                      <a:pt x="1" y="74"/>
                    </a:moveTo>
                    <a:cubicBezTo>
                      <a:pt x="1" y="74"/>
                      <a:pt x="1" y="74"/>
                      <a:pt x="1" y="74"/>
                    </a:cubicBezTo>
                    <a:cubicBezTo>
                      <a:pt x="1" y="74"/>
                      <a:pt x="1" y="74"/>
                      <a:pt x="1" y="73"/>
                    </a:cubicBezTo>
                    <a:cubicBezTo>
                      <a:pt x="1" y="71"/>
                      <a:pt x="1" y="69"/>
                      <a:pt x="1" y="67"/>
                    </a:cubicBezTo>
                    <a:cubicBezTo>
                      <a:pt x="2" y="67"/>
                      <a:pt x="2" y="66"/>
                      <a:pt x="2" y="66"/>
                    </a:cubicBezTo>
                    <a:cubicBezTo>
                      <a:pt x="3" y="67"/>
                      <a:pt x="3" y="67"/>
                      <a:pt x="3" y="67"/>
                    </a:cubicBezTo>
                    <a:cubicBezTo>
                      <a:pt x="3" y="69"/>
                      <a:pt x="2" y="71"/>
                      <a:pt x="2" y="73"/>
                    </a:cubicBezTo>
                    <a:cubicBezTo>
                      <a:pt x="2" y="74"/>
                      <a:pt x="2" y="74"/>
                      <a:pt x="1" y="74"/>
                    </a:cubicBezTo>
                    <a:close/>
                    <a:moveTo>
                      <a:pt x="245" y="66"/>
                    </a:moveTo>
                    <a:cubicBezTo>
                      <a:pt x="244" y="66"/>
                      <a:pt x="244" y="66"/>
                      <a:pt x="244" y="66"/>
                    </a:cubicBezTo>
                    <a:cubicBezTo>
                      <a:pt x="243" y="64"/>
                      <a:pt x="243" y="62"/>
                      <a:pt x="243" y="60"/>
                    </a:cubicBezTo>
                    <a:cubicBezTo>
                      <a:pt x="243" y="59"/>
                      <a:pt x="243" y="59"/>
                      <a:pt x="243" y="59"/>
                    </a:cubicBezTo>
                    <a:cubicBezTo>
                      <a:pt x="244" y="59"/>
                      <a:pt x="244" y="59"/>
                      <a:pt x="244" y="59"/>
                    </a:cubicBezTo>
                    <a:cubicBezTo>
                      <a:pt x="245" y="61"/>
                      <a:pt x="245" y="63"/>
                      <a:pt x="245" y="65"/>
                    </a:cubicBezTo>
                    <a:cubicBezTo>
                      <a:pt x="245" y="66"/>
                      <a:pt x="245" y="66"/>
                      <a:pt x="245" y="66"/>
                    </a:cubicBezTo>
                    <a:close/>
                    <a:moveTo>
                      <a:pt x="3" y="62"/>
                    </a:moveTo>
                    <a:cubicBezTo>
                      <a:pt x="3" y="62"/>
                      <a:pt x="3" y="62"/>
                      <a:pt x="3" y="62"/>
                    </a:cubicBezTo>
                    <a:cubicBezTo>
                      <a:pt x="3" y="62"/>
                      <a:pt x="2" y="61"/>
                      <a:pt x="3" y="61"/>
                    </a:cubicBezTo>
                    <a:cubicBezTo>
                      <a:pt x="3" y="59"/>
                      <a:pt x="3" y="57"/>
                      <a:pt x="4" y="55"/>
                    </a:cubicBezTo>
                    <a:cubicBezTo>
                      <a:pt x="4" y="55"/>
                      <a:pt x="4" y="54"/>
                      <a:pt x="5" y="54"/>
                    </a:cubicBezTo>
                    <a:cubicBezTo>
                      <a:pt x="5" y="55"/>
                      <a:pt x="5" y="55"/>
                      <a:pt x="5" y="55"/>
                    </a:cubicBezTo>
                    <a:cubicBezTo>
                      <a:pt x="5" y="57"/>
                      <a:pt x="4" y="59"/>
                      <a:pt x="4" y="61"/>
                    </a:cubicBezTo>
                    <a:cubicBezTo>
                      <a:pt x="4" y="62"/>
                      <a:pt x="4" y="62"/>
                      <a:pt x="3" y="62"/>
                    </a:cubicBezTo>
                    <a:close/>
                    <a:moveTo>
                      <a:pt x="242" y="54"/>
                    </a:moveTo>
                    <a:cubicBezTo>
                      <a:pt x="241" y="54"/>
                      <a:pt x="241" y="54"/>
                      <a:pt x="241" y="54"/>
                    </a:cubicBezTo>
                    <a:cubicBezTo>
                      <a:pt x="241" y="52"/>
                      <a:pt x="240" y="50"/>
                      <a:pt x="240" y="48"/>
                    </a:cubicBezTo>
                    <a:cubicBezTo>
                      <a:pt x="240" y="47"/>
                      <a:pt x="240" y="47"/>
                      <a:pt x="240" y="47"/>
                    </a:cubicBezTo>
                    <a:cubicBezTo>
                      <a:pt x="241" y="47"/>
                      <a:pt x="241" y="47"/>
                      <a:pt x="241" y="47"/>
                    </a:cubicBezTo>
                    <a:cubicBezTo>
                      <a:pt x="242" y="49"/>
                      <a:pt x="242" y="51"/>
                      <a:pt x="243" y="53"/>
                    </a:cubicBezTo>
                    <a:cubicBezTo>
                      <a:pt x="243" y="54"/>
                      <a:pt x="243" y="54"/>
                      <a:pt x="242" y="54"/>
                    </a:cubicBezTo>
                    <a:close/>
                    <a:moveTo>
                      <a:pt x="6" y="50"/>
                    </a:moveTo>
                    <a:cubicBezTo>
                      <a:pt x="6" y="50"/>
                      <a:pt x="6" y="50"/>
                      <a:pt x="6" y="50"/>
                    </a:cubicBezTo>
                    <a:cubicBezTo>
                      <a:pt x="6" y="50"/>
                      <a:pt x="5" y="49"/>
                      <a:pt x="5" y="49"/>
                    </a:cubicBezTo>
                    <a:cubicBezTo>
                      <a:pt x="6" y="47"/>
                      <a:pt x="7" y="45"/>
                      <a:pt x="7" y="43"/>
                    </a:cubicBezTo>
                    <a:cubicBezTo>
                      <a:pt x="7" y="43"/>
                      <a:pt x="8" y="42"/>
                      <a:pt x="8" y="43"/>
                    </a:cubicBezTo>
                    <a:cubicBezTo>
                      <a:pt x="9" y="43"/>
                      <a:pt x="9" y="43"/>
                      <a:pt x="9" y="44"/>
                    </a:cubicBezTo>
                    <a:cubicBezTo>
                      <a:pt x="8" y="45"/>
                      <a:pt x="7" y="47"/>
                      <a:pt x="7" y="49"/>
                    </a:cubicBezTo>
                    <a:lnTo>
                      <a:pt x="6" y="50"/>
                    </a:lnTo>
                    <a:close/>
                    <a:moveTo>
                      <a:pt x="239" y="42"/>
                    </a:moveTo>
                    <a:cubicBezTo>
                      <a:pt x="238" y="42"/>
                      <a:pt x="238" y="42"/>
                      <a:pt x="238" y="42"/>
                    </a:cubicBezTo>
                    <a:cubicBezTo>
                      <a:pt x="237" y="40"/>
                      <a:pt x="237" y="38"/>
                      <a:pt x="236" y="36"/>
                    </a:cubicBezTo>
                    <a:cubicBezTo>
                      <a:pt x="236" y="36"/>
                      <a:pt x="236" y="35"/>
                      <a:pt x="236" y="35"/>
                    </a:cubicBezTo>
                    <a:cubicBezTo>
                      <a:pt x="237" y="35"/>
                      <a:pt x="237" y="35"/>
                      <a:pt x="237" y="36"/>
                    </a:cubicBezTo>
                    <a:cubicBezTo>
                      <a:pt x="238" y="38"/>
                      <a:pt x="239" y="39"/>
                      <a:pt x="239" y="41"/>
                    </a:cubicBezTo>
                    <a:cubicBezTo>
                      <a:pt x="240" y="42"/>
                      <a:pt x="239" y="42"/>
                      <a:pt x="239" y="42"/>
                    </a:cubicBezTo>
                    <a:close/>
                    <a:moveTo>
                      <a:pt x="10" y="38"/>
                    </a:moveTo>
                    <a:cubicBezTo>
                      <a:pt x="10" y="38"/>
                      <a:pt x="10" y="38"/>
                      <a:pt x="10" y="38"/>
                    </a:cubicBezTo>
                    <a:cubicBezTo>
                      <a:pt x="9" y="38"/>
                      <a:pt x="9" y="38"/>
                      <a:pt x="9" y="37"/>
                    </a:cubicBezTo>
                    <a:cubicBezTo>
                      <a:pt x="10" y="35"/>
                      <a:pt x="11" y="33"/>
                      <a:pt x="12" y="31"/>
                    </a:cubicBezTo>
                    <a:cubicBezTo>
                      <a:pt x="12" y="31"/>
                      <a:pt x="12" y="31"/>
                      <a:pt x="13" y="31"/>
                    </a:cubicBezTo>
                    <a:cubicBezTo>
                      <a:pt x="13" y="31"/>
                      <a:pt x="13" y="32"/>
                      <a:pt x="13" y="32"/>
                    </a:cubicBezTo>
                    <a:cubicBezTo>
                      <a:pt x="12" y="34"/>
                      <a:pt x="11" y="36"/>
                      <a:pt x="11" y="38"/>
                    </a:cubicBezTo>
                    <a:lnTo>
                      <a:pt x="10" y="38"/>
                    </a:lnTo>
                    <a:close/>
                    <a:moveTo>
                      <a:pt x="234" y="31"/>
                    </a:moveTo>
                    <a:cubicBezTo>
                      <a:pt x="233" y="31"/>
                      <a:pt x="233" y="31"/>
                      <a:pt x="233" y="31"/>
                    </a:cubicBezTo>
                    <a:cubicBezTo>
                      <a:pt x="232" y="29"/>
                      <a:pt x="232" y="27"/>
                      <a:pt x="231" y="25"/>
                    </a:cubicBezTo>
                    <a:cubicBezTo>
                      <a:pt x="230" y="25"/>
                      <a:pt x="231" y="24"/>
                      <a:pt x="231" y="24"/>
                    </a:cubicBezTo>
                    <a:cubicBezTo>
                      <a:pt x="231" y="24"/>
                      <a:pt x="232" y="24"/>
                      <a:pt x="232" y="24"/>
                    </a:cubicBezTo>
                    <a:cubicBezTo>
                      <a:pt x="233" y="26"/>
                      <a:pt x="234" y="28"/>
                      <a:pt x="235" y="30"/>
                    </a:cubicBezTo>
                    <a:cubicBezTo>
                      <a:pt x="235" y="30"/>
                      <a:pt x="235" y="31"/>
                      <a:pt x="234" y="31"/>
                    </a:cubicBezTo>
                    <a:close/>
                    <a:moveTo>
                      <a:pt x="15" y="27"/>
                    </a:moveTo>
                    <a:cubicBezTo>
                      <a:pt x="15" y="27"/>
                      <a:pt x="15" y="27"/>
                      <a:pt x="15" y="27"/>
                    </a:cubicBezTo>
                    <a:cubicBezTo>
                      <a:pt x="14" y="27"/>
                      <a:pt x="14" y="26"/>
                      <a:pt x="14" y="26"/>
                    </a:cubicBezTo>
                    <a:cubicBezTo>
                      <a:pt x="15" y="24"/>
                      <a:pt x="16" y="22"/>
                      <a:pt x="17" y="20"/>
                    </a:cubicBezTo>
                    <a:cubicBezTo>
                      <a:pt x="17" y="20"/>
                      <a:pt x="18" y="20"/>
                      <a:pt x="18" y="20"/>
                    </a:cubicBezTo>
                    <a:cubicBezTo>
                      <a:pt x="19" y="20"/>
                      <a:pt x="19" y="21"/>
                      <a:pt x="19" y="21"/>
                    </a:cubicBezTo>
                    <a:cubicBezTo>
                      <a:pt x="18" y="23"/>
                      <a:pt x="17" y="25"/>
                      <a:pt x="16" y="27"/>
                    </a:cubicBezTo>
                    <a:lnTo>
                      <a:pt x="15" y="27"/>
                    </a:lnTo>
                    <a:close/>
                    <a:moveTo>
                      <a:pt x="228" y="20"/>
                    </a:moveTo>
                    <a:cubicBezTo>
                      <a:pt x="228" y="20"/>
                      <a:pt x="228" y="20"/>
                      <a:pt x="228" y="20"/>
                    </a:cubicBezTo>
                    <a:cubicBezTo>
                      <a:pt x="226" y="18"/>
                      <a:pt x="225" y="16"/>
                      <a:pt x="224" y="15"/>
                    </a:cubicBezTo>
                    <a:cubicBezTo>
                      <a:pt x="224" y="15"/>
                      <a:pt x="224" y="15"/>
                      <a:pt x="224" y="15"/>
                    </a:cubicBezTo>
                    <a:cubicBezTo>
                      <a:pt x="224" y="14"/>
                      <a:pt x="224" y="14"/>
                      <a:pt x="224" y="14"/>
                    </a:cubicBezTo>
                    <a:cubicBezTo>
                      <a:pt x="225" y="14"/>
                      <a:pt x="225" y="14"/>
                      <a:pt x="225" y="14"/>
                    </a:cubicBezTo>
                    <a:cubicBezTo>
                      <a:pt x="225" y="14"/>
                      <a:pt x="225" y="14"/>
                      <a:pt x="225" y="14"/>
                    </a:cubicBezTo>
                    <a:cubicBezTo>
                      <a:pt x="226" y="16"/>
                      <a:pt x="228" y="17"/>
                      <a:pt x="229" y="19"/>
                    </a:cubicBezTo>
                    <a:cubicBezTo>
                      <a:pt x="229" y="19"/>
                      <a:pt x="229" y="20"/>
                      <a:pt x="229" y="20"/>
                    </a:cubicBezTo>
                    <a:lnTo>
                      <a:pt x="228" y="20"/>
                    </a:lnTo>
                    <a:close/>
                    <a:moveTo>
                      <a:pt x="21" y="16"/>
                    </a:moveTo>
                    <a:cubicBezTo>
                      <a:pt x="21" y="16"/>
                      <a:pt x="21" y="16"/>
                      <a:pt x="21" y="16"/>
                    </a:cubicBezTo>
                    <a:cubicBezTo>
                      <a:pt x="21" y="15"/>
                      <a:pt x="21" y="15"/>
                      <a:pt x="21" y="15"/>
                    </a:cubicBezTo>
                    <a:cubicBezTo>
                      <a:pt x="21" y="15"/>
                      <a:pt x="21" y="14"/>
                      <a:pt x="22" y="14"/>
                    </a:cubicBezTo>
                    <a:cubicBezTo>
                      <a:pt x="23" y="13"/>
                      <a:pt x="24" y="12"/>
                      <a:pt x="25" y="11"/>
                    </a:cubicBezTo>
                    <a:cubicBezTo>
                      <a:pt x="26" y="11"/>
                      <a:pt x="26" y="11"/>
                      <a:pt x="26" y="11"/>
                    </a:cubicBezTo>
                    <a:cubicBezTo>
                      <a:pt x="26" y="12"/>
                      <a:pt x="26" y="12"/>
                      <a:pt x="26" y="12"/>
                    </a:cubicBezTo>
                    <a:cubicBezTo>
                      <a:pt x="25" y="13"/>
                      <a:pt x="24" y="14"/>
                      <a:pt x="23" y="15"/>
                    </a:cubicBezTo>
                    <a:cubicBezTo>
                      <a:pt x="23" y="15"/>
                      <a:pt x="22" y="16"/>
                      <a:pt x="22" y="16"/>
                    </a:cubicBezTo>
                    <a:lnTo>
                      <a:pt x="21" y="16"/>
                    </a:lnTo>
                    <a:close/>
                    <a:moveTo>
                      <a:pt x="220" y="11"/>
                    </a:moveTo>
                    <a:cubicBezTo>
                      <a:pt x="220" y="11"/>
                      <a:pt x="220" y="11"/>
                      <a:pt x="220" y="11"/>
                    </a:cubicBezTo>
                    <a:cubicBezTo>
                      <a:pt x="218" y="10"/>
                      <a:pt x="216" y="9"/>
                      <a:pt x="214" y="9"/>
                    </a:cubicBezTo>
                    <a:cubicBezTo>
                      <a:pt x="214" y="8"/>
                      <a:pt x="214" y="8"/>
                      <a:pt x="214" y="8"/>
                    </a:cubicBezTo>
                    <a:cubicBezTo>
                      <a:pt x="214" y="7"/>
                      <a:pt x="214" y="7"/>
                      <a:pt x="215" y="7"/>
                    </a:cubicBezTo>
                    <a:cubicBezTo>
                      <a:pt x="217" y="8"/>
                      <a:pt x="219" y="9"/>
                      <a:pt x="220" y="10"/>
                    </a:cubicBezTo>
                    <a:cubicBezTo>
                      <a:pt x="221" y="10"/>
                      <a:pt x="221" y="10"/>
                      <a:pt x="221" y="11"/>
                    </a:cubicBezTo>
                    <a:lnTo>
                      <a:pt x="220" y="11"/>
                    </a:lnTo>
                    <a:close/>
                    <a:moveTo>
                      <a:pt x="31" y="9"/>
                    </a:moveTo>
                    <a:cubicBezTo>
                      <a:pt x="30" y="8"/>
                      <a:pt x="30" y="8"/>
                      <a:pt x="30" y="8"/>
                    </a:cubicBezTo>
                    <a:cubicBezTo>
                      <a:pt x="30" y="8"/>
                      <a:pt x="30" y="7"/>
                      <a:pt x="30" y="7"/>
                    </a:cubicBezTo>
                    <a:cubicBezTo>
                      <a:pt x="32" y="6"/>
                      <a:pt x="34" y="6"/>
                      <a:pt x="36" y="5"/>
                    </a:cubicBezTo>
                    <a:cubicBezTo>
                      <a:pt x="37" y="5"/>
                      <a:pt x="37" y="5"/>
                      <a:pt x="37" y="5"/>
                    </a:cubicBezTo>
                    <a:cubicBezTo>
                      <a:pt x="37" y="6"/>
                      <a:pt x="37" y="6"/>
                      <a:pt x="37" y="6"/>
                    </a:cubicBezTo>
                    <a:cubicBezTo>
                      <a:pt x="35" y="7"/>
                      <a:pt x="33" y="8"/>
                      <a:pt x="31" y="9"/>
                    </a:cubicBezTo>
                    <a:close/>
                    <a:moveTo>
                      <a:pt x="209" y="7"/>
                    </a:moveTo>
                    <a:cubicBezTo>
                      <a:pt x="208" y="7"/>
                      <a:pt x="208" y="7"/>
                      <a:pt x="208" y="7"/>
                    </a:cubicBezTo>
                    <a:cubicBezTo>
                      <a:pt x="206" y="6"/>
                      <a:pt x="204" y="6"/>
                      <a:pt x="202" y="6"/>
                    </a:cubicBezTo>
                    <a:cubicBezTo>
                      <a:pt x="202" y="6"/>
                      <a:pt x="202" y="5"/>
                      <a:pt x="202" y="5"/>
                    </a:cubicBezTo>
                    <a:cubicBezTo>
                      <a:pt x="202" y="4"/>
                      <a:pt x="202" y="4"/>
                      <a:pt x="203" y="4"/>
                    </a:cubicBezTo>
                    <a:cubicBezTo>
                      <a:pt x="205" y="4"/>
                      <a:pt x="207" y="5"/>
                      <a:pt x="209" y="5"/>
                    </a:cubicBezTo>
                    <a:cubicBezTo>
                      <a:pt x="209" y="5"/>
                      <a:pt x="209" y="6"/>
                      <a:pt x="209" y="6"/>
                    </a:cubicBezTo>
                    <a:lnTo>
                      <a:pt x="209" y="7"/>
                    </a:lnTo>
                    <a:close/>
                    <a:moveTo>
                      <a:pt x="42" y="5"/>
                    </a:moveTo>
                    <a:cubicBezTo>
                      <a:pt x="42" y="5"/>
                      <a:pt x="42" y="5"/>
                      <a:pt x="42" y="4"/>
                    </a:cubicBezTo>
                    <a:cubicBezTo>
                      <a:pt x="42" y="4"/>
                      <a:pt x="42" y="3"/>
                      <a:pt x="42" y="3"/>
                    </a:cubicBezTo>
                    <a:cubicBezTo>
                      <a:pt x="44" y="3"/>
                      <a:pt x="46" y="3"/>
                      <a:pt x="48" y="2"/>
                    </a:cubicBezTo>
                    <a:cubicBezTo>
                      <a:pt x="49" y="2"/>
                      <a:pt x="49" y="2"/>
                      <a:pt x="49" y="3"/>
                    </a:cubicBezTo>
                    <a:cubicBezTo>
                      <a:pt x="49" y="3"/>
                      <a:pt x="49" y="4"/>
                      <a:pt x="49" y="4"/>
                    </a:cubicBezTo>
                    <a:cubicBezTo>
                      <a:pt x="46" y="4"/>
                      <a:pt x="44" y="5"/>
                      <a:pt x="43" y="5"/>
                    </a:cubicBezTo>
                    <a:lnTo>
                      <a:pt x="42" y="5"/>
                    </a:lnTo>
                    <a:close/>
                    <a:moveTo>
                      <a:pt x="196" y="5"/>
                    </a:moveTo>
                    <a:cubicBezTo>
                      <a:pt x="196" y="5"/>
                      <a:pt x="196" y="5"/>
                      <a:pt x="196" y="5"/>
                    </a:cubicBezTo>
                    <a:cubicBezTo>
                      <a:pt x="194" y="5"/>
                      <a:pt x="192" y="4"/>
                      <a:pt x="190" y="4"/>
                    </a:cubicBezTo>
                    <a:cubicBezTo>
                      <a:pt x="190" y="4"/>
                      <a:pt x="189" y="4"/>
                      <a:pt x="189" y="3"/>
                    </a:cubicBezTo>
                    <a:cubicBezTo>
                      <a:pt x="190" y="3"/>
                      <a:pt x="190" y="3"/>
                      <a:pt x="190" y="3"/>
                    </a:cubicBezTo>
                    <a:cubicBezTo>
                      <a:pt x="192" y="3"/>
                      <a:pt x="195" y="3"/>
                      <a:pt x="196" y="3"/>
                    </a:cubicBezTo>
                    <a:cubicBezTo>
                      <a:pt x="197" y="3"/>
                      <a:pt x="197" y="4"/>
                      <a:pt x="197" y="4"/>
                    </a:cubicBezTo>
                    <a:cubicBezTo>
                      <a:pt x="197" y="4"/>
                      <a:pt x="197" y="5"/>
                      <a:pt x="196" y="5"/>
                    </a:cubicBezTo>
                    <a:close/>
                    <a:moveTo>
                      <a:pt x="184" y="4"/>
                    </a:moveTo>
                    <a:cubicBezTo>
                      <a:pt x="184" y="4"/>
                      <a:pt x="184" y="4"/>
                      <a:pt x="184" y="4"/>
                    </a:cubicBezTo>
                    <a:cubicBezTo>
                      <a:pt x="182" y="4"/>
                      <a:pt x="180" y="4"/>
                      <a:pt x="178" y="3"/>
                    </a:cubicBezTo>
                    <a:cubicBezTo>
                      <a:pt x="177" y="3"/>
                      <a:pt x="177" y="3"/>
                      <a:pt x="177" y="3"/>
                    </a:cubicBezTo>
                    <a:cubicBezTo>
                      <a:pt x="177" y="2"/>
                      <a:pt x="178" y="2"/>
                      <a:pt x="178" y="2"/>
                    </a:cubicBezTo>
                    <a:cubicBezTo>
                      <a:pt x="180" y="2"/>
                      <a:pt x="182" y="2"/>
                      <a:pt x="184" y="2"/>
                    </a:cubicBezTo>
                    <a:cubicBezTo>
                      <a:pt x="185" y="2"/>
                      <a:pt x="185" y="3"/>
                      <a:pt x="185" y="3"/>
                    </a:cubicBezTo>
                    <a:cubicBezTo>
                      <a:pt x="185" y="3"/>
                      <a:pt x="184" y="4"/>
                      <a:pt x="184" y="4"/>
                    </a:cubicBezTo>
                    <a:close/>
                    <a:moveTo>
                      <a:pt x="172" y="3"/>
                    </a:moveTo>
                    <a:cubicBezTo>
                      <a:pt x="172" y="3"/>
                      <a:pt x="172" y="3"/>
                      <a:pt x="172" y="3"/>
                    </a:cubicBezTo>
                    <a:cubicBezTo>
                      <a:pt x="170" y="3"/>
                      <a:pt x="168" y="3"/>
                      <a:pt x="166" y="3"/>
                    </a:cubicBezTo>
                    <a:cubicBezTo>
                      <a:pt x="165" y="3"/>
                      <a:pt x="165" y="3"/>
                      <a:pt x="165" y="2"/>
                    </a:cubicBezTo>
                    <a:cubicBezTo>
                      <a:pt x="165" y="2"/>
                      <a:pt x="165" y="2"/>
                      <a:pt x="166" y="2"/>
                    </a:cubicBezTo>
                    <a:cubicBezTo>
                      <a:pt x="166" y="2"/>
                      <a:pt x="166" y="2"/>
                      <a:pt x="166" y="2"/>
                    </a:cubicBezTo>
                    <a:cubicBezTo>
                      <a:pt x="168" y="2"/>
                      <a:pt x="170" y="2"/>
                      <a:pt x="172" y="2"/>
                    </a:cubicBezTo>
                    <a:cubicBezTo>
                      <a:pt x="172" y="2"/>
                      <a:pt x="173" y="2"/>
                      <a:pt x="173" y="3"/>
                    </a:cubicBezTo>
                    <a:cubicBezTo>
                      <a:pt x="173" y="3"/>
                      <a:pt x="172" y="3"/>
                      <a:pt x="172" y="3"/>
                    </a:cubicBezTo>
                    <a:close/>
                    <a:moveTo>
                      <a:pt x="159" y="3"/>
                    </a:moveTo>
                    <a:cubicBezTo>
                      <a:pt x="159" y="3"/>
                      <a:pt x="159" y="3"/>
                      <a:pt x="159" y="3"/>
                    </a:cubicBezTo>
                    <a:cubicBezTo>
                      <a:pt x="157" y="3"/>
                      <a:pt x="155" y="3"/>
                      <a:pt x="153" y="3"/>
                    </a:cubicBezTo>
                    <a:cubicBezTo>
                      <a:pt x="153" y="3"/>
                      <a:pt x="152" y="3"/>
                      <a:pt x="152" y="2"/>
                    </a:cubicBezTo>
                    <a:cubicBezTo>
                      <a:pt x="152" y="2"/>
                      <a:pt x="153" y="2"/>
                      <a:pt x="153" y="2"/>
                    </a:cubicBezTo>
                    <a:cubicBezTo>
                      <a:pt x="155" y="2"/>
                      <a:pt x="157" y="2"/>
                      <a:pt x="159" y="2"/>
                    </a:cubicBezTo>
                    <a:cubicBezTo>
                      <a:pt x="160" y="2"/>
                      <a:pt x="160" y="2"/>
                      <a:pt x="160" y="2"/>
                    </a:cubicBezTo>
                    <a:cubicBezTo>
                      <a:pt x="160" y="3"/>
                      <a:pt x="160" y="3"/>
                      <a:pt x="159" y="3"/>
                    </a:cubicBezTo>
                    <a:close/>
                    <a:moveTo>
                      <a:pt x="55" y="3"/>
                    </a:moveTo>
                    <a:cubicBezTo>
                      <a:pt x="54" y="3"/>
                      <a:pt x="54" y="3"/>
                      <a:pt x="54" y="2"/>
                    </a:cubicBezTo>
                    <a:cubicBezTo>
                      <a:pt x="54" y="2"/>
                      <a:pt x="54" y="2"/>
                      <a:pt x="55" y="1"/>
                    </a:cubicBezTo>
                    <a:cubicBezTo>
                      <a:pt x="57" y="1"/>
                      <a:pt x="59" y="1"/>
                      <a:pt x="61" y="1"/>
                    </a:cubicBezTo>
                    <a:cubicBezTo>
                      <a:pt x="61" y="1"/>
                      <a:pt x="62" y="1"/>
                      <a:pt x="62" y="2"/>
                    </a:cubicBezTo>
                    <a:cubicBezTo>
                      <a:pt x="62" y="2"/>
                      <a:pt x="61" y="2"/>
                      <a:pt x="61" y="2"/>
                    </a:cubicBezTo>
                    <a:cubicBezTo>
                      <a:pt x="59" y="3"/>
                      <a:pt x="57" y="3"/>
                      <a:pt x="55" y="3"/>
                    </a:cubicBezTo>
                    <a:close/>
                    <a:moveTo>
                      <a:pt x="147" y="3"/>
                    </a:moveTo>
                    <a:cubicBezTo>
                      <a:pt x="147" y="3"/>
                      <a:pt x="147" y="3"/>
                      <a:pt x="147" y="3"/>
                    </a:cubicBezTo>
                    <a:cubicBezTo>
                      <a:pt x="145" y="3"/>
                      <a:pt x="143" y="3"/>
                      <a:pt x="141" y="3"/>
                    </a:cubicBezTo>
                    <a:cubicBezTo>
                      <a:pt x="140" y="3"/>
                      <a:pt x="140" y="3"/>
                      <a:pt x="140" y="2"/>
                    </a:cubicBezTo>
                    <a:cubicBezTo>
                      <a:pt x="140" y="2"/>
                      <a:pt x="140" y="1"/>
                      <a:pt x="141" y="1"/>
                    </a:cubicBezTo>
                    <a:cubicBezTo>
                      <a:pt x="143" y="1"/>
                      <a:pt x="145" y="1"/>
                      <a:pt x="147" y="1"/>
                    </a:cubicBezTo>
                    <a:cubicBezTo>
                      <a:pt x="147" y="1"/>
                      <a:pt x="148" y="2"/>
                      <a:pt x="148" y="2"/>
                    </a:cubicBezTo>
                    <a:cubicBezTo>
                      <a:pt x="148" y="3"/>
                      <a:pt x="147" y="3"/>
                      <a:pt x="147" y="3"/>
                    </a:cubicBezTo>
                    <a:close/>
                    <a:moveTo>
                      <a:pt x="135" y="3"/>
                    </a:moveTo>
                    <a:cubicBezTo>
                      <a:pt x="135" y="3"/>
                      <a:pt x="135" y="3"/>
                      <a:pt x="135" y="3"/>
                    </a:cubicBezTo>
                    <a:cubicBezTo>
                      <a:pt x="133" y="3"/>
                      <a:pt x="131" y="3"/>
                      <a:pt x="129" y="3"/>
                    </a:cubicBezTo>
                    <a:cubicBezTo>
                      <a:pt x="128" y="3"/>
                      <a:pt x="128" y="2"/>
                      <a:pt x="128" y="2"/>
                    </a:cubicBezTo>
                    <a:cubicBezTo>
                      <a:pt x="128" y="2"/>
                      <a:pt x="128" y="1"/>
                      <a:pt x="129" y="1"/>
                    </a:cubicBezTo>
                    <a:cubicBezTo>
                      <a:pt x="131" y="1"/>
                      <a:pt x="133" y="1"/>
                      <a:pt x="135" y="1"/>
                    </a:cubicBezTo>
                    <a:cubicBezTo>
                      <a:pt x="135" y="1"/>
                      <a:pt x="136" y="2"/>
                      <a:pt x="136" y="2"/>
                    </a:cubicBezTo>
                    <a:cubicBezTo>
                      <a:pt x="136" y="3"/>
                      <a:pt x="135" y="3"/>
                      <a:pt x="135" y="3"/>
                    </a:cubicBezTo>
                    <a:close/>
                    <a:moveTo>
                      <a:pt x="122" y="3"/>
                    </a:moveTo>
                    <a:cubicBezTo>
                      <a:pt x="122" y="3"/>
                      <a:pt x="122" y="3"/>
                      <a:pt x="122" y="3"/>
                    </a:cubicBezTo>
                    <a:cubicBezTo>
                      <a:pt x="116" y="2"/>
                      <a:pt x="116" y="2"/>
                      <a:pt x="116" y="2"/>
                    </a:cubicBezTo>
                    <a:cubicBezTo>
                      <a:pt x="116" y="2"/>
                      <a:pt x="115" y="2"/>
                      <a:pt x="115" y="2"/>
                    </a:cubicBezTo>
                    <a:cubicBezTo>
                      <a:pt x="115" y="1"/>
                      <a:pt x="116" y="1"/>
                      <a:pt x="116" y="1"/>
                    </a:cubicBezTo>
                    <a:cubicBezTo>
                      <a:pt x="122" y="1"/>
                      <a:pt x="122" y="1"/>
                      <a:pt x="122" y="1"/>
                    </a:cubicBezTo>
                    <a:cubicBezTo>
                      <a:pt x="123" y="1"/>
                      <a:pt x="123" y="1"/>
                      <a:pt x="123" y="2"/>
                    </a:cubicBezTo>
                    <a:cubicBezTo>
                      <a:pt x="123" y="2"/>
                      <a:pt x="123" y="3"/>
                      <a:pt x="122" y="3"/>
                    </a:cubicBezTo>
                    <a:close/>
                    <a:moveTo>
                      <a:pt x="110" y="2"/>
                    </a:moveTo>
                    <a:cubicBezTo>
                      <a:pt x="110" y="2"/>
                      <a:pt x="110" y="2"/>
                      <a:pt x="110" y="2"/>
                    </a:cubicBezTo>
                    <a:cubicBezTo>
                      <a:pt x="108" y="2"/>
                      <a:pt x="106" y="2"/>
                      <a:pt x="104" y="2"/>
                    </a:cubicBezTo>
                    <a:cubicBezTo>
                      <a:pt x="103" y="2"/>
                      <a:pt x="103" y="2"/>
                      <a:pt x="103" y="1"/>
                    </a:cubicBezTo>
                    <a:cubicBezTo>
                      <a:pt x="103" y="1"/>
                      <a:pt x="104" y="1"/>
                      <a:pt x="104" y="1"/>
                    </a:cubicBezTo>
                    <a:cubicBezTo>
                      <a:pt x="106" y="1"/>
                      <a:pt x="108" y="1"/>
                      <a:pt x="110" y="1"/>
                    </a:cubicBezTo>
                    <a:cubicBezTo>
                      <a:pt x="111" y="1"/>
                      <a:pt x="111" y="1"/>
                      <a:pt x="111" y="2"/>
                    </a:cubicBezTo>
                    <a:cubicBezTo>
                      <a:pt x="111" y="2"/>
                      <a:pt x="111" y="2"/>
                      <a:pt x="110" y="2"/>
                    </a:cubicBezTo>
                    <a:close/>
                    <a:moveTo>
                      <a:pt x="67" y="2"/>
                    </a:moveTo>
                    <a:cubicBezTo>
                      <a:pt x="67" y="2"/>
                      <a:pt x="66" y="2"/>
                      <a:pt x="66" y="1"/>
                    </a:cubicBezTo>
                    <a:cubicBezTo>
                      <a:pt x="66" y="1"/>
                      <a:pt x="66" y="1"/>
                      <a:pt x="67" y="1"/>
                    </a:cubicBezTo>
                    <a:cubicBezTo>
                      <a:pt x="69" y="0"/>
                      <a:pt x="71" y="0"/>
                      <a:pt x="73" y="0"/>
                    </a:cubicBezTo>
                    <a:cubicBezTo>
                      <a:pt x="73" y="0"/>
                      <a:pt x="74" y="1"/>
                      <a:pt x="74" y="1"/>
                    </a:cubicBezTo>
                    <a:cubicBezTo>
                      <a:pt x="74" y="2"/>
                      <a:pt x="74" y="2"/>
                      <a:pt x="73" y="2"/>
                    </a:cubicBezTo>
                    <a:cubicBezTo>
                      <a:pt x="71" y="2"/>
                      <a:pt x="69" y="2"/>
                      <a:pt x="67" y="2"/>
                    </a:cubicBezTo>
                    <a:close/>
                    <a:moveTo>
                      <a:pt x="98" y="2"/>
                    </a:moveTo>
                    <a:cubicBezTo>
                      <a:pt x="98" y="2"/>
                      <a:pt x="98" y="2"/>
                      <a:pt x="98" y="2"/>
                    </a:cubicBezTo>
                    <a:cubicBezTo>
                      <a:pt x="96" y="2"/>
                      <a:pt x="94" y="2"/>
                      <a:pt x="92" y="2"/>
                    </a:cubicBezTo>
                    <a:cubicBezTo>
                      <a:pt x="91" y="2"/>
                      <a:pt x="91" y="2"/>
                      <a:pt x="91" y="1"/>
                    </a:cubicBezTo>
                    <a:cubicBezTo>
                      <a:pt x="91" y="1"/>
                      <a:pt x="91" y="0"/>
                      <a:pt x="92" y="0"/>
                    </a:cubicBezTo>
                    <a:cubicBezTo>
                      <a:pt x="92" y="0"/>
                      <a:pt x="92" y="0"/>
                      <a:pt x="92" y="0"/>
                    </a:cubicBezTo>
                    <a:cubicBezTo>
                      <a:pt x="94" y="0"/>
                      <a:pt x="96" y="0"/>
                      <a:pt x="98" y="0"/>
                    </a:cubicBezTo>
                    <a:cubicBezTo>
                      <a:pt x="98" y="0"/>
                      <a:pt x="99" y="1"/>
                      <a:pt x="99" y="1"/>
                    </a:cubicBezTo>
                    <a:cubicBezTo>
                      <a:pt x="99" y="2"/>
                      <a:pt x="98" y="2"/>
                      <a:pt x="98" y="2"/>
                    </a:cubicBezTo>
                    <a:close/>
                    <a:moveTo>
                      <a:pt x="79" y="2"/>
                    </a:moveTo>
                    <a:cubicBezTo>
                      <a:pt x="79" y="2"/>
                      <a:pt x="79" y="1"/>
                      <a:pt x="79" y="1"/>
                    </a:cubicBezTo>
                    <a:cubicBezTo>
                      <a:pt x="78" y="1"/>
                      <a:pt x="79" y="0"/>
                      <a:pt x="79" y="0"/>
                    </a:cubicBezTo>
                    <a:cubicBezTo>
                      <a:pt x="81" y="0"/>
                      <a:pt x="82" y="0"/>
                      <a:pt x="83" y="0"/>
                    </a:cubicBezTo>
                    <a:cubicBezTo>
                      <a:pt x="84" y="0"/>
                      <a:pt x="85" y="0"/>
                      <a:pt x="85" y="0"/>
                    </a:cubicBezTo>
                    <a:cubicBezTo>
                      <a:pt x="86" y="0"/>
                      <a:pt x="86" y="1"/>
                      <a:pt x="86" y="1"/>
                    </a:cubicBezTo>
                    <a:cubicBezTo>
                      <a:pt x="86" y="1"/>
                      <a:pt x="86" y="2"/>
                      <a:pt x="85" y="2"/>
                    </a:cubicBezTo>
                    <a:cubicBezTo>
                      <a:pt x="85" y="2"/>
                      <a:pt x="84" y="2"/>
                      <a:pt x="83" y="2"/>
                    </a:cubicBezTo>
                    <a:cubicBezTo>
                      <a:pt x="82" y="2"/>
                      <a:pt x="80" y="2"/>
                      <a:pt x="79" y="2"/>
                    </a:cubicBezTo>
                    <a:close/>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2" name="Freeform 344">
                <a:extLst>
                  <a:ext uri="{FF2B5EF4-FFF2-40B4-BE49-F238E27FC236}">
                    <a16:creationId xmlns:a16="http://schemas.microsoft.com/office/drawing/2014/main" id="{B841012A-35F0-4715-8A97-FE42C6A821D1}"/>
                  </a:ext>
                </a:extLst>
              </p:cNvPr>
              <p:cNvSpPr>
                <a:spLocks/>
              </p:cNvSpPr>
              <p:nvPr/>
            </p:nvSpPr>
            <p:spPr bwMode="auto">
              <a:xfrm>
                <a:off x="10426700" y="2676525"/>
                <a:ext cx="322263" cy="369888"/>
              </a:xfrm>
              <a:custGeom>
                <a:avLst/>
                <a:gdLst>
                  <a:gd name="T0" fmla="*/ 63 w 113"/>
                  <a:gd name="T1" fmla="*/ 2 h 130"/>
                  <a:gd name="T2" fmla="*/ 32 w 113"/>
                  <a:gd name="T3" fmla="*/ 27 h 130"/>
                  <a:gd name="T4" fmla="*/ 60 w 113"/>
                  <a:gd name="T5" fmla="*/ 127 h 130"/>
                  <a:gd name="T6" fmla="*/ 109 w 113"/>
                  <a:gd name="T7" fmla="*/ 75 h 130"/>
                  <a:gd name="T8" fmla="*/ 63 w 113"/>
                  <a:gd name="T9" fmla="*/ 2 h 130"/>
                </a:gdLst>
                <a:ahLst/>
                <a:cxnLst>
                  <a:cxn ang="0">
                    <a:pos x="T0" y="T1"/>
                  </a:cxn>
                  <a:cxn ang="0">
                    <a:pos x="T2" y="T3"/>
                  </a:cxn>
                  <a:cxn ang="0">
                    <a:pos x="T4" y="T5"/>
                  </a:cxn>
                  <a:cxn ang="0">
                    <a:pos x="T6" y="T7"/>
                  </a:cxn>
                  <a:cxn ang="0">
                    <a:pos x="T8" y="T9"/>
                  </a:cxn>
                </a:cxnLst>
                <a:rect l="0" t="0" r="r" b="b"/>
                <a:pathLst>
                  <a:path w="113" h="130">
                    <a:moveTo>
                      <a:pt x="63" y="2"/>
                    </a:moveTo>
                    <a:cubicBezTo>
                      <a:pt x="61" y="2"/>
                      <a:pt x="38" y="0"/>
                      <a:pt x="32" y="27"/>
                    </a:cubicBezTo>
                    <a:cubicBezTo>
                      <a:pt x="27" y="55"/>
                      <a:pt x="0" y="122"/>
                      <a:pt x="60" y="127"/>
                    </a:cubicBezTo>
                    <a:cubicBezTo>
                      <a:pt x="91" y="130"/>
                      <a:pt x="113" y="122"/>
                      <a:pt x="109" y="75"/>
                    </a:cubicBezTo>
                    <a:cubicBezTo>
                      <a:pt x="103" y="17"/>
                      <a:pt x="112" y="4"/>
                      <a:pt x="63" y="2"/>
                    </a:cubicBezTo>
                    <a:close/>
                  </a:path>
                </a:pathLst>
              </a:custGeom>
              <a:solidFill>
                <a:srgbClr val="2B5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3" name="Freeform 345">
                <a:extLst>
                  <a:ext uri="{FF2B5EF4-FFF2-40B4-BE49-F238E27FC236}">
                    <a16:creationId xmlns:a16="http://schemas.microsoft.com/office/drawing/2014/main" id="{9CDDF7AD-3CD9-4E3D-922D-B9EECDF58294}"/>
                  </a:ext>
                </a:extLst>
              </p:cNvPr>
              <p:cNvSpPr>
                <a:spLocks/>
              </p:cNvSpPr>
              <p:nvPr/>
            </p:nvSpPr>
            <p:spPr bwMode="auto">
              <a:xfrm>
                <a:off x="10507663" y="2676525"/>
                <a:ext cx="222250" cy="169863"/>
              </a:xfrm>
              <a:custGeom>
                <a:avLst/>
                <a:gdLst>
                  <a:gd name="T0" fmla="*/ 12 w 78"/>
                  <a:gd name="T1" fmla="*/ 53 h 60"/>
                  <a:gd name="T2" fmla="*/ 40 w 78"/>
                  <a:gd name="T3" fmla="*/ 59 h 60"/>
                  <a:gd name="T4" fmla="*/ 70 w 78"/>
                  <a:gd name="T5" fmla="*/ 55 h 60"/>
                  <a:gd name="T6" fmla="*/ 78 w 78"/>
                  <a:gd name="T7" fmla="*/ 41 h 60"/>
                  <a:gd name="T8" fmla="*/ 35 w 78"/>
                  <a:gd name="T9" fmla="*/ 2 h 60"/>
                  <a:gd name="T10" fmla="*/ 4 w 78"/>
                  <a:gd name="T11" fmla="*/ 27 h 60"/>
                  <a:gd name="T12" fmla="*/ 12 w 78"/>
                  <a:gd name="T13" fmla="*/ 53 h 60"/>
                </a:gdLst>
                <a:ahLst/>
                <a:cxnLst>
                  <a:cxn ang="0">
                    <a:pos x="T0" y="T1"/>
                  </a:cxn>
                  <a:cxn ang="0">
                    <a:pos x="T2" y="T3"/>
                  </a:cxn>
                  <a:cxn ang="0">
                    <a:pos x="T4" y="T5"/>
                  </a:cxn>
                  <a:cxn ang="0">
                    <a:pos x="T6" y="T7"/>
                  </a:cxn>
                  <a:cxn ang="0">
                    <a:pos x="T8" y="T9"/>
                  </a:cxn>
                  <a:cxn ang="0">
                    <a:pos x="T10" y="T11"/>
                  </a:cxn>
                  <a:cxn ang="0">
                    <a:pos x="T12" y="T13"/>
                  </a:cxn>
                </a:cxnLst>
                <a:rect l="0" t="0" r="r" b="b"/>
                <a:pathLst>
                  <a:path w="78" h="60">
                    <a:moveTo>
                      <a:pt x="12" y="53"/>
                    </a:moveTo>
                    <a:cubicBezTo>
                      <a:pt x="21" y="57"/>
                      <a:pt x="31" y="59"/>
                      <a:pt x="40" y="59"/>
                    </a:cubicBezTo>
                    <a:cubicBezTo>
                      <a:pt x="51" y="59"/>
                      <a:pt x="61" y="60"/>
                      <a:pt x="70" y="55"/>
                    </a:cubicBezTo>
                    <a:cubicBezTo>
                      <a:pt x="77" y="52"/>
                      <a:pt x="78" y="44"/>
                      <a:pt x="78" y="41"/>
                    </a:cubicBezTo>
                    <a:cubicBezTo>
                      <a:pt x="76" y="11"/>
                      <a:pt x="72" y="4"/>
                      <a:pt x="35" y="2"/>
                    </a:cubicBezTo>
                    <a:cubicBezTo>
                      <a:pt x="33" y="2"/>
                      <a:pt x="10" y="0"/>
                      <a:pt x="4" y="27"/>
                    </a:cubicBezTo>
                    <a:cubicBezTo>
                      <a:pt x="3" y="32"/>
                      <a:pt x="0" y="47"/>
                      <a:pt x="12" y="53"/>
                    </a:cubicBezTo>
                    <a:close/>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4" name="Freeform 346">
                <a:extLst>
                  <a:ext uri="{FF2B5EF4-FFF2-40B4-BE49-F238E27FC236}">
                    <a16:creationId xmlns:a16="http://schemas.microsoft.com/office/drawing/2014/main" id="{566188C1-2E16-4730-8715-8666AD9AA003}"/>
                  </a:ext>
                </a:extLst>
              </p:cNvPr>
              <p:cNvSpPr>
                <a:spLocks/>
              </p:cNvSpPr>
              <p:nvPr/>
            </p:nvSpPr>
            <p:spPr bwMode="auto">
              <a:xfrm>
                <a:off x="10795000" y="2678113"/>
                <a:ext cx="319088" cy="358775"/>
              </a:xfrm>
              <a:custGeom>
                <a:avLst/>
                <a:gdLst>
                  <a:gd name="T0" fmla="*/ 54 w 112"/>
                  <a:gd name="T1" fmla="*/ 1 h 126"/>
                  <a:gd name="T2" fmla="*/ 25 w 112"/>
                  <a:gd name="T3" fmla="*/ 28 h 126"/>
                  <a:gd name="T4" fmla="*/ 59 w 112"/>
                  <a:gd name="T5" fmla="*/ 126 h 126"/>
                  <a:gd name="T6" fmla="*/ 105 w 112"/>
                  <a:gd name="T7" fmla="*/ 71 h 126"/>
                  <a:gd name="T8" fmla="*/ 54 w 112"/>
                  <a:gd name="T9" fmla="*/ 1 h 126"/>
                </a:gdLst>
                <a:ahLst/>
                <a:cxnLst>
                  <a:cxn ang="0">
                    <a:pos x="T0" y="T1"/>
                  </a:cxn>
                  <a:cxn ang="0">
                    <a:pos x="T2" y="T3"/>
                  </a:cxn>
                  <a:cxn ang="0">
                    <a:pos x="T4" y="T5"/>
                  </a:cxn>
                  <a:cxn ang="0">
                    <a:pos x="T6" y="T7"/>
                  </a:cxn>
                  <a:cxn ang="0">
                    <a:pos x="T8" y="T9"/>
                  </a:cxn>
                </a:cxnLst>
                <a:rect l="0" t="0" r="r" b="b"/>
                <a:pathLst>
                  <a:path w="112" h="126">
                    <a:moveTo>
                      <a:pt x="54" y="1"/>
                    </a:moveTo>
                    <a:cubicBezTo>
                      <a:pt x="52" y="1"/>
                      <a:pt x="29" y="1"/>
                      <a:pt x="25" y="28"/>
                    </a:cubicBezTo>
                    <a:cubicBezTo>
                      <a:pt x="21" y="56"/>
                      <a:pt x="0" y="125"/>
                      <a:pt x="59" y="126"/>
                    </a:cubicBezTo>
                    <a:cubicBezTo>
                      <a:pt x="91" y="126"/>
                      <a:pt x="112" y="117"/>
                      <a:pt x="105" y="71"/>
                    </a:cubicBezTo>
                    <a:cubicBezTo>
                      <a:pt x="95" y="13"/>
                      <a:pt x="103" y="0"/>
                      <a:pt x="54" y="1"/>
                    </a:cubicBezTo>
                    <a:close/>
                  </a:path>
                </a:pathLst>
              </a:custGeom>
              <a:solidFill>
                <a:srgbClr val="2B5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5" name="Freeform 347">
                <a:extLst>
                  <a:ext uri="{FF2B5EF4-FFF2-40B4-BE49-F238E27FC236}">
                    <a16:creationId xmlns:a16="http://schemas.microsoft.com/office/drawing/2014/main" id="{5A3980CE-BB15-4DE6-99C2-8743DB3C8D81}"/>
                  </a:ext>
                </a:extLst>
              </p:cNvPr>
              <p:cNvSpPr>
                <a:spLocks/>
              </p:cNvSpPr>
              <p:nvPr/>
            </p:nvSpPr>
            <p:spPr bwMode="auto">
              <a:xfrm>
                <a:off x="10856913" y="2678113"/>
                <a:ext cx="222250" cy="165100"/>
              </a:xfrm>
              <a:custGeom>
                <a:avLst/>
                <a:gdLst>
                  <a:gd name="T0" fmla="*/ 13 w 78"/>
                  <a:gd name="T1" fmla="*/ 53 h 58"/>
                  <a:gd name="T2" fmla="*/ 41 w 78"/>
                  <a:gd name="T3" fmla="*/ 57 h 58"/>
                  <a:gd name="T4" fmla="*/ 71 w 78"/>
                  <a:gd name="T5" fmla="*/ 52 h 58"/>
                  <a:gd name="T6" fmla="*/ 78 w 78"/>
                  <a:gd name="T7" fmla="*/ 36 h 58"/>
                  <a:gd name="T8" fmla="*/ 32 w 78"/>
                  <a:gd name="T9" fmla="*/ 1 h 58"/>
                  <a:gd name="T10" fmla="*/ 3 w 78"/>
                  <a:gd name="T11" fmla="*/ 28 h 58"/>
                  <a:gd name="T12" fmla="*/ 13 w 78"/>
                  <a:gd name="T13" fmla="*/ 53 h 58"/>
                </a:gdLst>
                <a:ahLst/>
                <a:cxnLst>
                  <a:cxn ang="0">
                    <a:pos x="T0" y="T1"/>
                  </a:cxn>
                  <a:cxn ang="0">
                    <a:pos x="T2" y="T3"/>
                  </a:cxn>
                  <a:cxn ang="0">
                    <a:pos x="T4" y="T5"/>
                  </a:cxn>
                  <a:cxn ang="0">
                    <a:pos x="T6" y="T7"/>
                  </a:cxn>
                  <a:cxn ang="0">
                    <a:pos x="T8" y="T9"/>
                  </a:cxn>
                  <a:cxn ang="0">
                    <a:pos x="T10" y="T11"/>
                  </a:cxn>
                  <a:cxn ang="0">
                    <a:pos x="T12" y="T13"/>
                  </a:cxn>
                </a:cxnLst>
                <a:rect l="0" t="0" r="r" b="b"/>
                <a:pathLst>
                  <a:path w="78" h="58">
                    <a:moveTo>
                      <a:pt x="13" y="53"/>
                    </a:moveTo>
                    <a:cubicBezTo>
                      <a:pt x="22" y="57"/>
                      <a:pt x="32" y="58"/>
                      <a:pt x="41" y="57"/>
                    </a:cubicBezTo>
                    <a:cubicBezTo>
                      <a:pt x="52" y="57"/>
                      <a:pt x="62" y="57"/>
                      <a:pt x="71" y="52"/>
                    </a:cubicBezTo>
                    <a:cubicBezTo>
                      <a:pt x="77" y="48"/>
                      <a:pt x="78" y="40"/>
                      <a:pt x="78" y="36"/>
                    </a:cubicBezTo>
                    <a:cubicBezTo>
                      <a:pt x="74" y="7"/>
                      <a:pt x="69" y="0"/>
                      <a:pt x="32" y="1"/>
                    </a:cubicBezTo>
                    <a:cubicBezTo>
                      <a:pt x="30" y="1"/>
                      <a:pt x="7" y="1"/>
                      <a:pt x="3" y="28"/>
                    </a:cubicBezTo>
                    <a:cubicBezTo>
                      <a:pt x="3" y="33"/>
                      <a:pt x="0" y="48"/>
                      <a:pt x="13" y="53"/>
                    </a:cubicBezTo>
                    <a:close/>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6" name="Freeform 348">
                <a:extLst>
                  <a:ext uri="{FF2B5EF4-FFF2-40B4-BE49-F238E27FC236}">
                    <a16:creationId xmlns:a16="http://schemas.microsoft.com/office/drawing/2014/main" id="{C05652F2-97EC-4858-AB19-F1CC45E3854B}"/>
                  </a:ext>
                </a:extLst>
              </p:cNvPr>
              <p:cNvSpPr>
                <a:spLocks/>
              </p:cNvSpPr>
              <p:nvPr/>
            </p:nvSpPr>
            <p:spPr bwMode="auto">
              <a:xfrm>
                <a:off x="10945813" y="2813050"/>
                <a:ext cx="68263" cy="57150"/>
              </a:xfrm>
              <a:custGeom>
                <a:avLst/>
                <a:gdLst>
                  <a:gd name="T0" fmla="*/ 24 w 24"/>
                  <a:gd name="T1" fmla="*/ 13 h 20"/>
                  <a:gd name="T2" fmla="*/ 12 w 24"/>
                  <a:gd name="T3" fmla="*/ 20 h 20"/>
                  <a:gd name="T4" fmla="*/ 0 w 24"/>
                  <a:gd name="T5" fmla="*/ 13 h 20"/>
                  <a:gd name="T6" fmla="*/ 0 w 24"/>
                  <a:gd name="T7" fmla="*/ 8 h 20"/>
                  <a:gd name="T8" fmla="*/ 12 w 24"/>
                  <a:gd name="T9" fmla="*/ 0 h 20"/>
                  <a:gd name="T10" fmla="*/ 24 w 24"/>
                  <a:gd name="T11" fmla="*/ 8 h 20"/>
                  <a:gd name="T12" fmla="*/ 24 w 24"/>
                  <a:gd name="T13" fmla="*/ 13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24" y="13"/>
                    </a:moveTo>
                    <a:cubicBezTo>
                      <a:pt x="24" y="17"/>
                      <a:pt x="18" y="20"/>
                      <a:pt x="12" y="20"/>
                    </a:cubicBezTo>
                    <a:cubicBezTo>
                      <a:pt x="5" y="20"/>
                      <a:pt x="0" y="17"/>
                      <a:pt x="0" y="13"/>
                    </a:cubicBezTo>
                    <a:cubicBezTo>
                      <a:pt x="0" y="8"/>
                      <a:pt x="0" y="8"/>
                      <a:pt x="0" y="8"/>
                    </a:cubicBezTo>
                    <a:cubicBezTo>
                      <a:pt x="0" y="4"/>
                      <a:pt x="5" y="0"/>
                      <a:pt x="12" y="0"/>
                    </a:cubicBezTo>
                    <a:cubicBezTo>
                      <a:pt x="18" y="0"/>
                      <a:pt x="24" y="4"/>
                      <a:pt x="24" y="8"/>
                    </a:cubicBezTo>
                    <a:lnTo>
                      <a:pt x="24" y="13"/>
                    </a:lnTo>
                    <a:close/>
                  </a:path>
                </a:pathLst>
              </a:custGeom>
              <a:solidFill>
                <a:srgbClr val="FAA9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7" name="Freeform 349">
                <a:extLst>
                  <a:ext uri="{FF2B5EF4-FFF2-40B4-BE49-F238E27FC236}">
                    <a16:creationId xmlns:a16="http://schemas.microsoft.com/office/drawing/2014/main" id="{9E898C29-58B2-40D7-9C4F-E319283F5819}"/>
                  </a:ext>
                </a:extLst>
              </p:cNvPr>
              <p:cNvSpPr>
                <a:spLocks/>
              </p:cNvSpPr>
              <p:nvPr/>
            </p:nvSpPr>
            <p:spPr bwMode="auto">
              <a:xfrm>
                <a:off x="10577513" y="2813050"/>
                <a:ext cx="69850" cy="57150"/>
              </a:xfrm>
              <a:custGeom>
                <a:avLst/>
                <a:gdLst>
                  <a:gd name="T0" fmla="*/ 24 w 24"/>
                  <a:gd name="T1" fmla="*/ 13 h 20"/>
                  <a:gd name="T2" fmla="*/ 12 w 24"/>
                  <a:gd name="T3" fmla="*/ 20 h 20"/>
                  <a:gd name="T4" fmla="*/ 0 w 24"/>
                  <a:gd name="T5" fmla="*/ 13 h 20"/>
                  <a:gd name="T6" fmla="*/ 0 w 24"/>
                  <a:gd name="T7" fmla="*/ 8 h 20"/>
                  <a:gd name="T8" fmla="*/ 12 w 24"/>
                  <a:gd name="T9" fmla="*/ 0 h 20"/>
                  <a:gd name="T10" fmla="*/ 24 w 24"/>
                  <a:gd name="T11" fmla="*/ 8 h 20"/>
                  <a:gd name="T12" fmla="*/ 24 w 24"/>
                  <a:gd name="T13" fmla="*/ 13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24" y="13"/>
                    </a:moveTo>
                    <a:cubicBezTo>
                      <a:pt x="24" y="17"/>
                      <a:pt x="19" y="20"/>
                      <a:pt x="12" y="20"/>
                    </a:cubicBezTo>
                    <a:cubicBezTo>
                      <a:pt x="6" y="20"/>
                      <a:pt x="0" y="17"/>
                      <a:pt x="0" y="13"/>
                    </a:cubicBezTo>
                    <a:cubicBezTo>
                      <a:pt x="0" y="8"/>
                      <a:pt x="0" y="8"/>
                      <a:pt x="0" y="8"/>
                    </a:cubicBezTo>
                    <a:cubicBezTo>
                      <a:pt x="0" y="4"/>
                      <a:pt x="6" y="0"/>
                      <a:pt x="12" y="0"/>
                    </a:cubicBezTo>
                    <a:cubicBezTo>
                      <a:pt x="19" y="0"/>
                      <a:pt x="24" y="4"/>
                      <a:pt x="24" y="8"/>
                    </a:cubicBezTo>
                    <a:lnTo>
                      <a:pt x="24" y="13"/>
                    </a:lnTo>
                    <a:close/>
                  </a:path>
                </a:pathLst>
              </a:custGeom>
              <a:solidFill>
                <a:srgbClr val="FAA9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8" name="Freeform 350">
                <a:extLst>
                  <a:ext uri="{FF2B5EF4-FFF2-40B4-BE49-F238E27FC236}">
                    <a16:creationId xmlns:a16="http://schemas.microsoft.com/office/drawing/2014/main" id="{06758A75-D37E-43DF-853B-2BD2277CFB02}"/>
                  </a:ext>
                </a:extLst>
              </p:cNvPr>
              <p:cNvSpPr>
                <a:spLocks noEditPoints="1"/>
              </p:cNvSpPr>
              <p:nvPr/>
            </p:nvSpPr>
            <p:spPr bwMode="auto">
              <a:xfrm>
                <a:off x="10953750" y="2286000"/>
                <a:ext cx="25400" cy="65088"/>
              </a:xfrm>
              <a:custGeom>
                <a:avLst/>
                <a:gdLst>
                  <a:gd name="T0" fmla="*/ 5 w 9"/>
                  <a:gd name="T1" fmla="*/ 4 h 23"/>
                  <a:gd name="T2" fmla="*/ 5 w 9"/>
                  <a:gd name="T3" fmla="*/ 2 h 23"/>
                  <a:gd name="T4" fmla="*/ 4 w 9"/>
                  <a:gd name="T5" fmla="*/ 0 h 23"/>
                  <a:gd name="T6" fmla="*/ 3 w 9"/>
                  <a:gd name="T7" fmla="*/ 2 h 23"/>
                  <a:gd name="T8" fmla="*/ 4 w 9"/>
                  <a:gd name="T9" fmla="*/ 4 h 23"/>
                  <a:gd name="T10" fmla="*/ 0 w 9"/>
                  <a:gd name="T11" fmla="*/ 13 h 23"/>
                  <a:gd name="T12" fmla="*/ 4 w 9"/>
                  <a:gd name="T13" fmla="*/ 23 h 23"/>
                  <a:gd name="T14" fmla="*/ 9 w 9"/>
                  <a:gd name="T15" fmla="*/ 13 h 23"/>
                  <a:gd name="T16" fmla="*/ 5 w 9"/>
                  <a:gd name="T17" fmla="*/ 4 h 23"/>
                  <a:gd name="T18" fmla="*/ 4 w 9"/>
                  <a:gd name="T19" fmla="*/ 21 h 23"/>
                  <a:gd name="T20" fmla="*/ 2 w 9"/>
                  <a:gd name="T21" fmla="*/ 18 h 23"/>
                  <a:gd name="T22" fmla="*/ 4 w 9"/>
                  <a:gd name="T23" fmla="*/ 16 h 23"/>
                  <a:gd name="T24" fmla="*/ 6 w 9"/>
                  <a:gd name="T25" fmla="*/ 18 h 23"/>
                  <a:gd name="T26" fmla="*/ 4 w 9"/>
                  <a:gd name="T2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5" y="4"/>
                    </a:moveTo>
                    <a:cubicBezTo>
                      <a:pt x="5" y="4"/>
                      <a:pt x="5" y="3"/>
                      <a:pt x="5" y="2"/>
                    </a:cubicBezTo>
                    <a:cubicBezTo>
                      <a:pt x="5" y="1"/>
                      <a:pt x="5" y="0"/>
                      <a:pt x="4" y="0"/>
                    </a:cubicBezTo>
                    <a:cubicBezTo>
                      <a:pt x="4" y="0"/>
                      <a:pt x="3" y="1"/>
                      <a:pt x="3" y="2"/>
                    </a:cubicBezTo>
                    <a:cubicBezTo>
                      <a:pt x="3" y="3"/>
                      <a:pt x="4" y="3"/>
                      <a:pt x="4" y="4"/>
                    </a:cubicBezTo>
                    <a:cubicBezTo>
                      <a:pt x="1" y="4"/>
                      <a:pt x="0" y="8"/>
                      <a:pt x="0" y="13"/>
                    </a:cubicBezTo>
                    <a:cubicBezTo>
                      <a:pt x="0" y="19"/>
                      <a:pt x="2" y="23"/>
                      <a:pt x="4" y="23"/>
                    </a:cubicBezTo>
                    <a:cubicBezTo>
                      <a:pt x="7" y="23"/>
                      <a:pt x="9" y="19"/>
                      <a:pt x="9" y="13"/>
                    </a:cubicBezTo>
                    <a:cubicBezTo>
                      <a:pt x="9" y="9"/>
                      <a:pt x="7" y="5"/>
                      <a:pt x="5" y="4"/>
                    </a:cubicBezTo>
                    <a:close/>
                    <a:moveTo>
                      <a:pt x="4" y="21"/>
                    </a:moveTo>
                    <a:cubicBezTo>
                      <a:pt x="3" y="21"/>
                      <a:pt x="2" y="20"/>
                      <a:pt x="2" y="18"/>
                    </a:cubicBezTo>
                    <a:cubicBezTo>
                      <a:pt x="2" y="17"/>
                      <a:pt x="3" y="16"/>
                      <a:pt x="4" y="16"/>
                    </a:cubicBezTo>
                    <a:cubicBezTo>
                      <a:pt x="5" y="16"/>
                      <a:pt x="6" y="17"/>
                      <a:pt x="6" y="18"/>
                    </a:cubicBezTo>
                    <a:cubicBezTo>
                      <a:pt x="6" y="20"/>
                      <a:pt x="5" y="21"/>
                      <a:pt x="4" y="21"/>
                    </a:cubicBezTo>
                    <a:close/>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9" name="Freeform 351">
                <a:extLst>
                  <a:ext uri="{FF2B5EF4-FFF2-40B4-BE49-F238E27FC236}">
                    <a16:creationId xmlns:a16="http://schemas.microsoft.com/office/drawing/2014/main" id="{FF612FA6-05A7-4A37-BC38-23B2CB1D9E73}"/>
                  </a:ext>
                </a:extLst>
              </p:cNvPr>
              <p:cNvSpPr>
                <a:spLocks/>
              </p:cNvSpPr>
              <p:nvPr/>
            </p:nvSpPr>
            <p:spPr bwMode="auto">
              <a:xfrm>
                <a:off x="10609263" y="2254250"/>
                <a:ext cx="365125" cy="36513"/>
              </a:xfrm>
              <a:custGeom>
                <a:avLst/>
                <a:gdLst>
                  <a:gd name="T0" fmla="*/ 125 w 128"/>
                  <a:gd name="T1" fmla="*/ 13 h 13"/>
                  <a:gd name="T2" fmla="*/ 125 w 128"/>
                  <a:gd name="T3" fmla="*/ 13 h 13"/>
                  <a:gd name="T4" fmla="*/ 6 w 128"/>
                  <a:gd name="T5" fmla="*/ 12 h 13"/>
                  <a:gd name="T6" fmla="*/ 3 w 128"/>
                  <a:gd name="T7" fmla="*/ 12 h 13"/>
                  <a:gd name="T8" fmla="*/ 1 w 128"/>
                  <a:gd name="T9" fmla="*/ 8 h 13"/>
                  <a:gd name="T10" fmla="*/ 4 w 128"/>
                  <a:gd name="T11" fmla="*/ 6 h 13"/>
                  <a:gd name="T12" fmla="*/ 5 w 128"/>
                  <a:gd name="T13" fmla="*/ 6 h 13"/>
                  <a:gd name="T14" fmla="*/ 126 w 128"/>
                  <a:gd name="T15" fmla="*/ 7 h 13"/>
                  <a:gd name="T16" fmla="*/ 128 w 128"/>
                  <a:gd name="T17" fmla="*/ 10 h 13"/>
                  <a:gd name="T18" fmla="*/ 125 w 128"/>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3">
                    <a:moveTo>
                      <a:pt x="125" y="13"/>
                    </a:moveTo>
                    <a:cubicBezTo>
                      <a:pt x="125" y="13"/>
                      <a:pt x="125" y="13"/>
                      <a:pt x="125" y="13"/>
                    </a:cubicBezTo>
                    <a:cubicBezTo>
                      <a:pt x="84" y="6"/>
                      <a:pt x="41" y="6"/>
                      <a:pt x="6" y="12"/>
                    </a:cubicBezTo>
                    <a:cubicBezTo>
                      <a:pt x="4" y="12"/>
                      <a:pt x="4" y="12"/>
                      <a:pt x="3" y="12"/>
                    </a:cubicBezTo>
                    <a:cubicBezTo>
                      <a:pt x="1" y="12"/>
                      <a:pt x="0" y="10"/>
                      <a:pt x="1" y="8"/>
                    </a:cubicBezTo>
                    <a:cubicBezTo>
                      <a:pt x="1" y="7"/>
                      <a:pt x="2" y="6"/>
                      <a:pt x="4" y="6"/>
                    </a:cubicBezTo>
                    <a:cubicBezTo>
                      <a:pt x="4" y="6"/>
                      <a:pt x="4" y="6"/>
                      <a:pt x="5" y="6"/>
                    </a:cubicBezTo>
                    <a:cubicBezTo>
                      <a:pt x="41" y="0"/>
                      <a:pt x="84" y="0"/>
                      <a:pt x="126" y="7"/>
                    </a:cubicBezTo>
                    <a:cubicBezTo>
                      <a:pt x="127" y="7"/>
                      <a:pt x="128" y="9"/>
                      <a:pt x="128" y="10"/>
                    </a:cubicBezTo>
                    <a:cubicBezTo>
                      <a:pt x="128" y="12"/>
                      <a:pt x="127" y="13"/>
                      <a:pt x="125" y="13"/>
                    </a:cubicBezTo>
                    <a:close/>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23" name="组合 22">
              <a:extLst>
                <a:ext uri="{FF2B5EF4-FFF2-40B4-BE49-F238E27FC236}">
                  <a16:creationId xmlns:a16="http://schemas.microsoft.com/office/drawing/2014/main" id="{8AC7A430-8597-461B-9C97-39284464C237}"/>
                </a:ext>
              </a:extLst>
            </p:cNvPr>
            <p:cNvGrpSpPr/>
            <p:nvPr/>
          </p:nvGrpSpPr>
          <p:grpSpPr>
            <a:xfrm>
              <a:off x="1075892" y="4963298"/>
              <a:ext cx="888420" cy="887512"/>
              <a:chOff x="2527300" y="5181600"/>
              <a:chExt cx="1554163" cy="1552575"/>
            </a:xfrm>
          </p:grpSpPr>
          <p:sp>
            <p:nvSpPr>
              <p:cNvPr id="123" name="Oval 352">
                <a:extLst>
                  <a:ext uri="{FF2B5EF4-FFF2-40B4-BE49-F238E27FC236}">
                    <a16:creationId xmlns:a16="http://schemas.microsoft.com/office/drawing/2014/main" id="{0E98A918-925E-441A-B2FB-30605A464E66}"/>
                  </a:ext>
                </a:extLst>
              </p:cNvPr>
              <p:cNvSpPr>
                <a:spLocks noChangeArrowheads="1"/>
              </p:cNvSpPr>
              <p:nvPr/>
            </p:nvSpPr>
            <p:spPr bwMode="auto">
              <a:xfrm>
                <a:off x="2527300" y="5181600"/>
                <a:ext cx="1554163" cy="1552575"/>
              </a:xfrm>
              <a:prstGeom prst="ellipse">
                <a:avLst/>
              </a:prstGeom>
              <a:solidFill>
                <a:srgbClr val="14B6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4" name="Freeform 353">
                <a:extLst>
                  <a:ext uri="{FF2B5EF4-FFF2-40B4-BE49-F238E27FC236}">
                    <a16:creationId xmlns:a16="http://schemas.microsoft.com/office/drawing/2014/main" id="{10AF5863-B1B1-45FF-8068-93AD12B354FF}"/>
                  </a:ext>
                </a:extLst>
              </p:cNvPr>
              <p:cNvSpPr>
                <a:spLocks/>
              </p:cNvSpPr>
              <p:nvPr/>
            </p:nvSpPr>
            <p:spPr bwMode="auto">
              <a:xfrm>
                <a:off x="3079750" y="5303838"/>
                <a:ext cx="73025" cy="74613"/>
              </a:xfrm>
              <a:custGeom>
                <a:avLst/>
                <a:gdLst>
                  <a:gd name="T0" fmla="*/ 25 w 26"/>
                  <a:gd name="T1" fmla="*/ 12 h 26"/>
                  <a:gd name="T2" fmla="*/ 14 w 26"/>
                  <a:gd name="T3" fmla="*/ 25 h 26"/>
                  <a:gd name="T4" fmla="*/ 1 w 26"/>
                  <a:gd name="T5" fmla="*/ 14 h 26"/>
                  <a:gd name="T6" fmla="*/ 12 w 26"/>
                  <a:gd name="T7" fmla="*/ 1 h 26"/>
                  <a:gd name="T8" fmla="*/ 25 w 26"/>
                  <a:gd name="T9" fmla="*/ 12 h 26"/>
                </a:gdLst>
                <a:ahLst/>
                <a:cxnLst>
                  <a:cxn ang="0">
                    <a:pos x="T0" y="T1"/>
                  </a:cxn>
                  <a:cxn ang="0">
                    <a:pos x="T2" y="T3"/>
                  </a:cxn>
                  <a:cxn ang="0">
                    <a:pos x="T4" y="T5"/>
                  </a:cxn>
                  <a:cxn ang="0">
                    <a:pos x="T6" y="T7"/>
                  </a:cxn>
                  <a:cxn ang="0">
                    <a:pos x="T8" y="T9"/>
                  </a:cxn>
                </a:cxnLst>
                <a:rect l="0" t="0" r="r" b="b"/>
                <a:pathLst>
                  <a:path w="26" h="26">
                    <a:moveTo>
                      <a:pt x="25" y="12"/>
                    </a:moveTo>
                    <a:cubicBezTo>
                      <a:pt x="26" y="19"/>
                      <a:pt x="21" y="25"/>
                      <a:pt x="14" y="25"/>
                    </a:cubicBezTo>
                    <a:cubicBezTo>
                      <a:pt x="7" y="26"/>
                      <a:pt x="1" y="21"/>
                      <a:pt x="1" y="14"/>
                    </a:cubicBezTo>
                    <a:cubicBezTo>
                      <a:pt x="0" y="7"/>
                      <a:pt x="5" y="1"/>
                      <a:pt x="12" y="1"/>
                    </a:cubicBezTo>
                    <a:cubicBezTo>
                      <a:pt x="19" y="0"/>
                      <a:pt x="25" y="5"/>
                      <a:pt x="25" y="12"/>
                    </a:cubicBezTo>
                    <a:close/>
                  </a:path>
                </a:pathLst>
              </a:custGeom>
              <a:solidFill>
                <a:srgbClr val="AD00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5" name="Freeform 354">
                <a:extLst>
                  <a:ext uri="{FF2B5EF4-FFF2-40B4-BE49-F238E27FC236}">
                    <a16:creationId xmlns:a16="http://schemas.microsoft.com/office/drawing/2014/main" id="{F06127A3-EAA5-4F60-B445-03528B80E0F4}"/>
                  </a:ext>
                </a:extLst>
              </p:cNvPr>
              <p:cNvSpPr>
                <a:spLocks/>
              </p:cNvSpPr>
              <p:nvPr/>
            </p:nvSpPr>
            <p:spPr bwMode="auto">
              <a:xfrm>
                <a:off x="3073400" y="5338763"/>
                <a:ext cx="146050" cy="654050"/>
              </a:xfrm>
              <a:custGeom>
                <a:avLst/>
                <a:gdLst>
                  <a:gd name="T0" fmla="*/ 0 w 92"/>
                  <a:gd name="T1" fmla="*/ 3 h 412"/>
                  <a:gd name="T2" fmla="*/ 20 w 92"/>
                  <a:gd name="T3" fmla="*/ 242 h 412"/>
                  <a:gd name="T4" fmla="*/ 25 w 92"/>
                  <a:gd name="T5" fmla="*/ 310 h 412"/>
                  <a:gd name="T6" fmla="*/ 34 w 92"/>
                  <a:gd name="T7" fmla="*/ 412 h 412"/>
                  <a:gd name="T8" fmla="*/ 92 w 92"/>
                  <a:gd name="T9" fmla="*/ 407 h 412"/>
                  <a:gd name="T10" fmla="*/ 83 w 92"/>
                  <a:gd name="T11" fmla="*/ 305 h 412"/>
                  <a:gd name="T12" fmla="*/ 75 w 92"/>
                  <a:gd name="T13" fmla="*/ 237 h 412"/>
                  <a:gd name="T14" fmla="*/ 56 w 92"/>
                  <a:gd name="T15" fmla="*/ 0 h 412"/>
                  <a:gd name="T16" fmla="*/ 0 w 92"/>
                  <a:gd name="T17" fmla="*/ 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412">
                    <a:moveTo>
                      <a:pt x="0" y="3"/>
                    </a:moveTo>
                    <a:lnTo>
                      <a:pt x="20" y="242"/>
                    </a:lnTo>
                    <a:lnTo>
                      <a:pt x="25" y="310"/>
                    </a:lnTo>
                    <a:lnTo>
                      <a:pt x="34" y="412"/>
                    </a:lnTo>
                    <a:lnTo>
                      <a:pt x="92" y="407"/>
                    </a:lnTo>
                    <a:lnTo>
                      <a:pt x="83" y="305"/>
                    </a:lnTo>
                    <a:lnTo>
                      <a:pt x="75" y="237"/>
                    </a:lnTo>
                    <a:lnTo>
                      <a:pt x="56" y="0"/>
                    </a:lnTo>
                    <a:lnTo>
                      <a:pt x="0" y="3"/>
                    </a:lnTo>
                    <a:close/>
                  </a:path>
                </a:pathLst>
              </a:custGeom>
              <a:solidFill>
                <a:srgbClr val="DF2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6" name="Freeform 355">
                <a:extLst>
                  <a:ext uri="{FF2B5EF4-FFF2-40B4-BE49-F238E27FC236}">
                    <a16:creationId xmlns:a16="http://schemas.microsoft.com/office/drawing/2014/main" id="{D839CE68-0C46-484C-B4FD-B5BF178C6A4A}"/>
                  </a:ext>
                </a:extLst>
              </p:cNvPr>
              <p:cNvSpPr>
                <a:spLocks/>
              </p:cNvSpPr>
              <p:nvPr/>
            </p:nvSpPr>
            <p:spPr bwMode="auto">
              <a:xfrm>
                <a:off x="3073400" y="5338763"/>
                <a:ext cx="146050" cy="654050"/>
              </a:xfrm>
              <a:custGeom>
                <a:avLst/>
                <a:gdLst>
                  <a:gd name="T0" fmla="*/ 0 w 92"/>
                  <a:gd name="T1" fmla="*/ 3 h 412"/>
                  <a:gd name="T2" fmla="*/ 20 w 92"/>
                  <a:gd name="T3" fmla="*/ 242 h 412"/>
                  <a:gd name="T4" fmla="*/ 25 w 92"/>
                  <a:gd name="T5" fmla="*/ 310 h 412"/>
                  <a:gd name="T6" fmla="*/ 34 w 92"/>
                  <a:gd name="T7" fmla="*/ 412 h 412"/>
                  <a:gd name="T8" fmla="*/ 92 w 92"/>
                  <a:gd name="T9" fmla="*/ 407 h 412"/>
                  <a:gd name="T10" fmla="*/ 83 w 92"/>
                  <a:gd name="T11" fmla="*/ 305 h 412"/>
                  <a:gd name="T12" fmla="*/ 75 w 92"/>
                  <a:gd name="T13" fmla="*/ 237 h 412"/>
                  <a:gd name="T14" fmla="*/ 56 w 92"/>
                  <a:gd name="T15" fmla="*/ 0 h 412"/>
                  <a:gd name="T16" fmla="*/ 0 w 92"/>
                  <a:gd name="T17" fmla="*/ 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412">
                    <a:moveTo>
                      <a:pt x="0" y="3"/>
                    </a:moveTo>
                    <a:lnTo>
                      <a:pt x="20" y="242"/>
                    </a:lnTo>
                    <a:lnTo>
                      <a:pt x="25" y="310"/>
                    </a:lnTo>
                    <a:lnTo>
                      <a:pt x="34" y="412"/>
                    </a:lnTo>
                    <a:lnTo>
                      <a:pt x="92" y="407"/>
                    </a:lnTo>
                    <a:lnTo>
                      <a:pt x="83" y="305"/>
                    </a:lnTo>
                    <a:lnTo>
                      <a:pt x="75" y="237"/>
                    </a:lnTo>
                    <a:lnTo>
                      <a:pt x="56"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7" name="Freeform 356">
                <a:extLst>
                  <a:ext uri="{FF2B5EF4-FFF2-40B4-BE49-F238E27FC236}">
                    <a16:creationId xmlns:a16="http://schemas.microsoft.com/office/drawing/2014/main" id="{A2A69BC4-2023-4BDA-9768-7E869C0BBDDF}"/>
                  </a:ext>
                </a:extLst>
              </p:cNvPr>
              <p:cNvSpPr>
                <a:spLocks/>
              </p:cNvSpPr>
              <p:nvPr/>
            </p:nvSpPr>
            <p:spPr bwMode="auto">
              <a:xfrm>
                <a:off x="3098800" y="5715000"/>
                <a:ext cx="120650" cy="215900"/>
              </a:xfrm>
              <a:custGeom>
                <a:avLst/>
                <a:gdLst>
                  <a:gd name="T0" fmla="*/ 42 w 42"/>
                  <a:gd name="T1" fmla="*/ 71 h 76"/>
                  <a:gd name="T2" fmla="*/ 40 w 42"/>
                  <a:gd name="T3" fmla="*/ 73 h 76"/>
                  <a:gd name="T4" fmla="*/ 8 w 42"/>
                  <a:gd name="T5" fmla="*/ 76 h 76"/>
                  <a:gd name="T6" fmla="*/ 6 w 42"/>
                  <a:gd name="T7" fmla="*/ 74 h 76"/>
                  <a:gd name="T8" fmla="*/ 0 w 42"/>
                  <a:gd name="T9" fmla="*/ 5 h 76"/>
                  <a:gd name="T10" fmla="*/ 2 w 42"/>
                  <a:gd name="T11" fmla="*/ 3 h 76"/>
                  <a:gd name="T12" fmla="*/ 33 w 42"/>
                  <a:gd name="T13" fmla="*/ 0 h 76"/>
                  <a:gd name="T14" fmla="*/ 36 w 42"/>
                  <a:gd name="T15" fmla="*/ 2 h 76"/>
                  <a:gd name="T16" fmla="*/ 42 w 42"/>
                  <a:gd name="T17" fmla="*/ 7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76">
                    <a:moveTo>
                      <a:pt x="42" y="71"/>
                    </a:moveTo>
                    <a:cubicBezTo>
                      <a:pt x="42" y="72"/>
                      <a:pt x="41" y="73"/>
                      <a:pt x="40" y="73"/>
                    </a:cubicBezTo>
                    <a:cubicBezTo>
                      <a:pt x="8" y="76"/>
                      <a:pt x="8" y="76"/>
                      <a:pt x="8" y="76"/>
                    </a:cubicBezTo>
                    <a:cubicBezTo>
                      <a:pt x="7" y="76"/>
                      <a:pt x="6" y="75"/>
                      <a:pt x="6" y="74"/>
                    </a:cubicBezTo>
                    <a:cubicBezTo>
                      <a:pt x="0" y="5"/>
                      <a:pt x="0" y="5"/>
                      <a:pt x="0" y="5"/>
                    </a:cubicBezTo>
                    <a:cubicBezTo>
                      <a:pt x="0" y="4"/>
                      <a:pt x="1" y="3"/>
                      <a:pt x="2" y="3"/>
                    </a:cubicBezTo>
                    <a:cubicBezTo>
                      <a:pt x="33" y="0"/>
                      <a:pt x="33" y="0"/>
                      <a:pt x="33" y="0"/>
                    </a:cubicBezTo>
                    <a:cubicBezTo>
                      <a:pt x="35" y="0"/>
                      <a:pt x="36" y="1"/>
                      <a:pt x="36" y="2"/>
                    </a:cubicBezTo>
                    <a:cubicBezTo>
                      <a:pt x="42" y="71"/>
                      <a:pt x="42" y="71"/>
                      <a:pt x="42" y="71"/>
                    </a:cubicBezTo>
                  </a:path>
                </a:pathLst>
              </a:custGeom>
              <a:solidFill>
                <a:srgbClr val="AD00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8" name="Freeform 357">
                <a:extLst>
                  <a:ext uri="{FF2B5EF4-FFF2-40B4-BE49-F238E27FC236}">
                    <a16:creationId xmlns:a16="http://schemas.microsoft.com/office/drawing/2014/main" id="{2575508C-AB9F-40E4-88B0-1B8D62D40930}"/>
                  </a:ext>
                </a:extLst>
              </p:cNvPr>
              <p:cNvSpPr>
                <a:spLocks/>
              </p:cNvSpPr>
              <p:nvPr/>
            </p:nvSpPr>
            <p:spPr bwMode="auto">
              <a:xfrm>
                <a:off x="3040063" y="5353050"/>
                <a:ext cx="123825" cy="280988"/>
              </a:xfrm>
              <a:custGeom>
                <a:avLst/>
                <a:gdLst>
                  <a:gd name="T0" fmla="*/ 44 w 44"/>
                  <a:gd name="T1" fmla="*/ 0 h 99"/>
                  <a:gd name="T2" fmla="*/ 12 w 44"/>
                  <a:gd name="T3" fmla="*/ 3 h 99"/>
                  <a:gd name="T4" fmla="*/ 2 w 44"/>
                  <a:gd name="T5" fmla="*/ 34 h 99"/>
                  <a:gd name="T6" fmla="*/ 6 w 44"/>
                  <a:gd name="T7" fmla="*/ 88 h 99"/>
                  <a:gd name="T8" fmla="*/ 5 w 44"/>
                  <a:gd name="T9" fmla="*/ 96 h 99"/>
                  <a:gd name="T10" fmla="*/ 8 w 44"/>
                  <a:gd name="T11" fmla="*/ 97 h 99"/>
                  <a:gd name="T12" fmla="*/ 10 w 44"/>
                  <a:gd name="T13" fmla="*/ 87 h 99"/>
                  <a:gd name="T14" fmla="*/ 7 w 44"/>
                  <a:gd name="T15" fmla="*/ 28 h 99"/>
                  <a:gd name="T16" fmla="*/ 8 w 44"/>
                  <a:gd name="T17" fmla="*/ 22 h 99"/>
                  <a:gd name="T18" fmla="*/ 13 w 44"/>
                  <a:gd name="T19" fmla="*/ 11 h 99"/>
                  <a:gd name="T20" fmla="*/ 44 w 44"/>
                  <a:gd name="T21" fmla="*/ 8 h 99"/>
                  <a:gd name="T22" fmla="*/ 44 w 44"/>
                  <a:gd name="T2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99">
                    <a:moveTo>
                      <a:pt x="44" y="0"/>
                    </a:moveTo>
                    <a:cubicBezTo>
                      <a:pt x="12" y="3"/>
                      <a:pt x="12" y="3"/>
                      <a:pt x="12" y="3"/>
                    </a:cubicBezTo>
                    <a:cubicBezTo>
                      <a:pt x="11" y="3"/>
                      <a:pt x="0" y="6"/>
                      <a:pt x="2" y="34"/>
                    </a:cubicBezTo>
                    <a:cubicBezTo>
                      <a:pt x="3" y="54"/>
                      <a:pt x="5" y="76"/>
                      <a:pt x="6" y="88"/>
                    </a:cubicBezTo>
                    <a:cubicBezTo>
                      <a:pt x="7" y="93"/>
                      <a:pt x="5" y="94"/>
                      <a:pt x="5" y="96"/>
                    </a:cubicBezTo>
                    <a:cubicBezTo>
                      <a:pt x="5" y="98"/>
                      <a:pt x="7" y="99"/>
                      <a:pt x="8" y="97"/>
                    </a:cubicBezTo>
                    <a:cubicBezTo>
                      <a:pt x="10" y="95"/>
                      <a:pt x="11" y="90"/>
                      <a:pt x="10" y="87"/>
                    </a:cubicBezTo>
                    <a:cubicBezTo>
                      <a:pt x="9" y="73"/>
                      <a:pt x="7" y="42"/>
                      <a:pt x="7" y="28"/>
                    </a:cubicBezTo>
                    <a:cubicBezTo>
                      <a:pt x="7" y="25"/>
                      <a:pt x="7" y="23"/>
                      <a:pt x="8" y="22"/>
                    </a:cubicBezTo>
                    <a:cubicBezTo>
                      <a:pt x="9" y="14"/>
                      <a:pt x="10" y="12"/>
                      <a:pt x="13" y="11"/>
                    </a:cubicBezTo>
                    <a:cubicBezTo>
                      <a:pt x="44" y="8"/>
                      <a:pt x="44" y="8"/>
                      <a:pt x="44" y="8"/>
                    </a:cubicBezTo>
                    <a:lnTo>
                      <a:pt x="44" y="0"/>
                    </a:lnTo>
                    <a:close/>
                  </a:path>
                </a:pathLst>
              </a:custGeom>
              <a:solidFill>
                <a:srgbClr val="FCC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9" name="Freeform 358">
                <a:extLst>
                  <a:ext uri="{FF2B5EF4-FFF2-40B4-BE49-F238E27FC236}">
                    <a16:creationId xmlns:a16="http://schemas.microsoft.com/office/drawing/2014/main" id="{F495E030-C6C0-4BAC-8922-10577F612306}"/>
                  </a:ext>
                </a:extLst>
              </p:cNvPr>
              <p:cNvSpPr>
                <a:spLocks/>
              </p:cNvSpPr>
              <p:nvPr/>
            </p:nvSpPr>
            <p:spPr bwMode="auto">
              <a:xfrm>
                <a:off x="3127375" y="5984875"/>
                <a:ext cx="92075" cy="65088"/>
              </a:xfrm>
              <a:custGeom>
                <a:avLst/>
                <a:gdLst>
                  <a:gd name="T0" fmla="*/ 58 w 58"/>
                  <a:gd name="T1" fmla="*/ 0 h 41"/>
                  <a:gd name="T2" fmla="*/ 0 w 58"/>
                  <a:gd name="T3" fmla="*/ 5 h 41"/>
                  <a:gd name="T4" fmla="*/ 23 w 58"/>
                  <a:gd name="T5" fmla="*/ 41 h 41"/>
                  <a:gd name="T6" fmla="*/ 41 w 58"/>
                  <a:gd name="T7" fmla="*/ 40 h 41"/>
                  <a:gd name="T8" fmla="*/ 58 w 58"/>
                  <a:gd name="T9" fmla="*/ 0 h 41"/>
                </a:gdLst>
                <a:ahLst/>
                <a:cxnLst>
                  <a:cxn ang="0">
                    <a:pos x="T0" y="T1"/>
                  </a:cxn>
                  <a:cxn ang="0">
                    <a:pos x="T2" y="T3"/>
                  </a:cxn>
                  <a:cxn ang="0">
                    <a:pos x="T4" y="T5"/>
                  </a:cxn>
                  <a:cxn ang="0">
                    <a:pos x="T6" y="T7"/>
                  </a:cxn>
                  <a:cxn ang="0">
                    <a:pos x="T8" y="T9"/>
                  </a:cxn>
                </a:cxnLst>
                <a:rect l="0" t="0" r="r" b="b"/>
                <a:pathLst>
                  <a:path w="58" h="41">
                    <a:moveTo>
                      <a:pt x="58" y="0"/>
                    </a:moveTo>
                    <a:lnTo>
                      <a:pt x="0" y="5"/>
                    </a:lnTo>
                    <a:lnTo>
                      <a:pt x="23" y="41"/>
                    </a:lnTo>
                    <a:lnTo>
                      <a:pt x="41" y="40"/>
                    </a:lnTo>
                    <a:lnTo>
                      <a:pt x="58" y="0"/>
                    </a:lnTo>
                    <a:close/>
                  </a:path>
                </a:pathLst>
              </a:custGeom>
              <a:solidFill>
                <a:srgbClr val="AD00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0" name="Freeform 359">
                <a:extLst>
                  <a:ext uri="{FF2B5EF4-FFF2-40B4-BE49-F238E27FC236}">
                    <a16:creationId xmlns:a16="http://schemas.microsoft.com/office/drawing/2014/main" id="{3A280A20-7F6F-46E3-A317-533CA6409D52}"/>
                  </a:ext>
                </a:extLst>
              </p:cNvPr>
              <p:cNvSpPr>
                <a:spLocks/>
              </p:cNvSpPr>
              <p:nvPr/>
            </p:nvSpPr>
            <p:spPr bwMode="auto">
              <a:xfrm>
                <a:off x="3127375" y="5984875"/>
                <a:ext cx="92075" cy="65088"/>
              </a:xfrm>
              <a:custGeom>
                <a:avLst/>
                <a:gdLst>
                  <a:gd name="T0" fmla="*/ 58 w 58"/>
                  <a:gd name="T1" fmla="*/ 0 h 41"/>
                  <a:gd name="T2" fmla="*/ 0 w 58"/>
                  <a:gd name="T3" fmla="*/ 5 h 41"/>
                  <a:gd name="T4" fmla="*/ 23 w 58"/>
                  <a:gd name="T5" fmla="*/ 41 h 41"/>
                  <a:gd name="T6" fmla="*/ 41 w 58"/>
                  <a:gd name="T7" fmla="*/ 40 h 41"/>
                  <a:gd name="T8" fmla="*/ 58 w 58"/>
                  <a:gd name="T9" fmla="*/ 0 h 41"/>
                </a:gdLst>
                <a:ahLst/>
                <a:cxnLst>
                  <a:cxn ang="0">
                    <a:pos x="T0" y="T1"/>
                  </a:cxn>
                  <a:cxn ang="0">
                    <a:pos x="T2" y="T3"/>
                  </a:cxn>
                  <a:cxn ang="0">
                    <a:pos x="T4" y="T5"/>
                  </a:cxn>
                  <a:cxn ang="0">
                    <a:pos x="T6" y="T7"/>
                  </a:cxn>
                  <a:cxn ang="0">
                    <a:pos x="T8" y="T9"/>
                  </a:cxn>
                </a:cxnLst>
                <a:rect l="0" t="0" r="r" b="b"/>
                <a:pathLst>
                  <a:path w="58" h="41">
                    <a:moveTo>
                      <a:pt x="58" y="0"/>
                    </a:moveTo>
                    <a:lnTo>
                      <a:pt x="0" y="5"/>
                    </a:lnTo>
                    <a:lnTo>
                      <a:pt x="23" y="41"/>
                    </a:lnTo>
                    <a:lnTo>
                      <a:pt x="41" y="40"/>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1" name="Freeform 360">
                <a:extLst>
                  <a:ext uri="{FF2B5EF4-FFF2-40B4-BE49-F238E27FC236}">
                    <a16:creationId xmlns:a16="http://schemas.microsoft.com/office/drawing/2014/main" id="{922963CA-63E2-4C55-8ADC-51D1425A3E03}"/>
                  </a:ext>
                </a:extLst>
              </p:cNvPr>
              <p:cNvSpPr>
                <a:spLocks/>
              </p:cNvSpPr>
              <p:nvPr/>
            </p:nvSpPr>
            <p:spPr bwMode="auto">
              <a:xfrm>
                <a:off x="3163888" y="6048375"/>
                <a:ext cx="28575" cy="26988"/>
              </a:xfrm>
              <a:custGeom>
                <a:avLst/>
                <a:gdLst>
                  <a:gd name="T0" fmla="*/ 18 w 18"/>
                  <a:gd name="T1" fmla="*/ 0 h 17"/>
                  <a:gd name="T2" fmla="*/ 0 w 18"/>
                  <a:gd name="T3" fmla="*/ 1 h 17"/>
                  <a:gd name="T4" fmla="*/ 11 w 18"/>
                  <a:gd name="T5" fmla="*/ 17 h 17"/>
                  <a:gd name="T6" fmla="*/ 18 w 18"/>
                  <a:gd name="T7" fmla="*/ 0 h 17"/>
                </a:gdLst>
                <a:ahLst/>
                <a:cxnLst>
                  <a:cxn ang="0">
                    <a:pos x="T0" y="T1"/>
                  </a:cxn>
                  <a:cxn ang="0">
                    <a:pos x="T2" y="T3"/>
                  </a:cxn>
                  <a:cxn ang="0">
                    <a:pos x="T4" y="T5"/>
                  </a:cxn>
                  <a:cxn ang="0">
                    <a:pos x="T6" y="T7"/>
                  </a:cxn>
                </a:cxnLst>
                <a:rect l="0" t="0" r="r" b="b"/>
                <a:pathLst>
                  <a:path w="18" h="17">
                    <a:moveTo>
                      <a:pt x="18" y="0"/>
                    </a:moveTo>
                    <a:lnTo>
                      <a:pt x="0" y="1"/>
                    </a:lnTo>
                    <a:lnTo>
                      <a:pt x="11" y="17"/>
                    </a:lnTo>
                    <a:lnTo>
                      <a:pt x="18" y="0"/>
                    </a:lnTo>
                    <a:close/>
                  </a:path>
                </a:pathLst>
              </a:custGeom>
              <a:solidFill>
                <a:srgbClr val="A7A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2" name="Freeform 361">
                <a:extLst>
                  <a:ext uri="{FF2B5EF4-FFF2-40B4-BE49-F238E27FC236}">
                    <a16:creationId xmlns:a16="http://schemas.microsoft.com/office/drawing/2014/main" id="{63E5EBD2-855D-4D69-990F-B2A12A4C8FAD}"/>
                  </a:ext>
                </a:extLst>
              </p:cNvPr>
              <p:cNvSpPr>
                <a:spLocks/>
              </p:cNvSpPr>
              <p:nvPr/>
            </p:nvSpPr>
            <p:spPr bwMode="auto">
              <a:xfrm>
                <a:off x="3163888" y="6048375"/>
                <a:ext cx="28575" cy="26988"/>
              </a:xfrm>
              <a:custGeom>
                <a:avLst/>
                <a:gdLst>
                  <a:gd name="T0" fmla="*/ 18 w 18"/>
                  <a:gd name="T1" fmla="*/ 0 h 17"/>
                  <a:gd name="T2" fmla="*/ 0 w 18"/>
                  <a:gd name="T3" fmla="*/ 1 h 17"/>
                  <a:gd name="T4" fmla="*/ 11 w 18"/>
                  <a:gd name="T5" fmla="*/ 17 h 17"/>
                  <a:gd name="T6" fmla="*/ 18 w 18"/>
                  <a:gd name="T7" fmla="*/ 0 h 17"/>
                </a:gdLst>
                <a:ahLst/>
                <a:cxnLst>
                  <a:cxn ang="0">
                    <a:pos x="T0" y="T1"/>
                  </a:cxn>
                  <a:cxn ang="0">
                    <a:pos x="T2" y="T3"/>
                  </a:cxn>
                  <a:cxn ang="0">
                    <a:pos x="T4" y="T5"/>
                  </a:cxn>
                  <a:cxn ang="0">
                    <a:pos x="T6" y="T7"/>
                  </a:cxn>
                </a:cxnLst>
                <a:rect l="0" t="0" r="r" b="b"/>
                <a:pathLst>
                  <a:path w="18" h="17">
                    <a:moveTo>
                      <a:pt x="18" y="0"/>
                    </a:moveTo>
                    <a:lnTo>
                      <a:pt x="0" y="1"/>
                    </a:lnTo>
                    <a:lnTo>
                      <a:pt x="11" y="17"/>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3" name="Rectangle 362">
                <a:extLst>
                  <a:ext uri="{FF2B5EF4-FFF2-40B4-BE49-F238E27FC236}">
                    <a16:creationId xmlns:a16="http://schemas.microsoft.com/office/drawing/2014/main" id="{E37A835F-6F08-45CA-A012-661887587976}"/>
                  </a:ext>
                </a:extLst>
              </p:cNvPr>
              <p:cNvSpPr>
                <a:spLocks noChangeArrowheads="1"/>
              </p:cNvSpPr>
              <p:nvPr/>
            </p:nvSpPr>
            <p:spPr bwMode="auto">
              <a:xfrm>
                <a:off x="3201988" y="5489575"/>
                <a:ext cx="179388" cy="846138"/>
              </a:xfrm>
              <a:prstGeom prst="rect">
                <a:avLst/>
              </a:prstGeom>
              <a:solidFill>
                <a:srgbClr val="FFB7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4" name="Rectangle 363">
                <a:extLst>
                  <a:ext uri="{FF2B5EF4-FFF2-40B4-BE49-F238E27FC236}">
                    <a16:creationId xmlns:a16="http://schemas.microsoft.com/office/drawing/2014/main" id="{B33A3CA1-4DAA-44FA-9A7A-2A9BE4171424}"/>
                  </a:ext>
                </a:extLst>
              </p:cNvPr>
              <p:cNvSpPr>
                <a:spLocks noChangeArrowheads="1"/>
              </p:cNvSpPr>
              <p:nvPr/>
            </p:nvSpPr>
            <p:spPr bwMode="auto">
              <a:xfrm>
                <a:off x="3201988" y="5489575"/>
                <a:ext cx="179388"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5" name="Rectangle 364">
                <a:extLst>
                  <a:ext uri="{FF2B5EF4-FFF2-40B4-BE49-F238E27FC236}">
                    <a16:creationId xmlns:a16="http://schemas.microsoft.com/office/drawing/2014/main" id="{E8569268-D437-40D8-A302-660BE38C704C}"/>
                  </a:ext>
                </a:extLst>
              </p:cNvPr>
              <p:cNvSpPr>
                <a:spLocks noChangeArrowheads="1"/>
              </p:cNvSpPr>
              <p:nvPr/>
            </p:nvSpPr>
            <p:spPr bwMode="auto">
              <a:xfrm>
                <a:off x="3201988" y="5489575"/>
                <a:ext cx="36513" cy="846138"/>
              </a:xfrm>
              <a:prstGeom prst="rect">
                <a:avLst/>
              </a:prstGeom>
              <a:solidFill>
                <a:srgbClr val="ED85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6" name="Rectangle 365">
                <a:extLst>
                  <a:ext uri="{FF2B5EF4-FFF2-40B4-BE49-F238E27FC236}">
                    <a16:creationId xmlns:a16="http://schemas.microsoft.com/office/drawing/2014/main" id="{D1AAE926-7235-4D75-94C1-6CFAE247B937}"/>
                  </a:ext>
                </a:extLst>
              </p:cNvPr>
              <p:cNvSpPr>
                <a:spLocks noChangeArrowheads="1"/>
              </p:cNvSpPr>
              <p:nvPr/>
            </p:nvSpPr>
            <p:spPr bwMode="auto">
              <a:xfrm>
                <a:off x="3306763" y="5589588"/>
                <a:ext cx="74613" cy="7938"/>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7" name="Rectangle 366">
                <a:extLst>
                  <a:ext uri="{FF2B5EF4-FFF2-40B4-BE49-F238E27FC236}">
                    <a16:creationId xmlns:a16="http://schemas.microsoft.com/office/drawing/2014/main" id="{98E14E8D-48DF-48AB-9B2D-D6E3C8E32251}"/>
                  </a:ext>
                </a:extLst>
              </p:cNvPr>
              <p:cNvSpPr>
                <a:spLocks noChangeArrowheads="1"/>
              </p:cNvSpPr>
              <p:nvPr/>
            </p:nvSpPr>
            <p:spPr bwMode="auto">
              <a:xfrm>
                <a:off x="3306763" y="5680075"/>
                <a:ext cx="74613" cy="11113"/>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8" name="Rectangle 367">
                <a:extLst>
                  <a:ext uri="{FF2B5EF4-FFF2-40B4-BE49-F238E27FC236}">
                    <a16:creationId xmlns:a16="http://schemas.microsoft.com/office/drawing/2014/main" id="{76D92CD6-69BC-4D50-AF64-0AF0B4DBCC50}"/>
                  </a:ext>
                </a:extLst>
              </p:cNvPr>
              <p:cNvSpPr>
                <a:spLocks noChangeArrowheads="1"/>
              </p:cNvSpPr>
              <p:nvPr/>
            </p:nvSpPr>
            <p:spPr bwMode="auto">
              <a:xfrm>
                <a:off x="3306763" y="5765800"/>
                <a:ext cx="74613" cy="7938"/>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9" name="Rectangle 368">
                <a:extLst>
                  <a:ext uri="{FF2B5EF4-FFF2-40B4-BE49-F238E27FC236}">
                    <a16:creationId xmlns:a16="http://schemas.microsoft.com/office/drawing/2014/main" id="{4BC465BF-CC8D-4382-A424-DF0892FA652E}"/>
                  </a:ext>
                </a:extLst>
              </p:cNvPr>
              <p:cNvSpPr>
                <a:spLocks noChangeArrowheads="1"/>
              </p:cNvSpPr>
              <p:nvPr/>
            </p:nvSpPr>
            <p:spPr bwMode="auto">
              <a:xfrm>
                <a:off x="3306763" y="5859463"/>
                <a:ext cx="74613" cy="9525"/>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0" name="Rectangle 369">
                <a:extLst>
                  <a:ext uri="{FF2B5EF4-FFF2-40B4-BE49-F238E27FC236}">
                    <a16:creationId xmlns:a16="http://schemas.microsoft.com/office/drawing/2014/main" id="{DC7F2814-F8B8-45CF-8F14-A7B96797DCCB}"/>
                  </a:ext>
                </a:extLst>
              </p:cNvPr>
              <p:cNvSpPr>
                <a:spLocks noChangeArrowheads="1"/>
              </p:cNvSpPr>
              <p:nvPr/>
            </p:nvSpPr>
            <p:spPr bwMode="auto">
              <a:xfrm>
                <a:off x="3306763" y="5938838"/>
                <a:ext cx="74613" cy="12700"/>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1" name="Rectangle 370">
                <a:extLst>
                  <a:ext uri="{FF2B5EF4-FFF2-40B4-BE49-F238E27FC236}">
                    <a16:creationId xmlns:a16="http://schemas.microsoft.com/office/drawing/2014/main" id="{025FC71C-D0AD-460B-A92F-C049C85C8E33}"/>
                  </a:ext>
                </a:extLst>
              </p:cNvPr>
              <p:cNvSpPr>
                <a:spLocks noChangeArrowheads="1"/>
              </p:cNvSpPr>
              <p:nvPr/>
            </p:nvSpPr>
            <p:spPr bwMode="auto">
              <a:xfrm>
                <a:off x="3306763" y="6034088"/>
                <a:ext cx="74613" cy="7938"/>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2" name="Rectangle 371">
                <a:extLst>
                  <a:ext uri="{FF2B5EF4-FFF2-40B4-BE49-F238E27FC236}">
                    <a16:creationId xmlns:a16="http://schemas.microsoft.com/office/drawing/2014/main" id="{3552101C-FCF2-450F-9862-1767A28DEA95}"/>
                  </a:ext>
                </a:extLst>
              </p:cNvPr>
              <p:cNvSpPr>
                <a:spLocks noChangeArrowheads="1"/>
              </p:cNvSpPr>
              <p:nvPr/>
            </p:nvSpPr>
            <p:spPr bwMode="auto">
              <a:xfrm>
                <a:off x="3306763" y="6132513"/>
                <a:ext cx="74613" cy="12700"/>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3" name="Rectangle 372">
                <a:extLst>
                  <a:ext uri="{FF2B5EF4-FFF2-40B4-BE49-F238E27FC236}">
                    <a16:creationId xmlns:a16="http://schemas.microsoft.com/office/drawing/2014/main" id="{437880E1-EC4C-4DEE-95BE-A8CAC3F98799}"/>
                  </a:ext>
                </a:extLst>
              </p:cNvPr>
              <p:cNvSpPr>
                <a:spLocks noChangeArrowheads="1"/>
              </p:cNvSpPr>
              <p:nvPr/>
            </p:nvSpPr>
            <p:spPr bwMode="auto">
              <a:xfrm>
                <a:off x="3306763" y="6227763"/>
                <a:ext cx="74613" cy="7938"/>
              </a:xfrm>
              <a:prstGeom prst="rect">
                <a:avLst/>
              </a:prstGeom>
              <a:solidFill>
                <a:srgbClr val="DD6F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4" name="Freeform 373">
                <a:extLst>
                  <a:ext uri="{FF2B5EF4-FFF2-40B4-BE49-F238E27FC236}">
                    <a16:creationId xmlns:a16="http://schemas.microsoft.com/office/drawing/2014/main" id="{57936350-2576-4A32-9177-BE70E765D75C}"/>
                  </a:ext>
                </a:extLst>
              </p:cNvPr>
              <p:cNvSpPr>
                <a:spLocks/>
              </p:cNvSpPr>
              <p:nvPr/>
            </p:nvSpPr>
            <p:spPr bwMode="auto">
              <a:xfrm>
                <a:off x="3432175" y="5672138"/>
                <a:ext cx="173038" cy="352425"/>
              </a:xfrm>
              <a:custGeom>
                <a:avLst/>
                <a:gdLst>
                  <a:gd name="T0" fmla="*/ 57 w 109"/>
                  <a:gd name="T1" fmla="*/ 222 h 222"/>
                  <a:gd name="T2" fmla="*/ 0 w 109"/>
                  <a:gd name="T3" fmla="*/ 210 h 222"/>
                  <a:gd name="T4" fmla="*/ 54 w 109"/>
                  <a:gd name="T5" fmla="*/ 0 h 222"/>
                  <a:gd name="T6" fmla="*/ 109 w 109"/>
                  <a:gd name="T7" fmla="*/ 14 h 222"/>
                  <a:gd name="T8" fmla="*/ 57 w 109"/>
                  <a:gd name="T9" fmla="*/ 222 h 222"/>
                </a:gdLst>
                <a:ahLst/>
                <a:cxnLst>
                  <a:cxn ang="0">
                    <a:pos x="T0" y="T1"/>
                  </a:cxn>
                  <a:cxn ang="0">
                    <a:pos x="T2" y="T3"/>
                  </a:cxn>
                  <a:cxn ang="0">
                    <a:pos x="T4" y="T5"/>
                  </a:cxn>
                  <a:cxn ang="0">
                    <a:pos x="T6" y="T7"/>
                  </a:cxn>
                  <a:cxn ang="0">
                    <a:pos x="T8" y="T9"/>
                  </a:cxn>
                </a:cxnLst>
                <a:rect l="0" t="0" r="r" b="b"/>
                <a:pathLst>
                  <a:path w="109" h="222">
                    <a:moveTo>
                      <a:pt x="57" y="222"/>
                    </a:moveTo>
                    <a:lnTo>
                      <a:pt x="0" y="210"/>
                    </a:lnTo>
                    <a:lnTo>
                      <a:pt x="54" y="0"/>
                    </a:lnTo>
                    <a:lnTo>
                      <a:pt x="109" y="14"/>
                    </a:lnTo>
                    <a:lnTo>
                      <a:pt x="57" y="222"/>
                    </a:lnTo>
                    <a:close/>
                  </a:path>
                </a:pathLst>
              </a:custGeom>
              <a:solidFill>
                <a:srgbClr val="FFB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5" name="Freeform 374">
                <a:extLst>
                  <a:ext uri="{FF2B5EF4-FFF2-40B4-BE49-F238E27FC236}">
                    <a16:creationId xmlns:a16="http://schemas.microsoft.com/office/drawing/2014/main" id="{99002E0D-EACA-4A08-BD02-FFA898B84D09}"/>
                  </a:ext>
                </a:extLst>
              </p:cNvPr>
              <p:cNvSpPr>
                <a:spLocks/>
              </p:cNvSpPr>
              <p:nvPr/>
            </p:nvSpPr>
            <p:spPr bwMode="auto">
              <a:xfrm>
                <a:off x="3432175" y="5672138"/>
                <a:ext cx="173038" cy="352425"/>
              </a:xfrm>
              <a:custGeom>
                <a:avLst/>
                <a:gdLst>
                  <a:gd name="T0" fmla="*/ 57 w 109"/>
                  <a:gd name="T1" fmla="*/ 222 h 222"/>
                  <a:gd name="T2" fmla="*/ 0 w 109"/>
                  <a:gd name="T3" fmla="*/ 210 h 222"/>
                  <a:gd name="T4" fmla="*/ 54 w 109"/>
                  <a:gd name="T5" fmla="*/ 0 h 222"/>
                  <a:gd name="T6" fmla="*/ 109 w 109"/>
                  <a:gd name="T7" fmla="*/ 14 h 222"/>
                  <a:gd name="T8" fmla="*/ 57 w 109"/>
                  <a:gd name="T9" fmla="*/ 222 h 222"/>
                </a:gdLst>
                <a:ahLst/>
                <a:cxnLst>
                  <a:cxn ang="0">
                    <a:pos x="T0" y="T1"/>
                  </a:cxn>
                  <a:cxn ang="0">
                    <a:pos x="T2" y="T3"/>
                  </a:cxn>
                  <a:cxn ang="0">
                    <a:pos x="T4" y="T5"/>
                  </a:cxn>
                  <a:cxn ang="0">
                    <a:pos x="T6" y="T7"/>
                  </a:cxn>
                  <a:cxn ang="0">
                    <a:pos x="T8" y="T9"/>
                  </a:cxn>
                </a:cxnLst>
                <a:rect l="0" t="0" r="r" b="b"/>
                <a:pathLst>
                  <a:path w="109" h="222">
                    <a:moveTo>
                      <a:pt x="57" y="222"/>
                    </a:moveTo>
                    <a:lnTo>
                      <a:pt x="0" y="210"/>
                    </a:lnTo>
                    <a:lnTo>
                      <a:pt x="54" y="0"/>
                    </a:lnTo>
                    <a:lnTo>
                      <a:pt x="109" y="14"/>
                    </a:lnTo>
                    <a:lnTo>
                      <a:pt x="57" y="2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6" name="Freeform 375">
                <a:extLst>
                  <a:ext uri="{FF2B5EF4-FFF2-40B4-BE49-F238E27FC236}">
                    <a16:creationId xmlns:a16="http://schemas.microsoft.com/office/drawing/2014/main" id="{D7D6E1BD-CF0F-410B-9FFF-27A6FD31485F}"/>
                  </a:ext>
                </a:extLst>
              </p:cNvPr>
              <p:cNvSpPr>
                <a:spLocks/>
              </p:cNvSpPr>
              <p:nvPr/>
            </p:nvSpPr>
            <p:spPr bwMode="auto">
              <a:xfrm>
                <a:off x="3432175" y="5672138"/>
                <a:ext cx="114300" cy="338138"/>
              </a:xfrm>
              <a:custGeom>
                <a:avLst/>
                <a:gdLst>
                  <a:gd name="T0" fmla="*/ 54 w 72"/>
                  <a:gd name="T1" fmla="*/ 0 h 213"/>
                  <a:gd name="T2" fmla="*/ 0 w 72"/>
                  <a:gd name="T3" fmla="*/ 210 h 213"/>
                  <a:gd name="T4" fmla="*/ 20 w 72"/>
                  <a:gd name="T5" fmla="*/ 213 h 213"/>
                  <a:gd name="T6" fmla="*/ 72 w 72"/>
                  <a:gd name="T7" fmla="*/ 3 h 213"/>
                  <a:gd name="T8" fmla="*/ 54 w 72"/>
                  <a:gd name="T9" fmla="*/ 0 h 213"/>
                </a:gdLst>
                <a:ahLst/>
                <a:cxnLst>
                  <a:cxn ang="0">
                    <a:pos x="T0" y="T1"/>
                  </a:cxn>
                  <a:cxn ang="0">
                    <a:pos x="T2" y="T3"/>
                  </a:cxn>
                  <a:cxn ang="0">
                    <a:pos x="T4" y="T5"/>
                  </a:cxn>
                  <a:cxn ang="0">
                    <a:pos x="T6" y="T7"/>
                  </a:cxn>
                  <a:cxn ang="0">
                    <a:pos x="T8" y="T9"/>
                  </a:cxn>
                </a:cxnLst>
                <a:rect l="0" t="0" r="r" b="b"/>
                <a:pathLst>
                  <a:path w="72" h="213">
                    <a:moveTo>
                      <a:pt x="54" y="0"/>
                    </a:moveTo>
                    <a:lnTo>
                      <a:pt x="0" y="210"/>
                    </a:lnTo>
                    <a:lnTo>
                      <a:pt x="20" y="213"/>
                    </a:lnTo>
                    <a:lnTo>
                      <a:pt x="72" y="3"/>
                    </a:lnTo>
                    <a:lnTo>
                      <a:pt x="54" y="0"/>
                    </a:lnTo>
                    <a:close/>
                  </a:path>
                </a:pathLst>
              </a:custGeom>
              <a:solidFill>
                <a:srgbClr val="ED85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7" name="Freeform 376">
                <a:extLst>
                  <a:ext uri="{FF2B5EF4-FFF2-40B4-BE49-F238E27FC236}">
                    <a16:creationId xmlns:a16="http://schemas.microsoft.com/office/drawing/2014/main" id="{C863CECD-6354-49FA-B2DB-3B0A4708E48E}"/>
                  </a:ext>
                </a:extLst>
              </p:cNvPr>
              <p:cNvSpPr>
                <a:spLocks/>
              </p:cNvSpPr>
              <p:nvPr/>
            </p:nvSpPr>
            <p:spPr bwMode="auto">
              <a:xfrm>
                <a:off x="3432175" y="5672138"/>
                <a:ext cx="114300" cy="338138"/>
              </a:xfrm>
              <a:custGeom>
                <a:avLst/>
                <a:gdLst>
                  <a:gd name="T0" fmla="*/ 54 w 72"/>
                  <a:gd name="T1" fmla="*/ 0 h 213"/>
                  <a:gd name="T2" fmla="*/ 0 w 72"/>
                  <a:gd name="T3" fmla="*/ 210 h 213"/>
                  <a:gd name="T4" fmla="*/ 20 w 72"/>
                  <a:gd name="T5" fmla="*/ 213 h 213"/>
                  <a:gd name="T6" fmla="*/ 72 w 72"/>
                  <a:gd name="T7" fmla="*/ 3 h 213"/>
                  <a:gd name="T8" fmla="*/ 54 w 72"/>
                  <a:gd name="T9" fmla="*/ 0 h 213"/>
                </a:gdLst>
                <a:ahLst/>
                <a:cxnLst>
                  <a:cxn ang="0">
                    <a:pos x="T0" y="T1"/>
                  </a:cxn>
                  <a:cxn ang="0">
                    <a:pos x="T2" y="T3"/>
                  </a:cxn>
                  <a:cxn ang="0">
                    <a:pos x="T4" y="T5"/>
                  </a:cxn>
                  <a:cxn ang="0">
                    <a:pos x="T6" y="T7"/>
                  </a:cxn>
                  <a:cxn ang="0">
                    <a:pos x="T8" y="T9"/>
                  </a:cxn>
                </a:cxnLst>
                <a:rect l="0" t="0" r="r" b="b"/>
                <a:pathLst>
                  <a:path w="72" h="213">
                    <a:moveTo>
                      <a:pt x="54" y="0"/>
                    </a:moveTo>
                    <a:lnTo>
                      <a:pt x="0" y="210"/>
                    </a:lnTo>
                    <a:lnTo>
                      <a:pt x="20" y="213"/>
                    </a:lnTo>
                    <a:lnTo>
                      <a:pt x="72" y="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8" name="Freeform 377">
                <a:extLst>
                  <a:ext uri="{FF2B5EF4-FFF2-40B4-BE49-F238E27FC236}">
                    <a16:creationId xmlns:a16="http://schemas.microsoft.com/office/drawing/2014/main" id="{EAC49467-DCC1-47A7-899C-07B639B8CF0E}"/>
                  </a:ext>
                </a:extLst>
              </p:cNvPr>
              <p:cNvSpPr>
                <a:spLocks/>
              </p:cNvSpPr>
              <p:nvPr/>
            </p:nvSpPr>
            <p:spPr bwMode="auto">
              <a:xfrm>
                <a:off x="3463925" y="5676900"/>
                <a:ext cx="112713" cy="342900"/>
              </a:xfrm>
              <a:custGeom>
                <a:avLst/>
                <a:gdLst>
                  <a:gd name="T0" fmla="*/ 52 w 71"/>
                  <a:gd name="T1" fmla="*/ 0 h 216"/>
                  <a:gd name="T2" fmla="*/ 52 w 71"/>
                  <a:gd name="T3" fmla="*/ 0 h 216"/>
                  <a:gd name="T4" fmla="*/ 0 w 71"/>
                  <a:gd name="T5" fmla="*/ 210 h 216"/>
                  <a:gd name="T6" fmla="*/ 18 w 71"/>
                  <a:gd name="T7" fmla="*/ 216 h 216"/>
                  <a:gd name="T8" fmla="*/ 71 w 71"/>
                  <a:gd name="T9" fmla="*/ 6 h 216"/>
                  <a:gd name="T10" fmla="*/ 52 w 71"/>
                  <a:gd name="T11" fmla="*/ 0 h 216"/>
                </a:gdLst>
                <a:ahLst/>
                <a:cxnLst>
                  <a:cxn ang="0">
                    <a:pos x="T0" y="T1"/>
                  </a:cxn>
                  <a:cxn ang="0">
                    <a:pos x="T2" y="T3"/>
                  </a:cxn>
                  <a:cxn ang="0">
                    <a:pos x="T4" y="T5"/>
                  </a:cxn>
                  <a:cxn ang="0">
                    <a:pos x="T6" y="T7"/>
                  </a:cxn>
                  <a:cxn ang="0">
                    <a:pos x="T8" y="T9"/>
                  </a:cxn>
                  <a:cxn ang="0">
                    <a:pos x="T10" y="T11"/>
                  </a:cxn>
                </a:cxnLst>
                <a:rect l="0" t="0" r="r" b="b"/>
                <a:pathLst>
                  <a:path w="71" h="216">
                    <a:moveTo>
                      <a:pt x="52" y="0"/>
                    </a:moveTo>
                    <a:lnTo>
                      <a:pt x="52" y="0"/>
                    </a:lnTo>
                    <a:lnTo>
                      <a:pt x="0" y="210"/>
                    </a:lnTo>
                    <a:lnTo>
                      <a:pt x="18" y="216"/>
                    </a:lnTo>
                    <a:lnTo>
                      <a:pt x="71" y="6"/>
                    </a:lnTo>
                    <a:lnTo>
                      <a:pt x="52" y="0"/>
                    </a:lnTo>
                    <a:close/>
                  </a:path>
                </a:pathLst>
              </a:custGeom>
              <a:solidFill>
                <a:srgbClr val="F890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9" name="Freeform 378">
                <a:extLst>
                  <a:ext uri="{FF2B5EF4-FFF2-40B4-BE49-F238E27FC236}">
                    <a16:creationId xmlns:a16="http://schemas.microsoft.com/office/drawing/2014/main" id="{3CFD124A-E691-4069-A61C-DAB5FC38C68D}"/>
                  </a:ext>
                </a:extLst>
              </p:cNvPr>
              <p:cNvSpPr>
                <a:spLocks/>
              </p:cNvSpPr>
              <p:nvPr/>
            </p:nvSpPr>
            <p:spPr bwMode="auto">
              <a:xfrm>
                <a:off x="3463925" y="5676900"/>
                <a:ext cx="112713" cy="342900"/>
              </a:xfrm>
              <a:custGeom>
                <a:avLst/>
                <a:gdLst>
                  <a:gd name="T0" fmla="*/ 52 w 71"/>
                  <a:gd name="T1" fmla="*/ 0 h 216"/>
                  <a:gd name="T2" fmla="*/ 52 w 71"/>
                  <a:gd name="T3" fmla="*/ 0 h 216"/>
                  <a:gd name="T4" fmla="*/ 0 w 71"/>
                  <a:gd name="T5" fmla="*/ 210 h 216"/>
                  <a:gd name="T6" fmla="*/ 18 w 71"/>
                  <a:gd name="T7" fmla="*/ 216 h 216"/>
                  <a:gd name="T8" fmla="*/ 71 w 71"/>
                  <a:gd name="T9" fmla="*/ 6 h 216"/>
                  <a:gd name="T10" fmla="*/ 52 w 71"/>
                  <a:gd name="T11" fmla="*/ 0 h 216"/>
                </a:gdLst>
                <a:ahLst/>
                <a:cxnLst>
                  <a:cxn ang="0">
                    <a:pos x="T0" y="T1"/>
                  </a:cxn>
                  <a:cxn ang="0">
                    <a:pos x="T2" y="T3"/>
                  </a:cxn>
                  <a:cxn ang="0">
                    <a:pos x="T4" y="T5"/>
                  </a:cxn>
                  <a:cxn ang="0">
                    <a:pos x="T6" y="T7"/>
                  </a:cxn>
                  <a:cxn ang="0">
                    <a:pos x="T8" y="T9"/>
                  </a:cxn>
                  <a:cxn ang="0">
                    <a:pos x="T10" y="T11"/>
                  </a:cxn>
                </a:cxnLst>
                <a:rect l="0" t="0" r="r" b="b"/>
                <a:pathLst>
                  <a:path w="71" h="216">
                    <a:moveTo>
                      <a:pt x="52" y="0"/>
                    </a:moveTo>
                    <a:lnTo>
                      <a:pt x="52" y="0"/>
                    </a:lnTo>
                    <a:lnTo>
                      <a:pt x="0" y="210"/>
                    </a:lnTo>
                    <a:lnTo>
                      <a:pt x="18" y="216"/>
                    </a:lnTo>
                    <a:lnTo>
                      <a:pt x="71" y="6"/>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0" name="Freeform 379">
                <a:extLst>
                  <a:ext uri="{FF2B5EF4-FFF2-40B4-BE49-F238E27FC236}">
                    <a16:creationId xmlns:a16="http://schemas.microsoft.com/office/drawing/2014/main" id="{438A0773-3630-40FC-ADBB-CDB8B005F1D5}"/>
                  </a:ext>
                </a:extLst>
              </p:cNvPr>
              <p:cNvSpPr>
                <a:spLocks/>
              </p:cNvSpPr>
              <p:nvPr/>
            </p:nvSpPr>
            <p:spPr bwMode="auto">
              <a:xfrm>
                <a:off x="3562350" y="5600700"/>
                <a:ext cx="26988" cy="22225"/>
              </a:xfrm>
              <a:custGeom>
                <a:avLst/>
                <a:gdLst>
                  <a:gd name="T0" fmla="*/ 9 w 9"/>
                  <a:gd name="T1" fmla="*/ 8 h 8"/>
                  <a:gd name="T2" fmla="*/ 7 w 9"/>
                  <a:gd name="T3" fmla="*/ 0 h 8"/>
                  <a:gd name="T4" fmla="*/ 0 w 9"/>
                  <a:gd name="T5" fmla="*/ 6 h 8"/>
                  <a:gd name="T6" fmla="*/ 5 w 9"/>
                  <a:gd name="T7" fmla="*/ 8 h 8"/>
                  <a:gd name="T8" fmla="*/ 9 w 9"/>
                  <a:gd name="T9" fmla="*/ 8 h 8"/>
                </a:gdLst>
                <a:ahLst/>
                <a:cxnLst>
                  <a:cxn ang="0">
                    <a:pos x="T0" y="T1"/>
                  </a:cxn>
                  <a:cxn ang="0">
                    <a:pos x="T2" y="T3"/>
                  </a:cxn>
                  <a:cxn ang="0">
                    <a:pos x="T4" y="T5"/>
                  </a:cxn>
                  <a:cxn ang="0">
                    <a:pos x="T6" y="T7"/>
                  </a:cxn>
                  <a:cxn ang="0">
                    <a:pos x="T8" y="T9"/>
                  </a:cxn>
                </a:cxnLst>
                <a:rect l="0" t="0" r="r" b="b"/>
                <a:pathLst>
                  <a:path w="9" h="8">
                    <a:moveTo>
                      <a:pt x="9" y="8"/>
                    </a:moveTo>
                    <a:cubicBezTo>
                      <a:pt x="7" y="0"/>
                      <a:pt x="7" y="0"/>
                      <a:pt x="7" y="0"/>
                    </a:cubicBezTo>
                    <a:cubicBezTo>
                      <a:pt x="0" y="6"/>
                      <a:pt x="0" y="6"/>
                      <a:pt x="0" y="6"/>
                    </a:cubicBezTo>
                    <a:cubicBezTo>
                      <a:pt x="1" y="7"/>
                      <a:pt x="3" y="8"/>
                      <a:pt x="5" y="8"/>
                    </a:cubicBezTo>
                    <a:cubicBezTo>
                      <a:pt x="6" y="8"/>
                      <a:pt x="8" y="8"/>
                      <a:pt x="9" y="8"/>
                    </a:cubicBezTo>
                    <a:close/>
                  </a:path>
                </a:pathLst>
              </a:custGeom>
              <a:solidFill>
                <a:srgbClr val="E74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1" name="Freeform 380">
                <a:extLst>
                  <a:ext uri="{FF2B5EF4-FFF2-40B4-BE49-F238E27FC236}">
                    <a16:creationId xmlns:a16="http://schemas.microsoft.com/office/drawing/2014/main" id="{E4AA723E-AFD4-4FEE-A9CE-C3B8C78103A4}"/>
                  </a:ext>
                </a:extLst>
              </p:cNvPr>
              <p:cNvSpPr>
                <a:spLocks/>
              </p:cNvSpPr>
              <p:nvPr/>
            </p:nvSpPr>
            <p:spPr bwMode="auto">
              <a:xfrm>
                <a:off x="3425825" y="6005513"/>
                <a:ext cx="96838" cy="47625"/>
              </a:xfrm>
              <a:custGeom>
                <a:avLst/>
                <a:gdLst>
                  <a:gd name="T0" fmla="*/ 56 w 61"/>
                  <a:gd name="T1" fmla="*/ 30 h 30"/>
                  <a:gd name="T2" fmla="*/ 0 w 61"/>
                  <a:gd name="T3" fmla="*/ 16 h 30"/>
                  <a:gd name="T4" fmla="*/ 4 w 61"/>
                  <a:gd name="T5" fmla="*/ 0 h 30"/>
                  <a:gd name="T6" fmla="*/ 61 w 61"/>
                  <a:gd name="T7" fmla="*/ 12 h 30"/>
                  <a:gd name="T8" fmla="*/ 56 w 61"/>
                  <a:gd name="T9" fmla="*/ 30 h 30"/>
                </a:gdLst>
                <a:ahLst/>
                <a:cxnLst>
                  <a:cxn ang="0">
                    <a:pos x="T0" y="T1"/>
                  </a:cxn>
                  <a:cxn ang="0">
                    <a:pos x="T2" y="T3"/>
                  </a:cxn>
                  <a:cxn ang="0">
                    <a:pos x="T4" y="T5"/>
                  </a:cxn>
                  <a:cxn ang="0">
                    <a:pos x="T6" y="T7"/>
                  </a:cxn>
                  <a:cxn ang="0">
                    <a:pos x="T8" y="T9"/>
                  </a:cxn>
                </a:cxnLst>
                <a:rect l="0" t="0" r="r" b="b"/>
                <a:pathLst>
                  <a:path w="61" h="30">
                    <a:moveTo>
                      <a:pt x="56" y="30"/>
                    </a:moveTo>
                    <a:lnTo>
                      <a:pt x="0" y="16"/>
                    </a:lnTo>
                    <a:lnTo>
                      <a:pt x="4" y="0"/>
                    </a:lnTo>
                    <a:lnTo>
                      <a:pt x="61" y="12"/>
                    </a:lnTo>
                    <a:lnTo>
                      <a:pt x="56" y="3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2" name="Freeform 381">
                <a:extLst>
                  <a:ext uri="{FF2B5EF4-FFF2-40B4-BE49-F238E27FC236}">
                    <a16:creationId xmlns:a16="http://schemas.microsoft.com/office/drawing/2014/main" id="{05C6F922-E905-4EC3-AFCC-A3476F08A590}"/>
                  </a:ext>
                </a:extLst>
              </p:cNvPr>
              <p:cNvSpPr>
                <a:spLocks/>
              </p:cNvSpPr>
              <p:nvPr/>
            </p:nvSpPr>
            <p:spPr bwMode="auto">
              <a:xfrm>
                <a:off x="3424238" y="6016625"/>
                <a:ext cx="96838" cy="47625"/>
              </a:xfrm>
              <a:custGeom>
                <a:avLst/>
                <a:gdLst>
                  <a:gd name="T0" fmla="*/ 55 w 61"/>
                  <a:gd name="T1" fmla="*/ 30 h 30"/>
                  <a:gd name="T2" fmla="*/ 0 w 61"/>
                  <a:gd name="T3" fmla="*/ 16 h 30"/>
                  <a:gd name="T4" fmla="*/ 3 w 61"/>
                  <a:gd name="T5" fmla="*/ 0 h 30"/>
                  <a:gd name="T6" fmla="*/ 61 w 61"/>
                  <a:gd name="T7" fmla="*/ 14 h 30"/>
                  <a:gd name="T8" fmla="*/ 55 w 61"/>
                  <a:gd name="T9" fmla="*/ 30 h 30"/>
                </a:gdLst>
                <a:ahLst/>
                <a:cxnLst>
                  <a:cxn ang="0">
                    <a:pos x="T0" y="T1"/>
                  </a:cxn>
                  <a:cxn ang="0">
                    <a:pos x="T2" y="T3"/>
                  </a:cxn>
                  <a:cxn ang="0">
                    <a:pos x="T4" y="T5"/>
                  </a:cxn>
                  <a:cxn ang="0">
                    <a:pos x="T6" y="T7"/>
                  </a:cxn>
                  <a:cxn ang="0">
                    <a:pos x="T8" y="T9"/>
                  </a:cxn>
                </a:cxnLst>
                <a:rect l="0" t="0" r="r" b="b"/>
                <a:pathLst>
                  <a:path w="61" h="30">
                    <a:moveTo>
                      <a:pt x="55" y="30"/>
                    </a:moveTo>
                    <a:lnTo>
                      <a:pt x="0" y="16"/>
                    </a:lnTo>
                    <a:lnTo>
                      <a:pt x="3" y="0"/>
                    </a:lnTo>
                    <a:lnTo>
                      <a:pt x="61" y="14"/>
                    </a:lnTo>
                    <a:lnTo>
                      <a:pt x="55" y="3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3" name="Freeform 382">
                <a:extLst>
                  <a:ext uri="{FF2B5EF4-FFF2-40B4-BE49-F238E27FC236}">
                    <a16:creationId xmlns:a16="http://schemas.microsoft.com/office/drawing/2014/main" id="{0BC4E9A4-71FC-40F9-8F53-D1731C5738FD}"/>
                  </a:ext>
                </a:extLst>
              </p:cNvPr>
              <p:cNvSpPr>
                <a:spLocks/>
              </p:cNvSpPr>
              <p:nvPr/>
            </p:nvSpPr>
            <p:spPr bwMode="auto">
              <a:xfrm>
                <a:off x="3424238" y="6027738"/>
                <a:ext cx="90488" cy="36513"/>
              </a:xfrm>
              <a:custGeom>
                <a:avLst/>
                <a:gdLst>
                  <a:gd name="T0" fmla="*/ 55 w 57"/>
                  <a:gd name="T1" fmla="*/ 23 h 23"/>
                  <a:gd name="T2" fmla="*/ 0 w 57"/>
                  <a:gd name="T3" fmla="*/ 9 h 23"/>
                  <a:gd name="T4" fmla="*/ 1 w 57"/>
                  <a:gd name="T5" fmla="*/ 0 h 23"/>
                  <a:gd name="T6" fmla="*/ 57 w 57"/>
                  <a:gd name="T7" fmla="*/ 14 h 23"/>
                  <a:gd name="T8" fmla="*/ 55 w 57"/>
                  <a:gd name="T9" fmla="*/ 23 h 23"/>
                </a:gdLst>
                <a:ahLst/>
                <a:cxnLst>
                  <a:cxn ang="0">
                    <a:pos x="T0" y="T1"/>
                  </a:cxn>
                  <a:cxn ang="0">
                    <a:pos x="T2" y="T3"/>
                  </a:cxn>
                  <a:cxn ang="0">
                    <a:pos x="T4" y="T5"/>
                  </a:cxn>
                  <a:cxn ang="0">
                    <a:pos x="T6" y="T7"/>
                  </a:cxn>
                  <a:cxn ang="0">
                    <a:pos x="T8" y="T9"/>
                  </a:cxn>
                </a:cxnLst>
                <a:rect l="0" t="0" r="r" b="b"/>
                <a:pathLst>
                  <a:path w="57" h="23">
                    <a:moveTo>
                      <a:pt x="55" y="23"/>
                    </a:moveTo>
                    <a:lnTo>
                      <a:pt x="0" y="9"/>
                    </a:lnTo>
                    <a:lnTo>
                      <a:pt x="1" y="0"/>
                    </a:lnTo>
                    <a:lnTo>
                      <a:pt x="57" y="14"/>
                    </a:lnTo>
                    <a:lnTo>
                      <a:pt x="55" y="23"/>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4" name="Freeform 383">
                <a:extLst>
                  <a:ext uri="{FF2B5EF4-FFF2-40B4-BE49-F238E27FC236}">
                    <a16:creationId xmlns:a16="http://schemas.microsoft.com/office/drawing/2014/main" id="{179CAD88-D36D-4FFE-B463-994C5D98703F}"/>
                  </a:ext>
                </a:extLst>
              </p:cNvPr>
              <p:cNvSpPr>
                <a:spLocks/>
              </p:cNvSpPr>
              <p:nvPr/>
            </p:nvSpPr>
            <p:spPr bwMode="auto">
              <a:xfrm>
                <a:off x="3417888" y="6042025"/>
                <a:ext cx="93663" cy="57150"/>
              </a:xfrm>
              <a:custGeom>
                <a:avLst/>
                <a:gdLst>
                  <a:gd name="T0" fmla="*/ 14 w 33"/>
                  <a:gd name="T1" fmla="*/ 18 h 20"/>
                  <a:gd name="T2" fmla="*/ 33 w 33"/>
                  <a:gd name="T3" fmla="*/ 8 h 20"/>
                  <a:gd name="T4" fmla="*/ 2 w 33"/>
                  <a:gd name="T5" fmla="*/ 0 h 20"/>
                  <a:gd name="T6" fmla="*/ 14 w 33"/>
                  <a:gd name="T7" fmla="*/ 18 h 20"/>
                </a:gdLst>
                <a:ahLst/>
                <a:cxnLst>
                  <a:cxn ang="0">
                    <a:pos x="T0" y="T1"/>
                  </a:cxn>
                  <a:cxn ang="0">
                    <a:pos x="T2" y="T3"/>
                  </a:cxn>
                  <a:cxn ang="0">
                    <a:pos x="T4" y="T5"/>
                  </a:cxn>
                  <a:cxn ang="0">
                    <a:pos x="T6" y="T7"/>
                  </a:cxn>
                </a:cxnLst>
                <a:rect l="0" t="0" r="r" b="b"/>
                <a:pathLst>
                  <a:path w="33" h="20">
                    <a:moveTo>
                      <a:pt x="14" y="18"/>
                    </a:moveTo>
                    <a:cubicBezTo>
                      <a:pt x="23" y="20"/>
                      <a:pt x="31" y="16"/>
                      <a:pt x="33" y="8"/>
                    </a:cubicBezTo>
                    <a:cubicBezTo>
                      <a:pt x="2" y="0"/>
                      <a:pt x="2" y="0"/>
                      <a:pt x="2" y="0"/>
                    </a:cubicBezTo>
                    <a:cubicBezTo>
                      <a:pt x="0" y="8"/>
                      <a:pt x="5" y="16"/>
                      <a:pt x="14" y="18"/>
                    </a:cubicBezTo>
                    <a:close/>
                  </a:path>
                </a:pathLst>
              </a:cu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5" name="Freeform 384">
                <a:extLst>
                  <a:ext uri="{FF2B5EF4-FFF2-40B4-BE49-F238E27FC236}">
                    <a16:creationId xmlns:a16="http://schemas.microsoft.com/office/drawing/2014/main" id="{F50FA7E7-1988-43CB-B85D-7C559DBC46A6}"/>
                  </a:ext>
                </a:extLst>
              </p:cNvPr>
              <p:cNvSpPr>
                <a:spLocks/>
              </p:cNvSpPr>
              <p:nvPr/>
            </p:nvSpPr>
            <p:spPr bwMode="auto">
              <a:xfrm>
                <a:off x="3514725" y="5618163"/>
                <a:ext cx="90488" cy="87313"/>
              </a:xfrm>
              <a:custGeom>
                <a:avLst/>
                <a:gdLst>
                  <a:gd name="T0" fmla="*/ 26 w 32"/>
                  <a:gd name="T1" fmla="*/ 2 h 31"/>
                  <a:gd name="T2" fmla="*/ 22 w 32"/>
                  <a:gd name="T3" fmla="*/ 2 h 31"/>
                  <a:gd name="T4" fmla="*/ 17 w 32"/>
                  <a:gd name="T5" fmla="*/ 0 h 31"/>
                  <a:gd name="T6" fmla="*/ 1 w 32"/>
                  <a:gd name="T7" fmla="*/ 19 h 31"/>
                  <a:gd name="T8" fmla="*/ 5 w 32"/>
                  <a:gd name="T9" fmla="*/ 25 h 31"/>
                  <a:gd name="T10" fmla="*/ 11 w 32"/>
                  <a:gd name="T11" fmla="*/ 21 h 31"/>
                  <a:gd name="T12" fmla="*/ 15 w 32"/>
                  <a:gd name="T13" fmla="*/ 27 h 31"/>
                  <a:gd name="T14" fmla="*/ 22 w 32"/>
                  <a:gd name="T15" fmla="*/ 24 h 31"/>
                  <a:gd name="T16" fmla="*/ 26 w 32"/>
                  <a:gd name="T17" fmla="*/ 30 h 31"/>
                  <a:gd name="T18" fmla="*/ 32 w 32"/>
                  <a:gd name="T19" fmla="*/ 27 h 31"/>
                  <a:gd name="T20" fmla="*/ 26 w 32"/>
                  <a:gd name="T21"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1">
                    <a:moveTo>
                      <a:pt x="26" y="2"/>
                    </a:moveTo>
                    <a:cubicBezTo>
                      <a:pt x="25" y="2"/>
                      <a:pt x="23" y="2"/>
                      <a:pt x="22" y="2"/>
                    </a:cubicBezTo>
                    <a:cubicBezTo>
                      <a:pt x="20" y="2"/>
                      <a:pt x="18" y="1"/>
                      <a:pt x="17" y="0"/>
                    </a:cubicBezTo>
                    <a:cubicBezTo>
                      <a:pt x="1" y="19"/>
                      <a:pt x="1" y="19"/>
                      <a:pt x="1" y="19"/>
                    </a:cubicBezTo>
                    <a:cubicBezTo>
                      <a:pt x="0" y="21"/>
                      <a:pt x="2" y="24"/>
                      <a:pt x="5" y="25"/>
                    </a:cubicBezTo>
                    <a:cubicBezTo>
                      <a:pt x="8" y="25"/>
                      <a:pt x="10" y="24"/>
                      <a:pt x="11" y="21"/>
                    </a:cubicBezTo>
                    <a:cubicBezTo>
                      <a:pt x="10" y="24"/>
                      <a:pt x="12" y="27"/>
                      <a:pt x="15" y="27"/>
                    </a:cubicBezTo>
                    <a:cubicBezTo>
                      <a:pt x="18" y="28"/>
                      <a:pt x="21" y="26"/>
                      <a:pt x="22" y="24"/>
                    </a:cubicBezTo>
                    <a:cubicBezTo>
                      <a:pt x="21" y="26"/>
                      <a:pt x="23" y="29"/>
                      <a:pt x="26" y="30"/>
                    </a:cubicBezTo>
                    <a:cubicBezTo>
                      <a:pt x="29" y="31"/>
                      <a:pt x="31" y="29"/>
                      <a:pt x="32" y="27"/>
                    </a:cubicBezTo>
                    <a:lnTo>
                      <a:pt x="26" y="2"/>
                    </a:lnTo>
                    <a:close/>
                  </a:path>
                </a:pathLst>
              </a:custGeom>
              <a:solidFill>
                <a:srgbClr val="F4CF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6" name="Freeform 385">
                <a:extLst>
                  <a:ext uri="{FF2B5EF4-FFF2-40B4-BE49-F238E27FC236}">
                    <a16:creationId xmlns:a16="http://schemas.microsoft.com/office/drawing/2014/main" id="{1C64D5B8-A1B3-48D6-B3F6-FB22799FFC22}"/>
                  </a:ext>
                </a:extLst>
              </p:cNvPr>
              <p:cNvSpPr>
                <a:spLocks/>
              </p:cNvSpPr>
              <p:nvPr/>
            </p:nvSpPr>
            <p:spPr bwMode="auto">
              <a:xfrm>
                <a:off x="3001963" y="5675313"/>
                <a:ext cx="139700" cy="352425"/>
              </a:xfrm>
              <a:custGeom>
                <a:avLst/>
                <a:gdLst>
                  <a:gd name="T0" fmla="*/ 88 w 88"/>
                  <a:gd name="T1" fmla="*/ 213 h 222"/>
                  <a:gd name="T2" fmla="*/ 31 w 88"/>
                  <a:gd name="T3" fmla="*/ 222 h 222"/>
                  <a:gd name="T4" fmla="*/ 0 w 88"/>
                  <a:gd name="T5" fmla="*/ 7 h 222"/>
                  <a:gd name="T6" fmla="*/ 58 w 88"/>
                  <a:gd name="T7" fmla="*/ 0 h 222"/>
                  <a:gd name="T8" fmla="*/ 88 w 88"/>
                  <a:gd name="T9" fmla="*/ 213 h 222"/>
                </a:gdLst>
                <a:ahLst/>
                <a:cxnLst>
                  <a:cxn ang="0">
                    <a:pos x="T0" y="T1"/>
                  </a:cxn>
                  <a:cxn ang="0">
                    <a:pos x="T2" y="T3"/>
                  </a:cxn>
                  <a:cxn ang="0">
                    <a:pos x="T4" y="T5"/>
                  </a:cxn>
                  <a:cxn ang="0">
                    <a:pos x="T6" y="T7"/>
                  </a:cxn>
                  <a:cxn ang="0">
                    <a:pos x="T8" y="T9"/>
                  </a:cxn>
                </a:cxnLst>
                <a:rect l="0" t="0" r="r" b="b"/>
                <a:pathLst>
                  <a:path w="88" h="222">
                    <a:moveTo>
                      <a:pt x="88" y="213"/>
                    </a:moveTo>
                    <a:lnTo>
                      <a:pt x="31" y="222"/>
                    </a:lnTo>
                    <a:lnTo>
                      <a:pt x="0" y="7"/>
                    </a:lnTo>
                    <a:lnTo>
                      <a:pt x="58" y="0"/>
                    </a:lnTo>
                    <a:lnTo>
                      <a:pt x="88" y="213"/>
                    </a:lnTo>
                    <a:close/>
                  </a:path>
                </a:pathLst>
              </a:custGeom>
              <a:solidFill>
                <a:srgbClr val="81A1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7" name="Freeform 386">
                <a:extLst>
                  <a:ext uri="{FF2B5EF4-FFF2-40B4-BE49-F238E27FC236}">
                    <a16:creationId xmlns:a16="http://schemas.microsoft.com/office/drawing/2014/main" id="{5554E2F5-762B-4B8F-8C81-7DC13BD5EB84}"/>
                  </a:ext>
                </a:extLst>
              </p:cNvPr>
              <p:cNvSpPr>
                <a:spLocks/>
              </p:cNvSpPr>
              <p:nvPr/>
            </p:nvSpPr>
            <p:spPr bwMode="auto">
              <a:xfrm>
                <a:off x="3001963" y="5675313"/>
                <a:ext cx="139700" cy="352425"/>
              </a:xfrm>
              <a:custGeom>
                <a:avLst/>
                <a:gdLst>
                  <a:gd name="T0" fmla="*/ 88 w 88"/>
                  <a:gd name="T1" fmla="*/ 213 h 222"/>
                  <a:gd name="T2" fmla="*/ 31 w 88"/>
                  <a:gd name="T3" fmla="*/ 222 h 222"/>
                  <a:gd name="T4" fmla="*/ 0 w 88"/>
                  <a:gd name="T5" fmla="*/ 7 h 222"/>
                  <a:gd name="T6" fmla="*/ 58 w 88"/>
                  <a:gd name="T7" fmla="*/ 0 h 222"/>
                  <a:gd name="T8" fmla="*/ 88 w 88"/>
                  <a:gd name="T9" fmla="*/ 213 h 222"/>
                </a:gdLst>
                <a:ahLst/>
                <a:cxnLst>
                  <a:cxn ang="0">
                    <a:pos x="T0" y="T1"/>
                  </a:cxn>
                  <a:cxn ang="0">
                    <a:pos x="T2" y="T3"/>
                  </a:cxn>
                  <a:cxn ang="0">
                    <a:pos x="T4" y="T5"/>
                  </a:cxn>
                  <a:cxn ang="0">
                    <a:pos x="T6" y="T7"/>
                  </a:cxn>
                  <a:cxn ang="0">
                    <a:pos x="T8" y="T9"/>
                  </a:cxn>
                </a:cxnLst>
                <a:rect l="0" t="0" r="r" b="b"/>
                <a:pathLst>
                  <a:path w="88" h="222">
                    <a:moveTo>
                      <a:pt x="88" y="213"/>
                    </a:moveTo>
                    <a:lnTo>
                      <a:pt x="31" y="222"/>
                    </a:lnTo>
                    <a:lnTo>
                      <a:pt x="0" y="7"/>
                    </a:lnTo>
                    <a:lnTo>
                      <a:pt x="58" y="0"/>
                    </a:lnTo>
                    <a:lnTo>
                      <a:pt x="88" y="2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8" name="Freeform 387">
                <a:extLst>
                  <a:ext uri="{FF2B5EF4-FFF2-40B4-BE49-F238E27FC236}">
                    <a16:creationId xmlns:a16="http://schemas.microsoft.com/office/drawing/2014/main" id="{785B3C74-3548-48CC-AC19-FF958004804E}"/>
                  </a:ext>
                </a:extLst>
              </p:cNvPr>
              <p:cNvSpPr>
                <a:spLocks noEditPoints="1"/>
              </p:cNvSpPr>
              <p:nvPr/>
            </p:nvSpPr>
            <p:spPr bwMode="auto">
              <a:xfrm>
                <a:off x="3001963" y="5683250"/>
                <a:ext cx="79375" cy="344488"/>
              </a:xfrm>
              <a:custGeom>
                <a:avLst/>
                <a:gdLst>
                  <a:gd name="T0" fmla="*/ 50 w 50"/>
                  <a:gd name="T1" fmla="*/ 213 h 217"/>
                  <a:gd name="T2" fmla="*/ 31 w 50"/>
                  <a:gd name="T3" fmla="*/ 217 h 217"/>
                  <a:gd name="T4" fmla="*/ 50 w 50"/>
                  <a:gd name="T5" fmla="*/ 213 h 217"/>
                  <a:gd name="T6" fmla="*/ 50 w 50"/>
                  <a:gd name="T7" fmla="*/ 213 h 217"/>
                  <a:gd name="T8" fmla="*/ 20 w 50"/>
                  <a:gd name="T9" fmla="*/ 0 h 217"/>
                  <a:gd name="T10" fmla="*/ 0 w 50"/>
                  <a:gd name="T11" fmla="*/ 2 h 217"/>
                  <a:gd name="T12" fmla="*/ 20 w 50"/>
                  <a:gd name="T13" fmla="*/ 0 h 217"/>
                  <a:gd name="T14" fmla="*/ 20 w 50"/>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17">
                    <a:moveTo>
                      <a:pt x="50" y="213"/>
                    </a:moveTo>
                    <a:lnTo>
                      <a:pt x="31" y="217"/>
                    </a:lnTo>
                    <a:lnTo>
                      <a:pt x="50" y="213"/>
                    </a:lnTo>
                    <a:lnTo>
                      <a:pt x="50" y="213"/>
                    </a:lnTo>
                    <a:close/>
                    <a:moveTo>
                      <a:pt x="20" y="0"/>
                    </a:moveTo>
                    <a:lnTo>
                      <a:pt x="0" y="2"/>
                    </a:lnTo>
                    <a:lnTo>
                      <a:pt x="20" y="0"/>
                    </a:lnTo>
                    <a:lnTo>
                      <a:pt x="20" y="0"/>
                    </a:lnTo>
                    <a:close/>
                  </a:path>
                </a:pathLst>
              </a:custGeom>
              <a:solidFill>
                <a:srgbClr val="0D87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9" name="Freeform 388">
                <a:extLst>
                  <a:ext uri="{FF2B5EF4-FFF2-40B4-BE49-F238E27FC236}">
                    <a16:creationId xmlns:a16="http://schemas.microsoft.com/office/drawing/2014/main" id="{07ED1BEE-416B-4F6D-AB70-DCF2D0D0F0B4}"/>
                  </a:ext>
                </a:extLst>
              </p:cNvPr>
              <p:cNvSpPr>
                <a:spLocks noEditPoints="1"/>
              </p:cNvSpPr>
              <p:nvPr/>
            </p:nvSpPr>
            <p:spPr bwMode="auto">
              <a:xfrm>
                <a:off x="3001963" y="5683250"/>
                <a:ext cx="79375" cy="344488"/>
              </a:xfrm>
              <a:custGeom>
                <a:avLst/>
                <a:gdLst>
                  <a:gd name="T0" fmla="*/ 50 w 50"/>
                  <a:gd name="T1" fmla="*/ 213 h 217"/>
                  <a:gd name="T2" fmla="*/ 31 w 50"/>
                  <a:gd name="T3" fmla="*/ 217 h 217"/>
                  <a:gd name="T4" fmla="*/ 50 w 50"/>
                  <a:gd name="T5" fmla="*/ 213 h 217"/>
                  <a:gd name="T6" fmla="*/ 50 w 50"/>
                  <a:gd name="T7" fmla="*/ 213 h 217"/>
                  <a:gd name="T8" fmla="*/ 20 w 50"/>
                  <a:gd name="T9" fmla="*/ 0 h 217"/>
                  <a:gd name="T10" fmla="*/ 0 w 50"/>
                  <a:gd name="T11" fmla="*/ 2 h 217"/>
                  <a:gd name="T12" fmla="*/ 20 w 50"/>
                  <a:gd name="T13" fmla="*/ 0 h 217"/>
                  <a:gd name="T14" fmla="*/ 20 w 50"/>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17">
                    <a:moveTo>
                      <a:pt x="50" y="213"/>
                    </a:moveTo>
                    <a:lnTo>
                      <a:pt x="31" y="217"/>
                    </a:lnTo>
                    <a:lnTo>
                      <a:pt x="50" y="213"/>
                    </a:lnTo>
                    <a:lnTo>
                      <a:pt x="50" y="213"/>
                    </a:lnTo>
                    <a:moveTo>
                      <a:pt x="20" y="0"/>
                    </a:moveTo>
                    <a:lnTo>
                      <a:pt x="0" y="2"/>
                    </a:lnTo>
                    <a:lnTo>
                      <a:pt x="20" y="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0" name="Freeform 389">
                <a:extLst>
                  <a:ext uri="{FF2B5EF4-FFF2-40B4-BE49-F238E27FC236}">
                    <a16:creationId xmlns:a16="http://schemas.microsoft.com/office/drawing/2014/main" id="{7CC9AEDF-B2DA-4CEF-826C-5220F6A5C12D}"/>
                  </a:ext>
                </a:extLst>
              </p:cNvPr>
              <p:cNvSpPr>
                <a:spLocks/>
              </p:cNvSpPr>
              <p:nvPr/>
            </p:nvSpPr>
            <p:spPr bwMode="auto">
              <a:xfrm>
                <a:off x="3001963" y="5683250"/>
                <a:ext cx="79375" cy="344488"/>
              </a:xfrm>
              <a:custGeom>
                <a:avLst/>
                <a:gdLst>
                  <a:gd name="T0" fmla="*/ 20 w 50"/>
                  <a:gd name="T1" fmla="*/ 0 h 217"/>
                  <a:gd name="T2" fmla="*/ 0 w 50"/>
                  <a:gd name="T3" fmla="*/ 2 h 217"/>
                  <a:gd name="T4" fmla="*/ 31 w 50"/>
                  <a:gd name="T5" fmla="*/ 217 h 217"/>
                  <a:gd name="T6" fmla="*/ 50 w 50"/>
                  <a:gd name="T7" fmla="*/ 213 h 217"/>
                  <a:gd name="T8" fmla="*/ 20 w 50"/>
                  <a:gd name="T9" fmla="*/ 0 h 217"/>
                </a:gdLst>
                <a:ahLst/>
                <a:cxnLst>
                  <a:cxn ang="0">
                    <a:pos x="T0" y="T1"/>
                  </a:cxn>
                  <a:cxn ang="0">
                    <a:pos x="T2" y="T3"/>
                  </a:cxn>
                  <a:cxn ang="0">
                    <a:pos x="T4" y="T5"/>
                  </a:cxn>
                  <a:cxn ang="0">
                    <a:pos x="T6" y="T7"/>
                  </a:cxn>
                  <a:cxn ang="0">
                    <a:pos x="T8" y="T9"/>
                  </a:cxn>
                </a:cxnLst>
                <a:rect l="0" t="0" r="r" b="b"/>
                <a:pathLst>
                  <a:path w="50" h="217">
                    <a:moveTo>
                      <a:pt x="20" y="0"/>
                    </a:moveTo>
                    <a:lnTo>
                      <a:pt x="0" y="2"/>
                    </a:lnTo>
                    <a:lnTo>
                      <a:pt x="31" y="217"/>
                    </a:lnTo>
                    <a:lnTo>
                      <a:pt x="50" y="213"/>
                    </a:lnTo>
                    <a:lnTo>
                      <a:pt x="20" y="0"/>
                    </a:lnTo>
                    <a:close/>
                  </a:path>
                </a:pathLst>
              </a:custGeom>
              <a:solidFill>
                <a:srgbClr val="5478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1" name="Freeform 390">
                <a:extLst>
                  <a:ext uri="{FF2B5EF4-FFF2-40B4-BE49-F238E27FC236}">
                    <a16:creationId xmlns:a16="http://schemas.microsoft.com/office/drawing/2014/main" id="{B00A1985-D143-4555-AE97-DCBEFF4B5973}"/>
                  </a:ext>
                </a:extLst>
              </p:cNvPr>
              <p:cNvSpPr>
                <a:spLocks/>
              </p:cNvSpPr>
              <p:nvPr/>
            </p:nvSpPr>
            <p:spPr bwMode="auto">
              <a:xfrm>
                <a:off x="3001963" y="5683250"/>
                <a:ext cx="79375" cy="344488"/>
              </a:xfrm>
              <a:custGeom>
                <a:avLst/>
                <a:gdLst>
                  <a:gd name="T0" fmla="*/ 20 w 50"/>
                  <a:gd name="T1" fmla="*/ 0 h 217"/>
                  <a:gd name="T2" fmla="*/ 0 w 50"/>
                  <a:gd name="T3" fmla="*/ 2 h 217"/>
                  <a:gd name="T4" fmla="*/ 31 w 50"/>
                  <a:gd name="T5" fmla="*/ 217 h 217"/>
                  <a:gd name="T6" fmla="*/ 50 w 50"/>
                  <a:gd name="T7" fmla="*/ 213 h 217"/>
                  <a:gd name="T8" fmla="*/ 20 w 50"/>
                  <a:gd name="T9" fmla="*/ 0 h 217"/>
                </a:gdLst>
                <a:ahLst/>
                <a:cxnLst>
                  <a:cxn ang="0">
                    <a:pos x="T0" y="T1"/>
                  </a:cxn>
                  <a:cxn ang="0">
                    <a:pos x="T2" y="T3"/>
                  </a:cxn>
                  <a:cxn ang="0">
                    <a:pos x="T4" y="T5"/>
                  </a:cxn>
                  <a:cxn ang="0">
                    <a:pos x="T6" y="T7"/>
                  </a:cxn>
                  <a:cxn ang="0">
                    <a:pos x="T8" y="T9"/>
                  </a:cxn>
                </a:cxnLst>
                <a:rect l="0" t="0" r="r" b="b"/>
                <a:pathLst>
                  <a:path w="50" h="217">
                    <a:moveTo>
                      <a:pt x="20" y="0"/>
                    </a:moveTo>
                    <a:lnTo>
                      <a:pt x="0" y="2"/>
                    </a:lnTo>
                    <a:lnTo>
                      <a:pt x="31" y="217"/>
                    </a:lnTo>
                    <a:lnTo>
                      <a:pt x="50" y="21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2" name="Freeform 391">
                <a:extLst>
                  <a:ext uri="{FF2B5EF4-FFF2-40B4-BE49-F238E27FC236}">
                    <a16:creationId xmlns:a16="http://schemas.microsoft.com/office/drawing/2014/main" id="{57632300-AF91-4C9C-95D7-5F674E7E9D64}"/>
                  </a:ext>
                </a:extLst>
              </p:cNvPr>
              <p:cNvSpPr>
                <a:spLocks noEditPoints="1"/>
              </p:cNvSpPr>
              <p:nvPr/>
            </p:nvSpPr>
            <p:spPr bwMode="auto">
              <a:xfrm>
                <a:off x="3033713" y="5676900"/>
                <a:ext cx="79375" cy="344488"/>
              </a:xfrm>
              <a:custGeom>
                <a:avLst/>
                <a:gdLst>
                  <a:gd name="T0" fmla="*/ 50 w 50"/>
                  <a:gd name="T1" fmla="*/ 216 h 217"/>
                  <a:gd name="T2" fmla="*/ 30 w 50"/>
                  <a:gd name="T3" fmla="*/ 217 h 217"/>
                  <a:gd name="T4" fmla="*/ 30 w 50"/>
                  <a:gd name="T5" fmla="*/ 217 h 217"/>
                  <a:gd name="T6" fmla="*/ 50 w 50"/>
                  <a:gd name="T7" fmla="*/ 216 h 217"/>
                  <a:gd name="T8" fmla="*/ 50 w 50"/>
                  <a:gd name="T9" fmla="*/ 216 h 217"/>
                  <a:gd name="T10" fmla="*/ 20 w 50"/>
                  <a:gd name="T11" fmla="*/ 0 h 217"/>
                  <a:gd name="T12" fmla="*/ 0 w 50"/>
                  <a:gd name="T13" fmla="*/ 4 h 217"/>
                  <a:gd name="T14" fmla="*/ 0 w 50"/>
                  <a:gd name="T15" fmla="*/ 4 h 217"/>
                  <a:gd name="T16" fmla="*/ 20 w 50"/>
                  <a:gd name="T17" fmla="*/ 0 h 217"/>
                  <a:gd name="T18" fmla="*/ 20 w 50"/>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17">
                    <a:moveTo>
                      <a:pt x="50" y="216"/>
                    </a:moveTo>
                    <a:lnTo>
                      <a:pt x="30" y="217"/>
                    </a:lnTo>
                    <a:lnTo>
                      <a:pt x="30" y="217"/>
                    </a:lnTo>
                    <a:lnTo>
                      <a:pt x="50" y="216"/>
                    </a:lnTo>
                    <a:lnTo>
                      <a:pt x="50" y="216"/>
                    </a:lnTo>
                    <a:close/>
                    <a:moveTo>
                      <a:pt x="20" y="0"/>
                    </a:moveTo>
                    <a:lnTo>
                      <a:pt x="0" y="4"/>
                    </a:lnTo>
                    <a:lnTo>
                      <a:pt x="0" y="4"/>
                    </a:lnTo>
                    <a:lnTo>
                      <a:pt x="20" y="0"/>
                    </a:lnTo>
                    <a:lnTo>
                      <a:pt x="20" y="0"/>
                    </a:lnTo>
                    <a:close/>
                  </a:path>
                </a:pathLst>
              </a:custGeom>
              <a:solidFill>
                <a:srgbClr val="11A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3" name="Freeform 392">
                <a:extLst>
                  <a:ext uri="{FF2B5EF4-FFF2-40B4-BE49-F238E27FC236}">
                    <a16:creationId xmlns:a16="http://schemas.microsoft.com/office/drawing/2014/main" id="{E9E8CD07-DBAE-48F8-BE92-957D9A6C5A0B}"/>
                  </a:ext>
                </a:extLst>
              </p:cNvPr>
              <p:cNvSpPr>
                <a:spLocks noEditPoints="1"/>
              </p:cNvSpPr>
              <p:nvPr/>
            </p:nvSpPr>
            <p:spPr bwMode="auto">
              <a:xfrm>
                <a:off x="3033713" y="5676900"/>
                <a:ext cx="79375" cy="344488"/>
              </a:xfrm>
              <a:custGeom>
                <a:avLst/>
                <a:gdLst>
                  <a:gd name="T0" fmla="*/ 50 w 50"/>
                  <a:gd name="T1" fmla="*/ 216 h 217"/>
                  <a:gd name="T2" fmla="*/ 30 w 50"/>
                  <a:gd name="T3" fmla="*/ 217 h 217"/>
                  <a:gd name="T4" fmla="*/ 30 w 50"/>
                  <a:gd name="T5" fmla="*/ 217 h 217"/>
                  <a:gd name="T6" fmla="*/ 50 w 50"/>
                  <a:gd name="T7" fmla="*/ 216 h 217"/>
                  <a:gd name="T8" fmla="*/ 50 w 50"/>
                  <a:gd name="T9" fmla="*/ 216 h 217"/>
                  <a:gd name="T10" fmla="*/ 20 w 50"/>
                  <a:gd name="T11" fmla="*/ 0 h 217"/>
                  <a:gd name="T12" fmla="*/ 0 w 50"/>
                  <a:gd name="T13" fmla="*/ 4 h 217"/>
                  <a:gd name="T14" fmla="*/ 0 w 50"/>
                  <a:gd name="T15" fmla="*/ 4 h 217"/>
                  <a:gd name="T16" fmla="*/ 20 w 50"/>
                  <a:gd name="T17" fmla="*/ 0 h 217"/>
                  <a:gd name="T18" fmla="*/ 20 w 50"/>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17">
                    <a:moveTo>
                      <a:pt x="50" y="216"/>
                    </a:moveTo>
                    <a:lnTo>
                      <a:pt x="30" y="217"/>
                    </a:lnTo>
                    <a:lnTo>
                      <a:pt x="30" y="217"/>
                    </a:lnTo>
                    <a:lnTo>
                      <a:pt x="50" y="216"/>
                    </a:lnTo>
                    <a:lnTo>
                      <a:pt x="50" y="216"/>
                    </a:lnTo>
                    <a:moveTo>
                      <a:pt x="20" y="0"/>
                    </a:moveTo>
                    <a:lnTo>
                      <a:pt x="0" y="4"/>
                    </a:lnTo>
                    <a:lnTo>
                      <a:pt x="0" y="4"/>
                    </a:lnTo>
                    <a:lnTo>
                      <a:pt x="20" y="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4" name="Freeform 393">
                <a:extLst>
                  <a:ext uri="{FF2B5EF4-FFF2-40B4-BE49-F238E27FC236}">
                    <a16:creationId xmlns:a16="http://schemas.microsoft.com/office/drawing/2014/main" id="{7FC03233-E406-447B-BD03-4BACC5CA7A70}"/>
                  </a:ext>
                </a:extLst>
              </p:cNvPr>
              <p:cNvSpPr>
                <a:spLocks/>
              </p:cNvSpPr>
              <p:nvPr/>
            </p:nvSpPr>
            <p:spPr bwMode="auto">
              <a:xfrm>
                <a:off x="3033713" y="5676900"/>
                <a:ext cx="79375" cy="344488"/>
              </a:xfrm>
              <a:custGeom>
                <a:avLst/>
                <a:gdLst>
                  <a:gd name="T0" fmla="*/ 20 w 50"/>
                  <a:gd name="T1" fmla="*/ 0 h 217"/>
                  <a:gd name="T2" fmla="*/ 0 w 50"/>
                  <a:gd name="T3" fmla="*/ 4 h 217"/>
                  <a:gd name="T4" fmla="*/ 30 w 50"/>
                  <a:gd name="T5" fmla="*/ 217 h 217"/>
                  <a:gd name="T6" fmla="*/ 50 w 50"/>
                  <a:gd name="T7" fmla="*/ 216 h 217"/>
                  <a:gd name="T8" fmla="*/ 20 w 50"/>
                  <a:gd name="T9" fmla="*/ 0 h 217"/>
                </a:gdLst>
                <a:ahLst/>
                <a:cxnLst>
                  <a:cxn ang="0">
                    <a:pos x="T0" y="T1"/>
                  </a:cxn>
                  <a:cxn ang="0">
                    <a:pos x="T2" y="T3"/>
                  </a:cxn>
                  <a:cxn ang="0">
                    <a:pos x="T4" y="T5"/>
                  </a:cxn>
                  <a:cxn ang="0">
                    <a:pos x="T6" y="T7"/>
                  </a:cxn>
                  <a:cxn ang="0">
                    <a:pos x="T8" y="T9"/>
                  </a:cxn>
                </a:cxnLst>
                <a:rect l="0" t="0" r="r" b="b"/>
                <a:pathLst>
                  <a:path w="50" h="217">
                    <a:moveTo>
                      <a:pt x="20" y="0"/>
                    </a:moveTo>
                    <a:lnTo>
                      <a:pt x="0" y="4"/>
                    </a:lnTo>
                    <a:lnTo>
                      <a:pt x="30" y="217"/>
                    </a:lnTo>
                    <a:lnTo>
                      <a:pt x="50" y="216"/>
                    </a:lnTo>
                    <a:lnTo>
                      <a:pt x="20" y="0"/>
                    </a:lnTo>
                    <a:close/>
                  </a:path>
                </a:pathLst>
              </a:custGeom>
              <a:solidFill>
                <a:srgbClr val="6E8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5" name="Freeform 394">
                <a:extLst>
                  <a:ext uri="{FF2B5EF4-FFF2-40B4-BE49-F238E27FC236}">
                    <a16:creationId xmlns:a16="http://schemas.microsoft.com/office/drawing/2014/main" id="{6A4D15DB-D8AB-4296-8CB1-81073ECAD425}"/>
                  </a:ext>
                </a:extLst>
              </p:cNvPr>
              <p:cNvSpPr>
                <a:spLocks/>
              </p:cNvSpPr>
              <p:nvPr/>
            </p:nvSpPr>
            <p:spPr bwMode="auto">
              <a:xfrm>
                <a:off x="3033713" y="5676900"/>
                <a:ext cx="79375" cy="344488"/>
              </a:xfrm>
              <a:custGeom>
                <a:avLst/>
                <a:gdLst>
                  <a:gd name="T0" fmla="*/ 20 w 50"/>
                  <a:gd name="T1" fmla="*/ 0 h 217"/>
                  <a:gd name="T2" fmla="*/ 0 w 50"/>
                  <a:gd name="T3" fmla="*/ 4 h 217"/>
                  <a:gd name="T4" fmla="*/ 30 w 50"/>
                  <a:gd name="T5" fmla="*/ 217 h 217"/>
                  <a:gd name="T6" fmla="*/ 50 w 50"/>
                  <a:gd name="T7" fmla="*/ 216 h 217"/>
                  <a:gd name="T8" fmla="*/ 20 w 50"/>
                  <a:gd name="T9" fmla="*/ 0 h 217"/>
                </a:gdLst>
                <a:ahLst/>
                <a:cxnLst>
                  <a:cxn ang="0">
                    <a:pos x="T0" y="T1"/>
                  </a:cxn>
                  <a:cxn ang="0">
                    <a:pos x="T2" y="T3"/>
                  </a:cxn>
                  <a:cxn ang="0">
                    <a:pos x="T4" y="T5"/>
                  </a:cxn>
                  <a:cxn ang="0">
                    <a:pos x="T6" y="T7"/>
                  </a:cxn>
                  <a:cxn ang="0">
                    <a:pos x="T8" y="T9"/>
                  </a:cxn>
                </a:cxnLst>
                <a:rect l="0" t="0" r="r" b="b"/>
                <a:pathLst>
                  <a:path w="50" h="217">
                    <a:moveTo>
                      <a:pt x="20" y="0"/>
                    </a:moveTo>
                    <a:lnTo>
                      <a:pt x="0" y="4"/>
                    </a:lnTo>
                    <a:lnTo>
                      <a:pt x="30" y="217"/>
                    </a:lnTo>
                    <a:lnTo>
                      <a:pt x="50" y="216"/>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6" name="Freeform 395">
                <a:extLst>
                  <a:ext uri="{FF2B5EF4-FFF2-40B4-BE49-F238E27FC236}">
                    <a16:creationId xmlns:a16="http://schemas.microsoft.com/office/drawing/2014/main" id="{288D96FD-0C4C-44F8-AF58-89FFB7783750}"/>
                  </a:ext>
                </a:extLst>
              </p:cNvPr>
              <p:cNvSpPr>
                <a:spLocks/>
              </p:cNvSpPr>
              <p:nvPr/>
            </p:nvSpPr>
            <p:spPr bwMode="auto">
              <a:xfrm>
                <a:off x="3025775" y="5597525"/>
                <a:ext cx="28575" cy="22225"/>
              </a:xfrm>
              <a:custGeom>
                <a:avLst/>
                <a:gdLst>
                  <a:gd name="T0" fmla="*/ 10 w 10"/>
                  <a:gd name="T1" fmla="*/ 6 h 8"/>
                  <a:gd name="T2" fmla="*/ 4 w 10"/>
                  <a:gd name="T3" fmla="*/ 0 h 8"/>
                  <a:gd name="T4" fmla="*/ 0 w 10"/>
                  <a:gd name="T5" fmla="*/ 8 h 8"/>
                  <a:gd name="T6" fmla="*/ 5 w 10"/>
                  <a:gd name="T7" fmla="*/ 8 h 8"/>
                  <a:gd name="T8" fmla="*/ 10 w 10"/>
                  <a:gd name="T9" fmla="*/ 6 h 8"/>
                </a:gdLst>
                <a:ahLst/>
                <a:cxnLst>
                  <a:cxn ang="0">
                    <a:pos x="T0" y="T1"/>
                  </a:cxn>
                  <a:cxn ang="0">
                    <a:pos x="T2" y="T3"/>
                  </a:cxn>
                  <a:cxn ang="0">
                    <a:pos x="T4" y="T5"/>
                  </a:cxn>
                  <a:cxn ang="0">
                    <a:pos x="T6" y="T7"/>
                  </a:cxn>
                  <a:cxn ang="0">
                    <a:pos x="T8" y="T9"/>
                  </a:cxn>
                </a:cxnLst>
                <a:rect l="0" t="0" r="r" b="b"/>
                <a:pathLst>
                  <a:path w="10" h="8">
                    <a:moveTo>
                      <a:pt x="10" y="6"/>
                    </a:moveTo>
                    <a:cubicBezTo>
                      <a:pt x="4" y="0"/>
                      <a:pt x="4" y="0"/>
                      <a:pt x="4" y="0"/>
                    </a:cubicBezTo>
                    <a:cubicBezTo>
                      <a:pt x="0" y="8"/>
                      <a:pt x="0" y="8"/>
                      <a:pt x="0" y="8"/>
                    </a:cubicBezTo>
                    <a:cubicBezTo>
                      <a:pt x="2" y="8"/>
                      <a:pt x="4" y="8"/>
                      <a:pt x="5" y="8"/>
                    </a:cubicBezTo>
                    <a:cubicBezTo>
                      <a:pt x="7" y="8"/>
                      <a:pt x="8" y="7"/>
                      <a:pt x="10" y="6"/>
                    </a:cubicBezTo>
                    <a:close/>
                  </a:path>
                </a:pathLst>
              </a:custGeom>
              <a:solidFill>
                <a:srgbClr val="81A1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7" name="Freeform 396">
                <a:extLst>
                  <a:ext uri="{FF2B5EF4-FFF2-40B4-BE49-F238E27FC236}">
                    <a16:creationId xmlns:a16="http://schemas.microsoft.com/office/drawing/2014/main" id="{72FC2F39-A65A-45B2-BC05-89A7F0F5E4E6}"/>
                  </a:ext>
                </a:extLst>
              </p:cNvPr>
              <p:cNvSpPr>
                <a:spLocks/>
              </p:cNvSpPr>
              <p:nvPr/>
            </p:nvSpPr>
            <p:spPr bwMode="auto">
              <a:xfrm>
                <a:off x="3051175" y="6013450"/>
                <a:ext cx="96838" cy="39688"/>
              </a:xfrm>
              <a:custGeom>
                <a:avLst/>
                <a:gdLst>
                  <a:gd name="T0" fmla="*/ 61 w 61"/>
                  <a:gd name="T1" fmla="*/ 18 h 25"/>
                  <a:gd name="T2" fmla="*/ 3 w 61"/>
                  <a:gd name="T3" fmla="*/ 25 h 25"/>
                  <a:gd name="T4" fmla="*/ 0 w 61"/>
                  <a:gd name="T5" fmla="*/ 9 h 25"/>
                  <a:gd name="T6" fmla="*/ 57 w 61"/>
                  <a:gd name="T7" fmla="*/ 0 h 25"/>
                  <a:gd name="T8" fmla="*/ 61 w 61"/>
                  <a:gd name="T9" fmla="*/ 18 h 25"/>
                </a:gdLst>
                <a:ahLst/>
                <a:cxnLst>
                  <a:cxn ang="0">
                    <a:pos x="T0" y="T1"/>
                  </a:cxn>
                  <a:cxn ang="0">
                    <a:pos x="T2" y="T3"/>
                  </a:cxn>
                  <a:cxn ang="0">
                    <a:pos x="T4" y="T5"/>
                  </a:cxn>
                  <a:cxn ang="0">
                    <a:pos x="T6" y="T7"/>
                  </a:cxn>
                  <a:cxn ang="0">
                    <a:pos x="T8" y="T9"/>
                  </a:cxn>
                </a:cxnLst>
                <a:rect l="0" t="0" r="r" b="b"/>
                <a:pathLst>
                  <a:path w="61" h="25">
                    <a:moveTo>
                      <a:pt x="61" y="18"/>
                    </a:moveTo>
                    <a:lnTo>
                      <a:pt x="3" y="25"/>
                    </a:lnTo>
                    <a:lnTo>
                      <a:pt x="0" y="9"/>
                    </a:lnTo>
                    <a:lnTo>
                      <a:pt x="57" y="0"/>
                    </a:lnTo>
                    <a:lnTo>
                      <a:pt x="61" y="1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8" name="Freeform 397">
                <a:extLst>
                  <a:ext uri="{FF2B5EF4-FFF2-40B4-BE49-F238E27FC236}">
                    <a16:creationId xmlns:a16="http://schemas.microsoft.com/office/drawing/2014/main" id="{AE1C56D7-5256-4654-B240-809C803D0EB8}"/>
                  </a:ext>
                </a:extLst>
              </p:cNvPr>
              <p:cNvSpPr>
                <a:spLocks/>
              </p:cNvSpPr>
              <p:nvPr/>
            </p:nvSpPr>
            <p:spPr bwMode="auto">
              <a:xfrm>
                <a:off x="3054350" y="6024563"/>
                <a:ext cx="93663" cy="42863"/>
              </a:xfrm>
              <a:custGeom>
                <a:avLst/>
                <a:gdLst>
                  <a:gd name="T0" fmla="*/ 59 w 59"/>
                  <a:gd name="T1" fmla="*/ 18 h 27"/>
                  <a:gd name="T2" fmla="*/ 1 w 59"/>
                  <a:gd name="T3" fmla="*/ 27 h 27"/>
                  <a:gd name="T4" fmla="*/ 0 w 59"/>
                  <a:gd name="T5" fmla="*/ 9 h 27"/>
                  <a:gd name="T6" fmla="*/ 57 w 59"/>
                  <a:gd name="T7" fmla="*/ 0 h 27"/>
                  <a:gd name="T8" fmla="*/ 59 w 59"/>
                  <a:gd name="T9" fmla="*/ 18 h 27"/>
                </a:gdLst>
                <a:ahLst/>
                <a:cxnLst>
                  <a:cxn ang="0">
                    <a:pos x="T0" y="T1"/>
                  </a:cxn>
                  <a:cxn ang="0">
                    <a:pos x="T2" y="T3"/>
                  </a:cxn>
                  <a:cxn ang="0">
                    <a:pos x="T4" y="T5"/>
                  </a:cxn>
                  <a:cxn ang="0">
                    <a:pos x="T6" y="T7"/>
                  </a:cxn>
                  <a:cxn ang="0">
                    <a:pos x="T8" y="T9"/>
                  </a:cxn>
                </a:cxnLst>
                <a:rect l="0" t="0" r="r" b="b"/>
                <a:pathLst>
                  <a:path w="59" h="27">
                    <a:moveTo>
                      <a:pt x="59" y="18"/>
                    </a:moveTo>
                    <a:lnTo>
                      <a:pt x="1" y="27"/>
                    </a:lnTo>
                    <a:lnTo>
                      <a:pt x="0" y="9"/>
                    </a:lnTo>
                    <a:lnTo>
                      <a:pt x="57" y="0"/>
                    </a:lnTo>
                    <a:lnTo>
                      <a:pt x="59" y="18"/>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9" name="Freeform 398">
                <a:extLst>
                  <a:ext uri="{FF2B5EF4-FFF2-40B4-BE49-F238E27FC236}">
                    <a16:creationId xmlns:a16="http://schemas.microsoft.com/office/drawing/2014/main" id="{DAB34173-B9A1-4BE4-94C1-026593F856F7}"/>
                  </a:ext>
                </a:extLst>
              </p:cNvPr>
              <p:cNvSpPr>
                <a:spLocks/>
              </p:cNvSpPr>
              <p:nvPr/>
            </p:nvSpPr>
            <p:spPr bwMode="auto">
              <a:xfrm>
                <a:off x="3054350" y="6038850"/>
                <a:ext cx="93663" cy="25400"/>
              </a:xfrm>
              <a:custGeom>
                <a:avLst/>
                <a:gdLst>
                  <a:gd name="T0" fmla="*/ 59 w 59"/>
                  <a:gd name="T1" fmla="*/ 9 h 16"/>
                  <a:gd name="T2" fmla="*/ 1 w 59"/>
                  <a:gd name="T3" fmla="*/ 16 h 16"/>
                  <a:gd name="T4" fmla="*/ 0 w 59"/>
                  <a:gd name="T5" fmla="*/ 9 h 16"/>
                  <a:gd name="T6" fmla="*/ 59 w 59"/>
                  <a:gd name="T7" fmla="*/ 0 h 16"/>
                  <a:gd name="T8" fmla="*/ 59 w 59"/>
                  <a:gd name="T9" fmla="*/ 9 h 16"/>
                </a:gdLst>
                <a:ahLst/>
                <a:cxnLst>
                  <a:cxn ang="0">
                    <a:pos x="T0" y="T1"/>
                  </a:cxn>
                  <a:cxn ang="0">
                    <a:pos x="T2" y="T3"/>
                  </a:cxn>
                  <a:cxn ang="0">
                    <a:pos x="T4" y="T5"/>
                  </a:cxn>
                  <a:cxn ang="0">
                    <a:pos x="T6" y="T7"/>
                  </a:cxn>
                  <a:cxn ang="0">
                    <a:pos x="T8" y="T9"/>
                  </a:cxn>
                </a:cxnLst>
                <a:rect l="0" t="0" r="r" b="b"/>
                <a:pathLst>
                  <a:path w="59" h="16">
                    <a:moveTo>
                      <a:pt x="59" y="9"/>
                    </a:moveTo>
                    <a:lnTo>
                      <a:pt x="1" y="16"/>
                    </a:lnTo>
                    <a:lnTo>
                      <a:pt x="0" y="9"/>
                    </a:lnTo>
                    <a:lnTo>
                      <a:pt x="59" y="0"/>
                    </a:lnTo>
                    <a:lnTo>
                      <a:pt x="59" y="9"/>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0" name="Freeform 399">
                <a:extLst>
                  <a:ext uri="{FF2B5EF4-FFF2-40B4-BE49-F238E27FC236}">
                    <a16:creationId xmlns:a16="http://schemas.microsoft.com/office/drawing/2014/main" id="{C4D80F9A-7AEA-4BBC-9CA6-9BB8601EE623}"/>
                  </a:ext>
                </a:extLst>
              </p:cNvPr>
              <p:cNvSpPr>
                <a:spLocks/>
              </p:cNvSpPr>
              <p:nvPr/>
            </p:nvSpPr>
            <p:spPr bwMode="auto">
              <a:xfrm>
                <a:off x="3055938" y="6053138"/>
                <a:ext cx="95250" cy="50800"/>
              </a:xfrm>
              <a:custGeom>
                <a:avLst/>
                <a:gdLst>
                  <a:gd name="T0" fmla="*/ 18 w 33"/>
                  <a:gd name="T1" fmla="*/ 16 h 18"/>
                  <a:gd name="T2" fmla="*/ 32 w 33"/>
                  <a:gd name="T3" fmla="*/ 0 h 18"/>
                  <a:gd name="T4" fmla="*/ 0 w 33"/>
                  <a:gd name="T5" fmla="*/ 4 h 18"/>
                  <a:gd name="T6" fmla="*/ 18 w 33"/>
                  <a:gd name="T7" fmla="*/ 16 h 18"/>
                </a:gdLst>
                <a:ahLst/>
                <a:cxnLst>
                  <a:cxn ang="0">
                    <a:pos x="T0" y="T1"/>
                  </a:cxn>
                  <a:cxn ang="0">
                    <a:pos x="T2" y="T3"/>
                  </a:cxn>
                  <a:cxn ang="0">
                    <a:pos x="T4" y="T5"/>
                  </a:cxn>
                  <a:cxn ang="0">
                    <a:pos x="T6" y="T7"/>
                  </a:cxn>
                </a:cxnLst>
                <a:rect l="0" t="0" r="r" b="b"/>
                <a:pathLst>
                  <a:path w="33" h="18">
                    <a:moveTo>
                      <a:pt x="18" y="16"/>
                    </a:moveTo>
                    <a:cubicBezTo>
                      <a:pt x="27" y="15"/>
                      <a:pt x="33" y="8"/>
                      <a:pt x="32" y="0"/>
                    </a:cubicBezTo>
                    <a:cubicBezTo>
                      <a:pt x="0" y="4"/>
                      <a:pt x="0" y="4"/>
                      <a:pt x="0" y="4"/>
                    </a:cubicBezTo>
                    <a:cubicBezTo>
                      <a:pt x="1" y="12"/>
                      <a:pt x="9" y="18"/>
                      <a:pt x="18" y="16"/>
                    </a:cubicBezTo>
                    <a:close/>
                  </a:path>
                </a:pathLst>
              </a:cu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1" name="Freeform 400">
                <a:extLst>
                  <a:ext uri="{FF2B5EF4-FFF2-40B4-BE49-F238E27FC236}">
                    <a16:creationId xmlns:a16="http://schemas.microsoft.com/office/drawing/2014/main" id="{9FDFA44C-E4FF-49D9-B43D-7F615122A5D5}"/>
                  </a:ext>
                </a:extLst>
              </p:cNvPr>
              <p:cNvSpPr>
                <a:spLocks/>
              </p:cNvSpPr>
              <p:nvPr/>
            </p:nvSpPr>
            <p:spPr bwMode="auto">
              <a:xfrm>
                <a:off x="3001963" y="5614988"/>
                <a:ext cx="93663" cy="85725"/>
              </a:xfrm>
              <a:custGeom>
                <a:avLst/>
                <a:gdLst>
                  <a:gd name="T0" fmla="*/ 18 w 33"/>
                  <a:gd name="T1" fmla="*/ 0 h 30"/>
                  <a:gd name="T2" fmla="*/ 13 w 33"/>
                  <a:gd name="T3" fmla="*/ 2 h 30"/>
                  <a:gd name="T4" fmla="*/ 8 w 33"/>
                  <a:gd name="T5" fmla="*/ 2 h 30"/>
                  <a:gd name="T6" fmla="*/ 0 w 33"/>
                  <a:gd name="T7" fmla="*/ 25 h 30"/>
                  <a:gd name="T8" fmla="*/ 6 w 33"/>
                  <a:gd name="T9" fmla="*/ 29 h 30"/>
                  <a:gd name="T10" fmla="*/ 11 w 33"/>
                  <a:gd name="T11" fmla="*/ 24 h 30"/>
                  <a:gd name="T12" fmla="*/ 17 w 33"/>
                  <a:gd name="T13" fmla="*/ 28 h 30"/>
                  <a:gd name="T14" fmla="*/ 22 w 33"/>
                  <a:gd name="T15" fmla="*/ 22 h 30"/>
                  <a:gd name="T16" fmla="*/ 28 w 33"/>
                  <a:gd name="T17" fmla="*/ 26 h 30"/>
                  <a:gd name="T18" fmla="*/ 32 w 33"/>
                  <a:gd name="T19" fmla="*/ 21 h 30"/>
                  <a:gd name="T20" fmla="*/ 18 w 33"/>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0">
                    <a:moveTo>
                      <a:pt x="18" y="0"/>
                    </a:moveTo>
                    <a:cubicBezTo>
                      <a:pt x="16" y="1"/>
                      <a:pt x="15" y="2"/>
                      <a:pt x="13" y="2"/>
                    </a:cubicBezTo>
                    <a:cubicBezTo>
                      <a:pt x="12" y="2"/>
                      <a:pt x="10" y="2"/>
                      <a:pt x="8" y="2"/>
                    </a:cubicBezTo>
                    <a:cubicBezTo>
                      <a:pt x="0" y="25"/>
                      <a:pt x="0" y="25"/>
                      <a:pt x="0" y="25"/>
                    </a:cubicBezTo>
                    <a:cubicBezTo>
                      <a:pt x="1" y="28"/>
                      <a:pt x="3" y="30"/>
                      <a:pt x="6" y="29"/>
                    </a:cubicBezTo>
                    <a:cubicBezTo>
                      <a:pt x="9" y="29"/>
                      <a:pt x="11" y="26"/>
                      <a:pt x="11" y="24"/>
                    </a:cubicBezTo>
                    <a:cubicBezTo>
                      <a:pt x="11" y="26"/>
                      <a:pt x="14" y="28"/>
                      <a:pt x="17" y="28"/>
                    </a:cubicBezTo>
                    <a:cubicBezTo>
                      <a:pt x="20" y="27"/>
                      <a:pt x="22" y="25"/>
                      <a:pt x="22" y="22"/>
                    </a:cubicBezTo>
                    <a:cubicBezTo>
                      <a:pt x="22" y="25"/>
                      <a:pt x="25" y="27"/>
                      <a:pt x="28" y="26"/>
                    </a:cubicBezTo>
                    <a:cubicBezTo>
                      <a:pt x="31" y="26"/>
                      <a:pt x="33" y="23"/>
                      <a:pt x="32" y="21"/>
                    </a:cubicBezTo>
                    <a:lnTo>
                      <a:pt x="18" y="0"/>
                    </a:lnTo>
                    <a:close/>
                  </a:path>
                </a:pathLst>
              </a:custGeom>
              <a:solidFill>
                <a:srgbClr val="F4CF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2" name="Freeform 401">
                <a:extLst>
                  <a:ext uri="{FF2B5EF4-FFF2-40B4-BE49-F238E27FC236}">
                    <a16:creationId xmlns:a16="http://schemas.microsoft.com/office/drawing/2014/main" id="{4A4B8EB7-E9B6-4365-AAF3-0EC066E6C9D2}"/>
                  </a:ext>
                </a:extLst>
              </p:cNvPr>
              <p:cNvSpPr>
                <a:spLocks/>
              </p:cNvSpPr>
              <p:nvPr/>
            </p:nvSpPr>
            <p:spPr bwMode="auto">
              <a:xfrm>
                <a:off x="3162300" y="5794375"/>
                <a:ext cx="119063" cy="350838"/>
              </a:xfrm>
              <a:custGeom>
                <a:avLst/>
                <a:gdLst>
                  <a:gd name="T0" fmla="*/ 0 w 75"/>
                  <a:gd name="T1" fmla="*/ 5 h 221"/>
                  <a:gd name="T2" fmla="*/ 57 w 75"/>
                  <a:gd name="T3" fmla="*/ 0 h 221"/>
                  <a:gd name="T4" fmla="*/ 75 w 75"/>
                  <a:gd name="T5" fmla="*/ 215 h 221"/>
                  <a:gd name="T6" fmla="*/ 18 w 75"/>
                  <a:gd name="T7" fmla="*/ 221 h 221"/>
                  <a:gd name="T8" fmla="*/ 0 w 75"/>
                  <a:gd name="T9" fmla="*/ 5 h 221"/>
                </a:gdLst>
                <a:ahLst/>
                <a:cxnLst>
                  <a:cxn ang="0">
                    <a:pos x="T0" y="T1"/>
                  </a:cxn>
                  <a:cxn ang="0">
                    <a:pos x="T2" y="T3"/>
                  </a:cxn>
                  <a:cxn ang="0">
                    <a:pos x="T4" y="T5"/>
                  </a:cxn>
                  <a:cxn ang="0">
                    <a:pos x="T6" y="T7"/>
                  </a:cxn>
                  <a:cxn ang="0">
                    <a:pos x="T8" y="T9"/>
                  </a:cxn>
                </a:cxnLst>
                <a:rect l="0" t="0" r="r" b="b"/>
                <a:pathLst>
                  <a:path w="75" h="221">
                    <a:moveTo>
                      <a:pt x="0" y="5"/>
                    </a:moveTo>
                    <a:lnTo>
                      <a:pt x="57" y="0"/>
                    </a:lnTo>
                    <a:lnTo>
                      <a:pt x="75" y="215"/>
                    </a:lnTo>
                    <a:lnTo>
                      <a:pt x="18" y="221"/>
                    </a:lnTo>
                    <a:lnTo>
                      <a:pt x="0" y="5"/>
                    </a:lnTo>
                    <a:close/>
                  </a:path>
                </a:pathLst>
              </a:custGeom>
              <a:solidFill>
                <a:srgbClr val="3BC7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3" name="Freeform 402">
                <a:extLst>
                  <a:ext uri="{FF2B5EF4-FFF2-40B4-BE49-F238E27FC236}">
                    <a16:creationId xmlns:a16="http://schemas.microsoft.com/office/drawing/2014/main" id="{2419C890-0A78-4A24-A109-B75014DD05A3}"/>
                  </a:ext>
                </a:extLst>
              </p:cNvPr>
              <p:cNvSpPr>
                <a:spLocks/>
              </p:cNvSpPr>
              <p:nvPr/>
            </p:nvSpPr>
            <p:spPr bwMode="auto">
              <a:xfrm>
                <a:off x="3162300" y="5794375"/>
                <a:ext cx="119063" cy="350838"/>
              </a:xfrm>
              <a:custGeom>
                <a:avLst/>
                <a:gdLst>
                  <a:gd name="T0" fmla="*/ 0 w 75"/>
                  <a:gd name="T1" fmla="*/ 5 h 221"/>
                  <a:gd name="T2" fmla="*/ 57 w 75"/>
                  <a:gd name="T3" fmla="*/ 0 h 221"/>
                  <a:gd name="T4" fmla="*/ 75 w 75"/>
                  <a:gd name="T5" fmla="*/ 215 h 221"/>
                  <a:gd name="T6" fmla="*/ 18 w 75"/>
                  <a:gd name="T7" fmla="*/ 221 h 221"/>
                  <a:gd name="T8" fmla="*/ 0 w 75"/>
                  <a:gd name="T9" fmla="*/ 5 h 221"/>
                </a:gdLst>
                <a:ahLst/>
                <a:cxnLst>
                  <a:cxn ang="0">
                    <a:pos x="T0" y="T1"/>
                  </a:cxn>
                  <a:cxn ang="0">
                    <a:pos x="T2" y="T3"/>
                  </a:cxn>
                  <a:cxn ang="0">
                    <a:pos x="T4" y="T5"/>
                  </a:cxn>
                  <a:cxn ang="0">
                    <a:pos x="T6" y="T7"/>
                  </a:cxn>
                  <a:cxn ang="0">
                    <a:pos x="T8" y="T9"/>
                  </a:cxn>
                </a:cxnLst>
                <a:rect l="0" t="0" r="r" b="b"/>
                <a:pathLst>
                  <a:path w="75" h="221">
                    <a:moveTo>
                      <a:pt x="0" y="5"/>
                    </a:moveTo>
                    <a:lnTo>
                      <a:pt x="57" y="0"/>
                    </a:lnTo>
                    <a:lnTo>
                      <a:pt x="75" y="215"/>
                    </a:lnTo>
                    <a:lnTo>
                      <a:pt x="18" y="221"/>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4" name="Freeform 403">
                <a:extLst>
                  <a:ext uri="{FF2B5EF4-FFF2-40B4-BE49-F238E27FC236}">
                    <a16:creationId xmlns:a16="http://schemas.microsoft.com/office/drawing/2014/main" id="{2534DACD-CB55-41D8-8B2B-BF9245E50B46}"/>
                  </a:ext>
                </a:extLst>
              </p:cNvPr>
              <p:cNvSpPr>
                <a:spLocks/>
              </p:cNvSpPr>
              <p:nvPr/>
            </p:nvSpPr>
            <p:spPr bwMode="auto">
              <a:xfrm>
                <a:off x="3238500" y="5794375"/>
                <a:ext cx="42863" cy="341313"/>
              </a:xfrm>
              <a:custGeom>
                <a:avLst/>
                <a:gdLst>
                  <a:gd name="T0" fmla="*/ 9 w 27"/>
                  <a:gd name="T1" fmla="*/ 0 h 215"/>
                  <a:gd name="T2" fmla="*/ 0 w 27"/>
                  <a:gd name="T3" fmla="*/ 2 h 215"/>
                  <a:gd name="T4" fmla="*/ 0 w 27"/>
                  <a:gd name="T5" fmla="*/ 2 h 215"/>
                  <a:gd name="T6" fmla="*/ 9 w 27"/>
                  <a:gd name="T7" fmla="*/ 0 h 215"/>
                  <a:gd name="T8" fmla="*/ 27 w 27"/>
                  <a:gd name="T9" fmla="*/ 215 h 215"/>
                  <a:gd name="T10" fmla="*/ 9 w 27"/>
                  <a:gd name="T11" fmla="*/ 0 h 215"/>
                </a:gdLst>
                <a:ahLst/>
                <a:cxnLst>
                  <a:cxn ang="0">
                    <a:pos x="T0" y="T1"/>
                  </a:cxn>
                  <a:cxn ang="0">
                    <a:pos x="T2" y="T3"/>
                  </a:cxn>
                  <a:cxn ang="0">
                    <a:pos x="T4" y="T5"/>
                  </a:cxn>
                  <a:cxn ang="0">
                    <a:pos x="T6" y="T7"/>
                  </a:cxn>
                  <a:cxn ang="0">
                    <a:pos x="T8" y="T9"/>
                  </a:cxn>
                  <a:cxn ang="0">
                    <a:pos x="T10" y="T11"/>
                  </a:cxn>
                </a:cxnLst>
                <a:rect l="0" t="0" r="r" b="b"/>
                <a:pathLst>
                  <a:path w="27" h="215">
                    <a:moveTo>
                      <a:pt x="9" y="0"/>
                    </a:moveTo>
                    <a:lnTo>
                      <a:pt x="0" y="2"/>
                    </a:lnTo>
                    <a:lnTo>
                      <a:pt x="0" y="2"/>
                    </a:lnTo>
                    <a:lnTo>
                      <a:pt x="9" y="0"/>
                    </a:lnTo>
                    <a:lnTo>
                      <a:pt x="27" y="215"/>
                    </a:lnTo>
                    <a:lnTo>
                      <a:pt x="9" y="0"/>
                    </a:lnTo>
                    <a:close/>
                  </a:path>
                </a:pathLst>
              </a:custGeom>
              <a:solidFill>
                <a:srgbClr val="BA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5" name="Freeform 404">
                <a:extLst>
                  <a:ext uri="{FF2B5EF4-FFF2-40B4-BE49-F238E27FC236}">
                    <a16:creationId xmlns:a16="http://schemas.microsoft.com/office/drawing/2014/main" id="{E595BB98-A751-4B06-B55F-1848D1645F56}"/>
                  </a:ext>
                </a:extLst>
              </p:cNvPr>
              <p:cNvSpPr>
                <a:spLocks/>
              </p:cNvSpPr>
              <p:nvPr/>
            </p:nvSpPr>
            <p:spPr bwMode="auto">
              <a:xfrm>
                <a:off x="3238500" y="5794375"/>
                <a:ext cx="42863" cy="341313"/>
              </a:xfrm>
              <a:custGeom>
                <a:avLst/>
                <a:gdLst>
                  <a:gd name="T0" fmla="*/ 9 w 27"/>
                  <a:gd name="T1" fmla="*/ 0 h 215"/>
                  <a:gd name="T2" fmla="*/ 0 w 27"/>
                  <a:gd name="T3" fmla="*/ 2 h 215"/>
                  <a:gd name="T4" fmla="*/ 0 w 27"/>
                  <a:gd name="T5" fmla="*/ 2 h 215"/>
                  <a:gd name="T6" fmla="*/ 9 w 27"/>
                  <a:gd name="T7" fmla="*/ 0 h 215"/>
                  <a:gd name="T8" fmla="*/ 27 w 27"/>
                  <a:gd name="T9" fmla="*/ 215 h 215"/>
                  <a:gd name="T10" fmla="*/ 9 w 27"/>
                  <a:gd name="T11" fmla="*/ 0 h 215"/>
                </a:gdLst>
                <a:ahLst/>
                <a:cxnLst>
                  <a:cxn ang="0">
                    <a:pos x="T0" y="T1"/>
                  </a:cxn>
                  <a:cxn ang="0">
                    <a:pos x="T2" y="T3"/>
                  </a:cxn>
                  <a:cxn ang="0">
                    <a:pos x="T4" y="T5"/>
                  </a:cxn>
                  <a:cxn ang="0">
                    <a:pos x="T6" y="T7"/>
                  </a:cxn>
                  <a:cxn ang="0">
                    <a:pos x="T8" y="T9"/>
                  </a:cxn>
                  <a:cxn ang="0">
                    <a:pos x="T10" y="T11"/>
                  </a:cxn>
                </a:cxnLst>
                <a:rect l="0" t="0" r="r" b="b"/>
                <a:pathLst>
                  <a:path w="27" h="215">
                    <a:moveTo>
                      <a:pt x="9" y="0"/>
                    </a:moveTo>
                    <a:lnTo>
                      <a:pt x="0" y="2"/>
                    </a:lnTo>
                    <a:lnTo>
                      <a:pt x="0" y="2"/>
                    </a:lnTo>
                    <a:lnTo>
                      <a:pt x="9" y="0"/>
                    </a:lnTo>
                    <a:lnTo>
                      <a:pt x="27" y="215"/>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6" name="Rectangle 405">
                <a:extLst>
                  <a:ext uri="{FF2B5EF4-FFF2-40B4-BE49-F238E27FC236}">
                    <a16:creationId xmlns:a16="http://schemas.microsoft.com/office/drawing/2014/main" id="{6E100367-0993-4006-8D16-1BFC1EA7A061}"/>
                  </a:ext>
                </a:extLst>
              </p:cNvPr>
              <p:cNvSpPr>
                <a:spLocks noChangeArrowheads="1"/>
              </p:cNvSpPr>
              <p:nvPr/>
            </p:nvSpPr>
            <p:spPr bwMode="auto">
              <a:xfrm>
                <a:off x="3221038" y="5797550"/>
                <a:ext cx="17463" cy="1588"/>
              </a:xfrm>
              <a:prstGeom prst="rect">
                <a:avLst/>
              </a:prstGeom>
              <a:solidFill>
                <a:srgbClr val="AC66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7" name="Rectangle 407">
                <a:extLst>
                  <a:ext uri="{FF2B5EF4-FFF2-40B4-BE49-F238E27FC236}">
                    <a16:creationId xmlns:a16="http://schemas.microsoft.com/office/drawing/2014/main" id="{B1F20BA2-938F-49CE-801F-5D073E454547}"/>
                  </a:ext>
                </a:extLst>
              </p:cNvPr>
              <p:cNvSpPr>
                <a:spLocks noChangeArrowheads="1"/>
              </p:cNvSpPr>
              <p:nvPr/>
            </p:nvSpPr>
            <p:spPr bwMode="auto">
              <a:xfrm>
                <a:off x="3221038" y="5797550"/>
                <a:ext cx="174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8" name="Freeform 408">
                <a:extLst>
                  <a:ext uri="{FF2B5EF4-FFF2-40B4-BE49-F238E27FC236}">
                    <a16:creationId xmlns:a16="http://schemas.microsoft.com/office/drawing/2014/main" id="{884201EA-DCB7-41FE-A318-A509671C9ECF}"/>
                  </a:ext>
                </a:extLst>
              </p:cNvPr>
              <p:cNvSpPr>
                <a:spLocks/>
              </p:cNvSpPr>
              <p:nvPr/>
            </p:nvSpPr>
            <p:spPr bwMode="auto">
              <a:xfrm>
                <a:off x="3249613" y="6135688"/>
                <a:ext cx="31750" cy="3175"/>
              </a:xfrm>
              <a:custGeom>
                <a:avLst/>
                <a:gdLst>
                  <a:gd name="T0" fmla="*/ 20 w 20"/>
                  <a:gd name="T1" fmla="*/ 0 h 2"/>
                  <a:gd name="T2" fmla="*/ 0 w 20"/>
                  <a:gd name="T3" fmla="*/ 2 h 2"/>
                  <a:gd name="T4" fmla="*/ 0 w 20"/>
                  <a:gd name="T5" fmla="*/ 2 h 2"/>
                  <a:gd name="T6" fmla="*/ 20 w 20"/>
                  <a:gd name="T7" fmla="*/ 0 h 2"/>
                </a:gdLst>
                <a:ahLst/>
                <a:cxnLst>
                  <a:cxn ang="0">
                    <a:pos x="T0" y="T1"/>
                  </a:cxn>
                  <a:cxn ang="0">
                    <a:pos x="T2" y="T3"/>
                  </a:cxn>
                  <a:cxn ang="0">
                    <a:pos x="T4" y="T5"/>
                  </a:cxn>
                  <a:cxn ang="0">
                    <a:pos x="T6" y="T7"/>
                  </a:cxn>
                </a:cxnLst>
                <a:rect l="0" t="0" r="r" b="b"/>
                <a:pathLst>
                  <a:path w="20" h="2">
                    <a:moveTo>
                      <a:pt x="20" y="0"/>
                    </a:moveTo>
                    <a:lnTo>
                      <a:pt x="0" y="2"/>
                    </a:lnTo>
                    <a:lnTo>
                      <a:pt x="0" y="2"/>
                    </a:lnTo>
                    <a:lnTo>
                      <a:pt x="20" y="0"/>
                    </a:lnTo>
                    <a:close/>
                  </a:path>
                </a:pathLst>
              </a:custGeom>
              <a:solidFill>
                <a:srgbClr val="BA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9" name="Freeform 409">
                <a:extLst>
                  <a:ext uri="{FF2B5EF4-FFF2-40B4-BE49-F238E27FC236}">
                    <a16:creationId xmlns:a16="http://schemas.microsoft.com/office/drawing/2014/main" id="{71D91404-09E0-4C9A-A443-E4FE3F06B6A7}"/>
                  </a:ext>
                </a:extLst>
              </p:cNvPr>
              <p:cNvSpPr>
                <a:spLocks/>
              </p:cNvSpPr>
              <p:nvPr/>
            </p:nvSpPr>
            <p:spPr bwMode="auto">
              <a:xfrm>
                <a:off x="3249613" y="6135688"/>
                <a:ext cx="31750" cy="3175"/>
              </a:xfrm>
              <a:custGeom>
                <a:avLst/>
                <a:gdLst>
                  <a:gd name="T0" fmla="*/ 20 w 20"/>
                  <a:gd name="T1" fmla="*/ 0 h 2"/>
                  <a:gd name="T2" fmla="*/ 0 w 20"/>
                  <a:gd name="T3" fmla="*/ 2 h 2"/>
                  <a:gd name="T4" fmla="*/ 0 w 20"/>
                  <a:gd name="T5" fmla="*/ 2 h 2"/>
                  <a:gd name="T6" fmla="*/ 20 w 20"/>
                  <a:gd name="T7" fmla="*/ 0 h 2"/>
                </a:gdLst>
                <a:ahLst/>
                <a:cxnLst>
                  <a:cxn ang="0">
                    <a:pos x="T0" y="T1"/>
                  </a:cxn>
                  <a:cxn ang="0">
                    <a:pos x="T2" y="T3"/>
                  </a:cxn>
                  <a:cxn ang="0">
                    <a:pos x="T4" y="T5"/>
                  </a:cxn>
                  <a:cxn ang="0">
                    <a:pos x="T6" y="T7"/>
                  </a:cxn>
                </a:cxnLst>
                <a:rect l="0" t="0" r="r" b="b"/>
                <a:pathLst>
                  <a:path w="20" h="2">
                    <a:moveTo>
                      <a:pt x="20" y="0"/>
                    </a:moveTo>
                    <a:lnTo>
                      <a:pt x="0" y="2"/>
                    </a:lnTo>
                    <a:lnTo>
                      <a:pt x="0"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0" name="Freeform 410">
                <a:extLst>
                  <a:ext uri="{FF2B5EF4-FFF2-40B4-BE49-F238E27FC236}">
                    <a16:creationId xmlns:a16="http://schemas.microsoft.com/office/drawing/2014/main" id="{EC1064DC-35C6-43A9-B1B4-6674A291D042}"/>
                  </a:ext>
                </a:extLst>
              </p:cNvPr>
              <p:cNvSpPr>
                <a:spLocks/>
              </p:cNvSpPr>
              <p:nvPr/>
            </p:nvSpPr>
            <p:spPr bwMode="auto">
              <a:xfrm>
                <a:off x="3221038" y="5794375"/>
                <a:ext cx="60325" cy="344488"/>
              </a:xfrm>
              <a:custGeom>
                <a:avLst/>
                <a:gdLst>
                  <a:gd name="T0" fmla="*/ 20 w 38"/>
                  <a:gd name="T1" fmla="*/ 0 h 217"/>
                  <a:gd name="T2" fmla="*/ 11 w 38"/>
                  <a:gd name="T3" fmla="*/ 2 h 217"/>
                  <a:gd name="T4" fmla="*/ 0 w 38"/>
                  <a:gd name="T5" fmla="*/ 2 h 217"/>
                  <a:gd name="T6" fmla="*/ 18 w 38"/>
                  <a:gd name="T7" fmla="*/ 217 h 217"/>
                  <a:gd name="T8" fmla="*/ 38 w 38"/>
                  <a:gd name="T9" fmla="*/ 215 h 217"/>
                  <a:gd name="T10" fmla="*/ 20 w 38"/>
                  <a:gd name="T11" fmla="*/ 0 h 217"/>
                </a:gdLst>
                <a:ahLst/>
                <a:cxnLst>
                  <a:cxn ang="0">
                    <a:pos x="T0" y="T1"/>
                  </a:cxn>
                  <a:cxn ang="0">
                    <a:pos x="T2" y="T3"/>
                  </a:cxn>
                  <a:cxn ang="0">
                    <a:pos x="T4" y="T5"/>
                  </a:cxn>
                  <a:cxn ang="0">
                    <a:pos x="T6" y="T7"/>
                  </a:cxn>
                  <a:cxn ang="0">
                    <a:pos x="T8" y="T9"/>
                  </a:cxn>
                  <a:cxn ang="0">
                    <a:pos x="T10" y="T11"/>
                  </a:cxn>
                </a:cxnLst>
                <a:rect l="0" t="0" r="r" b="b"/>
                <a:pathLst>
                  <a:path w="38" h="217">
                    <a:moveTo>
                      <a:pt x="20" y="0"/>
                    </a:moveTo>
                    <a:lnTo>
                      <a:pt x="11" y="2"/>
                    </a:lnTo>
                    <a:lnTo>
                      <a:pt x="0" y="2"/>
                    </a:lnTo>
                    <a:lnTo>
                      <a:pt x="18" y="217"/>
                    </a:lnTo>
                    <a:lnTo>
                      <a:pt x="38" y="215"/>
                    </a:lnTo>
                    <a:lnTo>
                      <a:pt x="20" y="0"/>
                    </a:lnTo>
                    <a:close/>
                  </a:path>
                </a:pathLst>
              </a:custGeom>
              <a:solidFill>
                <a:srgbClr val="2B9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1" name="Freeform 411">
                <a:extLst>
                  <a:ext uri="{FF2B5EF4-FFF2-40B4-BE49-F238E27FC236}">
                    <a16:creationId xmlns:a16="http://schemas.microsoft.com/office/drawing/2014/main" id="{19D06D27-85E0-4F86-9AF4-3931A724EDEF}"/>
                  </a:ext>
                </a:extLst>
              </p:cNvPr>
              <p:cNvSpPr>
                <a:spLocks/>
              </p:cNvSpPr>
              <p:nvPr/>
            </p:nvSpPr>
            <p:spPr bwMode="auto">
              <a:xfrm>
                <a:off x="3221038" y="5794375"/>
                <a:ext cx="60325" cy="344488"/>
              </a:xfrm>
              <a:custGeom>
                <a:avLst/>
                <a:gdLst>
                  <a:gd name="T0" fmla="*/ 20 w 38"/>
                  <a:gd name="T1" fmla="*/ 0 h 217"/>
                  <a:gd name="T2" fmla="*/ 11 w 38"/>
                  <a:gd name="T3" fmla="*/ 2 h 217"/>
                  <a:gd name="T4" fmla="*/ 0 w 38"/>
                  <a:gd name="T5" fmla="*/ 2 h 217"/>
                  <a:gd name="T6" fmla="*/ 18 w 38"/>
                  <a:gd name="T7" fmla="*/ 217 h 217"/>
                  <a:gd name="T8" fmla="*/ 38 w 38"/>
                  <a:gd name="T9" fmla="*/ 215 h 217"/>
                  <a:gd name="T10" fmla="*/ 20 w 38"/>
                  <a:gd name="T11" fmla="*/ 0 h 217"/>
                </a:gdLst>
                <a:ahLst/>
                <a:cxnLst>
                  <a:cxn ang="0">
                    <a:pos x="T0" y="T1"/>
                  </a:cxn>
                  <a:cxn ang="0">
                    <a:pos x="T2" y="T3"/>
                  </a:cxn>
                  <a:cxn ang="0">
                    <a:pos x="T4" y="T5"/>
                  </a:cxn>
                  <a:cxn ang="0">
                    <a:pos x="T6" y="T7"/>
                  </a:cxn>
                  <a:cxn ang="0">
                    <a:pos x="T8" y="T9"/>
                  </a:cxn>
                  <a:cxn ang="0">
                    <a:pos x="T10" y="T11"/>
                  </a:cxn>
                </a:cxnLst>
                <a:rect l="0" t="0" r="r" b="b"/>
                <a:pathLst>
                  <a:path w="38" h="217">
                    <a:moveTo>
                      <a:pt x="20" y="0"/>
                    </a:moveTo>
                    <a:lnTo>
                      <a:pt x="11" y="2"/>
                    </a:lnTo>
                    <a:lnTo>
                      <a:pt x="0" y="2"/>
                    </a:lnTo>
                    <a:lnTo>
                      <a:pt x="18" y="217"/>
                    </a:lnTo>
                    <a:lnTo>
                      <a:pt x="38" y="215"/>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2" name="Rectangle 412">
                <a:extLst>
                  <a:ext uri="{FF2B5EF4-FFF2-40B4-BE49-F238E27FC236}">
                    <a16:creationId xmlns:a16="http://schemas.microsoft.com/office/drawing/2014/main" id="{D09F336D-FCDB-4F76-B3DC-FED604E2AE9F}"/>
                  </a:ext>
                </a:extLst>
              </p:cNvPr>
              <p:cNvSpPr>
                <a:spLocks noChangeArrowheads="1"/>
              </p:cNvSpPr>
              <p:nvPr/>
            </p:nvSpPr>
            <p:spPr bwMode="auto">
              <a:xfrm>
                <a:off x="3190875" y="5799138"/>
                <a:ext cx="11113" cy="1588"/>
              </a:xfrm>
              <a:prstGeom prst="rect">
                <a:avLst/>
              </a:prstGeom>
              <a:solidFill>
                <a:srgbClr val="8E000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3" name="Rectangle 413">
                <a:extLst>
                  <a:ext uri="{FF2B5EF4-FFF2-40B4-BE49-F238E27FC236}">
                    <a16:creationId xmlns:a16="http://schemas.microsoft.com/office/drawing/2014/main" id="{2E785EC9-020E-42FD-A75F-1D35CEAAC113}"/>
                  </a:ext>
                </a:extLst>
              </p:cNvPr>
              <p:cNvSpPr>
                <a:spLocks noChangeArrowheads="1"/>
              </p:cNvSpPr>
              <p:nvPr/>
            </p:nvSpPr>
            <p:spPr bwMode="auto">
              <a:xfrm>
                <a:off x="3190875" y="5799138"/>
                <a:ext cx="1111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4" name="Freeform 414">
                <a:extLst>
                  <a:ext uri="{FF2B5EF4-FFF2-40B4-BE49-F238E27FC236}">
                    <a16:creationId xmlns:a16="http://schemas.microsoft.com/office/drawing/2014/main" id="{81B793D5-5F05-4023-98AA-F8A6C8C09ED8}"/>
                  </a:ext>
                </a:extLst>
              </p:cNvPr>
              <p:cNvSpPr>
                <a:spLocks/>
              </p:cNvSpPr>
              <p:nvPr/>
            </p:nvSpPr>
            <p:spPr bwMode="auto">
              <a:xfrm>
                <a:off x="3201988" y="5797550"/>
                <a:ext cx="19050" cy="1588"/>
              </a:xfrm>
              <a:custGeom>
                <a:avLst/>
                <a:gdLst>
                  <a:gd name="T0" fmla="*/ 12 w 12"/>
                  <a:gd name="T1" fmla="*/ 0 h 1"/>
                  <a:gd name="T2" fmla="*/ 0 w 12"/>
                  <a:gd name="T3" fmla="*/ 1 h 1"/>
                  <a:gd name="T4" fmla="*/ 0 w 12"/>
                  <a:gd name="T5" fmla="*/ 1 h 1"/>
                  <a:gd name="T6" fmla="*/ 12 w 12"/>
                  <a:gd name="T7" fmla="*/ 0 h 1"/>
                  <a:gd name="T8" fmla="*/ 12 w 12"/>
                  <a:gd name="T9" fmla="*/ 0 h 1"/>
                </a:gdLst>
                <a:ahLst/>
                <a:cxnLst>
                  <a:cxn ang="0">
                    <a:pos x="T0" y="T1"/>
                  </a:cxn>
                  <a:cxn ang="0">
                    <a:pos x="T2" y="T3"/>
                  </a:cxn>
                  <a:cxn ang="0">
                    <a:pos x="T4" y="T5"/>
                  </a:cxn>
                  <a:cxn ang="0">
                    <a:pos x="T6" y="T7"/>
                  </a:cxn>
                  <a:cxn ang="0">
                    <a:pos x="T8" y="T9"/>
                  </a:cxn>
                </a:cxnLst>
                <a:rect l="0" t="0" r="r" b="b"/>
                <a:pathLst>
                  <a:path w="12" h="1">
                    <a:moveTo>
                      <a:pt x="12" y="0"/>
                    </a:moveTo>
                    <a:lnTo>
                      <a:pt x="0" y="1"/>
                    </a:lnTo>
                    <a:lnTo>
                      <a:pt x="0" y="1"/>
                    </a:lnTo>
                    <a:lnTo>
                      <a:pt x="12" y="0"/>
                    </a:lnTo>
                    <a:lnTo>
                      <a:pt x="12" y="0"/>
                    </a:lnTo>
                    <a:close/>
                  </a:path>
                </a:pathLst>
              </a:custGeom>
              <a:solidFill>
                <a:srgbClr val="C27D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5" name="Freeform 415">
                <a:extLst>
                  <a:ext uri="{FF2B5EF4-FFF2-40B4-BE49-F238E27FC236}">
                    <a16:creationId xmlns:a16="http://schemas.microsoft.com/office/drawing/2014/main" id="{02BB9181-3F79-4DA3-AD57-DB72E8FDDF22}"/>
                  </a:ext>
                </a:extLst>
              </p:cNvPr>
              <p:cNvSpPr>
                <a:spLocks/>
              </p:cNvSpPr>
              <p:nvPr/>
            </p:nvSpPr>
            <p:spPr bwMode="auto">
              <a:xfrm>
                <a:off x="3201988" y="5797550"/>
                <a:ext cx="19050" cy="1588"/>
              </a:xfrm>
              <a:custGeom>
                <a:avLst/>
                <a:gdLst>
                  <a:gd name="T0" fmla="*/ 12 w 12"/>
                  <a:gd name="T1" fmla="*/ 0 h 1"/>
                  <a:gd name="T2" fmla="*/ 0 w 12"/>
                  <a:gd name="T3" fmla="*/ 1 h 1"/>
                  <a:gd name="T4" fmla="*/ 0 w 12"/>
                  <a:gd name="T5" fmla="*/ 1 h 1"/>
                  <a:gd name="T6" fmla="*/ 12 w 12"/>
                  <a:gd name="T7" fmla="*/ 0 h 1"/>
                  <a:gd name="T8" fmla="*/ 12 w 12"/>
                  <a:gd name="T9" fmla="*/ 0 h 1"/>
                </a:gdLst>
                <a:ahLst/>
                <a:cxnLst>
                  <a:cxn ang="0">
                    <a:pos x="T0" y="T1"/>
                  </a:cxn>
                  <a:cxn ang="0">
                    <a:pos x="T2" y="T3"/>
                  </a:cxn>
                  <a:cxn ang="0">
                    <a:pos x="T4" y="T5"/>
                  </a:cxn>
                  <a:cxn ang="0">
                    <a:pos x="T6" y="T7"/>
                  </a:cxn>
                  <a:cxn ang="0">
                    <a:pos x="T8" y="T9"/>
                  </a:cxn>
                </a:cxnLst>
                <a:rect l="0" t="0" r="r" b="b"/>
                <a:pathLst>
                  <a:path w="12" h="1">
                    <a:moveTo>
                      <a:pt x="12" y="0"/>
                    </a:moveTo>
                    <a:lnTo>
                      <a:pt x="0" y="1"/>
                    </a:lnTo>
                    <a:lnTo>
                      <a:pt x="0" y="1"/>
                    </a:lnTo>
                    <a:lnTo>
                      <a:pt x="12" y="0"/>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6" name="Rectangle 416">
                <a:extLst>
                  <a:ext uri="{FF2B5EF4-FFF2-40B4-BE49-F238E27FC236}">
                    <a16:creationId xmlns:a16="http://schemas.microsoft.com/office/drawing/2014/main" id="{215D78A8-7AA6-427B-9D70-15E7080078F0}"/>
                  </a:ext>
                </a:extLst>
              </p:cNvPr>
              <p:cNvSpPr>
                <a:spLocks noChangeArrowheads="1"/>
              </p:cNvSpPr>
              <p:nvPr/>
            </p:nvSpPr>
            <p:spPr bwMode="auto">
              <a:xfrm>
                <a:off x="3238500" y="6138863"/>
                <a:ext cx="11113" cy="1588"/>
              </a:xfrm>
              <a:prstGeom prst="rect">
                <a:avLst/>
              </a:prstGeom>
              <a:solidFill>
                <a:srgbClr val="D1A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7" name="Rectangle 417">
                <a:extLst>
                  <a:ext uri="{FF2B5EF4-FFF2-40B4-BE49-F238E27FC236}">
                    <a16:creationId xmlns:a16="http://schemas.microsoft.com/office/drawing/2014/main" id="{866CF384-16A4-436D-8A19-CF38701C5CC7}"/>
                  </a:ext>
                </a:extLst>
              </p:cNvPr>
              <p:cNvSpPr>
                <a:spLocks noChangeArrowheads="1"/>
              </p:cNvSpPr>
              <p:nvPr/>
            </p:nvSpPr>
            <p:spPr bwMode="auto">
              <a:xfrm>
                <a:off x="3238500" y="6138863"/>
                <a:ext cx="1111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8" name="Freeform 418">
                <a:extLst>
                  <a:ext uri="{FF2B5EF4-FFF2-40B4-BE49-F238E27FC236}">
                    <a16:creationId xmlns:a16="http://schemas.microsoft.com/office/drawing/2014/main" id="{8FE44DB6-19CB-44F0-959D-976741CA1625}"/>
                  </a:ext>
                </a:extLst>
              </p:cNvPr>
              <p:cNvSpPr>
                <a:spLocks/>
              </p:cNvSpPr>
              <p:nvPr/>
            </p:nvSpPr>
            <p:spPr bwMode="auto">
              <a:xfrm>
                <a:off x="3235325" y="6138863"/>
                <a:ext cx="3175" cy="3175"/>
              </a:xfrm>
              <a:custGeom>
                <a:avLst/>
                <a:gdLst>
                  <a:gd name="T0" fmla="*/ 2 w 2"/>
                  <a:gd name="T1" fmla="*/ 0 h 2"/>
                  <a:gd name="T2" fmla="*/ 0 w 2"/>
                  <a:gd name="T3" fmla="*/ 2 h 2"/>
                  <a:gd name="T4" fmla="*/ 2 w 2"/>
                  <a:gd name="T5" fmla="*/ 0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0"/>
                    </a:lnTo>
                    <a:lnTo>
                      <a:pt x="2" y="0"/>
                    </a:lnTo>
                    <a:close/>
                  </a:path>
                </a:pathLst>
              </a:custGeom>
              <a:solidFill>
                <a:srgbClr val="C27D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9" name="Freeform 419">
                <a:extLst>
                  <a:ext uri="{FF2B5EF4-FFF2-40B4-BE49-F238E27FC236}">
                    <a16:creationId xmlns:a16="http://schemas.microsoft.com/office/drawing/2014/main" id="{5AF8B09C-AE89-41FD-BF40-A7B09B7B2DD3}"/>
                  </a:ext>
                </a:extLst>
              </p:cNvPr>
              <p:cNvSpPr>
                <a:spLocks/>
              </p:cNvSpPr>
              <p:nvPr/>
            </p:nvSpPr>
            <p:spPr bwMode="auto">
              <a:xfrm>
                <a:off x="3235325" y="6138863"/>
                <a:ext cx="3175" cy="3175"/>
              </a:xfrm>
              <a:custGeom>
                <a:avLst/>
                <a:gdLst>
                  <a:gd name="T0" fmla="*/ 2 w 2"/>
                  <a:gd name="T1" fmla="*/ 0 h 2"/>
                  <a:gd name="T2" fmla="*/ 0 w 2"/>
                  <a:gd name="T3" fmla="*/ 2 h 2"/>
                  <a:gd name="T4" fmla="*/ 2 w 2"/>
                  <a:gd name="T5" fmla="*/ 0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0" name="Freeform 420">
                <a:extLst>
                  <a:ext uri="{FF2B5EF4-FFF2-40B4-BE49-F238E27FC236}">
                    <a16:creationId xmlns:a16="http://schemas.microsoft.com/office/drawing/2014/main" id="{F385F6FC-9580-433A-A743-CDB08E2E172B}"/>
                  </a:ext>
                </a:extLst>
              </p:cNvPr>
              <p:cNvSpPr>
                <a:spLocks/>
              </p:cNvSpPr>
              <p:nvPr/>
            </p:nvSpPr>
            <p:spPr bwMode="auto">
              <a:xfrm>
                <a:off x="3190875" y="5797550"/>
                <a:ext cx="58738" cy="344488"/>
              </a:xfrm>
              <a:custGeom>
                <a:avLst/>
                <a:gdLst>
                  <a:gd name="T0" fmla="*/ 19 w 37"/>
                  <a:gd name="T1" fmla="*/ 0 h 217"/>
                  <a:gd name="T2" fmla="*/ 7 w 37"/>
                  <a:gd name="T3" fmla="*/ 1 h 217"/>
                  <a:gd name="T4" fmla="*/ 0 w 37"/>
                  <a:gd name="T5" fmla="*/ 1 h 217"/>
                  <a:gd name="T6" fmla="*/ 18 w 37"/>
                  <a:gd name="T7" fmla="*/ 217 h 217"/>
                  <a:gd name="T8" fmla="*/ 28 w 37"/>
                  <a:gd name="T9" fmla="*/ 217 h 217"/>
                  <a:gd name="T10" fmla="*/ 30 w 37"/>
                  <a:gd name="T11" fmla="*/ 215 h 217"/>
                  <a:gd name="T12" fmla="*/ 37 w 37"/>
                  <a:gd name="T13" fmla="*/ 215 h 217"/>
                  <a:gd name="T14" fmla="*/ 19 w 37"/>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17">
                    <a:moveTo>
                      <a:pt x="19" y="0"/>
                    </a:moveTo>
                    <a:lnTo>
                      <a:pt x="7" y="1"/>
                    </a:lnTo>
                    <a:lnTo>
                      <a:pt x="0" y="1"/>
                    </a:lnTo>
                    <a:lnTo>
                      <a:pt x="18" y="217"/>
                    </a:lnTo>
                    <a:lnTo>
                      <a:pt x="28" y="217"/>
                    </a:lnTo>
                    <a:lnTo>
                      <a:pt x="30" y="215"/>
                    </a:lnTo>
                    <a:lnTo>
                      <a:pt x="37" y="215"/>
                    </a:lnTo>
                    <a:lnTo>
                      <a:pt x="19" y="0"/>
                    </a:lnTo>
                    <a:close/>
                  </a:path>
                </a:pathLst>
              </a:custGeom>
              <a:solidFill>
                <a:srgbClr val="30B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1" name="Freeform 421">
                <a:extLst>
                  <a:ext uri="{FF2B5EF4-FFF2-40B4-BE49-F238E27FC236}">
                    <a16:creationId xmlns:a16="http://schemas.microsoft.com/office/drawing/2014/main" id="{A39C17CD-2E5C-4194-84B3-24AE4F8F134B}"/>
                  </a:ext>
                </a:extLst>
              </p:cNvPr>
              <p:cNvSpPr>
                <a:spLocks/>
              </p:cNvSpPr>
              <p:nvPr/>
            </p:nvSpPr>
            <p:spPr bwMode="auto">
              <a:xfrm>
                <a:off x="3190875" y="5797550"/>
                <a:ext cx="58738" cy="344488"/>
              </a:xfrm>
              <a:custGeom>
                <a:avLst/>
                <a:gdLst>
                  <a:gd name="T0" fmla="*/ 19 w 37"/>
                  <a:gd name="T1" fmla="*/ 0 h 217"/>
                  <a:gd name="T2" fmla="*/ 7 w 37"/>
                  <a:gd name="T3" fmla="*/ 1 h 217"/>
                  <a:gd name="T4" fmla="*/ 0 w 37"/>
                  <a:gd name="T5" fmla="*/ 1 h 217"/>
                  <a:gd name="T6" fmla="*/ 18 w 37"/>
                  <a:gd name="T7" fmla="*/ 217 h 217"/>
                  <a:gd name="T8" fmla="*/ 28 w 37"/>
                  <a:gd name="T9" fmla="*/ 217 h 217"/>
                  <a:gd name="T10" fmla="*/ 30 w 37"/>
                  <a:gd name="T11" fmla="*/ 215 h 217"/>
                  <a:gd name="T12" fmla="*/ 37 w 37"/>
                  <a:gd name="T13" fmla="*/ 215 h 217"/>
                  <a:gd name="T14" fmla="*/ 19 w 37"/>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17">
                    <a:moveTo>
                      <a:pt x="19" y="0"/>
                    </a:moveTo>
                    <a:lnTo>
                      <a:pt x="7" y="1"/>
                    </a:lnTo>
                    <a:lnTo>
                      <a:pt x="0" y="1"/>
                    </a:lnTo>
                    <a:lnTo>
                      <a:pt x="18" y="217"/>
                    </a:lnTo>
                    <a:lnTo>
                      <a:pt x="28" y="217"/>
                    </a:lnTo>
                    <a:lnTo>
                      <a:pt x="30" y="215"/>
                    </a:lnTo>
                    <a:lnTo>
                      <a:pt x="37" y="215"/>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2" name="Freeform 422">
                <a:extLst>
                  <a:ext uri="{FF2B5EF4-FFF2-40B4-BE49-F238E27FC236}">
                    <a16:creationId xmlns:a16="http://schemas.microsoft.com/office/drawing/2014/main" id="{07AA3CDA-3517-45F1-B6BD-DBB11FCBD541}"/>
                  </a:ext>
                </a:extLst>
              </p:cNvPr>
              <p:cNvSpPr>
                <a:spLocks/>
              </p:cNvSpPr>
              <p:nvPr/>
            </p:nvSpPr>
            <p:spPr bwMode="auto">
              <a:xfrm>
                <a:off x="3227388" y="6200775"/>
                <a:ext cx="25400" cy="23813"/>
              </a:xfrm>
              <a:custGeom>
                <a:avLst/>
                <a:gdLst>
                  <a:gd name="T0" fmla="*/ 0 w 9"/>
                  <a:gd name="T1" fmla="*/ 1 h 8"/>
                  <a:gd name="T2" fmla="*/ 5 w 9"/>
                  <a:gd name="T3" fmla="*/ 8 h 8"/>
                  <a:gd name="T4" fmla="*/ 9 w 9"/>
                  <a:gd name="T5" fmla="*/ 0 h 8"/>
                  <a:gd name="T6" fmla="*/ 5 w 9"/>
                  <a:gd name="T7" fmla="*/ 0 h 8"/>
                  <a:gd name="T8" fmla="*/ 0 w 9"/>
                  <a:gd name="T9" fmla="*/ 1 h 8"/>
                </a:gdLst>
                <a:ahLst/>
                <a:cxnLst>
                  <a:cxn ang="0">
                    <a:pos x="T0" y="T1"/>
                  </a:cxn>
                  <a:cxn ang="0">
                    <a:pos x="T2" y="T3"/>
                  </a:cxn>
                  <a:cxn ang="0">
                    <a:pos x="T4" y="T5"/>
                  </a:cxn>
                  <a:cxn ang="0">
                    <a:pos x="T6" y="T7"/>
                  </a:cxn>
                  <a:cxn ang="0">
                    <a:pos x="T8" y="T9"/>
                  </a:cxn>
                </a:cxnLst>
                <a:rect l="0" t="0" r="r" b="b"/>
                <a:pathLst>
                  <a:path w="9" h="8">
                    <a:moveTo>
                      <a:pt x="0" y="1"/>
                    </a:moveTo>
                    <a:cubicBezTo>
                      <a:pt x="5" y="8"/>
                      <a:pt x="5" y="8"/>
                      <a:pt x="5" y="8"/>
                    </a:cubicBezTo>
                    <a:cubicBezTo>
                      <a:pt x="9" y="0"/>
                      <a:pt x="9" y="0"/>
                      <a:pt x="9" y="0"/>
                    </a:cubicBezTo>
                    <a:cubicBezTo>
                      <a:pt x="8" y="0"/>
                      <a:pt x="6" y="0"/>
                      <a:pt x="5" y="0"/>
                    </a:cubicBezTo>
                    <a:cubicBezTo>
                      <a:pt x="3" y="0"/>
                      <a:pt x="1" y="0"/>
                      <a:pt x="0" y="1"/>
                    </a:cubicBezTo>
                    <a:close/>
                  </a:path>
                </a:pathLst>
              </a:custGeom>
              <a:solidFill>
                <a:srgbClr val="67CF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3" name="Freeform 423">
                <a:extLst>
                  <a:ext uri="{FF2B5EF4-FFF2-40B4-BE49-F238E27FC236}">
                    <a16:creationId xmlns:a16="http://schemas.microsoft.com/office/drawing/2014/main" id="{1BBB99FC-A430-4375-A6BC-AE5DC21CAA10}"/>
                  </a:ext>
                </a:extLst>
              </p:cNvPr>
              <p:cNvSpPr>
                <a:spLocks/>
              </p:cNvSpPr>
              <p:nvPr/>
            </p:nvSpPr>
            <p:spPr bwMode="auto">
              <a:xfrm>
                <a:off x="3159125" y="5765800"/>
                <a:ext cx="93663" cy="36513"/>
              </a:xfrm>
              <a:custGeom>
                <a:avLst/>
                <a:gdLst>
                  <a:gd name="T0" fmla="*/ 0 w 59"/>
                  <a:gd name="T1" fmla="*/ 5 h 23"/>
                  <a:gd name="T2" fmla="*/ 57 w 59"/>
                  <a:gd name="T3" fmla="*/ 0 h 23"/>
                  <a:gd name="T4" fmla="*/ 59 w 59"/>
                  <a:gd name="T5" fmla="*/ 18 h 23"/>
                  <a:gd name="T6" fmla="*/ 2 w 59"/>
                  <a:gd name="T7" fmla="*/ 23 h 23"/>
                  <a:gd name="T8" fmla="*/ 0 w 59"/>
                  <a:gd name="T9" fmla="*/ 5 h 23"/>
                </a:gdLst>
                <a:ahLst/>
                <a:cxnLst>
                  <a:cxn ang="0">
                    <a:pos x="T0" y="T1"/>
                  </a:cxn>
                  <a:cxn ang="0">
                    <a:pos x="T2" y="T3"/>
                  </a:cxn>
                  <a:cxn ang="0">
                    <a:pos x="T4" y="T5"/>
                  </a:cxn>
                  <a:cxn ang="0">
                    <a:pos x="T6" y="T7"/>
                  </a:cxn>
                  <a:cxn ang="0">
                    <a:pos x="T8" y="T9"/>
                  </a:cxn>
                </a:cxnLst>
                <a:rect l="0" t="0" r="r" b="b"/>
                <a:pathLst>
                  <a:path w="59" h="23">
                    <a:moveTo>
                      <a:pt x="0" y="5"/>
                    </a:moveTo>
                    <a:lnTo>
                      <a:pt x="57" y="0"/>
                    </a:lnTo>
                    <a:lnTo>
                      <a:pt x="59" y="18"/>
                    </a:lnTo>
                    <a:lnTo>
                      <a:pt x="2" y="23"/>
                    </a:lnTo>
                    <a:lnTo>
                      <a:pt x="0" y="5"/>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4" name="Freeform 424">
                <a:extLst>
                  <a:ext uri="{FF2B5EF4-FFF2-40B4-BE49-F238E27FC236}">
                    <a16:creationId xmlns:a16="http://schemas.microsoft.com/office/drawing/2014/main" id="{335E49D4-1AA3-4E48-9CE8-B011703815B5}"/>
                  </a:ext>
                </a:extLst>
              </p:cNvPr>
              <p:cNvSpPr>
                <a:spLocks/>
              </p:cNvSpPr>
              <p:nvPr/>
            </p:nvSpPr>
            <p:spPr bwMode="auto">
              <a:xfrm>
                <a:off x="3155950" y="5754688"/>
                <a:ext cx="96838" cy="36513"/>
              </a:xfrm>
              <a:custGeom>
                <a:avLst/>
                <a:gdLst>
                  <a:gd name="T0" fmla="*/ 0 w 61"/>
                  <a:gd name="T1" fmla="*/ 5 h 23"/>
                  <a:gd name="T2" fmla="*/ 59 w 61"/>
                  <a:gd name="T3" fmla="*/ 0 h 23"/>
                  <a:gd name="T4" fmla="*/ 61 w 61"/>
                  <a:gd name="T5" fmla="*/ 18 h 23"/>
                  <a:gd name="T6" fmla="*/ 2 w 61"/>
                  <a:gd name="T7" fmla="*/ 23 h 23"/>
                  <a:gd name="T8" fmla="*/ 0 w 61"/>
                  <a:gd name="T9" fmla="*/ 5 h 23"/>
                </a:gdLst>
                <a:ahLst/>
                <a:cxnLst>
                  <a:cxn ang="0">
                    <a:pos x="T0" y="T1"/>
                  </a:cxn>
                  <a:cxn ang="0">
                    <a:pos x="T2" y="T3"/>
                  </a:cxn>
                  <a:cxn ang="0">
                    <a:pos x="T4" y="T5"/>
                  </a:cxn>
                  <a:cxn ang="0">
                    <a:pos x="T6" y="T7"/>
                  </a:cxn>
                  <a:cxn ang="0">
                    <a:pos x="T8" y="T9"/>
                  </a:cxn>
                </a:cxnLst>
                <a:rect l="0" t="0" r="r" b="b"/>
                <a:pathLst>
                  <a:path w="61" h="23">
                    <a:moveTo>
                      <a:pt x="0" y="5"/>
                    </a:moveTo>
                    <a:lnTo>
                      <a:pt x="59" y="0"/>
                    </a:lnTo>
                    <a:lnTo>
                      <a:pt x="61" y="18"/>
                    </a:lnTo>
                    <a:lnTo>
                      <a:pt x="2" y="23"/>
                    </a:lnTo>
                    <a:lnTo>
                      <a:pt x="0" y="5"/>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5" name="Freeform 425">
                <a:extLst>
                  <a:ext uri="{FF2B5EF4-FFF2-40B4-BE49-F238E27FC236}">
                    <a16:creationId xmlns:a16="http://schemas.microsoft.com/office/drawing/2014/main" id="{80CE78D1-8BA7-430A-A6F5-98540850BC05}"/>
                  </a:ext>
                </a:extLst>
              </p:cNvPr>
              <p:cNvSpPr>
                <a:spLocks/>
              </p:cNvSpPr>
              <p:nvPr/>
            </p:nvSpPr>
            <p:spPr bwMode="auto">
              <a:xfrm>
                <a:off x="3155950" y="5754688"/>
                <a:ext cx="93663" cy="22225"/>
              </a:xfrm>
              <a:custGeom>
                <a:avLst/>
                <a:gdLst>
                  <a:gd name="T0" fmla="*/ 0 w 59"/>
                  <a:gd name="T1" fmla="*/ 5 h 14"/>
                  <a:gd name="T2" fmla="*/ 59 w 59"/>
                  <a:gd name="T3" fmla="*/ 0 h 14"/>
                  <a:gd name="T4" fmla="*/ 59 w 59"/>
                  <a:gd name="T5" fmla="*/ 9 h 14"/>
                  <a:gd name="T6" fmla="*/ 2 w 59"/>
                  <a:gd name="T7" fmla="*/ 14 h 14"/>
                  <a:gd name="T8" fmla="*/ 0 w 59"/>
                  <a:gd name="T9" fmla="*/ 5 h 14"/>
                </a:gdLst>
                <a:ahLst/>
                <a:cxnLst>
                  <a:cxn ang="0">
                    <a:pos x="T0" y="T1"/>
                  </a:cxn>
                  <a:cxn ang="0">
                    <a:pos x="T2" y="T3"/>
                  </a:cxn>
                  <a:cxn ang="0">
                    <a:pos x="T4" y="T5"/>
                  </a:cxn>
                  <a:cxn ang="0">
                    <a:pos x="T6" y="T7"/>
                  </a:cxn>
                  <a:cxn ang="0">
                    <a:pos x="T8" y="T9"/>
                  </a:cxn>
                </a:cxnLst>
                <a:rect l="0" t="0" r="r" b="b"/>
                <a:pathLst>
                  <a:path w="59" h="14">
                    <a:moveTo>
                      <a:pt x="0" y="5"/>
                    </a:moveTo>
                    <a:lnTo>
                      <a:pt x="59" y="0"/>
                    </a:lnTo>
                    <a:lnTo>
                      <a:pt x="59" y="9"/>
                    </a:lnTo>
                    <a:lnTo>
                      <a:pt x="2" y="14"/>
                    </a:lnTo>
                    <a:lnTo>
                      <a:pt x="0" y="5"/>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6" name="Freeform 426">
                <a:extLst>
                  <a:ext uri="{FF2B5EF4-FFF2-40B4-BE49-F238E27FC236}">
                    <a16:creationId xmlns:a16="http://schemas.microsoft.com/office/drawing/2014/main" id="{6C693D67-A822-4E25-AB4A-7660ACB3764B}"/>
                  </a:ext>
                </a:extLst>
              </p:cNvPr>
              <p:cNvSpPr>
                <a:spLocks/>
              </p:cNvSpPr>
              <p:nvPr/>
            </p:nvSpPr>
            <p:spPr bwMode="auto">
              <a:xfrm>
                <a:off x="3155950" y="5715000"/>
                <a:ext cx="93663" cy="47625"/>
              </a:xfrm>
              <a:custGeom>
                <a:avLst/>
                <a:gdLst>
                  <a:gd name="T0" fmla="*/ 15 w 33"/>
                  <a:gd name="T1" fmla="*/ 1 h 17"/>
                  <a:gd name="T2" fmla="*/ 0 w 33"/>
                  <a:gd name="T3" fmla="*/ 17 h 17"/>
                  <a:gd name="T4" fmla="*/ 33 w 33"/>
                  <a:gd name="T5" fmla="*/ 14 h 17"/>
                  <a:gd name="T6" fmla="*/ 15 w 33"/>
                  <a:gd name="T7" fmla="*/ 1 h 17"/>
                </a:gdLst>
                <a:ahLst/>
                <a:cxnLst>
                  <a:cxn ang="0">
                    <a:pos x="T0" y="T1"/>
                  </a:cxn>
                  <a:cxn ang="0">
                    <a:pos x="T2" y="T3"/>
                  </a:cxn>
                  <a:cxn ang="0">
                    <a:pos x="T4" y="T5"/>
                  </a:cxn>
                  <a:cxn ang="0">
                    <a:pos x="T6" y="T7"/>
                  </a:cxn>
                </a:cxnLst>
                <a:rect l="0" t="0" r="r" b="b"/>
                <a:pathLst>
                  <a:path w="33" h="17">
                    <a:moveTo>
                      <a:pt x="15" y="1"/>
                    </a:moveTo>
                    <a:cubicBezTo>
                      <a:pt x="7" y="2"/>
                      <a:pt x="0" y="9"/>
                      <a:pt x="0" y="17"/>
                    </a:cubicBezTo>
                    <a:cubicBezTo>
                      <a:pt x="33" y="14"/>
                      <a:pt x="33" y="14"/>
                      <a:pt x="33" y="14"/>
                    </a:cubicBezTo>
                    <a:cubicBezTo>
                      <a:pt x="32" y="6"/>
                      <a:pt x="24" y="0"/>
                      <a:pt x="15" y="1"/>
                    </a:cubicBezTo>
                    <a:close/>
                  </a:path>
                </a:pathLst>
              </a:custGeom>
              <a:solidFill>
                <a:srgbClr val="D7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7" name="Freeform 427">
                <a:extLst>
                  <a:ext uri="{FF2B5EF4-FFF2-40B4-BE49-F238E27FC236}">
                    <a16:creationId xmlns:a16="http://schemas.microsoft.com/office/drawing/2014/main" id="{DF22575B-88CD-46A1-AF11-87D585EC5112}"/>
                  </a:ext>
                </a:extLst>
              </p:cNvPr>
              <p:cNvSpPr>
                <a:spLocks/>
              </p:cNvSpPr>
              <p:nvPr/>
            </p:nvSpPr>
            <p:spPr bwMode="auto">
              <a:xfrm>
                <a:off x="3187700" y="6124575"/>
                <a:ext cx="93663" cy="79375"/>
              </a:xfrm>
              <a:custGeom>
                <a:avLst/>
                <a:gdLst>
                  <a:gd name="T0" fmla="*/ 14 w 33"/>
                  <a:gd name="T1" fmla="*/ 28 h 28"/>
                  <a:gd name="T2" fmla="*/ 19 w 33"/>
                  <a:gd name="T3" fmla="*/ 27 h 28"/>
                  <a:gd name="T4" fmla="*/ 23 w 33"/>
                  <a:gd name="T5" fmla="*/ 27 h 28"/>
                  <a:gd name="T6" fmla="*/ 33 w 33"/>
                  <a:gd name="T7" fmla="*/ 4 h 28"/>
                  <a:gd name="T8" fmla="*/ 27 w 33"/>
                  <a:gd name="T9" fmla="*/ 0 h 28"/>
                  <a:gd name="T10" fmla="*/ 22 w 33"/>
                  <a:gd name="T11" fmla="*/ 5 h 28"/>
                  <a:gd name="T12" fmla="*/ 16 w 33"/>
                  <a:gd name="T13" fmla="*/ 1 h 28"/>
                  <a:gd name="T14" fmla="*/ 11 w 33"/>
                  <a:gd name="T15" fmla="*/ 6 h 28"/>
                  <a:gd name="T16" fmla="*/ 6 w 33"/>
                  <a:gd name="T17" fmla="*/ 2 h 28"/>
                  <a:gd name="T18" fmla="*/ 1 w 33"/>
                  <a:gd name="T19" fmla="*/ 7 h 28"/>
                  <a:gd name="T20" fmla="*/ 14 w 33"/>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8">
                    <a:moveTo>
                      <a:pt x="14" y="28"/>
                    </a:moveTo>
                    <a:cubicBezTo>
                      <a:pt x="15" y="27"/>
                      <a:pt x="17" y="27"/>
                      <a:pt x="19" y="27"/>
                    </a:cubicBezTo>
                    <a:cubicBezTo>
                      <a:pt x="20" y="27"/>
                      <a:pt x="22" y="27"/>
                      <a:pt x="23" y="27"/>
                    </a:cubicBezTo>
                    <a:cubicBezTo>
                      <a:pt x="33" y="4"/>
                      <a:pt x="33" y="4"/>
                      <a:pt x="33" y="4"/>
                    </a:cubicBezTo>
                    <a:cubicBezTo>
                      <a:pt x="33" y="2"/>
                      <a:pt x="30" y="0"/>
                      <a:pt x="27" y="0"/>
                    </a:cubicBezTo>
                    <a:cubicBezTo>
                      <a:pt x="24" y="0"/>
                      <a:pt x="22" y="3"/>
                      <a:pt x="22" y="5"/>
                    </a:cubicBezTo>
                    <a:cubicBezTo>
                      <a:pt x="22" y="3"/>
                      <a:pt x="19" y="1"/>
                      <a:pt x="16" y="1"/>
                    </a:cubicBezTo>
                    <a:cubicBezTo>
                      <a:pt x="13" y="1"/>
                      <a:pt x="11" y="3"/>
                      <a:pt x="11" y="6"/>
                    </a:cubicBezTo>
                    <a:cubicBezTo>
                      <a:pt x="11" y="3"/>
                      <a:pt x="9" y="1"/>
                      <a:pt x="6" y="2"/>
                    </a:cubicBezTo>
                    <a:cubicBezTo>
                      <a:pt x="3" y="2"/>
                      <a:pt x="0" y="4"/>
                      <a:pt x="1" y="7"/>
                    </a:cubicBezTo>
                    <a:lnTo>
                      <a:pt x="14" y="28"/>
                    </a:lnTo>
                    <a:close/>
                  </a:path>
                </a:pathLst>
              </a:custGeom>
              <a:solidFill>
                <a:srgbClr val="F4CF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8" name="Freeform 428">
                <a:extLst>
                  <a:ext uri="{FF2B5EF4-FFF2-40B4-BE49-F238E27FC236}">
                    <a16:creationId xmlns:a16="http://schemas.microsoft.com/office/drawing/2014/main" id="{84E3C9E0-578F-4C26-AA1F-70A7F35CCB77}"/>
                  </a:ext>
                </a:extLst>
              </p:cNvPr>
              <p:cNvSpPr>
                <a:spLocks/>
              </p:cNvSpPr>
              <p:nvPr/>
            </p:nvSpPr>
            <p:spPr bwMode="auto">
              <a:xfrm>
                <a:off x="3357563" y="5475288"/>
                <a:ext cx="142875" cy="820738"/>
              </a:xfrm>
              <a:custGeom>
                <a:avLst/>
                <a:gdLst>
                  <a:gd name="T0" fmla="*/ 16 w 50"/>
                  <a:gd name="T1" fmla="*/ 0 h 288"/>
                  <a:gd name="T2" fmla="*/ 1 w 50"/>
                  <a:gd name="T3" fmla="*/ 281 h 288"/>
                  <a:gd name="T4" fmla="*/ 7 w 50"/>
                  <a:gd name="T5" fmla="*/ 288 h 288"/>
                  <a:gd name="T6" fmla="*/ 11 w 50"/>
                  <a:gd name="T7" fmla="*/ 288 h 288"/>
                  <a:gd name="T8" fmla="*/ 18 w 50"/>
                  <a:gd name="T9" fmla="*/ 282 h 288"/>
                  <a:gd name="T10" fmla="*/ 37 w 50"/>
                  <a:gd name="T11" fmla="*/ 126 h 288"/>
                  <a:gd name="T12" fmla="*/ 50 w 50"/>
                  <a:gd name="T13" fmla="*/ 2 h 288"/>
                  <a:gd name="T14" fmla="*/ 16 w 50"/>
                  <a:gd name="T15" fmla="*/ 0 h 2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88">
                    <a:moveTo>
                      <a:pt x="16" y="0"/>
                    </a:moveTo>
                    <a:cubicBezTo>
                      <a:pt x="1" y="281"/>
                      <a:pt x="1" y="281"/>
                      <a:pt x="1" y="281"/>
                    </a:cubicBezTo>
                    <a:cubicBezTo>
                      <a:pt x="0" y="284"/>
                      <a:pt x="3" y="287"/>
                      <a:pt x="7" y="288"/>
                    </a:cubicBezTo>
                    <a:cubicBezTo>
                      <a:pt x="11" y="288"/>
                      <a:pt x="11" y="288"/>
                      <a:pt x="11" y="288"/>
                    </a:cubicBezTo>
                    <a:cubicBezTo>
                      <a:pt x="15" y="288"/>
                      <a:pt x="18" y="286"/>
                      <a:pt x="18" y="282"/>
                    </a:cubicBezTo>
                    <a:cubicBezTo>
                      <a:pt x="37" y="126"/>
                      <a:pt x="37" y="126"/>
                      <a:pt x="37" y="126"/>
                    </a:cubicBezTo>
                    <a:cubicBezTo>
                      <a:pt x="50" y="2"/>
                      <a:pt x="50" y="2"/>
                      <a:pt x="50" y="2"/>
                    </a:cubicBezTo>
                    <a:lnTo>
                      <a:pt x="16" y="0"/>
                    </a:lnTo>
                    <a:close/>
                  </a:path>
                </a:pathLst>
              </a:custGeom>
              <a:solidFill>
                <a:srgbClr val="263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9" name="Freeform 429">
                <a:extLst>
                  <a:ext uri="{FF2B5EF4-FFF2-40B4-BE49-F238E27FC236}">
                    <a16:creationId xmlns:a16="http://schemas.microsoft.com/office/drawing/2014/main" id="{1894A11E-5D65-45C9-B7E5-65A64144E977}"/>
                  </a:ext>
                </a:extLst>
              </p:cNvPr>
              <p:cNvSpPr>
                <a:spLocks noEditPoints="1"/>
              </p:cNvSpPr>
              <p:nvPr/>
            </p:nvSpPr>
            <p:spPr bwMode="auto">
              <a:xfrm>
                <a:off x="3403600" y="5284788"/>
                <a:ext cx="111125" cy="190500"/>
              </a:xfrm>
              <a:custGeom>
                <a:avLst/>
                <a:gdLst>
                  <a:gd name="T0" fmla="*/ 30 w 39"/>
                  <a:gd name="T1" fmla="*/ 59 h 67"/>
                  <a:gd name="T2" fmla="*/ 39 w 39"/>
                  <a:gd name="T3" fmla="*/ 42 h 67"/>
                  <a:gd name="T4" fmla="*/ 34 w 39"/>
                  <a:gd name="T5" fmla="*/ 26 h 67"/>
                  <a:gd name="T6" fmla="*/ 32 w 39"/>
                  <a:gd name="T7" fmla="*/ 27 h 67"/>
                  <a:gd name="T8" fmla="*/ 30 w 39"/>
                  <a:gd name="T9" fmla="*/ 24 h 67"/>
                  <a:gd name="T10" fmla="*/ 31 w 39"/>
                  <a:gd name="T11" fmla="*/ 21 h 67"/>
                  <a:gd name="T12" fmla="*/ 28 w 39"/>
                  <a:gd name="T13" fmla="*/ 16 h 67"/>
                  <a:gd name="T14" fmla="*/ 24 w 39"/>
                  <a:gd name="T15" fmla="*/ 4 h 67"/>
                  <a:gd name="T16" fmla="*/ 23 w 39"/>
                  <a:gd name="T17" fmla="*/ 0 h 67"/>
                  <a:gd name="T18" fmla="*/ 22 w 39"/>
                  <a:gd name="T19" fmla="*/ 0 h 67"/>
                  <a:gd name="T20" fmla="*/ 20 w 39"/>
                  <a:gd name="T21" fmla="*/ 4 h 67"/>
                  <a:gd name="T22" fmla="*/ 14 w 39"/>
                  <a:gd name="T23" fmla="*/ 15 h 67"/>
                  <a:gd name="T24" fmla="*/ 10 w 39"/>
                  <a:gd name="T25" fmla="*/ 20 h 67"/>
                  <a:gd name="T26" fmla="*/ 11 w 39"/>
                  <a:gd name="T27" fmla="*/ 22 h 67"/>
                  <a:gd name="T28" fmla="*/ 8 w 39"/>
                  <a:gd name="T29" fmla="*/ 25 h 67"/>
                  <a:gd name="T30" fmla="*/ 7 w 39"/>
                  <a:gd name="T31" fmla="*/ 24 h 67"/>
                  <a:gd name="T32" fmla="*/ 0 w 39"/>
                  <a:gd name="T33" fmla="*/ 39 h 67"/>
                  <a:gd name="T34" fmla="*/ 6 w 39"/>
                  <a:gd name="T35" fmla="*/ 57 h 67"/>
                  <a:gd name="T36" fmla="*/ 4 w 39"/>
                  <a:gd name="T37" fmla="*/ 60 h 67"/>
                  <a:gd name="T38" fmla="*/ 6 w 39"/>
                  <a:gd name="T39" fmla="*/ 63 h 67"/>
                  <a:gd name="T40" fmla="*/ 6 w 39"/>
                  <a:gd name="T41" fmla="*/ 63 h 67"/>
                  <a:gd name="T42" fmla="*/ 6 w 39"/>
                  <a:gd name="T43" fmla="*/ 65 h 67"/>
                  <a:gd name="T44" fmla="*/ 28 w 39"/>
                  <a:gd name="T45" fmla="*/ 67 h 67"/>
                  <a:gd name="T46" fmla="*/ 28 w 39"/>
                  <a:gd name="T47" fmla="*/ 64 h 67"/>
                  <a:gd name="T48" fmla="*/ 28 w 39"/>
                  <a:gd name="T49" fmla="*/ 64 h 67"/>
                  <a:gd name="T50" fmla="*/ 31 w 39"/>
                  <a:gd name="T51" fmla="*/ 62 h 67"/>
                  <a:gd name="T52" fmla="*/ 30 w 39"/>
                  <a:gd name="T53" fmla="*/ 59 h 67"/>
                  <a:gd name="T54" fmla="*/ 17 w 39"/>
                  <a:gd name="T55" fmla="*/ 28 h 67"/>
                  <a:gd name="T56" fmla="*/ 20 w 39"/>
                  <a:gd name="T57" fmla="*/ 26 h 67"/>
                  <a:gd name="T58" fmla="*/ 23 w 39"/>
                  <a:gd name="T59" fmla="*/ 29 h 67"/>
                  <a:gd name="T60" fmla="*/ 21 w 39"/>
                  <a:gd name="T61" fmla="*/ 50 h 67"/>
                  <a:gd name="T62" fmla="*/ 18 w 39"/>
                  <a:gd name="T63" fmla="*/ 53 h 67"/>
                  <a:gd name="T64" fmla="*/ 16 w 39"/>
                  <a:gd name="T65" fmla="*/ 50 h 67"/>
                  <a:gd name="T66" fmla="*/ 17 w 39"/>
                  <a:gd name="T67"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67">
                    <a:moveTo>
                      <a:pt x="30" y="59"/>
                    </a:moveTo>
                    <a:cubicBezTo>
                      <a:pt x="34" y="55"/>
                      <a:pt x="37" y="49"/>
                      <a:pt x="39" y="42"/>
                    </a:cubicBezTo>
                    <a:cubicBezTo>
                      <a:pt x="39" y="36"/>
                      <a:pt x="37" y="32"/>
                      <a:pt x="34" y="26"/>
                    </a:cubicBezTo>
                    <a:cubicBezTo>
                      <a:pt x="33" y="26"/>
                      <a:pt x="33" y="27"/>
                      <a:pt x="32" y="27"/>
                    </a:cubicBezTo>
                    <a:cubicBezTo>
                      <a:pt x="30" y="27"/>
                      <a:pt x="29" y="25"/>
                      <a:pt x="30" y="24"/>
                    </a:cubicBezTo>
                    <a:cubicBezTo>
                      <a:pt x="30" y="23"/>
                      <a:pt x="30" y="22"/>
                      <a:pt x="31" y="21"/>
                    </a:cubicBezTo>
                    <a:cubicBezTo>
                      <a:pt x="30" y="19"/>
                      <a:pt x="28" y="16"/>
                      <a:pt x="28" y="16"/>
                    </a:cubicBezTo>
                    <a:cubicBezTo>
                      <a:pt x="27" y="14"/>
                      <a:pt x="25" y="9"/>
                      <a:pt x="24" y="4"/>
                    </a:cubicBezTo>
                    <a:cubicBezTo>
                      <a:pt x="24" y="4"/>
                      <a:pt x="24" y="1"/>
                      <a:pt x="23" y="0"/>
                    </a:cubicBezTo>
                    <a:cubicBezTo>
                      <a:pt x="22" y="0"/>
                      <a:pt x="22" y="0"/>
                      <a:pt x="22" y="0"/>
                    </a:cubicBezTo>
                    <a:cubicBezTo>
                      <a:pt x="21" y="1"/>
                      <a:pt x="20" y="3"/>
                      <a:pt x="20" y="4"/>
                    </a:cubicBezTo>
                    <a:cubicBezTo>
                      <a:pt x="19" y="8"/>
                      <a:pt x="16" y="13"/>
                      <a:pt x="14" y="15"/>
                    </a:cubicBezTo>
                    <a:cubicBezTo>
                      <a:pt x="14" y="15"/>
                      <a:pt x="12" y="18"/>
                      <a:pt x="10" y="20"/>
                    </a:cubicBezTo>
                    <a:cubicBezTo>
                      <a:pt x="11" y="20"/>
                      <a:pt x="11" y="21"/>
                      <a:pt x="11" y="22"/>
                    </a:cubicBezTo>
                    <a:cubicBezTo>
                      <a:pt x="11" y="24"/>
                      <a:pt x="10" y="25"/>
                      <a:pt x="8" y="25"/>
                    </a:cubicBezTo>
                    <a:cubicBezTo>
                      <a:pt x="8" y="25"/>
                      <a:pt x="7" y="24"/>
                      <a:pt x="7" y="24"/>
                    </a:cubicBezTo>
                    <a:cubicBezTo>
                      <a:pt x="3" y="29"/>
                      <a:pt x="0" y="33"/>
                      <a:pt x="0" y="39"/>
                    </a:cubicBezTo>
                    <a:cubicBezTo>
                      <a:pt x="0" y="45"/>
                      <a:pt x="2" y="52"/>
                      <a:pt x="6" y="57"/>
                    </a:cubicBezTo>
                    <a:cubicBezTo>
                      <a:pt x="5" y="57"/>
                      <a:pt x="4" y="58"/>
                      <a:pt x="4" y="60"/>
                    </a:cubicBezTo>
                    <a:cubicBezTo>
                      <a:pt x="4" y="61"/>
                      <a:pt x="5" y="62"/>
                      <a:pt x="6" y="63"/>
                    </a:cubicBezTo>
                    <a:cubicBezTo>
                      <a:pt x="6" y="63"/>
                      <a:pt x="6" y="63"/>
                      <a:pt x="6" y="63"/>
                    </a:cubicBezTo>
                    <a:cubicBezTo>
                      <a:pt x="6" y="65"/>
                      <a:pt x="6" y="65"/>
                      <a:pt x="6" y="65"/>
                    </a:cubicBezTo>
                    <a:cubicBezTo>
                      <a:pt x="28" y="67"/>
                      <a:pt x="28" y="67"/>
                      <a:pt x="28" y="67"/>
                    </a:cubicBezTo>
                    <a:cubicBezTo>
                      <a:pt x="28" y="64"/>
                      <a:pt x="28" y="64"/>
                      <a:pt x="28" y="64"/>
                    </a:cubicBezTo>
                    <a:cubicBezTo>
                      <a:pt x="28" y="64"/>
                      <a:pt x="28" y="64"/>
                      <a:pt x="28" y="64"/>
                    </a:cubicBezTo>
                    <a:cubicBezTo>
                      <a:pt x="30" y="65"/>
                      <a:pt x="31" y="63"/>
                      <a:pt x="31" y="62"/>
                    </a:cubicBezTo>
                    <a:cubicBezTo>
                      <a:pt x="31" y="61"/>
                      <a:pt x="31" y="60"/>
                      <a:pt x="30" y="59"/>
                    </a:cubicBezTo>
                    <a:close/>
                    <a:moveTo>
                      <a:pt x="17" y="28"/>
                    </a:moveTo>
                    <a:cubicBezTo>
                      <a:pt x="18" y="27"/>
                      <a:pt x="19" y="26"/>
                      <a:pt x="20" y="26"/>
                    </a:cubicBezTo>
                    <a:cubicBezTo>
                      <a:pt x="22" y="26"/>
                      <a:pt x="23" y="27"/>
                      <a:pt x="23" y="29"/>
                    </a:cubicBezTo>
                    <a:cubicBezTo>
                      <a:pt x="21" y="50"/>
                      <a:pt x="21" y="50"/>
                      <a:pt x="21" y="50"/>
                    </a:cubicBezTo>
                    <a:cubicBezTo>
                      <a:pt x="21" y="52"/>
                      <a:pt x="20" y="53"/>
                      <a:pt x="18" y="53"/>
                    </a:cubicBezTo>
                    <a:cubicBezTo>
                      <a:pt x="17" y="53"/>
                      <a:pt x="16" y="51"/>
                      <a:pt x="16" y="50"/>
                    </a:cubicBezTo>
                    <a:lnTo>
                      <a:pt x="17" y="28"/>
                    </a:lnTo>
                    <a:close/>
                  </a:path>
                </a:pathLst>
              </a:custGeom>
              <a:solidFill>
                <a:srgbClr val="AEAE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0" name="Freeform 430">
                <a:extLst>
                  <a:ext uri="{FF2B5EF4-FFF2-40B4-BE49-F238E27FC236}">
                    <a16:creationId xmlns:a16="http://schemas.microsoft.com/office/drawing/2014/main" id="{544D1409-3256-42F5-9D5D-EDD02CE41C56}"/>
                  </a:ext>
                </a:extLst>
              </p:cNvPr>
              <p:cNvSpPr>
                <a:spLocks/>
              </p:cNvSpPr>
              <p:nvPr/>
            </p:nvSpPr>
            <p:spPr bwMode="auto">
              <a:xfrm>
                <a:off x="3400425" y="5467350"/>
                <a:ext cx="100013" cy="22225"/>
              </a:xfrm>
              <a:custGeom>
                <a:avLst/>
                <a:gdLst>
                  <a:gd name="T0" fmla="*/ 35 w 35"/>
                  <a:gd name="T1" fmla="*/ 7 h 8"/>
                  <a:gd name="T2" fmla="*/ 34 w 35"/>
                  <a:gd name="T3" fmla="*/ 8 h 8"/>
                  <a:gd name="T4" fmla="*/ 1 w 35"/>
                  <a:gd name="T5" fmla="*/ 5 h 8"/>
                  <a:gd name="T6" fmla="*/ 0 w 35"/>
                  <a:gd name="T7" fmla="*/ 4 h 8"/>
                  <a:gd name="T8" fmla="*/ 1 w 35"/>
                  <a:gd name="T9" fmla="*/ 1 h 8"/>
                  <a:gd name="T10" fmla="*/ 1 w 35"/>
                  <a:gd name="T11" fmla="*/ 0 h 8"/>
                  <a:gd name="T12" fmla="*/ 35 w 35"/>
                  <a:gd name="T13" fmla="*/ 3 h 8"/>
                  <a:gd name="T14" fmla="*/ 35 w 35"/>
                  <a:gd name="T15" fmla="*/ 4 h 8"/>
                  <a:gd name="T16" fmla="*/ 35 w 35"/>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8">
                    <a:moveTo>
                      <a:pt x="35" y="7"/>
                    </a:moveTo>
                    <a:cubicBezTo>
                      <a:pt x="35" y="7"/>
                      <a:pt x="35" y="8"/>
                      <a:pt x="34" y="8"/>
                    </a:cubicBezTo>
                    <a:cubicBezTo>
                      <a:pt x="1" y="5"/>
                      <a:pt x="1" y="5"/>
                      <a:pt x="1" y="5"/>
                    </a:cubicBezTo>
                    <a:cubicBezTo>
                      <a:pt x="1" y="5"/>
                      <a:pt x="0" y="5"/>
                      <a:pt x="0" y="4"/>
                    </a:cubicBezTo>
                    <a:cubicBezTo>
                      <a:pt x="1" y="1"/>
                      <a:pt x="1" y="1"/>
                      <a:pt x="1" y="1"/>
                    </a:cubicBezTo>
                    <a:cubicBezTo>
                      <a:pt x="1" y="1"/>
                      <a:pt x="1" y="0"/>
                      <a:pt x="1" y="0"/>
                    </a:cubicBezTo>
                    <a:cubicBezTo>
                      <a:pt x="35" y="3"/>
                      <a:pt x="35" y="3"/>
                      <a:pt x="35" y="3"/>
                    </a:cubicBezTo>
                    <a:cubicBezTo>
                      <a:pt x="35" y="3"/>
                      <a:pt x="35" y="3"/>
                      <a:pt x="35" y="4"/>
                    </a:cubicBezTo>
                    <a:lnTo>
                      <a:pt x="35" y="7"/>
                    </a:lnTo>
                    <a:close/>
                  </a:path>
                </a:pathLst>
              </a:custGeom>
              <a:solidFill>
                <a:srgbClr val="7E8A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1" name="Freeform 431">
                <a:extLst>
                  <a:ext uri="{FF2B5EF4-FFF2-40B4-BE49-F238E27FC236}">
                    <a16:creationId xmlns:a16="http://schemas.microsoft.com/office/drawing/2014/main" id="{0AE6D5F1-7DCF-4217-9A35-232F8D338573}"/>
                  </a:ext>
                </a:extLst>
              </p:cNvPr>
              <p:cNvSpPr>
                <a:spLocks/>
              </p:cNvSpPr>
              <p:nvPr/>
            </p:nvSpPr>
            <p:spPr bwMode="auto">
              <a:xfrm>
                <a:off x="3303588" y="5634038"/>
                <a:ext cx="93663" cy="123825"/>
              </a:xfrm>
              <a:custGeom>
                <a:avLst/>
                <a:gdLst>
                  <a:gd name="T0" fmla="*/ 10 w 33"/>
                  <a:gd name="T1" fmla="*/ 41 h 43"/>
                  <a:gd name="T2" fmla="*/ 23 w 33"/>
                  <a:gd name="T3" fmla="*/ 20 h 43"/>
                  <a:gd name="T4" fmla="*/ 22 w 33"/>
                  <a:gd name="T5" fmla="*/ 4 h 43"/>
                  <a:gd name="T6" fmla="*/ 1 w 33"/>
                  <a:gd name="T7" fmla="*/ 21 h 43"/>
                  <a:gd name="T8" fmla="*/ 4 w 33"/>
                  <a:gd name="T9" fmla="*/ 37 h 43"/>
                  <a:gd name="T10" fmla="*/ 10 w 33"/>
                  <a:gd name="T11" fmla="*/ 41 h 43"/>
                </a:gdLst>
                <a:ahLst/>
                <a:cxnLst>
                  <a:cxn ang="0">
                    <a:pos x="T0" y="T1"/>
                  </a:cxn>
                  <a:cxn ang="0">
                    <a:pos x="T2" y="T3"/>
                  </a:cxn>
                  <a:cxn ang="0">
                    <a:pos x="T4" y="T5"/>
                  </a:cxn>
                  <a:cxn ang="0">
                    <a:pos x="T6" y="T7"/>
                  </a:cxn>
                  <a:cxn ang="0">
                    <a:pos x="T8" y="T9"/>
                  </a:cxn>
                  <a:cxn ang="0">
                    <a:pos x="T10" y="T11"/>
                  </a:cxn>
                </a:cxnLst>
                <a:rect l="0" t="0" r="r" b="b"/>
                <a:pathLst>
                  <a:path w="33" h="43">
                    <a:moveTo>
                      <a:pt x="10" y="41"/>
                    </a:moveTo>
                    <a:cubicBezTo>
                      <a:pt x="20" y="43"/>
                      <a:pt x="33" y="34"/>
                      <a:pt x="23" y="20"/>
                    </a:cubicBezTo>
                    <a:cubicBezTo>
                      <a:pt x="15" y="7"/>
                      <a:pt x="30" y="7"/>
                      <a:pt x="22" y="4"/>
                    </a:cubicBezTo>
                    <a:cubicBezTo>
                      <a:pt x="15" y="0"/>
                      <a:pt x="4" y="13"/>
                      <a:pt x="1" y="21"/>
                    </a:cubicBezTo>
                    <a:cubicBezTo>
                      <a:pt x="0" y="28"/>
                      <a:pt x="0" y="33"/>
                      <a:pt x="4" y="37"/>
                    </a:cubicBezTo>
                    <a:cubicBezTo>
                      <a:pt x="5" y="39"/>
                      <a:pt x="7" y="40"/>
                      <a:pt x="10" y="41"/>
                    </a:cubicBezTo>
                    <a:close/>
                  </a:path>
                </a:pathLst>
              </a:custGeom>
              <a:solidFill>
                <a:srgbClr val="35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2" name="Freeform 432">
                <a:extLst>
                  <a:ext uri="{FF2B5EF4-FFF2-40B4-BE49-F238E27FC236}">
                    <a16:creationId xmlns:a16="http://schemas.microsoft.com/office/drawing/2014/main" id="{F9A82E0B-A6ED-4BB7-BEAD-E307E1A7C5E3}"/>
                  </a:ext>
                </a:extLst>
              </p:cNvPr>
              <p:cNvSpPr>
                <a:spLocks/>
              </p:cNvSpPr>
              <p:nvPr/>
            </p:nvSpPr>
            <p:spPr bwMode="auto">
              <a:xfrm>
                <a:off x="3314700" y="5637213"/>
                <a:ext cx="71438" cy="42863"/>
              </a:xfrm>
              <a:custGeom>
                <a:avLst/>
                <a:gdLst>
                  <a:gd name="T0" fmla="*/ 5 w 25"/>
                  <a:gd name="T1" fmla="*/ 12 h 15"/>
                  <a:gd name="T2" fmla="*/ 9 w 25"/>
                  <a:gd name="T3" fmla="*/ 15 h 15"/>
                  <a:gd name="T4" fmla="*/ 11 w 25"/>
                  <a:gd name="T5" fmla="*/ 14 h 15"/>
                  <a:gd name="T6" fmla="*/ 13 w 25"/>
                  <a:gd name="T7" fmla="*/ 15 h 15"/>
                  <a:gd name="T8" fmla="*/ 17 w 25"/>
                  <a:gd name="T9" fmla="*/ 14 h 15"/>
                  <a:gd name="T10" fmla="*/ 18 w 25"/>
                  <a:gd name="T11" fmla="*/ 3 h 15"/>
                  <a:gd name="T12" fmla="*/ 0 w 25"/>
                  <a:gd name="T13" fmla="*/ 14 h 15"/>
                  <a:gd name="T14" fmla="*/ 5 w 25"/>
                  <a:gd name="T15" fmla="*/ 12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5">
                    <a:moveTo>
                      <a:pt x="5" y="12"/>
                    </a:moveTo>
                    <a:cubicBezTo>
                      <a:pt x="7" y="12"/>
                      <a:pt x="8" y="13"/>
                      <a:pt x="9" y="15"/>
                    </a:cubicBezTo>
                    <a:cubicBezTo>
                      <a:pt x="9" y="14"/>
                      <a:pt x="10" y="14"/>
                      <a:pt x="11" y="14"/>
                    </a:cubicBezTo>
                    <a:cubicBezTo>
                      <a:pt x="12" y="14"/>
                      <a:pt x="13" y="15"/>
                      <a:pt x="13" y="15"/>
                    </a:cubicBezTo>
                    <a:cubicBezTo>
                      <a:pt x="14" y="14"/>
                      <a:pt x="15" y="13"/>
                      <a:pt x="17" y="14"/>
                    </a:cubicBezTo>
                    <a:cubicBezTo>
                      <a:pt x="15" y="6"/>
                      <a:pt x="25" y="6"/>
                      <a:pt x="18" y="3"/>
                    </a:cubicBezTo>
                    <a:cubicBezTo>
                      <a:pt x="12" y="0"/>
                      <a:pt x="4" y="7"/>
                      <a:pt x="0" y="14"/>
                    </a:cubicBezTo>
                    <a:cubicBezTo>
                      <a:pt x="2" y="13"/>
                      <a:pt x="3" y="12"/>
                      <a:pt x="5" y="12"/>
                    </a:cubicBezTo>
                    <a:close/>
                  </a:path>
                </a:pathLst>
              </a:custGeom>
              <a:solidFill>
                <a:srgbClr val="883D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3" name="Freeform 433">
                <a:extLst>
                  <a:ext uri="{FF2B5EF4-FFF2-40B4-BE49-F238E27FC236}">
                    <a16:creationId xmlns:a16="http://schemas.microsoft.com/office/drawing/2014/main" id="{7F1A0559-E754-478B-8C9A-360F0F024E60}"/>
                  </a:ext>
                </a:extLst>
              </p:cNvPr>
              <p:cNvSpPr>
                <a:spLocks/>
              </p:cNvSpPr>
              <p:nvPr/>
            </p:nvSpPr>
            <p:spPr bwMode="auto">
              <a:xfrm>
                <a:off x="3206750" y="5740400"/>
                <a:ext cx="157163" cy="452438"/>
              </a:xfrm>
              <a:custGeom>
                <a:avLst/>
                <a:gdLst>
                  <a:gd name="T0" fmla="*/ 24 w 55"/>
                  <a:gd name="T1" fmla="*/ 39 h 159"/>
                  <a:gd name="T2" fmla="*/ 45 w 55"/>
                  <a:gd name="T3" fmla="*/ 2 h 159"/>
                  <a:gd name="T4" fmla="*/ 50 w 55"/>
                  <a:gd name="T5" fmla="*/ 44 h 159"/>
                  <a:gd name="T6" fmla="*/ 15 w 55"/>
                  <a:gd name="T7" fmla="*/ 155 h 159"/>
                  <a:gd name="T8" fmla="*/ 24 w 55"/>
                  <a:gd name="T9" fmla="*/ 39 h 159"/>
                </a:gdLst>
                <a:ahLst/>
                <a:cxnLst>
                  <a:cxn ang="0">
                    <a:pos x="T0" y="T1"/>
                  </a:cxn>
                  <a:cxn ang="0">
                    <a:pos x="T2" y="T3"/>
                  </a:cxn>
                  <a:cxn ang="0">
                    <a:pos x="T4" y="T5"/>
                  </a:cxn>
                  <a:cxn ang="0">
                    <a:pos x="T6" y="T7"/>
                  </a:cxn>
                  <a:cxn ang="0">
                    <a:pos x="T8" y="T9"/>
                  </a:cxn>
                </a:cxnLst>
                <a:rect l="0" t="0" r="r" b="b"/>
                <a:pathLst>
                  <a:path w="55" h="159">
                    <a:moveTo>
                      <a:pt x="24" y="39"/>
                    </a:moveTo>
                    <a:cubicBezTo>
                      <a:pt x="29" y="17"/>
                      <a:pt x="38" y="0"/>
                      <a:pt x="45" y="2"/>
                    </a:cubicBezTo>
                    <a:cubicBezTo>
                      <a:pt x="52" y="3"/>
                      <a:pt x="55" y="22"/>
                      <a:pt x="50" y="44"/>
                    </a:cubicBezTo>
                    <a:cubicBezTo>
                      <a:pt x="46" y="66"/>
                      <a:pt x="30" y="159"/>
                      <a:pt x="15" y="155"/>
                    </a:cubicBezTo>
                    <a:cubicBezTo>
                      <a:pt x="0" y="151"/>
                      <a:pt x="20" y="61"/>
                      <a:pt x="24" y="39"/>
                    </a:cubicBez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4" name="Freeform 434">
                <a:extLst>
                  <a:ext uri="{FF2B5EF4-FFF2-40B4-BE49-F238E27FC236}">
                    <a16:creationId xmlns:a16="http://schemas.microsoft.com/office/drawing/2014/main" id="{E7543939-544E-42A3-8F67-20F434B6A2E8}"/>
                  </a:ext>
                </a:extLst>
              </p:cNvPr>
              <p:cNvSpPr>
                <a:spLocks/>
              </p:cNvSpPr>
              <p:nvPr/>
            </p:nvSpPr>
            <p:spPr bwMode="auto">
              <a:xfrm>
                <a:off x="3313113" y="5740400"/>
                <a:ext cx="42863" cy="28575"/>
              </a:xfrm>
              <a:custGeom>
                <a:avLst/>
                <a:gdLst>
                  <a:gd name="T0" fmla="*/ 1 w 27"/>
                  <a:gd name="T1" fmla="*/ 0 h 18"/>
                  <a:gd name="T2" fmla="*/ 27 w 27"/>
                  <a:gd name="T3" fmla="*/ 5 h 18"/>
                  <a:gd name="T4" fmla="*/ 25 w 27"/>
                  <a:gd name="T5" fmla="*/ 18 h 18"/>
                  <a:gd name="T6" fmla="*/ 0 w 27"/>
                  <a:gd name="T7" fmla="*/ 12 h 18"/>
                  <a:gd name="T8" fmla="*/ 1 w 27"/>
                  <a:gd name="T9" fmla="*/ 0 h 18"/>
                </a:gdLst>
                <a:ahLst/>
                <a:cxnLst>
                  <a:cxn ang="0">
                    <a:pos x="T0" y="T1"/>
                  </a:cxn>
                  <a:cxn ang="0">
                    <a:pos x="T2" y="T3"/>
                  </a:cxn>
                  <a:cxn ang="0">
                    <a:pos x="T4" y="T5"/>
                  </a:cxn>
                  <a:cxn ang="0">
                    <a:pos x="T6" y="T7"/>
                  </a:cxn>
                  <a:cxn ang="0">
                    <a:pos x="T8" y="T9"/>
                  </a:cxn>
                </a:cxnLst>
                <a:rect l="0" t="0" r="r" b="b"/>
                <a:pathLst>
                  <a:path w="27" h="18">
                    <a:moveTo>
                      <a:pt x="1" y="0"/>
                    </a:moveTo>
                    <a:lnTo>
                      <a:pt x="27" y="5"/>
                    </a:lnTo>
                    <a:lnTo>
                      <a:pt x="25" y="18"/>
                    </a:lnTo>
                    <a:lnTo>
                      <a:pt x="0" y="12"/>
                    </a:lnTo>
                    <a:lnTo>
                      <a:pt x="1" y="0"/>
                    </a:lnTo>
                    <a:close/>
                  </a:path>
                </a:pathLst>
              </a:custGeom>
              <a:solidFill>
                <a:srgbClr val="FE6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5" name="Freeform 435">
                <a:extLst>
                  <a:ext uri="{FF2B5EF4-FFF2-40B4-BE49-F238E27FC236}">
                    <a16:creationId xmlns:a16="http://schemas.microsoft.com/office/drawing/2014/main" id="{FC442B73-38C4-41B8-BC2F-BB6C8B22BBEF}"/>
                  </a:ext>
                </a:extLst>
              </p:cNvPr>
              <p:cNvSpPr>
                <a:spLocks/>
              </p:cNvSpPr>
              <p:nvPr/>
            </p:nvSpPr>
            <p:spPr bwMode="auto">
              <a:xfrm>
                <a:off x="3030538" y="5951538"/>
                <a:ext cx="530225" cy="679450"/>
              </a:xfrm>
              <a:custGeom>
                <a:avLst/>
                <a:gdLst>
                  <a:gd name="T0" fmla="*/ 160 w 186"/>
                  <a:gd name="T1" fmla="*/ 233 h 239"/>
                  <a:gd name="T2" fmla="*/ 154 w 186"/>
                  <a:gd name="T3" fmla="*/ 239 h 239"/>
                  <a:gd name="T4" fmla="*/ 32 w 186"/>
                  <a:gd name="T5" fmla="*/ 239 h 239"/>
                  <a:gd name="T6" fmla="*/ 26 w 186"/>
                  <a:gd name="T7" fmla="*/ 233 h 239"/>
                  <a:gd name="T8" fmla="*/ 1 w 186"/>
                  <a:gd name="T9" fmla="*/ 6 h 239"/>
                  <a:gd name="T10" fmla="*/ 6 w 186"/>
                  <a:gd name="T11" fmla="*/ 0 h 239"/>
                  <a:gd name="T12" fmla="*/ 180 w 186"/>
                  <a:gd name="T13" fmla="*/ 0 h 239"/>
                  <a:gd name="T14" fmla="*/ 185 w 186"/>
                  <a:gd name="T15" fmla="*/ 6 h 239"/>
                  <a:gd name="T16" fmla="*/ 160 w 186"/>
                  <a:gd name="T17" fmla="*/ 23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239">
                    <a:moveTo>
                      <a:pt x="160" y="233"/>
                    </a:moveTo>
                    <a:cubicBezTo>
                      <a:pt x="160" y="236"/>
                      <a:pt x="157" y="239"/>
                      <a:pt x="154" y="239"/>
                    </a:cubicBezTo>
                    <a:cubicBezTo>
                      <a:pt x="32" y="239"/>
                      <a:pt x="32" y="239"/>
                      <a:pt x="32" y="239"/>
                    </a:cubicBezTo>
                    <a:cubicBezTo>
                      <a:pt x="29" y="239"/>
                      <a:pt x="26" y="236"/>
                      <a:pt x="26" y="233"/>
                    </a:cubicBezTo>
                    <a:cubicBezTo>
                      <a:pt x="1" y="6"/>
                      <a:pt x="1" y="6"/>
                      <a:pt x="1" y="6"/>
                    </a:cubicBezTo>
                    <a:cubicBezTo>
                      <a:pt x="0" y="3"/>
                      <a:pt x="3" y="0"/>
                      <a:pt x="6" y="0"/>
                    </a:cubicBezTo>
                    <a:cubicBezTo>
                      <a:pt x="180" y="0"/>
                      <a:pt x="180" y="0"/>
                      <a:pt x="180" y="0"/>
                    </a:cubicBezTo>
                    <a:cubicBezTo>
                      <a:pt x="183" y="0"/>
                      <a:pt x="186" y="3"/>
                      <a:pt x="185" y="6"/>
                    </a:cubicBezTo>
                    <a:lnTo>
                      <a:pt x="160" y="233"/>
                    </a:lnTo>
                    <a:close/>
                  </a:path>
                </a:pathLst>
              </a:custGeom>
              <a:solidFill>
                <a:srgbClr val="FE6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6" name="Freeform 436">
                <a:extLst>
                  <a:ext uri="{FF2B5EF4-FFF2-40B4-BE49-F238E27FC236}">
                    <a16:creationId xmlns:a16="http://schemas.microsoft.com/office/drawing/2014/main" id="{727EC669-9B22-42A3-8575-2FFB6C461BBD}"/>
                  </a:ext>
                </a:extLst>
              </p:cNvPr>
              <p:cNvSpPr>
                <a:spLocks/>
              </p:cNvSpPr>
              <p:nvPr/>
            </p:nvSpPr>
            <p:spPr bwMode="auto">
              <a:xfrm>
                <a:off x="3036888" y="6005513"/>
                <a:ext cx="517525" cy="42863"/>
              </a:xfrm>
              <a:custGeom>
                <a:avLst/>
                <a:gdLst>
                  <a:gd name="T0" fmla="*/ 326 w 326"/>
                  <a:gd name="T1" fmla="*/ 0 h 27"/>
                  <a:gd name="T2" fmla="*/ 0 w 326"/>
                  <a:gd name="T3" fmla="*/ 0 h 27"/>
                  <a:gd name="T4" fmla="*/ 3 w 326"/>
                  <a:gd name="T5" fmla="*/ 27 h 27"/>
                  <a:gd name="T6" fmla="*/ 323 w 326"/>
                  <a:gd name="T7" fmla="*/ 27 h 27"/>
                  <a:gd name="T8" fmla="*/ 326 w 326"/>
                  <a:gd name="T9" fmla="*/ 0 h 27"/>
                </a:gdLst>
                <a:ahLst/>
                <a:cxnLst>
                  <a:cxn ang="0">
                    <a:pos x="T0" y="T1"/>
                  </a:cxn>
                  <a:cxn ang="0">
                    <a:pos x="T2" y="T3"/>
                  </a:cxn>
                  <a:cxn ang="0">
                    <a:pos x="T4" y="T5"/>
                  </a:cxn>
                  <a:cxn ang="0">
                    <a:pos x="T6" y="T7"/>
                  </a:cxn>
                  <a:cxn ang="0">
                    <a:pos x="T8" y="T9"/>
                  </a:cxn>
                </a:cxnLst>
                <a:rect l="0" t="0" r="r" b="b"/>
                <a:pathLst>
                  <a:path w="326" h="27">
                    <a:moveTo>
                      <a:pt x="326" y="0"/>
                    </a:moveTo>
                    <a:lnTo>
                      <a:pt x="0" y="0"/>
                    </a:lnTo>
                    <a:lnTo>
                      <a:pt x="3" y="27"/>
                    </a:lnTo>
                    <a:lnTo>
                      <a:pt x="323" y="27"/>
                    </a:lnTo>
                    <a:lnTo>
                      <a:pt x="326" y="0"/>
                    </a:lnTo>
                    <a:close/>
                  </a:path>
                </a:pathLst>
              </a:custGeom>
              <a:solidFill>
                <a:srgbClr val="FFFE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24" name="组合 23">
              <a:extLst>
                <a:ext uri="{FF2B5EF4-FFF2-40B4-BE49-F238E27FC236}">
                  <a16:creationId xmlns:a16="http://schemas.microsoft.com/office/drawing/2014/main" id="{99CA8986-2A44-4EE1-B4C0-5D9DD13CE3E9}"/>
                </a:ext>
              </a:extLst>
            </p:cNvPr>
            <p:cNvGrpSpPr/>
            <p:nvPr/>
          </p:nvGrpSpPr>
          <p:grpSpPr>
            <a:xfrm>
              <a:off x="2906251" y="4963298"/>
              <a:ext cx="888420" cy="887512"/>
              <a:chOff x="4422775" y="3495675"/>
              <a:chExt cx="1554163" cy="1552575"/>
            </a:xfrm>
          </p:grpSpPr>
          <p:sp>
            <p:nvSpPr>
              <p:cNvPr id="76" name="Oval 437">
                <a:extLst>
                  <a:ext uri="{FF2B5EF4-FFF2-40B4-BE49-F238E27FC236}">
                    <a16:creationId xmlns:a16="http://schemas.microsoft.com/office/drawing/2014/main" id="{F996DDE1-8B52-488D-8928-81E9A69512F1}"/>
                  </a:ext>
                </a:extLst>
              </p:cNvPr>
              <p:cNvSpPr>
                <a:spLocks noChangeArrowheads="1"/>
              </p:cNvSpPr>
              <p:nvPr/>
            </p:nvSpPr>
            <p:spPr bwMode="auto">
              <a:xfrm>
                <a:off x="4422775" y="3495675"/>
                <a:ext cx="1554163" cy="1552575"/>
              </a:xfrm>
              <a:prstGeom prst="ellipse">
                <a:avLst/>
              </a:pr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7" name="Freeform 438">
                <a:extLst>
                  <a:ext uri="{FF2B5EF4-FFF2-40B4-BE49-F238E27FC236}">
                    <a16:creationId xmlns:a16="http://schemas.microsoft.com/office/drawing/2014/main" id="{32F76A4D-3209-404F-9B34-3F8DCEC65817}"/>
                  </a:ext>
                </a:extLst>
              </p:cNvPr>
              <p:cNvSpPr>
                <a:spLocks/>
              </p:cNvSpPr>
              <p:nvPr/>
            </p:nvSpPr>
            <p:spPr bwMode="auto">
              <a:xfrm>
                <a:off x="5507038" y="4610100"/>
                <a:ext cx="215900" cy="219075"/>
              </a:xfrm>
              <a:custGeom>
                <a:avLst/>
                <a:gdLst>
                  <a:gd name="T0" fmla="*/ 68 w 76"/>
                  <a:gd name="T1" fmla="*/ 69 h 77"/>
                  <a:gd name="T2" fmla="*/ 7 w 76"/>
                  <a:gd name="T3" fmla="*/ 37 h 77"/>
                  <a:gd name="T4" fmla="*/ 8 w 76"/>
                  <a:gd name="T5" fmla="*/ 8 h 77"/>
                  <a:gd name="T6" fmla="*/ 36 w 76"/>
                  <a:gd name="T7" fmla="*/ 8 h 77"/>
                  <a:gd name="T8" fmla="*/ 68 w 76"/>
                  <a:gd name="T9" fmla="*/ 69 h 77"/>
                </a:gdLst>
                <a:ahLst/>
                <a:cxnLst>
                  <a:cxn ang="0">
                    <a:pos x="T0" y="T1"/>
                  </a:cxn>
                  <a:cxn ang="0">
                    <a:pos x="T2" y="T3"/>
                  </a:cxn>
                  <a:cxn ang="0">
                    <a:pos x="T4" y="T5"/>
                  </a:cxn>
                  <a:cxn ang="0">
                    <a:pos x="T6" y="T7"/>
                  </a:cxn>
                  <a:cxn ang="0">
                    <a:pos x="T8" y="T9"/>
                  </a:cxn>
                </a:cxnLst>
                <a:rect l="0" t="0" r="r" b="b"/>
                <a:pathLst>
                  <a:path w="76" h="77">
                    <a:moveTo>
                      <a:pt x="68" y="69"/>
                    </a:moveTo>
                    <a:cubicBezTo>
                      <a:pt x="60" y="77"/>
                      <a:pt x="7" y="37"/>
                      <a:pt x="7" y="37"/>
                    </a:cubicBezTo>
                    <a:cubicBezTo>
                      <a:pt x="0" y="29"/>
                      <a:pt x="0" y="16"/>
                      <a:pt x="8" y="8"/>
                    </a:cubicBezTo>
                    <a:cubicBezTo>
                      <a:pt x="16" y="0"/>
                      <a:pt x="28" y="0"/>
                      <a:pt x="36" y="8"/>
                    </a:cubicBezTo>
                    <a:cubicBezTo>
                      <a:pt x="36" y="8"/>
                      <a:pt x="76" y="61"/>
                      <a:pt x="68" y="69"/>
                    </a:cubicBezTo>
                  </a:path>
                </a:pathLst>
              </a:custGeom>
              <a:solidFill>
                <a:srgbClr val="004F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8" name="Freeform 439">
                <a:extLst>
                  <a:ext uri="{FF2B5EF4-FFF2-40B4-BE49-F238E27FC236}">
                    <a16:creationId xmlns:a16="http://schemas.microsoft.com/office/drawing/2014/main" id="{517C5BE8-734A-4578-9018-C92395BD2D23}"/>
                  </a:ext>
                </a:extLst>
              </p:cNvPr>
              <p:cNvSpPr>
                <a:spLocks/>
              </p:cNvSpPr>
              <p:nvPr/>
            </p:nvSpPr>
            <p:spPr bwMode="auto">
              <a:xfrm>
                <a:off x="5567363" y="4629150"/>
                <a:ext cx="136525" cy="176213"/>
              </a:xfrm>
              <a:custGeom>
                <a:avLst/>
                <a:gdLst>
                  <a:gd name="T0" fmla="*/ 14 w 48"/>
                  <a:gd name="T1" fmla="*/ 0 h 62"/>
                  <a:gd name="T2" fmla="*/ 0 w 48"/>
                  <a:gd name="T3" fmla="*/ 14 h 62"/>
                  <a:gd name="T4" fmla="*/ 47 w 48"/>
                  <a:gd name="T5" fmla="*/ 62 h 62"/>
                  <a:gd name="T6" fmla="*/ 48 w 48"/>
                  <a:gd name="T7" fmla="*/ 58 h 62"/>
                  <a:gd name="T8" fmla="*/ 15 w 48"/>
                  <a:gd name="T9" fmla="*/ 1 h 62"/>
                  <a:gd name="T10" fmla="*/ 14 w 48"/>
                  <a:gd name="T11" fmla="*/ 0 h 62"/>
                </a:gdLst>
                <a:ahLst/>
                <a:cxnLst>
                  <a:cxn ang="0">
                    <a:pos x="T0" y="T1"/>
                  </a:cxn>
                  <a:cxn ang="0">
                    <a:pos x="T2" y="T3"/>
                  </a:cxn>
                  <a:cxn ang="0">
                    <a:pos x="T4" y="T5"/>
                  </a:cxn>
                  <a:cxn ang="0">
                    <a:pos x="T6" y="T7"/>
                  </a:cxn>
                  <a:cxn ang="0">
                    <a:pos x="T8" y="T9"/>
                  </a:cxn>
                  <a:cxn ang="0">
                    <a:pos x="T10" y="T11"/>
                  </a:cxn>
                </a:cxnLst>
                <a:rect l="0" t="0" r="r" b="b"/>
                <a:pathLst>
                  <a:path w="48" h="62">
                    <a:moveTo>
                      <a:pt x="14" y="0"/>
                    </a:moveTo>
                    <a:cubicBezTo>
                      <a:pt x="10" y="5"/>
                      <a:pt x="5" y="10"/>
                      <a:pt x="0" y="14"/>
                    </a:cubicBezTo>
                    <a:cubicBezTo>
                      <a:pt x="47" y="62"/>
                      <a:pt x="47" y="62"/>
                      <a:pt x="47" y="62"/>
                    </a:cubicBezTo>
                    <a:cubicBezTo>
                      <a:pt x="48" y="61"/>
                      <a:pt x="48" y="60"/>
                      <a:pt x="48" y="58"/>
                    </a:cubicBezTo>
                    <a:cubicBezTo>
                      <a:pt x="48" y="44"/>
                      <a:pt x="15" y="1"/>
                      <a:pt x="15" y="1"/>
                    </a:cubicBezTo>
                    <a:cubicBezTo>
                      <a:pt x="15" y="0"/>
                      <a:pt x="14" y="0"/>
                      <a:pt x="14" y="0"/>
                    </a:cubicBezTo>
                  </a:path>
                </a:pathLst>
              </a:custGeom>
              <a:solidFill>
                <a:srgbClr val="0039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9" name="Freeform 440">
                <a:extLst>
                  <a:ext uri="{FF2B5EF4-FFF2-40B4-BE49-F238E27FC236}">
                    <a16:creationId xmlns:a16="http://schemas.microsoft.com/office/drawing/2014/main" id="{86AB5496-F4A7-475C-88D3-818D0E5977A5}"/>
                  </a:ext>
                </a:extLst>
              </p:cNvPr>
              <p:cNvSpPr>
                <a:spLocks/>
              </p:cNvSpPr>
              <p:nvPr/>
            </p:nvSpPr>
            <p:spPr bwMode="auto">
              <a:xfrm>
                <a:off x="4664075" y="4618038"/>
                <a:ext cx="219075" cy="219075"/>
              </a:xfrm>
              <a:custGeom>
                <a:avLst/>
                <a:gdLst>
                  <a:gd name="T0" fmla="*/ 8 w 77"/>
                  <a:gd name="T1" fmla="*/ 69 h 77"/>
                  <a:gd name="T2" fmla="*/ 69 w 77"/>
                  <a:gd name="T3" fmla="*/ 36 h 77"/>
                  <a:gd name="T4" fmla="*/ 69 w 77"/>
                  <a:gd name="T5" fmla="*/ 8 h 77"/>
                  <a:gd name="T6" fmla="*/ 41 w 77"/>
                  <a:gd name="T7" fmla="*/ 8 h 77"/>
                  <a:gd name="T8" fmla="*/ 8 w 77"/>
                  <a:gd name="T9" fmla="*/ 69 h 77"/>
                </a:gdLst>
                <a:ahLst/>
                <a:cxnLst>
                  <a:cxn ang="0">
                    <a:pos x="T0" y="T1"/>
                  </a:cxn>
                  <a:cxn ang="0">
                    <a:pos x="T2" y="T3"/>
                  </a:cxn>
                  <a:cxn ang="0">
                    <a:pos x="T4" y="T5"/>
                  </a:cxn>
                  <a:cxn ang="0">
                    <a:pos x="T6" y="T7"/>
                  </a:cxn>
                  <a:cxn ang="0">
                    <a:pos x="T8" y="T9"/>
                  </a:cxn>
                </a:cxnLst>
                <a:rect l="0" t="0" r="r" b="b"/>
                <a:pathLst>
                  <a:path w="77" h="77">
                    <a:moveTo>
                      <a:pt x="8" y="69"/>
                    </a:moveTo>
                    <a:cubicBezTo>
                      <a:pt x="15" y="77"/>
                      <a:pt x="69" y="36"/>
                      <a:pt x="69" y="36"/>
                    </a:cubicBezTo>
                    <a:cubicBezTo>
                      <a:pt x="77" y="28"/>
                      <a:pt x="77" y="15"/>
                      <a:pt x="69" y="8"/>
                    </a:cubicBezTo>
                    <a:cubicBezTo>
                      <a:pt x="62" y="0"/>
                      <a:pt x="49" y="0"/>
                      <a:pt x="41" y="8"/>
                    </a:cubicBezTo>
                    <a:cubicBezTo>
                      <a:pt x="41" y="8"/>
                      <a:pt x="0" y="62"/>
                      <a:pt x="8" y="69"/>
                    </a:cubicBezTo>
                  </a:path>
                </a:pathLst>
              </a:custGeom>
              <a:solidFill>
                <a:srgbClr val="004F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0" name="Freeform 441">
                <a:extLst>
                  <a:ext uri="{FF2B5EF4-FFF2-40B4-BE49-F238E27FC236}">
                    <a16:creationId xmlns:a16="http://schemas.microsoft.com/office/drawing/2014/main" id="{AEE02A23-0AB5-449E-9189-63AD67145FF1}"/>
                  </a:ext>
                </a:extLst>
              </p:cNvPr>
              <p:cNvSpPr>
                <a:spLocks/>
              </p:cNvSpPr>
              <p:nvPr/>
            </p:nvSpPr>
            <p:spPr bwMode="auto">
              <a:xfrm>
                <a:off x="4687888" y="4668838"/>
                <a:ext cx="184150" cy="149225"/>
              </a:xfrm>
              <a:custGeom>
                <a:avLst/>
                <a:gdLst>
                  <a:gd name="T0" fmla="*/ 51 w 65"/>
                  <a:gd name="T1" fmla="*/ 0 h 52"/>
                  <a:gd name="T2" fmla="*/ 0 w 65"/>
                  <a:gd name="T3" fmla="*/ 51 h 52"/>
                  <a:gd name="T4" fmla="*/ 3 w 65"/>
                  <a:gd name="T5" fmla="*/ 52 h 52"/>
                  <a:gd name="T6" fmla="*/ 61 w 65"/>
                  <a:gd name="T7" fmla="*/ 18 h 52"/>
                  <a:gd name="T8" fmla="*/ 65 w 65"/>
                  <a:gd name="T9" fmla="*/ 12 h 52"/>
                  <a:gd name="T10" fmla="*/ 51 w 65"/>
                  <a:gd name="T11" fmla="*/ 0 h 52"/>
                </a:gdLst>
                <a:ahLst/>
                <a:cxnLst>
                  <a:cxn ang="0">
                    <a:pos x="T0" y="T1"/>
                  </a:cxn>
                  <a:cxn ang="0">
                    <a:pos x="T2" y="T3"/>
                  </a:cxn>
                  <a:cxn ang="0">
                    <a:pos x="T4" y="T5"/>
                  </a:cxn>
                  <a:cxn ang="0">
                    <a:pos x="T6" y="T7"/>
                  </a:cxn>
                  <a:cxn ang="0">
                    <a:pos x="T8" y="T9"/>
                  </a:cxn>
                  <a:cxn ang="0">
                    <a:pos x="T10" y="T11"/>
                  </a:cxn>
                </a:cxnLst>
                <a:rect l="0" t="0" r="r" b="b"/>
                <a:pathLst>
                  <a:path w="65" h="52">
                    <a:moveTo>
                      <a:pt x="51" y="0"/>
                    </a:moveTo>
                    <a:cubicBezTo>
                      <a:pt x="0" y="51"/>
                      <a:pt x="0" y="51"/>
                      <a:pt x="0" y="51"/>
                    </a:cubicBezTo>
                    <a:cubicBezTo>
                      <a:pt x="0" y="52"/>
                      <a:pt x="1" y="52"/>
                      <a:pt x="3" y="52"/>
                    </a:cubicBezTo>
                    <a:cubicBezTo>
                      <a:pt x="16" y="52"/>
                      <a:pt x="61" y="18"/>
                      <a:pt x="61" y="18"/>
                    </a:cubicBezTo>
                    <a:cubicBezTo>
                      <a:pt x="63" y="16"/>
                      <a:pt x="64" y="14"/>
                      <a:pt x="65" y="12"/>
                    </a:cubicBezTo>
                    <a:cubicBezTo>
                      <a:pt x="60" y="8"/>
                      <a:pt x="56" y="4"/>
                      <a:pt x="51" y="0"/>
                    </a:cubicBezTo>
                  </a:path>
                </a:pathLst>
              </a:custGeom>
              <a:solidFill>
                <a:srgbClr val="0039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1" name="Oval 442">
                <a:extLst>
                  <a:ext uri="{FF2B5EF4-FFF2-40B4-BE49-F238E27FC236}">
                    <a16:creationId xmlns:a16="http://schemas.microsoft.com/office/drawing/2014/main" id="{136B88B8-31DF-4785-8F11-E319939F8AC1}"/>
                  </a:ext>
                </a:extLst>
              </p:cNvPr>
              <p:cNvSpPr>
                <a:spLocks noChangeArrowheads="1"/>
              </p:cNvSpPr>
              <p:nvPr/>
            </p:nvSpPr>
            <p:spPr bwMode="auto">
              <a:xfrm>
                <a:off x="5640388" y="3738563"/>
                <a:ext cx="100013" cy="101600"/>
              </a:xfrm>
              <a:prstGeom prst="ellipse">
                <a:avLst/>
              </a:prstGeom>
              <a:solidFill>
                <a:srgbClr val="AF17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2" name="Freeform 443">
                <a:extLst>
                  <a:ext uri="{FF2B5EF4-FFF2-40B4-BE49-F238E27FC236}">
                    <a16:creationId xmlns:a16="http://schemas.microsoft.com/office/drawing/2014/main" id="{9FC6A777-E0E8-4533-B99F-299ABE9D79F9}"/>
                  </a:ext>
                </a:extLst>
              </p:cNvPr>
              <p:cNvSpPr>
                <a:spLocks/>
              </p:cNvSpPr>
              <p:nvPr/>
            </p:nvSpPr>
            <p:spPr bwMode="auto">
              <a:xfrm>
                <a:off x="5734050" y="3763963"/>
                <a:ext cx="6350" cy="25400"/>
              </a:xfrm>
              <a:custGeom>
                <a:avLst/>
                <a:gdLst>
                  <a:gd name="T0" fmla="*/ 0 w 2"/>
                  <a:gd name="T1" fmla="*/ 0 h 9"/>
                  <a:gd name="T2" fmla="*/ 2 w 2"/>
                  <a:gd name="T3" fmla="*/ 9 h 9"/>
                  <a:gd name="T4" fmla="*/ 0 w 2"/>
                  <a:gd name="T5" fmla="*/ 0 h 9"/>
                </a:gdLst>
                <a:ahLst/>
                <a:cxnLst>
                  <a:cxn ang="0">
                    <a:pos x="T0" y="T1"/>
                  </a:cxn>
                  <a:cxn ang="0">
                    <a:pos x="T2" y="T3"/>
                  </a:cxn>
                  <a:cxn ang="0">
                    <a:pos x="T4" y="T5"/>
                  </a:cxn>
                </a:cxnLst>
                <a:rect l="0" t="0" r="r" b="b"/>
                <a:pathLst>
                  <a:path w="2" h="9">
                    <a:moveTo>
                      <a:pt x="0" y="0"/>
                    </a:moveTo>
                    <a:cubicBezTo>
                      <a:pt x="2" y="3"/>
                      <a:pt x="2" y="6"/>
                      <a:pt x="2" y="9"/>
                    </a:cubicBezTo>
                    <a:cubicBezTo>
                      <a:pt x="2" y="6"/>
                      <a:pt x="2" y="3"/>
                      <a:pt x="0" y="0"/>
                    </a:cubicBezTo>
                  </a:path>
                </a:pathLst>
              </a:custGeom>
              <a:solidFill>
                <a:srgbClr val="DF8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3" name="Freeform 444">
                <a:extLst>
                  <a:ext uri="{FF2B5EF4-FFF2-40B4-BE49-F238E27FC236}">
                    <a16:creationId xmlns:a16="http://schemas.microsoft.com/office/drawing/2014/main" id="{828D2CCD-417C-486A-9F4E-6A78155A9ACA}"/>
                  </a:ext>
                </a:extLst>
              </p:cNvPr>
              <p:cNvSpPr>
                <a:spLocks/>
              </p:cNvSpPr>
              <p:nvPr/>
            </p:nvSpPr>
            <p:spPr bwMode="auto">
              <a:xfrm>
                <a:off x="5694363" y="3752850"/>
                <a:ext cx="46038" cy="71438"/>
              </a:xfrm>
              <a:custGeom>
                <a:avLst/>
                <a:gdLst>
                  <a:gd name="T0" fmla="*/ 11 w 16"/>
                  <a:gd name="T1" fmla="*/ 0 h 25"/>
                  <a:gd name="T2" fmla="*/ 0 w 16"/>
                  <a:gd name="T3" fmla="*/ 10 h 25"/>
                  <a:gd name="T4" fmla="*/ 12 w 16"/>
                  <a:gd name="T5" fmla="*/ 25 h 25"/>
                  <a:gd name="T6" fmla="*/ 16 w 16"/>
                  <a:gd name="T7" fmla="*/ 13 h 25"/>
                  <a:gd name="T8" fmla="*/ 16 w 16"/>
                  <a:gd name="T9" fmla="*/ 13 h 25"/>
                  <a:gd name="T10" fmla="*/ 16 w 16"/>
                  <a:gd name="T11" fmla="*/ 13 h 25"/>
                  <a:gd name="T12" fmla="*/ 14 w 16"/>
                  <a:gd name="T13" fmla="*/ 4 h 25"/>
                  <a:gd name="T14" fmla="*/ 11 w 16"/>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5">
                    <a:moveTo>
                      <a:pt x="11" y="0"/>
                    </a:moveTo>
                    <a:cubicBezTo>
                      <a:pt x="0" y="10"/>
                      <a:pt x="0" y="10"/>
                      <a:pt x="0" y="10"/>
                    </a:cubicBezTo>
                    <a:cubicBezTo>
                      <a:pt x="5" y="15"/>
                      <a:pt x="9" y="20"/>
                      <a:pt x="12" y="25"/>
                    </a:cubicBezTo>
                    <a:cubicBezTo>
                      <a:pt x="15" y="22"/>
                      <a:pt x="16" y="18"/>
                      <a:pt x="16" y="13"/>
                    </a:cubicBezTo>
                    <a:cubicBezTo>
                      <a:pt x="16" y="13"/>
                      <a:pt x="16" y="13"/>
                      <a:pt x="16" y="13"/>
                    </a:cubicBezTo>
                    <a:cubicBezTo>
                      <a:pt x="16" y="13"/>
                      <a:pt x="16" y="13"/>
                      <a:pt x="16" y="13"/>
                    </a:cubicBezTo>
                    <a:cubicBezTo>
                      <a:pt x="16" y="10"/>
                      <a:pt x="16" y="7"/>
                      <a:pt x="14" y="4"/>
                    </a:cubicBezTo>
                    <a:cubicBezTo>
                      <a:pt x="13" y="3"/>
                      <a:pt x="12" y="1"/>
                      <a:pt x="11" y="0"/>
                    </a:cubicBezTo>
                  </a:path>
                </a:pathLst>
              </a:custGeom>
              <a:solidFill>
                <a:srgbClr val="990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4" name="Oval 445">
                <a:extLst>
                  <a:ext uri="{FF2B5EF4-FFF2-40B4-BE49-F238E27FC236}">
                    <a16:creationId xmlns:a16="http://schemas.microsoft.com/office/drawing/2014/main" id="{FCA8073F-7E5E-4722-A890-8A4F8887908C}"/>
                  </a:ext>
                </a:extLst>
              </p:cNvPr>
              <p:cNvSpPr>
                <a:spLocks noChangeArrowheads="1"/>
              </p:cNvSpPr>
              <p:nvPr/>
            </p:nvSpPr>
            <p:spPr bwMode="auto">
              <a:xfrm>
                <a:off x="5367338" y="3724275"/>
                <a:ext cx="384175" cy="384175"/>
              </a:xfrm>
              <a:prstGeom prst="ellipse">
                <a:avLst/>
              </a:prstGeom>
              <a:solidFill>
                <a:srgbClr val="004F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5" name="Freeform 446">
                <a:extLst>
                  <a:ext uri="{FF2B5EF4-FFF2-40B4-BE49-F238E27FC236}">
                    <a16:creationId xmlns:a16="http://schemas.microsoft.com/office/drawing/2014/main" id="{806526A8-7CA2-44D8-9FC2-D71CE219E9C1}"/>
                  </a:ext>
                </a:extLst>
              </p:cNvPr>
              <p:cNvSpPr>
                <a:spLocks noEditPoints="1"/>
              </p:cNvSpPr>
              <p:nvPr/>
            </p:nvSpPr>
            <p:spPr bwMode="auto">
              <a:xfrm>
                <a:off x="5689600" y="3824288"/>
                <a:ext cx="65088" cy="234950"/>
              </a:xfrm>
              <a:custGeom>
                <a:avLst/>
                <a:gdLst>
                  <a:gd name="T0" fmla="*/ 1 w 23"/>
                  <a:gd name="T1" fmla="*/ 82 h 83"/>
                  <a:gd name="T2" fmla="*/ 0 w 23"/>
                  <a:gd name="T3" fmla="*/ 83 h 83"/>
                  <a:gd name="T4" fmla="*/ 0 w 23"/>
                  <a:gd name="T5" fmla="*/ 83 h 83"/>
                  <a:gd name="T6" fmla="*/ 1 w 23"/>
                  <a:gd name="T7" fmla="*/ 82 h 83"/>
                  <a:gd name="T8" fmla="*/ 19 w 23"/>
                  <a:gd name="T9" fmla="*/ 53 h 83"/>
                  <a:gd name="T10" fmla="*/ 4 w 23"/>
                  <a:gd name="T11" fmla="*/ 79 h 83"/>
                  <a:gd name="T12" fmla="*/ 19 w 23"/>
                  <a:gd name="T13" fmla="*/ 53 h 83"/>
                  <a:gd name="T14" fmla="*/ 19 w 23"/>
                  <a:gd name="T15" fmla="*/ 53 h 83"/>
                  <a:gd name="T16" fmla="*/ 19 w 23"/>
                  <a:gd name="T17" fmla="*/ 53 h 83"/>
                  <a:gd name="T18" fmla="*/ 19 w 23"/>
                  <a:gd name="T19" fmla="*/ 53 h 83"/>
                  <a:gd name="T20" fmla="*/ 14 w 23"/>
                  <a:gd name="T21" fmla="*/ 0 h 83"/>
                  <a:gd name="T22" fmla="*/ 14 w 23"/>
                  <a:gd name="T23" fmla="*/ 0 h 83"/>
                  <a:gd name="T24" fmla="*/ 22 w 23"/>
                  <a:gd name="T25" fmla="*/ 33 h 83"/>
                  <a:gd name="T26" fmla="*/ 21 w 23"/>
                  <a:gd name="T27" fmla="*/ 43 h 83"/>
                  <a:gd name="T28" fmla="*/ 14 w 23"/>
                  <a:gd name="T2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83">
                    <a:moveTo>
                      <a:pt x="1" y="82"/>
                    </a:moveTo>
                    <a:cubicBezTo>
                      <a:pt x="0" y="82"/>
                      <a:pt x="0" y="82"/>
                      <a:pt x="0" y="83"/>
                    </a:cubicBezTo>
                    <a:cubicBezTo>
                      <a:pt x="0" y="83"/>
                      <a:pt x="0" y="83"/>
                      <a:pt x="0" y="83"/>
                    </a:cubicBezTo>
                    <a:cubicBezTo>
                      <a:pt x="0" y="82"/>
                      <a:pt x="0" y="82"/>
                      <a:pt x="1" y="82"/>
                    </a:cubicBezTo>
                    <a:moveTo>
                      <a:pt x="19" y="53"/>
                    </a:moveTo>
                    <a:cubicBezTo>
                      <a:pt x="16" y="63"/>
                      <a:pt x="11" y="71"/>
                      <a:pt x="4" y="79"/>
                    </a:cubicBezTo>
                    <a:cubicBezTo>
                      <a:pt x="11" y="71"/>
                      <a:pt x="16" y="62"/>
                      <a:pt x="19" y="53"/>
                    </a:cubicBezTo>
                    <a:moveTo>
                      <a:pt x="19" y="53"/>
                    </a:moveTo>
                    <a:cubicBezTo>
                      <a:pt x="19" y="53"/>
                      <a:pt x="19" y="53"/>
                      <a:pt x="19" y="53"/>
                    </a:cubicBezTo>
                    <a:cubicBezTo>
                      <a:pt x="19" y="53"/>
                      <a:pt x="19" y="53"/>
                      <a:pt x="19" y="53"/>
                    </a:cubicBezTo>
                    <a:moveTo>
                      <a:pt x="14" y="0"/>
                    </a:moveTo>
                    <a:cubicBezTo>
                      <a:pt x="14" y="0"/>
                      <a:pt x="14" y="0"/>
                      <a:pt x="14" y="0"/>
                    </a:cubicBezTo>
                    <a:cubicBezTo>
                      <a:pt x="19" y="10"/>
                      <a:pt x="22" y="21"/>
                      <a:pt x="22" y="33"/>
                    </a:cubicBezTo>
                    <a:cubicBezTo>
                      <a:pt x="22" y="36"/>
                      <a:pt x="22" y="40"/>
                      <a:pt x="21" y="43"/>
                    </a:cubicBezTo>
                    <a:cubicBezTo>
                      <a:pt x="23" y="29"/>
                      <a:pt x="21" y="14"/>
                      <a:pt x="14" y="0"/>
                    </a:cubicBezTo>
                  </a:path>
                </a:pathLst>
              </a:custGeom>
              <a:solidFill>
                <a:srgbClr val="B2A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6" name="Oval 447">
                <a:extLst>
                  <a:ext uri="{FF2B5EF4-FFF2-40B4-BE49-F238E27FC236}">
                    <a16:creationId xmlns:a16="http://schemas.microsoft.com/office/drawing/2014/main" id="{07A8013B-F430-42D7-8EF0-2DAC9148D993}"/>
                  </a:ext>
                </a:extLst>
              </p:cNvPr>
              <p:cNvSpPr>
                <a:spLocks noChangeArrowheads="1"/>
              </p:cNvSpPr>
              <p:nvPr/>
            </p:nvSpPr>
            <p:spPr bwMode="auto">
              <a:xfrm>
                <a:off x="5694363" y="3781425"/>
                <a:ext cx="1588" cy="1588"/>
              </a:xfrm>
              <a:prstGeom prst="ellipse">
                <a:avLst/>
              </a:prstGeom>
              <a:solidFill>
                <a:srgbClr val="7A12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7" name="Freeform 448">
                <a:extLst>
                  <a:ext uri="{FF2B5EF4-FFF2-40B4-BE49-F238E27FC236}">
                    <a16:creationId xmlns:a16="http://schemas.microsoft.com/office/drawing/2014/main" id="{BC66BA51-8615-47C8-9C67-FDC13ED50FB2}"/>
                  </a:ext>
                </a:extLst>
              </p:cNvPr>
              <p:cNvSpPr>
                <a:spLocks/>
              </p:cNvSpPr>
              <p:nvPr/>
            </p:nvSpPr>
            <p:spPr bwMode="auto">
              <a:xfrm>
                <a:off x="5694363" y="3781425"/>
                <a:ext cx="34925" cy="42863"/>
              </a:xfrm>
              <a:custGeom>
                <a:avLst/>
                <a:gdLst>
                  <a:gd name="T0" fmla="*/ 0 w 12"/>
                  <a:gd name="T1" fmla="*/ 0 h 15"/>
                  <a:gd name="T2" fmla="*/ 0 w 12"/>
                  <a:gd name="T3" fmla="*/ 0 h 15"/>
                  <a:gd name="T4" fmla="*/ 12 w 12"/>
                  <a:gd name="T5" fmla="*/ 15 h 15"/>
                  <a:gd name="T6" fmla="*/ 12 w 12"/>
                  <a:gd name="T7" fmla="*/ 15 h 15"/>
                  <a:gd name="T8" fmla="*/ 0 w 12"/>
                  <a:gd name="T9" fmla="*/ 0 h 15"/>
                </a:gdLst>
                <a:ahLst/>
                <a:cxnLst>
                  <a:cxn ang="0">
                    <a:pos x="T0" y="T1"/>
                  </a:cxn>
                  <a:cxn ang="0">
                    <a:pos x="T2" y="T3"/>
                  </a:cxn>
                  <a:cxn ang="0">
                    <a:pos x="T4" y="T5"/>
                  </a:cxn>
                  <a:cxn ang="0">
                    <a:pos x="T6" y="T7"/>
                  </a:cxn>
                  <a:cxn ang="0">
                    <a:pos x="T8" y="T9"/>
                  </a:cxn>
                </a:cxnLst>
                <a:rect l="0" t="0" r="r" b="b"/>
                <a:pathLst>
                  <a:path w="12" h="15">
                    <a:moveTo>
                      <a:pt x="0" y="0"/>
                    </a:moveTo>
                    <a:cubicBezTo>
                      <a:pt x="0" y="0"/>
                      <a:pt x="0" y="0"/>
                      <a:pt x="0" y="0"/>
                    </a:cubicBezTo>
                    <a:cubicBezTo>
                      <a:pt x="5" y="5"/>
                      <a:pt x="9" y="10"/>
                      <a:pt x="12" y="15"/>
                    </a:cubicBezTo>
                    <a:cubicBezTo>
                      <a:pt x="12" y="15"/>
                      <a:pt x="12" y="15"/>
                      <a:pt x="12" y="15"/>
                    </a:cubicBezTo>
                    <a:cubicBezTo>
                      <a:pt x="9" y="10"/>
                      <a:pt x="5" y="5"/>
                      <a:pt x="0" y="0"/>
                    </a:cubicBezTo>
                  </a:path>
                </a:pathLst>
              </a:custGeom>
              <a:solidFill>
                <a:srgbClr val="6B0C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8" name="Freeform 449">
                <a:extLst>
                  <a:ext uri="{FF2B5EF4-FFF2-40B4-BE49-F238E27FC236}">
                    <a16:creationId xmlns:a16="http://schemas.microsoft.com/office/drawing/2014/main" id="{7B12197E-6D23-4963-A16B-EADBC52636EC}"/>
                  </a:ext>
                </a:extLst>
              </p:cNvPr>
              <p:cNvSpPr>
                <a:spLocks/>
              </p:cNvSpPr>
              <p:nvPr/>
            </p:nvSpPr>
            <p:spPr bwMode="auto">
              <a:xfrm>
                <a:off x="5578475" y="3781425"/>
                <a:ext cx="173038" cy="277813"/>
              </a:xfrm>
              <a:custGeom>
                <a:avLst/>
                <a:gdLst>
                  <a:gd name="T0" fmla="*/ 41 w 61"/>
                  <a:gd name="T1" fmla="*/ 0 h 98"/>
                  <a:gd name="T2" fmla="*/ 0 w 61"/>
                  <a:gd name="T3" fmla="*/ 41 h 98"/>
                  <a:gd name="T4" fmla="*/ 39 w 61"/>
                  <a:gd name="T5" fmla="*/ 98 h 98"/>
                  <a:gd name="T6" fmla="*/ 40 w 61"/>
                  <a:gd name="T7" fmla="*/ 97 h 98"/>
                  <a:gd name="T8" fmla="*/ 41 w 61"/>
                  <a:gd name="T9" fmla="*/ 95 h 98"/>
                  <a:gd name="T10" fmla="*/ 43 w 61"/>
                  <a:gd name="T11" fmla="*/ 94 h 98"/>
                  <a:gd name="T12" fmla="*/ 58 w 61"/>
                  <a:gd name="T13" fmla="*/ 68 h 98"/>
                  <a:gd name="T14" fmla="*/ 58 w 61"/>
                  <a:gd name="T15" fmla="*/ 68 h 98"/>
                  <a:gd name="T16" fmla="*/ 58 w 61"/>
                  <a:gd name="T17" fmla="*/ 68 h 98"/>
                  <a:gd name="T18" fmla="*/ 60 w 61"/>
                  <a:gd name="T19" fmla="*/ 58 h 98"/>
                  <a:gd name="T20" fmla="*/ 61 w 61"/>
                  <a:gd name="T21" fmla="*/ 48 h 98"/>
                  <a:gd name="T22" fmla="*/ 53 w 61"/>
                  <a:gd name="T23" fmla="*/ 15 h 98"/>
                  <a:gd name="T24" fmla="*/ 53 w 61"/>
                  <a:gd name="T25" fmla="*/ 15 h 98"/>
                  <a:gd name="T26" fmla="*/ 41 w 61"/>
                  <a:gd name="T27" fmla="*/ 0 h 98"/>
                  <a:gd name="T28" fmla="*/ 41 w 61"/>
                  <a:gd name="T2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 h="98">
                    <a:moveTo>
                      <a:pt x="41" y="0"/>
                    </a:moveTo>
                    <a:cubicBezTo>
                      <a:pt x="0" y="41"/>
                      <a:pt x="0" y="41"/>
                      <a:pt x="0" y="41"/>
                    </a:cubicBezTo>
                    <a:cubicBezTo>
                      <a:pt x="16" y="57"/>
                      <a:pt x="30" y="76"/>
                      <a:pt x="39" y="98"/>
                    </a:cubicBezTo>
                    <a:cubicBezTo>
                      <a:pt x="39" y="97"/>
                      <a:pt x="39" y="97"/>
                      <a:pt x="40" y="97"/>
                    </a:cubicBezTo>
                    <a:cubicBezTo>
                      <a:pt x="40" y="97"/>
                      <a:pt x="41" y="96"/>
                      <a:pt x="41" y="95"/>
                    </a:cubicBezTo>
                    <a:cubicBezTo>
                      <a:pt x="42" y="95"/>
                      <a:pt x="42" y="94"/>
                      <a:pt x="43" y="94"/>
                    </a:cubicBezTo>
                    <a:cubicBezTo>
                      <a:pt x="50" y="86"/>
                      <a:pt x="55" y="78"/>
                      <a:pt x="58" y="68"/>
                    </a:cubicBezTo>
                    <a:cubicBezTo>
                      <a:pt x="58" y="68"/>
                      <a:pt x="58" y="68"/>
                      <a:pt x="58" y="68"/>
                    </a:cubicBezTo>
                    <a:cubicBezTo>
                      <a:pt x="58" y="68"/>
                      <a:pt x="58" y="68"/>
                      <a:pt x="58" y="68"/>
                    </a:cubicBezTo>
                    <a:cubicBezTo>
                      <a:pt x="59" y="65"/>
                      <a:pt x="60" y="61"/>
                      <a:pt x="60" y="58"/>
                    </a:cubicBezTo>
                    <a:cubicBezTo>
                      <a:pt x="61" y="55"/>
                      <a:pt x="61" y="51"/>
                      <a:pt x="61" y="48"/>
                    </a:cubicBezTo>
                    <a:cubicBezTo>
                      <a:pt x="61" y="36"/>
                      <a:pt x="58" y="25"/>
                      <a:pt x="53" y="15"/>
                    </a:cubicBezTo>
                    <a:cubicBezTo>
                      <a:pt x="53" y="15"/>
                      <a:pt x="53" y="15"/>
                      <a:pt x="53" y="15"/>
                    </a:cubicBezTo>
                    <a:cubicBezTo>
                      <a:pt x="50" y="10"/>
                      <a:pt x="46" y="5"/>
                      <a:pt x="41" y="0"/>
                    </a:cubicBezTo>
                    <a:cubicBezTo>
                      <a:pt x="41" y="0"/>
                      <a:pt x="41" y="0"/>
                      <a:pt x="41" y="0"/>
                    </a:cubicBezTo>
                  </a:path>
                </a:pathLst>
              </a:custGeom>
              <a:solidFill>
                <a:srgbClr val="003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9" name="Oval 450">
                <a:extLst>
                  <a:ext uri="{FF2B5EF4-FFF2-40B4-BE49-F238E27FC236}">
                    <a16:creationId xmlns:a16="http://schemas.microsoft.com/office/drawing/2014/main" id="{5AB5DCAD-580F-4741-973F-1DB9DE31B459}"/>
                  </a:ext>
                </a:extLst>
              </p:cNvPr>
              <p:cNvSpPr>
                <a:spLocks noChangeArrowheads="1"/>
              </p:cNvSpPr>
              <p:nvPr/>
            </p:nvSpPr>
            <p:spPr bwMode="auto">
              <a:xfrm>
                <a:off x="4659313" y="3738563"/>
                <a:ext cx="101600" cy="101600"/>
              </a:xfrm>
              <a:prstGeom prst="ellipse">
                <a:avLst/>
              </a:prstGeom>
              <a:solidFill>
                <a:srgbClr val="AF17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0" name="Freeform 451">
                <a:extLst>
                  <a:ext uri="{FF2B5EF4-FFF2-40B4-BE49-F238E27FC236}">
                    <a16:creationId xmlns:a16="http://schemas.microsoft.com/office/drawing/2014/main" id="{BDFF68B7-BD32-4BE5-BBFF-5C6AFD23BD78}"/>
                  </a:ext>
                </a:extLst>
              </p:cNvPr>
              <p:cNvSpPr>
                <a:spLocks noEditPoints="1"/>
              </p:cNvSpPr>
              <p:nvPr/>
            </p:nvSpPr>
            <p:spPr bwMode="auto">
              <a:xfrm>
                <a:off x="4659313" y="3767138"/>
                <a:ext cx="4763" cy="22225"/>
              </a:xfrm>
              <a:custGeom>
                <a:avLst/>
                <a:gdLst>
                  <a:gd name="T0" fmla="*/ 0 w 2"/>
                  <a:gd name="T1" fmla="*/ 8 h 8"/>
                  <a:gd name="T2" fmla="*/ 0 w 2"/>
                  <a:gd name="T3" fmla="*/ 8 h 8"/>
                  <a:gd name="T4" fmla="*/ 0 w 2"/>
                  <a:gd name="T5" fmla="*/ 8 h 8"/>
                  <a:gd name="T6" fmla="*/ 2 w 2"/>
                  <a:gd name="T7" fmla="*/ 0 h 8"/>
                  <a:gd name="T8" fmla="*/ 0 w 2"/>
                  <a:gd name="T9" fmla="*/ 8 h 8"/>
                  <a:gd name="T10" fmla="*/ 2 w 2"/>
                  <a:gd name="T11" fmla="*/ 0 h 8"/>
                </a:gdLst>
                <a:ahLst/>
                <a:cxnLst>
                  <a:cxn ang="0">
                    <a:pos x="T0" y="T1"/>
                  </a:cxn>
                  <a:cxn ang="0">
                    <a:pos x="T2" y="T3"/>
                  </a:cxn>
                  <a:cxn ang="0">
                    <a:pos x="T4" y="T5"/>
                  </a:cxn>
                  <a:cxn ang="0">
                    <a:pos x="T6" y="T7"/>
                  </a:cxn>
                  <a:cxn ang="0">
                    <a:pos x="T8" y="T9"/>
                  </a:cxn>
                  <a:cxn ang="0">
                    <a:pos x="T10" y="T11"/>
                  </a:cxn>
                </a:cxnLst>
                <a:rect l="0" t="0" r="r" b="b"/>
                <a:pathLst>
                  <a:path w="2" h="8">
                    <a:moveTo>
                      <a:pt x="0" y="8"/>
                    </a:moveTo>
                    <a:cubicBezTo>
                      <a:pt x="0" y="8"/>
                      <a:pt x="0" y="8"/>
                      <a:pt x="0" y="8"/>
                    </a:cubicBezTo>
                    <a:cubicBezTo>
                      <a:pt x="0" y="8"/>
                      <a:pt x="0" y="8"/>
                      <a:pt x="0" y="8"/>
                    </a:cubicBezTo>
                    <a:moveTo>
                      <a:pt x="2" y="0"/>
                    </a:moveTo>
                    <a:cubicBezTo>
                      <a:pt x="1" y="3"/>
                      <a:pt x="0" y="5"/>
                      <a:pt x="0" y="8"/>
                    </a:cubicBezTo>
                    <a:cubicBezTo>
                      <a:pt x="0" y="5"/>
                      <a:pt x="1" y="3"/>
                      <a:pt x="2" y="0"/>
                    </a:cubicBezTo>
                  </a:path>
                </a:pathLst>
              </a:custGeom>
              <a:solidFill>
                <a:srgbClr val="DF8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1" name="Freeform 452">
                <a:extLst>
                  <a:ext uri="{FF2B5EF4-FFF2-40B4-BE49-F238E27FC236}">
                    <a16:creationId xmlns:a16="http://schemas.microsoft.com/office/drawing/2014/main" id="{15FAE1F0-F679-4539-AA84-05390F6BDE4B}"/>
                  </a:ext>
                </a:extLst>
              </p:cNvPr>
              <p:cNvSpPr>
                <a:spLocks/>
              </p:cNvSpPr>
              <p:nvPr/>
            </p:nvSpPr>
            <p:spPr bwMode="auto">
              <a:xfrm>
                <a:off x="4659313" y="3752850"/>
                <a:ext cx="44450" cy="71438"/>
              </a:xfrm>
              <a:custGeom>
                <a:avLst/>
                <a:gdLst>
                  <a:gd name="T0" fmla="*/ 6 w 16"/>
                  <a:gd name="T1" fmla="*/ 0 h 25"/>
                  <a:gd name="T2" fmla="*/ 2 w 16"/>
                  <a:gd name="T3" fmla="*/ 5 h 25"/>
                  <a:gd name="T4" fmla="*/ 0 w 16"/>
                  <a:gd name="T5" fmla="*/ 13 h 25"/>
                  <a:gd name="T6" fmla="*/ 0 w 16"/>
                  <a:gd name="T7" fmla="*/ 13 h 25"/>
                  <a:gd name="T8" fmla="*/ 0 w 16"/>
                  <a:gd name="T9" fmla="*/ 13 h 25"/>
                  <a:gd name="T10" fmla="*/ 0 w 16"/>
                  <a:gd name="T11" fmla="*/ 13 h 25"/>
                  <a:gd name="T12" fmla="*/ 0 w 16"/>
                  <a:gd name="T13" fmla="*/ 13 h 25"/>
                  <a:gd name="T14" fmla="*/ 5 w 16"/>
                  <a:gd name="T15" fmla="*/ 25 h 25"/>
                  <a:gd name="T16" fmla="*/ 12 w 16"/>
                  <a:gd name="T17" fmla="*/ 15 h 25"/>
                  <a:gd name="T18" fmla="*/ 16 w 16"/>
                  <a:gd name="T19" fmla="*/ 10 h 25"/>
                  <a:gd name="T20" fmla="*/ 6 w 16"/>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5">
                    <a:moveTo>
                      <a:pt x="6" y="0"/>
                    </a:moveTo>
                    <a:cubicBezTo>
                      <a:pt x="4" y="2"/>
                      <a:pt x="3" y="3"/>
                      <a:pt x="2" y="5"/>
                    </a:cubicBezTo>
                    <a:cubicBezTo>
                      <a:pt x="1" y="8"/>
                      <a:pt x="0" y="10"/>
                      <a:pt x="0" y="13"/>
                    </a:cubicBezTo>
                    <a:cubicBezTo>
                      <a:pt x="0" y="13"/>
                      <a:pt x="0" y="13"/>
                      <a:pt x="0" y="13"/>
                    </a:cubicBezTo>
                    <a:cubicBezTo>
                      <a:pt x="0" y="13"/>
                      <a:pt x="0" y="13"/>
                      <a:pt x="0" y="13"/>
                    </a:cubicBezTo>
                    <a:cubicBezTo>
                      <a:pt x="0" y="13"/>
                      <a:pt x="0" y="13"/>
                      <a:pt x="0" y="13"/>
                    </a:cubicBezTo>
                    <a:cubicBezTo>
                      <a:pt x="0" y="13"/>
                      <a:pt x="0" y="13"/>
                      <a:pt x="0" y="13"/>
                    </a:cubicBezTo>
                    <a:cubicBezTo>
                      <a:pt x="0" y="18"/>
                      <a:pt x="2" y="22"/>
                      <a:pt x="5" y="25"/>
                    </a:cubicBezTo>
                    <a:cubicBezTo>
                      <a:pt x="7" y="22"/>
                      <a:pt x="9" y="19"/>
                      <a:pt x="12" y="15"/>
                    </a:cubicBezTo>
                    <a:cubicBezTo>
                      <a:pt x="13" y="14"/>
                      <a:pt x="14" y="12"/>
                      <a:pt x="16" y="10"/>
                    </a:cubicBezTo>
                    <a:cubicBezTo>
                      <a:pt x="6" y="0"/>
                      <a:pt x="6" y="0"/>
                      <a:pt x="6" y="0"/>
                    </a:cubicBezTo>
                  </a:path>
                </a:pathLst>
              </a:custGeom>
              <a:solidFill>
                <a:srgbClr val="990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2" name="Oval 453">
                <a:extLst>
                  <a:ext uri="{FF2B5EF4-FFF2-40B4-BE49-F238E27FC236}">
                    <a16:creationId xmlns:a16="http://schemas.microsoft.com/office/drawing/2014/main" id="{8B23668D-C721-4109-80BE-326411FFEA5F}"/>
                  </a:ext>
                </a:extLst>
              </p:cNvPr>
              <p:cNvSpPr>
                <a:spLocks noChangeArrowheads="1"/>
              </p:cNvSpPr>
              <p:nvPr/>
            </p:nvSpPr>
            <p:spPr bwMode="auto">
              <a:xfrm>
                <a:off x="4646613" y="3724275"/>
                <a:ext cx="385763" cy="384175"/>
              </a:xfrm>
              <a:prstGeom prst="ellipse">
                <a:avLst/>
              </a:prstGeom>
              <a:solidFill>
                <a:srgbClr val="004F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3" name="Freeform 454">
                <a:extLst>
                  <a:ext uri="{FF2B5EF4-FFF2-40B4-BE49-F238E27FC236}">
                    <a16:creationId xmlns:a16="http://schemas.microsoft.com/office/drawing/2014/main" id="{C3AF9456-4C1C-4CD1-81D8-0B8CB24414B7}"/>
                  </a:ext>
                </a:extLst>
              </p:cNvPr>
              <p:cNvSpPr>
                <a:spLocks/>
              </p:cNvSpPr>
              <p:nvPr/>
            </p:nvSpPr>
            <p:spPr bwMode="auto">
              <a:xfrm>
                <a:off x="4667250" y="3824288"/>
                <a:ext cx="6350" cy="11113"/>
              </a:xfrm>
              <a:custGeom>
                <a:avLst/>
                <a:gdLst>
                  <a:gd name="T0" fmla="*/ 2 w 2"/>
                  <a:gd name="T1" fmla="*/ 0 h 4"/>
                  <a:gd name="T2" fmla="*/ 0 w 2"/>
                  <a:gd name="T3" fmla="*/ 4 h 4"/>
                  <a:gd name="T4" fmla="*/ 2 w 2"/>
                  <a:gd name="T5" fmla="*/ 0 h 4"/>
                  <a:gd name="T6" fmla="*/ 2 w 2"/>
                  <a:gd name="T7" fmla="*/ 0 h 4"/>
                </a:gdLst>
                <a:ahLst/>
                <a:cxnLst>
                  <a:cxn ang="0">
                    <a:pos x="T0" y="T1"/>
                  </a:cxn>
                  <a:cxn ang="0">
                    <a:pos x="T2" y="T3"/>
                  </a:cxn>
                  <a:cxn ang="0">
                    <a:pos x="T4" y="T5"/>
                  </a:cxn>
                  <a:cxn ang="0">
                    <a:pos x="T6" y="T7"/>
                  </a:cxn>
                </a:cxnLst>
                <a:rect l="0" t="0" r="r" b="b"/>
                <a:pathLst>
                  <a:path w="2" h="4">
                    <a:moveTo>
                      <a:pt x="2" y="0"/>
                    </a:moveTo>
                    <a:cubicBezTo>
                      <a:pt x="1" y="2"/>
                      <a:pt x="1" y="3"/>
                      <a:pt x="0" y="4"/>
                    </a:cubicBezTo>
                    <a:cubicBezTo>
                      <a:pt x="1" y="3"/>
                      <a:pt x="1" y="2"/>
                      <a:pt x="2" y="0"/>
                    </a:cubicBezTo>
                    <a:cubicBezTo>
                      <a:pt x="2" y="0"/>
                      <a:pt x="2" y="0"/>
                      <a:pt x="2" y="0"/>
                    </a:cubicBezTo>
                  </a:path>
                </a:pathLst>
              </a:custGeom>
              <a:solidFill>
                <a:srgbClr val="B2A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4" name="Freeform 455">
                <a:extLst>
                  <a:ext uri="{FF2B5EF4-FFF2-40B4-BE49-F238E27FC236}">
                    <a16:creationId xmlns:a16="http://schemas.microsoft.com/office/drawing/2014/main" id="{A93A365C-BC61-4728-B545-354277F66046}"/>
                  </a:ext>
                </a:extLst>
              </p:cNvPr>
              <p:cNvSpPr>
                <a:spLocks/>
              </p:cNvSpPr>
              <p:nvPr/>
            </p:nvSpPr>
            <p:spPr bwMode="auto">
              <a:xfrm>
                <a:off x="4673600" y="3795713"/>
                <a:ext cx="19050" cy="28575"/>
              </a:xfrm>
              <a:custGeom>
                <a:avLst/>
                <a:gdLst>
                  <a:gd name="T0" fmla="*/ 7 w 7"/>
                  <a:gd name="T1" fmla="*/ 0 h 10"/>
                  <a:gd name="T2" fmla="*/ 0 w 7"/>
                  <a:gd name="T3" fmla="*/ 10 h 10"/>
                  <a:gd name="T4" fmla="*/ 0 w 7"/>
                  <a:gd name="T5" fmla="*/ 10 h 10"/>
                  <a:gd name="T6" fmla="*/ 7 w 7"/>
                  <a:gd name="T7" fmla="*/ 0 h 10"/>
                </a:gdLst>
                <a:ahLst/>
                <a:cxnLst>
                  <a:cxn ang="0">
                    <a:pos x="T0" y="T1"/>
                  </a:cxn>
                  <a:cxn ang="0">
                    <a:pos x="T2" y="T3"/>
                  </a:cxn>
                  <a:cxn ang="0">
                    <a:pos x="T4" y="T5"/>
                  </a:cxn>
                  <a:cxn ang="0">
                    <a:pos x="T6" y="T7"/>
                  </a:cxn>
                </a:cxnLst>
                <a:rect l="0" t="0" r="r" b="b"/>
                <a:pathLst>
                  <a:path w="7" h="10">
                    <a:moveTo>
                      <a:pt x="7" y="0"/>
                    </a:moveTo>
                    <a:cubicBezTo>
                      <a:pt x="4" y="4"/>
                      <a:pt x="2" y="7"/>
                      <a:pt x="0" y="10"/>
                    </a:cubicBezTo>
                    <a:cubicBezTo>
                      <a:pt x="0" y="10"/>
                      <a:pt x="0" y="10"/>
                      <a:pt x="0" y="10"/>
                    </a:cubicBezTo>
                    <a:cubicBezTo>
                      <a:pt x="2" y="7"/>
                      <a:pt x="4" y="3"/>
                      <a:pt x="7" y="0"/>
                    </a:cubicBezTo>
                  </a:path>
                </a:pathLst>
              </a:custGeom>
              <a:solidFill>
                <a:srgbClr val="6B0C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5" name="Freeform 456">
                <a:extLst>
                  <a:ext uri="{FF2B5EF4-FFF2-40B4-BE49-F238E27FC236}">
                    <a16:creationId xmlns:a16="http://schemas.microsoft.com/office/drawing/2014/main" id="{934A2187-7227-4D01-8F8C-E5CDF2A1F680}"/>
                  </a:ext>
                </a:extLst>
              </p:cNvPr>
              <p:cNvSpPr>
                <a:spLocks/>
              </p:cNvSpPr>
              <p:nvPr/>
            </p:nvSpPr>
            <p:spPr bwMode="auto">
              <a:xfrm>
                <a:off x="4659313" y="3983038"/>
                <a:ext cx="50800" cy="76200"/>
              </a:xfrm>
              <a:custGeom>
                <a:avLst/>
                <a:gdLst>
                  <a:gd name="T0" fmla="*/ 0 w 18"/>
                  <a:gd name="T1" fmla="*/ 0 h 27"/>
                  <a:gd name="T2" fmla="*/ 16 w 18"/>
                  <a:gd name="T3" fmla="*/ 24 h 27"/>
                  <a:gd name="T4" fmla="*/ 18 w 18"/>
                  <a:gd name="T5" fmla="*/ 27 h 27"/>
                  <a:gd name="T6" fmla="*/ 18 w 18"/>
                  <a:gd name="T7" fmla="*/ 27 h 27"/>
                  <a:gd name="T8" fmla="*/ 0 w 18"/>
                  <a:gd name="T9" fmla="*/ 0 h 27"/>
                </a:gdLst>
                <a:ahLst/>
                <a:cxnLst>
                  <a:cxn ang="0">
                    <a:pos x="T0" y="T1"/>
                  </a:cxn>
                  <a:cxn ang="0">
                    <a:pos x="T2" y="T3"/>
                  </a:cxn>
                  <a:cxn ang="0">
                    <a:pos x="T4" y="T5"/>
                  </a:cxn>
                  <a:cxn ang="0">
                    <a:pos x="T6" y="T7"/>
                  </a:cxn>
                  <a:cxn ang="0">
                    <a:pos x="T8" y="T9"/>
                  </a:cxn>
                </a:cxnLst>
                <a:rect l="0" t="0" r="r" b="b"/>
                <a:pathLst>
                  <a:path w="18" h="27">
                    <a:moveTo>
                      <a:pt x="0" y="0"/>
                    </a:moveTo>
                    <a:cubicBezTo>
                      <a:pt x="4" y="9"/>
                      <a:pt x="9" y="17"/>
                      <a:pt x="16" y="24"/>
                    </a:cubicBezTo>
                    <a:cubicBezTo>
                      <a:pt x="17" y="25"/>
                      <a:pt x="18" y="26"/>
                      <a:pt x="18" y="27"/>
                    </a:cubicBezTo>
                    <a:cubicBezTo>
                      <a:pt x="18" y="27"/>
                      <a:pt x="18" y="27"/>
                      <a:pt x="18" y="27"/>
                    </a:cubicBezTo>
                    <a:cubicBezTo>
                      <a:pt x="10" y="19"/>
                      <a:pt x="4" y="10"/>
                      <a:pt x="0" y="0"/>
                    </a:cubicBezTo>
                  </a:path>
                </a:pathLst>
              </a:custGeom>
              <a:solidFill>
                <a:srgbClr val="B2A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6" name="Freeform 457">
                <a:extLst>
                  <a:ext uri="{FF2B5EF4-FFF2-40B4-BE49-F238E27FC236}">
                    <a16:creationId xmlns:a16="http://schemas.microsoft.com/office/drawing/2014/main" id="{F468E250-3B65-4EEA-8DEB-F861A5D91F8D}"/>
                  </a:ext>
                </a:extLst>
              </p:cNvPr>
              <p:cNvSpPr>
                <a:spLocks/>
              </p:cNvSpPr>
              <p:nvPr/>
            </p:nvSpPr>
            <p:spPr bwMode="auto">
              <a:xfrm>
                <a:off x="4641850" y="3781425"/>
                <a:ext cx="179388" cy="277813"/>
              </a:xfrm>
              <a:custGeom>
                <a:avLst/>
                <a:gdLst>
                  <a:gd name="T0" fmla="*/ 22 w 63"/>
                  <a:gd name="T1" fmla="*/ 0 h 98"/>
                  <a:gd name="T2" fmla="*/ 18 w 63"/>
                  <a:gd name="T3" fmla="*/ 5 h 98"/>
                  <a:gd name="T4" fmla="*/ 11 w 63"/>
                  <a:gd name="T5" fmla="*/ 15 h 98"/>
                  <a:gd name="T6" fmla="*/ 11 w 63"/>
                  <a:gd name="T7" fmla="*/ 15 h 98"/>
                  <a:gd name="T8" fmla="*/ 9 w 63"/>
                  <a:gd name="T9" fmla="*/ 19 h 98"/>
                  <a:gd name="T10" fmla="*/ 6 w 63"/>
                  <a:gd name="T11" fmla="*/ 71 h 98"/>
                  <a:gd name="T12" fmla="*/ 24 w 63"/>
                  <a:gd name="T13" fmla="*/ 98 h 98"/>
                  <a:gd name="T14" fmla="*/ 63 w 63"/>
                  <a:gd name="T15" fmla="*/ 41 h 98"/>
                  <a:gd name="T16" fmla="*/ 22 w 63"/>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98">
                    <a:moveTo>
                      <a:pt x="22" y="0"/>
                    </a:moveTo>
                    <a:cubicBezTo>
                      <a:pt x="21" y="2"/>
                      <a:pt x="19" y="4"/>
                      <a:pt x="18" y="5"/>
                    </a:cubicBezTo>
                    <a:cubicBezTo>
                      <a:pt x="15" y="8"/>
                      <a:pt x="13" y="12"/>
                      <a:pt x="11" y="15"/>
                    </a:cubicBezTo>
                    <a:cubicBezTo>
                      <a:pt x="11" y="15"/>
                      <a:pt x="11" y="15"/>
                      <a:pt x="11" y="15"/>
                    </a:cubicBezTo>
                    <a:cubicBezTo>
                      <a:pt x="10" y="17"/>
                      <a:pt x="10" y="18"/>
                      <a:pt x="9" y="19"/>
                    </a:cubicBezTo>
                    <a:cubicBezTo>
                      <a:pt x="1" y="35"/>
                      <a:pt x="0" y="54"/>
                      <a:pt x="6" y="71"/>
                    </a:cubicBezTo>
                    <a:cubicBezTo>
                      <a:pt x="10" y="81"/>
                      <a:pt x="16" y="90"/>
                      <a:pt x="24" y="98"/>
                    </a:cubicBezTo>
                    <a:cubicBezTo>
                      <a:pt x="34" y="76"/>
                      <a:pt x="47" y="57"/>
                      <a:pt x="63" y="41"/>
                    </a:cubicBezTo>
                    <a:cubicBezTo>
                      <a:pt x="22" y="0"/>
                      <a:pt x="22" y="0"/>
                      <a:pt x="22" y="0"/>
                    </a:cubicBezTo>
                  </a:path>
                </a:pathLst>
              </a:custGeom>
              <a:solidFill>
                <a:srgbClr val="003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7" name="Oval 458">
                <a:extLst>
                  <a:ext uri="{FF2B5EF4-FFF2-40B4-BE49-F238E27FC236}">
                    <a16:creationId xmlns:a16="http://schemas.microsoft.com/office/drawing/2014/main" id="{F3958E59-F33B-401C-BB4C-D00236A2DD58}"/>
                  </a:ext>
                </a:extLst>
              </p:cNvPr>
              <p:cNvSpPr>
                <a:spLocks noChangeArrowheads="1"/>
              </p:cNvSpPr>
              <p:nvPr/>
            </p:nvSpPr>
            <p:spPr bwMode="auto">
              <a:xfrm>
                <a:off x="4764088" y="3843338"/>
                <a:ext cx="871538" cy="871538"/>
              </a:xfrm>
              <a:prstGeom prst="ellipse">
                <a:avLst/>
              </a:pr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8" name="Freeform 459">
                <a:extLst>
                  <a:ext uri="{FF2B5EF4-FFF2-40B4-BE49-F238E27FC236}">
                    <a16:creationId xmlns:a16="http://schemas.microsoft.com/office/drawing/2014/main" id="{D96EECD9-2900-491C-84DB-C6DA6BE8DF37}"/>
                  </a:ext>
                </a:extLst>
              </p:cNvPr>
              <p:cNvSpPr>
                <a:spLocks/>
              </p:cNvSpPr>
              <p:nvPr/>
            </p:nvSpPr>
            <p:spPr bwMode="auto">
              <a:xfrm>
                <a:off x="5199063" y="3843338"/>
                <a:ext cx="436563" cy="871538"/>
              </a:xfrm>
              <a:custGeom>
                <a:avLst/>
                <a:gdLst>
                  <a:gd name="T0" fmla="*/ 0 w 153"/>
                  <a:gd name="T1" fmla="*/ 0 h 306"/>
                  <a:gd name="T2" fmla="*/ 0 w 153"/>
                  <a:gd name="T3" fmla="*/ 306 h 306"/>
                  <a:gd name="T4" fmla="*/ 153 w 153"/>
                  <a:gd name="T5" fmla="*/ 153 h 306"/>
                  <a:gd name="T6" fmla="*/ 0 w 153"/>
                  <a:gd name="T7" fmla="*/ 0 h 306"/>
                </a:gdLst>
                <a:ahLst/>
                <a:cxnLst>
                  <a:cxn ang="0">
                    <a:pos x="T0" y="T1"/>
                  </a:cxn>
                  <a:cxn ang="0">
                    <a:pos x="T2" y="T3"/>
                  </a:cxn>
                  <a:cxn ang="0">
                    <a:pos x="T4" y="T5"/>
                  </a:cxn>
                  <a:cxn ang="0">
                    <a:pos x="T6" y="T7"/>
                  </a:cxn>
                </a:cxnLst>
                <a:rect l="0" t="0" r="r" b="b"/>
                <a:pathLst>
                  <a:path w="153" h="306">
                    <a:moveTo>
                      <a:pt x="0" y="0"/>
                    </a:moveTo>
                    <a:cubicBezTo>
                      <a:pt x="0" y="306"/>
                      <a:pt x="0" y="306"/>
                      <a:pt x="0" y="306"/>
                    </a:cubicBezTo>
                    <a:cubicBezTo>
                      <a:pt x="85" y="306"/>
                      <a:pt x="153" y="237"/>
                      <a:pt x="153" y="153"/>
                    </a:cubicBezTo>
                    <a:cubicBezTo>
                      <a:pt x="153" y="68"/>
                      <a:pt x="85" y="0"/>
                      <a:pt x="0" y="0"/>
                    </a:cubicBezTo>
                  </a:path>
                </a:pathLst>
              </a:custGeom>
              <a:solidFill>
                <a:srgbClr val="DD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9" name="Freeform 460">
                <a:extLst>
                  <a:ext uri="{FF2B5EF4-FFF2-40B4-BE49-F238E27FC236}">
                    <a16:creationId xmlns:a16="http://schemas.microsoft.com/office/drawing/2014/main" id="{668371CB-C74D-47D9-A019-129A0F0F0FB9}"/>
                  </a:ext>
                </a:extLst>
              </p:cNvPr>
              <p:cNvSpPr>
                <a:spLocks/>
              </p:cNvSpPr>
              <p:nvPr/>
            </p:nvSpPr>
            <p:spPr bwMode="auto">
              <a:xfrm>
                <a:off x="4764088" y="3843338"/>
                <a:ext cx="434975" cy="871538"/>
              </a:xfrm>
              <a:custGeom>
                <a:avLst/>
                <a:gdLst>
                  <a:gd name="T0" fmla="*/ 0 w 153"/>
                  <a:gd name="T1" fmla="*/ 153 h 306"/>
                  <a:gd name="T2" fmla="*/ 153 w 153"/>
                  <a:gd name="T3" fmla="*/ 306 h 306"/>
                  <a:gd name="T4" fmla="*/ 153 w 153"/>
                  <a:gd name="T5" fmla="*/ 0 h 306"/>
                  <a:gd name="T6" fmla="*/ 0 w 153"/>
                  <a:gd name="T7" fmla="*/ 153 h 306"/>
                </a:gdLst>
                <a:ahLst/>
                <a:cxnLst>
                  <a:cxn ang="0">
                    <a:pos x="T0" y="T1"/>
                  </a:cxn>
                  <a:cxn ang="0">
                    <a:pos x="T2" y="T3"/>
                  </a:cxn>
                  <a:cxn ang="0">
                    <a:pos x="T4" y="T5"/>
                  </a:cxn>
                  <a:cxn ang="0">
                    <a:pos x="T6" y="T7"/>
                  </a:cxn>
                </a:cxnLst>
                <a:rect l="0" t="0" r="r" b="b"/>
                <a:pathLst>
                  <a:path w="153" h="306">
                    <a:moveTo>
                      <a:pt x="0" y="153"/>
                    </a:moveTo>
                    <a:cubicBezTo>
                      <a:pt x="0" y="237"/>
                      <a:pt x="69" y="306"/>
                      <a:pt x="153" y="306"/>
                    </a:cubicBezTo>
                    <a:cubicBezTo>
                      <a:pt x="153" y="0"/>
                      <a:pt x="153" y="0"/>
                      <a:pt x="153" y="0"/>
                    </a:cubicBezTo>
                    <a:cubicBezTo>
                      <a:pt x="69" y="0"/>
                      <a:pt x="0" y="68"/>
                      <a:pt x="0" y="153"/>
                    </a:cubicBezTo>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0" name="Freeform 461">
                <a:extLst>
                  <a:ext uri="{FF2B5EF4-FFF2-40B4-BE49-F238E27FC236}">
                    <a16:creationId xmlns:a16="http://schemas.microsoft.com/office/drawing/2014/main" id="{B62F1AAF-8D40-43FB-A930-3B968086B666}"/>
                  </a:ext>
                </a:extLst>
              </p:cNvPr>
              <p:cNvSpPr>
                <a:spLocks/>
              </p:cNvSpPr>
              <p:nvPr/>
            </p:nvSpPr>
            <p:spPr bwMode="auto">
              <a:xfrm>
                <a:off x="5191125" y="3821113"/>
                <a:ext cx="19050" cy="96838"/>
              </a:xfrm>
              <a:custGeom>
                <a:avLst/>
                <a:gdLst>
                  <a:gd name="T0" fmla="*/ 0 w 7"/>
                  <a:gd name="T1" fmla="*/ 30 h 34"/>
                  <a:gd name="T2" fmla="*/ 3 w 7"/>
                  <a:gd name="T3" fmla="*/ 34 h 34"/>
                  <a:gd name="T4" fmla="*/ 7 w 7"/>
                  <a:gd name="T5" fmla="*/ 30 h 34"/>
                  <a:gd name="T6" fmla="*/ 7 w 7"/>
                  <a:gd name="T7" fmla="*/ 4 h 34"/>
                  <a:gd name="T8" fmla="*/ 3 w 7"/>
                  <a:gd name="T9" fmla="*/ 0 h 34"/>
                  <a:gd name="T10" fmla="*/ 0 w 7"/>
                  <a:gd name="T11" fmla="*/ 4 h 34"/>
                  <a:gd name="T12" fmla="*/ 0 w 7"/>
                  <a:gd name="T13" fmla="*/ 30 h 34"/>
                </a:gdLst>
                <a:ahLst/>
                <a:cxnLst>
                  <a:cxn ang="0">
                    <a:pos x="T0" y="T1"/>
                  </a:cxn>
                  <a:cxn ang="0">
                    <a:pos x="T2" y="T3"/>
                  </a:cxn>
                  <a:cxn ang="0">
                    <a:pos x="T4" y="T5"/>
                  </a:cxn>
                  <a:cxn ang="0">
                    <a:pos x="T6" y="T7"/>
                  </a:cxn>
                  <a:cxn ang="0">
                    <a:pos x="T8" y="T9"/>
                  </a:cxn>
                  <a:cxn ang="0">
                    <a:pos x="T10" y="T11"/>
                  </a:cxn>
                  <a:cxn ang="0">
                    <a:pos x="T12" y="T13"/>
                  </a:cxn>
                </a:cxnLst>
                <a:rect l="0" t="0" r="r" b="b"/>
                <a:pathLst>
                  <a:path w="7" h="34">
                    <a:moveTo>
                      <a:pt x="0" y="30"/>
                    </a:moveTo>
                    <a:cubicBezTo>
                      <a:pt x="0" y="32"/>
                      <a:pt x="1" y="34"/>
                      <a:pt x="3" y="34"/>
                    </a:cubicBezTo>
                    <a:cubicBezTo>
                      <a:pt x="5" y="34"/>
                      <a:pt x="7" y="32"/>
                      <a:pt x="7" y="30"/>
                    </a:cubicBezTo>
                    <a:cubicBezTo>
                      <a:pt x="7" y="4"/>
                      <a:pt x="7" y="4"/>
                      <a:pt x="7" y="4"/>
                    </a:cubicBezTo>
                    <a:cubicBezTo>
                      <a:pt x="7" y="2"/>
                      <a:pt x="5" y="0"/>
                      <a:pt x="3" y="0"/>
                    </a:cubicBezTo>
                    <a:cubicBezTo>
                      <a:pt x="1" y="0"/>
                      <a:pt x="0" y="2"/>
                      <a:pt x="0" y="4"/>
                    </a:cubicBezTo>
                    <a:cubicBezTo>
                      <a:pt x="0" y="30"/>
                      <a:pt x="0" y="30"/>
                      <a:pt x="0" y="3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1" name="Freeform 462">
                <a:extLst>
                  <a:ext uri="{FF2B5EF4-FFF2-40B4-BE49-F238E27FC236}">
                    <a16:creationId xmlns:a16="http://schemas.microsoft.com/office/drawing/2014/main" id="{5A1D0C63-0675-47F0-968B-DD7298362FFE}"/>
                  </a:ext>
                </a:extLst>
              </p:cNvPr>
              <p:cNvSpPr>
                <a:spLocks/>
              </p:cNvSpPr>
              <p:nvPr/>
            </p:nvSpPr>
            <p:spPr bwMode="auto">
              <a:xfrm>
                <a:off x="5191125" y="4643438"/>
                <a:ext cx="19050" cy="93663"/>
              </a:xfrm>
              <a:custGeom>
                <a:avLst/>
                <a:gdLst>
                  <a:gd name="T0" fmla="*/ 0 w 7"/>
                  <a:gd name="T1" fmla="*/ 30 h 33"/>
                  <a:gd name="T2" fmla="*/ 3 w 7"/>
                  <a:gd name="T3" fmla="*/ 33 h 33"/>
                  <a:gd name="T4" fmla="*/ 7 w 7"/>
                  <a:gd name="T5" fmla="*/ 30 h 33"/>
                  <a:gd name="T6" fmla="*/ 7 w 7"/>
                  <a:gd name="T7" fmla="*/ 4 h 33"/>
                  <a:gd name="T8" fmla="*/ 3 w 7"/>
                  <a:gd name="T9" fmla="*/ 0 h 33"/>
                  <a:gd name="T10" fmla="*/ 0 w 7"/>
                  <a:gd name="T11" fmla="*/ 4 h 33"/>
                  <a:gd name="T12" fmla="*/ 0 w 7"/>
                  <a:gd name="T13" fmla="*/ 30 h 33"/>
                </a:gdLst>
                <a:ahLst/>
                <a:cxnLst>
                  <a:cxn ang="0">
                    <a:pos x="T0" y="T1"/>
                  </a:cxn>
                  <a:cxn ang="0">
                    <a:pos x="T2" y="T3"/>
                  </a:cxn>
                  <a:cxn ang="0">
                    <a:pos x="T4" y="T5"/>
                  </a:cxn>
                  <a:cxn ang="0">
                    <a:pos x="T6" y="T7"/>
                  </a:cxn>
                  <a:cxn ang="0">
                    <a:pos x="T8" y="T9"/>
                  </a:cxn>
                  <a:cxn ang="0">
                    <a:pos x="T10" y="T11"/>
                  </a:cxn>
                  <a:cxn ang="0">
                    <a:pos x="T12" y="T13"/>
                  </a:cxn>
                </a:cxnLst>
                <a:rect l="0" t="0" r="r" b="b"/>
                <a:pathLst>
                  <a:path w="7" h="33">
                    <a:moveTo>
                      <a:pt x="0" y="30"/>
                    </a:moveTo>
                    <a:cubicBezTo>
                      <a:pt x="0" y="32"/>
                      <a:pt x="1" y="33"/>
                      <a:pt x="3" y="33"/>
                    </a:cubicBezTo>
                    <a:cubicBezTo>
                      <a:pt x="5" y="33"/>
                      <a:pt x="7" y="32"/>
                      <a:pt x="7" y="30"/>
                    </a:cubicBezTo>
                    <a:cubicBezTo>
                      <a:pt x="7" y="4"/>
                      <a:pt x="7" y="4"/>
                      <a:pt x="7" y="4"/>
                    </a:cubicBezTo>
                    <a:cubicBezTo>
                      <a:pt x="7" y="2"/>
                      <a:pt x="5" y="0"/>
                      <a:pt x="3" y="0"/>
                    </a:cubicBezTo>
                    <a:cubicBezTo>
                      <a:pt x="1" y="0"/>
                      <a:pt x="0" y="2"/>
                      <a:pt x="0" y="4"/>
                    </a:cubicBezTo>
                    <a:cubicBezTo>
                      <a:pt x="0" y="30"/>
                      <a:pt x="0" y="30"/>
                      <a:pt x="0" y="30"/>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2" name="Freeform 463">
                <a:extLst>
                  <a:ext uri="{FF2B5EF4-FFF2-40B4-BE49-F238E27FC236}">
                    <a16:creationId xmlns:a16="http://schemas.microsoft.com/office/drawing/2014/main" id="{FA6C417A-1DF7-44E7-A86C-C4702D005589}"/>
                  </a:ext>
                </a:extLst>
              </p:cNvPr>
              <p:cNvSpPr>
                <a:spLocks/>
              </p:cNvSpPr>
              <p:nvPr/>
            </p:nvSpPr>
            <p:spPr bwMode="auto">
              <a:xfrm>
                <a:off x="4735513" y="4265613"/>
                <a:ext cx="88900" cy="26988"/>
              </a:xfrm>
              <a:custGeom>
                <a:avLst/>
                <a:gdLst>
                  <a:gd name="T0" fmla="*/ 31 w 31"/>
                  <a:gd name="T1" fmla="*/ 6 h 10"/>
                  <a:gd name="T2" fmla="*/ 28 w 31"/>
                  <a:gd name="T3" fmla="*/ 10 h 10"/>
                  <a:gd name="T4" fmla="*/ 3 w 31"/>
                  <a:gd name="T5" fmla="*/ 10 h 10"/>
                  <a:gd name="T6" fmla="*/ 0 w 31"/>
                  <a:gd name="T7" fmla="*/ 6 h 10"/>
                  <a:gd name="T8" fmla="*/ 0 w 31"/>
                  <a:gd name="T9" fmla="*/ 4 h 10"/>
                  <a:gd name="T10" fmla="*/ 3 w 31"/>
                  <a:gd name="T11" fmla="*/ 0 h 10"/>
                  <a:gd name="T12" fmla="*/ 28 w 31"/>
                  <a:gd name="T13" fmla="*/ 0 h 10"/>
                  <a:gd name="T14" fmla="*/ 31 w 31"/>
                  <a:gd name="T15" fmla="*/ 4 h 10"/>
                  <a:gd name="T16" fmla="*/ 31 w 31"/>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0">
                    <a:moveTo>
                      <a:pt x="31" y="6"/>
                    </a:moveTo>
                    <a:cubicBezTo>
                      <a:pt x="31" y="8"/>
                      <a:pt x="30" y="10"/>
                      <a:pt x="28" y="10"/>
                    </a:cubicBezTo>
                    <a:cubicBezTo>
                      <a:pt x="3" y="10"/>
                      <a:pt x="3" y="10"/>
                      <a:pt x="3" y="10"/>
                    </a:cubicBezTo>
                    <a:cubicBezTo>
                      <a:pt x="1" y="10"/>
                      <a:pt x="0" y="8"/>
                      <a:pt x="0" y="6"/>
                    </a:cubicBezTo>
                    <a:cubicBezTo>
                      <a:pt x="0" y="4"/>
                      <a:pt x="0" y="4"/>
                      <a:pt x="0" y="4"/>
                    </a:cubicBezTo>
                    <a:cubicBezTo>
                      <a:pt x="0" y="2"/>
                      <a:pt x="1" y="0"/>
                      <a:pt x="3" y="0"/>
                    </a:cubicBezTo>
                    <a:cubicBezTo>
                      <a:pt x="28" y="0"/>
                      <a:pt x="28" y="0"/>
                      <a:pt x="28" y="0"/>
                    </a:cubicBezTo>
                    <a:cubicBezTo>
                      <a:pt x="30" y="0"/>
                      <a:pt x="31" y="2"/>
                      <a:pt x="31" y="4"/>
                    </a:cubicBezTo>
                    <a:lnTo>
                      <a:pt x="31" y="6"/>
                    </a:lnTo>
                    <a:close/>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3" name="Freeform 464">
                <a:extLst>
                  <a:ext uri="{FF2B5EF4-FFF2-40B4-BE49-F238E27FC236}">
                    <a16:creationId xmlns:a16="http://schemas.microsoft.com/office/drawing/2014/main" id="{1440B2E0-AAF6-4D37-B88B-056278C7D047}"/>
                  </a:ext>
                </a:extLst>
              </p:cNvPr>
              <p:cNvSpPr>
                <a:spLocks/>
              </p:cNvSpPr>
              <p:nvPr/>
            </p:nvSpPr>
            <p:spPr bwMode="auto">
              <a:xfrm>
                <a:off x="4994275" y="4279900"/>
                <a:ext cx="196850" cy="195263"/>
              </a:xfrm>
              <a:custGeom>
                <a:avLst/>
                <a:gdLst>
                  <a:gd name="T0" fmla="*/ 68 w 69"/>
                  <a:gd name="T1" fmla="*/ 1 h 69"/>
                  <a:gd name="T2" fmla="*/ 68 w 69"/>
                  <a:gd name="T3" fmla="*/ 5 h 69"/>
                  <a:gd name="T4" fmla="*/ 5 w 69"/>
                  <a:gd name="T5" fmla="*/ 68 h 69"/>
                  <a:gd name="T6" fmla="*/ 1 w 69"/>
                  <a:gd name="T7" fmla="*/ 68 h 69"/>
                  <a:gd name="T8" fmla="*/ 0 w 69"/>
                  <a:gd name="T9" fmla="*/ 67 h 69"/>
                  <a:gd name="T10" fmla="*/ 0 w 69"/>
                  <a:gd name="T11" fmla="*/ 64 h 69"/>
                  <a:gd name="T12" fmla="*/ 64 w 69"/>
                  <a:gd name="T13" fmla="*/ 0 h 69"/>
                  <a:gd name="T14" fmla="*/ 67 w 69"/>
                  <a:gd name="T15" fmla="*/ 0 h 69"/>
                  <a:gd name="T16" fmla="*/ 68 w 69"/>
                  <a:gd name="T17"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9">
                    <a:moveTo>
                      <a:pt x="68" y="1"/>
                    </a:moveTo>
                    <a:cubicBezTo>
                      <a:pt x="69" y="2"/>
                      <a:pt x="69" y="4"/>
                      <a:pt x="68" y="5"/>
                    </a:cubicBezTo>
                    <a:cubicBezTo>
                      <a:pt x="5" y="68"/>
                      <a:pt x="5" y="68"/>
                      <a:pt x="5" y="68"/>
                    </a:cubicBezTo>
                    <a:cubicBezTo>
                      <a:pt x="4" y="69"/>
                      <a:pt x="2" y="69"/>
                      <a:pt x="1" y="68"/>
                    </a:cubicBezTo>
                    <a:cubicBezTo>
                      <a:pt x="0" y="67"/>
                      <a:pt x="0" y="67"/>
                      <a:pt x="0" y="67"/>
                    </a:cubicBezTo>
                    <a:cubicBezTo>
                      <a:pt x="0" y="66"/>
                      <a:pt x="0" y="65"/>
                      <a:pt x="0" y="64"/>
                    </a:cubicBezTo>
                    <a:cubicBezTo>
                      <a:pt x="64" y="0"/>
                      <a:pt x="64" y="0"/>
                      <a:pt x="64" y="0"/>
                    </a:cubicBezTo>
                    <a:cubicBezTo>
                      <a:pt x="65" y="0"/>
                      <a:pt x="66" y="0"/>
                      <a:pt x="67" y="0"/>
                    </a:cubicBezTo>
                    <a:lnTo>
                      <a:pt x="68" y="1"/>
                    </a:lnTo>
                    <a:close/>
                  </a:path>
                </a:pathLst>
              </a:custGeom>
              <a:solidFill>
                <a:srgbClr val="E74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4" name="Freeform 465">
                <a:extLst>
                  <a:ext uri="{FF2B5EF4-FFF2-40B4-BE49-F238E27FC236}">
                    <a16:creationId xmlns:a16="http://schemas.microsoft.com/office/drawing/2014/main" id="{5EBBDA95-25B0-487D-8FE8-C6026BB9C3CD}"/>
                  </a:ext>
                </a:extLst>
              </p:cNvPr>
              <p:cNvSpPr>
                <a:spLocks/>
              </p:cNvSpPr>
              <p:nvPr/>
            </p:nvSpPr>
            <p:spPr bwMode="auto">
              <a:xfrm>
                <a:off x="5561013" y="4265613"/>
                <a:ext cx="90488" cy="26988"/>
              </a:xfrm>
              <a:custGeom>
                <a:avLst/>
                <a:gdLst>
                  <a:gd name="T0" fmla="*/ 32 w 32"/>
                  <a:gd name="T1" fmla="*/ 6 h 10"/>
                  <a:gd name="T2" fmla="*/ 28 w 32"/>
                  <a:gd name="T3" fmla="*/ 10 h 10"/>
                  <a:gd name="T4" fmla="*/ 3 w 32"/>
                  <a:gd name="T5" fmla="*/ 10 h 10"/>
                  <a:gd name="T6" fmla="*/ 0 w 32"/>
                  <a:gd name="T7" fmla="*/ 6 h 10"/>
                  <a:gd name="T8" fmla="*/ 0 w 32"/>
                  <a:gd name="T9" fmla="*/ 4 h 10"/>
                  <a:gd name="T10" fmla="*/ 3 w 32"/>
                  <a:gd name="T11" fmla="*/ 0 h 10"/>
                  <a:gd name="T12" fmla="*/ 28 w 32"/>
                  <a:gd name="T13" fmla="*/ 0 h 10"/>
                  <a:gd name="T14" fmla="*/ 32 w 32"/>
                  <a:gd name="T15" fmla="*/ 4 h 10"/>
                  <a:gd name="T16" fmla="*/ 32 w 32"/>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0">
                    <a:moveTo>
                      <a:pt x="32" y="6"/>
                    </a:moveTo>
                    <a:cubicBezTo>
                      <a:pt x="32" y="8"/>
                      <a:pt x="30" y="10"/>
                      <a:pt x="28" y="10"/>
                    </a:cubicBezTo>
                    <a:cubicBezTo>
                      <a:pt x="3" y="10"/>
                      <a:pt x="3" y="10"/>
                      <a:pt x="3" y="10"/>
                    </a:cubicBezTo>
                    <a:cubicBezTo>
                      <a:pt x="1" y="10"/>
                      <a:pt x="0" y="8"/>
                      <a:pt x="0" y="6"/>
                    </a:cubicBezTo>
                    <a:cubicBezTo>
                      <a:pt x="0" y="4"/>
                      <a:pt x="0" y="4"/>
                      <a:pt x="0" y="4"/>
                    </a:cubicBezTo>
                    <a:cubicBezTo>
                      <a:pt x="0" y="2"/>
                      <a:pt x="1" y="0"/>
                      <a:pt x="3" y="0"/>
                    </a:cubicBezTo>
                    <a:cubicBezTo>
                      <a:pt x="28" y="0"/>
                      <a:pt x="28" y="0"/>
                      <a:pt x="28" y="0"/>
                    </a:cubicBezTo>
                    <a:cubicBezTo>
                      <a:pt x="30" y="0"/>
                      <a:pt x="32" y="2"/>
                      <a:pt x="32" y="4"/>
                    </a:cubicBezTo>
                    <a:cubicBezTo>
                      <a:pt x="32" y="6"/>
                      <a:pt x="32" y="6"/>
                      <a:pt x="32" y="6"/>
                    </a:cubicBezTo>
                  </a:path>
                </a:pathLst>
              </a:custGeom>
              <a:solidFill>
                <a:srgbClr val="344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5" name="Freeform 466">
                <a:extLst>
                  <a:ext uri="{FF2B5EF4-FFF2-40B4-BE49-F238E27FC236}">
                    <a16:creationId xmlns:a16="http://schemas.microsoft.com/office/drawing/2014/main" id="{6521F27B-63F0-41F6-9357-968FA4C45560}"/>
                  </a:ext>
                </a:extLst>
              </p:cNvPr>
              <p:cNvSpPr>
                <a:spLocks noEditPoints="1"/>
              </p:cNvSpPr>
              <p:nvPr/>
            </p:nvSpPr>
            <p:spPr bwMode="auto">
              <a:xfrm>
                <a:off x="4687888" y="3767138"/>
                <a:ext cx="1023938" cy="1023938"/>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33 h 360"/>
                  <a:gd name="T12" fmla="*/ 27 w 360"/>
                  <a:gd name="T13" fmla="*/ 180 h 360"/>
                  <a:gd name="T14" fmla="*/ 180 w 360"/>
                  <a:gd name="T15" fmla="*/ 27 h 360"/>
                  <a:gd name="T16" fmla="*/ 333 w 360"/>
                  <a:gd name="T17" fmla="*/ 180 h 360"/>
                  <a:gd name="T18" fmla="*/ 180 w 360"/>
                  <a:gd name="T19" fmla="*/ 333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0"/>
                      <a:pt x="0" y="180"/>
                    </a:cubicBezTo>
                    <a:cubicBezTo>
                      <a:pt x="0" y="279"/>
                      <a:pt x="81" y="360"/>
                      <a:pt x="180" y="360"/>
                    </a:cubicBezTo>
                    <a:cubicBezTo>
                      <a:pt x="280" y="360"/>
                      <a:pt x="360" y="279"/>
                      <a:pt x="360" y="180"/>
                    </a:cubicBezTo>
                    <a:cubicBezTo>
                      <a:pt x="360" y="80"/>
                      <a:pt x="280" y="0"/>
                      <a:pt x="180" y="0"/>
                    </a:cubicBezTo>
                    <a:moveTo>
                      <a:pt x="180" y="333"/>
                    </a:moveTo>
                    <a:cubicBezTo>
                      <a:pt x="96" y="333"/>
                      <a:pt x="27" y="264"/>
                      <a:pt x="27" y="180"/>
                    </a:cubicBezTo>
                    <a:cubicBezTo>
                      <a:pt x="27" y="95"/>
                      <a:pt x="96" y="27"/>
                      <a:pt x="180" y="27"/>
                    </a:cubicBezTo>
                    <a:cubicBezTo>
                      <a:pt x="265" y="27"/>
                      <a:pt x="333" y="95"/>
                      <a:pt x="333" y="180"/>
                    </a:cubicBezTo>
                    <a:cubicBezTo>
                      <a:pt x="333" y="264"/>
                      <a:pt x="265" y="333"/>
                      <a:pt x="180" y="333"/>
                    </a:cubicBezTo>
                  </a:path>
                </a:pathLst>
              </a:custGeom>
              <a:solidFill>
                <a:srgbClr val="E74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6" name="Freeform 467">
                <a:extLst>
                  <a:ext uri="{FF2B5EF4-FFF2-40B4-BE49-F238E27FC236}">
                    <a16:creationId xmlns:a16="http://schemas.microsoft.com/office/drawing/2014/main" id="{D7D55F6A-CE25-450A-9374-ACF605297DD7}"/>
                  </a:ext>
                </a:extLst>
              </p:cNvPr>
              <p:cNvSpPr>
                <a:spLocks noEditPoints="1"/>
              </p:cNvSpPr>
              <p:nvPr/>
            </p:nvSpPr>
            <p:spPr bwMode="auto">
              <a:xfrm>
                <a:off x="4687888" y="3767138"/>
                <a:ext cx="1023938" cy="1023938"/>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33 h 360"/>
                  <a:gd name="T12" fmla="*/ 27 w 360"/>
                  <a:gd name="T13" fmla="*/ 180 h 360"/>
                  <a:gd name="T14" fmla="*/ 180 w 360"/>
                  <a:gd name="T15" fmla="*/ 27 h 360"/>
                  <a:gd name="T16" fmla="*/ 333 w 360"/>
                  <a:gd name="T17" fmla="*/ 180 h 360"/>
                  <a:gd name="T18" fmla="*/ 180 w 360"/>
                  <a:gd name="T19" fmla="*/ 333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0"/>
                      <a:pt x="0" y="180"/>
                    </a:cubicBezTo>
                    <a:cubicBezTo>
                      <a:pt x="0" y="279"/>
                      <a:pt x="81" y="360"/>
                      <a:pt x="180" y="360"/>
                    </a:cubicBezTo>
                    <a:cubicBezTo>
                      <a:pt x="280" y="360"/>
                      <a:pt x="360" y="279"/>
                      <a:pt x="360" y="180"/>
                    </a:cubicBezTo>
                    <a:cubicBezTo>
                      <a:pt x="360" y="80"/>
                      <a:pt x="280" y="0"/>
                      <a:pt x="180" y="0"/>
                    </a:cubicBezTo>
                    <a:moveTo>
                      <a:pt x="180" y="333"/>
                    </a:moveTo>
                    <a:cubicBezTo>
                      <a:pt x="96" y="333"/>
                      <a:pt x="27" y="264"/>
                      <a:pt x="27" y="180"/>
                    </a:cubicBezTo>
                    <a:cubicBezTo>
                      <a:pt x="27" y="95"/>
                      <a:pt x="96" y="27"/>
                      <a:pt x="180" y="27"/>
                    </a:cubicBezTo>
                    <a:cubicBezTo>
                      <a:pt x="265" y="27"/>
                      <a:pt x="333" y="95"/>
                      <a:pt x="333" y="180"/>
                    </a:cubicBezTo>
                    <a:cubicBezTo>
                      <a:pt x="333" y="264"/>
                      <a:pt x="265" y="333"/>
                      <a:pt x="180" y="333"/>
                    </a:cubicBezTo>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7" name="Freeform 468">
                <a:extLst>
                  <a:ext uri="{FF2B5EF4-FFF2-40B4-BE49-F238E27FC236}">
                    <a16:creationId xmlns:a16="http://schemas.microsoft.com/office/drawing/2014/main" id="{A5A37075-C178-4D3A-BDF0-9FA530946E28}"/>
                  </a:ext>
                </a:extLst>
              </p:cNvPr>
              <p:cNvSpPr>
                <a:spLocks noEditPoints="1"/>
              </p:cNvSpPr>
              <p:nvPr/>
            </p:nvSpPr>
            <p:spPr bwMode="auto">
              <a:xfrm>
                <a:off x="4664075" y="3740150"/>
                <a:ext cx="1073150" cy="1074738"/>
              </a:xfrm>
              <a:custGeom>
                <a:avLst/>
                <a:gdLst>
                  <a:gd name="T0" fmla="*/ 188 w 377"/>
                  <a:gd name="T1" fmla="*/ 0 h 377"/>
                  <a:gd name="T2" fmla="*/ 0 w 377"/>
                  <a:gd name="T3" fmla="*/ 189 h 377"/>
                  <a:gd name="T4" fmla="*/ 188 w 377"/>
                  <a:gd name="T5" fmla="*/ 377 h 377"/>
                  <a:gd name="T6" fmla="*/ 377 w 377"/>
                  <a:gd name="T7" fmla="*/ 189 h 377"/>
                  <a:gd name="T8" fmla="*/ 188 w 377"/>
                  <a:gd name="T9" fmla="*/ 0 h 377"/>
                  <a:gd name="T10" fmla="*/ 188 w 377"/>
                  <a:gd name="T11" fmla="*/ 367 h 377"/>
                  <a:gd name="T12" fmla="*/ 10 w 377"/>
                  <a:gd name="T13" fmla="*/ 189 h 377"/>
                  <a:gd name="T14" fmla="*/ 188 w 377"/>
                  <a:gd name="T15" fmla="*/ 11 h 377"/>
                  <a:gd name="T16" fmla="*/ 366 w 377"/>
                  <a:gd name="T17" fmla="*/ 189 h 377"/>
                  <a:gd name="T18" fmla="*/ 188 w 377"/>
                  <a:gd name="T19" fmla="*/ 3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7" h="377">
                    <a:moveTo>
                      <a:pt x="188" y="0"/>
                    </a:moveTo>
                    <a:cubicBezTo>
                      <a:pt x="84" y="0"/>
                      <a:pt x="0" y="85"/>
                      <a:pt x="0" y="189"/>
                    </a:cubicBezTo>
                    <a:cubicBezTo>
                      <a:pt x="0" y="293"/>
                      <a:pt x="84" y="377"/>
                      <a:pt x="188" y="377"/>
                    </a:cubicBezTo>
                    <a:cubicBezTo>
                      <a:pt x="292" y="377"/>
                      <a:pt x="377" y="293"/>
                      <a:pt x="377" y="189"/>
                    </a:cubicBezTo>
                    <a:cubicBezTo>
                      <a:pt x="377" y="85"/>
                      <a:pt x="292" y="0"/>
                      <a:pt x="188" y="0"/>
                    </a:cubicBezTo>
                    <a:moveTo>
                      <a:pt x="188" y="367"/>
                    </a:moveTo>
                    <a:cubicBezTo>
                      <a:pt x="90" y="367"/>
                      <a:pt x="10" y="287"/>
                      <a:pt x="10" y="189"/>
                    </a:cubicBezTo>
                    <a:cubicBezTo>
                      <a:pt x="10" y="91"/>
                      <a:pt x="90" y="11"/>
                      <a:pt x="188" y="11"/>
                    </a:cubicBezTo>
                    <a:cubicBezTo>
                      <a:pt x="286" y="11"/>
                      <a:pt x="366" y="91"/>
                      <a:pt x="366" y="189"/>
                    </a:cubicBezTo>
                    <a:cubicBezTo>
                      <a:pt x="366" y="287"/>
                      <a:pt x="286" y="367"/>
                      <a:pt x="188" y="367"/>
                    </a:cubicBezTo>
                  </a:path>
                </a:pathLst>
              </a:custGeom>
              <a:solidFill>
                <a:srgbClr val="AF17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8" name="Freeform 469">
                <a:extLst>
                  <a:ext uri="{FF2B5EF4-FFF2-40B4-BE49-F238E27FC236}">
                    <a16:creationId xmlns:a16="http://schemas.microsoft.com/office/drawing/2014/main" id="{1C6AA927-23E1-4D3A-81B9-CE204938D002}"/>
                  </a:ext>
                </a:extLst>
              </p:cNvPr>
              <p:cNvSpPr>
                <a:spLocks noEditPoints="1"/>
              </p:cNvSpPr>
              <p:nvPr/>
            </p:nvSpPr>
            <p:spPr bwMode="auto">
              <a:xfrm>
                <a:off x="4687888" y="3767138"/>
                <a:ext cx="1023938" cy="1023938"/>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33 h 360"/>
                  <a:gd name="T12" fmla="*/ 27 w 360"/>
                  <a:gd name="T13" fmla="*/ 180 h 360"/>
                  <a:gd name="T14" fmla="*/ 180 w 360"/>
                  <a:gd name="T15" fmla="*/ 27 h 360"/>
                  <a:gd name="T16" fmla="*/ 333 w 360"/>
                  <a:gd name="T17" fmla="*/ 180 h 360"/>
                  <a:gd name="T18" fmla="*/ 180 w 360"/>
                  <a:gd name="T19" fmla="*/ 333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0"/>
                      <a:pt x="0" y="180"/>
                    </a:cubicBezTo>
                    <a:cubicBezTo>
                      <a:pt x="0" y="279"/>
                      <a:pt x="81" y="360"/>
                      <a:pt x="180" y="360"/>
                    </a:cubicBezTo>
                    <a:cubicBezTo>
                      <a:pt x="280" y="360"/>
                      <a:pt x="360" y="279"/>
                      <a:pt x="360" y="180"/>
                    </a:cubicBezTo>
                    <a:cubicBezTo>
                      <a:pt x="360" y="80"/>
                      <a:pt x="280" y="0"/>
                      <a:pt x="180" y="0"/>
                    </a:cubicBezTo>
                    <a:moveTo>
                      <a:pt x="180" y="333"/>
                    </a:moveTo>
                    <a:cubicBezTo>
                      <a:pt x="96" y="333"/>
                      <a:pt x="27" y="264"/>
                      <a:pt x="27" y="180"/>
                    </a:cubicBezTo>
                    <a:cubicBezTo>
                      <a:pt x="27" y="95"/>
                      <a:pt x="96" y="27"/>
                      <a:pt x="180" y="27"/>
                    </a:cubicBezTo>
                    <a:cubicBezTo>
                      <a:pt x="265" y="27"/>
                      <a:pt x="333" y="95"/>
                      <a:pt x="333" y="180"/>
                    </a:cubicBezTo>
                    <a:cubicBezTo>
                      <a:pt x="333" y="264"/>
                      <a:pt x="265" y="333"/>
                      <a:pt x="180" y="333"/>
                    </a:cubicBezTo>
                  </a:path>
                </a:pathLst>
              </a:custGeom>
              <a:solidFill>
                <a:srgbClr val="E74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9" name="Freeform 470">
                <a:extLst>
                  <a:ext uri="{FF2B5EF4-FFF2-40B4-BE49-F238E27FC236}">
                    <a16:creationId xmlns:a16="http://schemas.microsoft.com/office/drawing/2014/main" id="{F1E9291D-D83C-470C-9F6E-A96C8AF1660D}"/>
                  </a:ext>
                </a:extLst>
              </p:cNvPr>
              <p:cNvSpPr>
                <a:spLocks/>
              </p:cNvSpPr>
              <p:nvPr/>
            </p:nvSpPr>
            <p:spPr bwMode="auto">
              <a:xfrm>
                <a:off x="5162550" y="3932238"/>
                <a:ext cx="74613" cy="338138"/>
              </a:xfrm>
              <a:custGeom>
                <a:avLst/>
                <a:gdLst>
                  <a:gd name="T0" fmla="*/ 0 w 47"/>
                  <a:gd name="T1" fmla="*/ 213 h 213"/>
                  <a:gd name="T2" fmla="*/ 23 w 47"/>
                  <a:gd name="T3" fmla="*/ 0 h 213"/>
                  <a:gd name="T4" fmla="*/ 47 w 47"/>
                  <a:gd name="T5" fmla="*/ 213 h 213"/>
                  <a:gd name="T6" fmla="*/ 0 w 47"/>
                  <a:gd name="T7" fmla="*/ 213 h 213"/>
                </a:gdLst>
                <a:ahLst/>
                <a:cxnLst>
                  <a:cxn ang="0">
                    <a:pos x="T0" y="T1"/>
                  </a:cxn>
                  <a:cxn ang="0">
                    <a:pos x="T2" y="T3"/>
                  </a:cxn>
                  <a:cxn ang="0">
                    <a:pos x="T4" y="T5"/>
                  </a:cxn>
                  <a:cxn ang="0">
                    <a:pos x="T6" y="T7"/>
                  </a:cxn>
                </a:cxnLst>
                <a:rect l="0" t="0" r="r" b="b"/>
                <a:pathLst>
                  <a:path w="47" h="213">
                    <a:moveTo>
                      <a:pt x="0" y="213"/>
                    </a:moveTo>
                    <a:lnTo>
                      <a:pt x="23" y="0"/>
                    </a:lnTo>
                    <a:lnTo>
                      <a:pt x="47" y="213"/>
                    </a:lnTo>
                    <a:lnTo>
                      <a:pt x="0" y="213"/>
                    </a:lnTo>
                    <a:close/>
                  </a:path>
                </a:pathLst>
              </a:custGeom>
              <a:solidFill>
                <a:srgbClr val="E74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0" name="Freeform 471">
                <a:extLst>
                  <a:ext uri="{FF2B5EF4-FFF2-40B4-BE49-F238E27FC236}">
                    <a16:creationId xmlns:a16="http://schemas.microsoft.com/office/drawing/2014/main" id="{B1AC9C95-767E-4927-A2AD-0F62A579D7CA}"/>
                  </a:ext>
                </a:extLst>
              </p:cNvPr>
              <p:cNvSpPr>
                <a:spLocks/>
              </p:cNvSpPr>
              <p:nvPr/>
            </p:nvSpPr>
            <p:spPr bwMode="auto">
              <a:xfrm>
                <a:off x="5162550" y="3932238"/>
                <a:ext cx="74613" cy="338138"/>
              </a:xfrm>
              <a:custGeom>
                <a:avLst/>
                <a:gdLst>
                  <a:gd name="T0" fmla="*/ 0 w 47"/>
                  <a:gd name="T1" fmla="*/ 213 h 213"/>
                  <a:gd name="T2" fmla="*/ 23 w 47"/>
                  <a:gd name="T3" fmla="*/ 0 h 213"/>
                  <a:gd name="T4" fmla="*/ 47 w 47"/>
                  <a:gd name="T5" fmla="*/ 213 h 213"/>
                  <a:gd name="T6" fmla="*/ 0 w 47"/>
                  <a:gd name="T7" fmla="*/ 213 h 213"/>
                </a:gdLst>
                <a:ahLst/>
                <a:cxnLst>
                  <a:cxn ang="0">
                    <a:pos x="T0" y="T1"/>
                  </a:cxn>
                  <a:cxn ang="0">
                    <a:pos x="T2" y="T3"/>
                  </a:cxn>
                  <a:cxn ang="0">
                    <a:pos x="T4" y="T5"/>
                  </a:cxn>
                  <a:cxn ang="0">
                    <a:pos x="T6" y="T7"/>
                  </a:cxn>
                </a:cxnLst>
                <a:rect l="0" t="0" r="r" b="b"/>
                <a:pathLst>
                  <a:path w="47" h="213">
                    <a:moveTo>
                      <a:pt x="0" y="213"/>
                    </a:moveTo>
                    <a:lnTo>
                      <a:pt x="23" y="0"/>
                    </a:lnTo>
                    <a:lnTo>
                      <a:pt x="47" y="213"/>
                    </a:lnTo>
                    <a:lnTo>
                      <a:pt x="0" y="2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1" name="Freeform 472">
                <a:extLst>
                  <a:ext uri="{FF2B5EF4-FFF2-40B4-BE49-F238E27FC236}">
                    <a16:creationId xmlns:a16="http://schemas.microsoft.com/office/drawing/2014/main" id="{89C2BE76-CAC5-481D-8397-BC90673857BB}"/>
                  </a:ext>
                </a:extLst>
              </p:cNvPr>
              <p:cNvSpPr>
                <a:spLocks/>
              </p:cNvSpPr>
              <p:nvPr/>
            </p:nvSpPr>
            <p:spPr bwMode="auto">
              <a:xfrm>
                <a:off x="5199063" y="3932238"/>
                <a:ext cx="38100" cy="338138"/>
              </a:xfrm>
              <a:custGeom>
                <a:avLst/>
                <a:gdLst>
                  <a:gd name="T0" fmla="*/ 0 w 24"/>
                  <a:gd name="T1" fmla="*/ 0 h 213"/>
                  <a:gd name="T2" fmla="*/ 0 w 24"/>
                  <a:gd name="T3" fmla="*/ 213 h 213"/>
                  <a:gd name="T4" fmla="*/ 15 w 24"/>
                  <a:gd name="T5" fmla="*/ 213 h 213"/>
                  <a:gd name="T6" fmla="*/ 18 w 24"/>
                  <a:gd name="T7" fmla="*/ 208 h 213"/>
                  <a:gd name="T8" fmla="*/ 24 w 24"/>
                  <a:gd name="T9" fmla="*/ 211 h 213"/>
                  <a:gd name="T10" fmla="*/ 0 w 24"/>
                  <a:gd name="T11" fmla="*/ 0 h 213"/>
                </a:gdLst>
                <a:ahLst/>
                <a:cxnLst>
                  <a:cxn ang="0">
                    <a:pos x="T0" y="T1"/>
                  </a:cxn>
                  <a:cxn ang="0">
                    <a:pos x="T2" y="T3"/>
                  </a:cxn>
                  <a:cxn ang="0">
                    <a:pos x="T4" y="T5"/>
                  </a:cxn>
                  <a:cxn ang="0">
                    <a:pos x="T6" y="T7"/>
                  </a:cxn>
                  <a:cxn ang="0">
                    <a:pos x="T8" y="T9"/>
                  </a:cxn>
                  <a:cxn ang="0">
                    <a:pos x="T10" y="T11"/>
                  </a:cxn>
                </a:cxnLst>
                <a:rect l="0" t="0" r="r" b="b"/>
                <a:pathLst>
                  <a:path w="24" h="213">
                    <a:moveTo>
                      <a:pt x="0" y="0"/>
                    </a:moveTo>
                    <a:lnTo>
                      <a:pt x="0" y="213"/>
                    </a:lnTo>
                    <a:lnTo>
                      <a:pt x="15" y="213"/>
                    </a:lnTo>
                    <a:lnTo>
                      <a:pt x="18" y="208"/>
                    </a:lnTo>
                    <a:lnTo>
                      <a:pt x="24" y="211"/>
                    </a:lnTo>
                    <a:lnTo>
                      <a:pt x="0" y="0"/>
                    </a:lnTo>
                    <a:close/>
                  </a:path>
                </a:pathLst>
              </a:custGeom>
              <a:solidFill>
                <a:srgbClr val="CA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2" name="Freeform 473">
                <a:extLst>
                  <a:ext uri="{FF2B5EF4-FFF2-40B4-BE49-F238E27FC236}">
                    <a16:creationId xmlns:a16="http://schemas.microsoft.com/office/drawing/2014/main" id="{EC093E68-2C3C-448F-ADB7-41F83D138EA2}"/>
                  </a:ext>
                </a:extLst>
              </p:cNvPr>
              <p:cNvSpPr>
                <a:spLocks/>
              </p:cNvSpPr>
              <p:nvPr/>
            </p:nvSpPr>
            <p:spPr bwMode="auto">
              <a:xfrm>
                <a:off x="5199063" y="3932238"/>
                <a:ext cx="38100" cy="338138"/>
              </a:xfrm>
              <a:custGeom>
                <a:avLst/>
                <a:gdLst>
                  <a:gd name="T0" fmla="*/ 0 w 24"/>
                  <a:gd name="T1" fmla="*/ 0 h 213"/>
                  <a:gd name="T2" fmla="*/ 0 w 24"/>
                  <a:gd name="T3" fmla="*/ 213 h 213"/>
                  <a:gd name="T4" fmla="*/ 15 w 24"/>
                  <a:gd name="T5" fmla="*/ 213 h 213"/>
                  <a:gd name="T6" fmla="*/ 18 w 24"/>
                  <a:gd name="T7" fmla="*/ 208 h 213"/>
                  <a:gd name="T8" fmla="*/ 24 w 24"/>
                  <a:gd name="T9" fmla="*/ 211 h 213"/>
                  <a:gd name="T10" fmla="*/ 0 w 24"/>
                  <a:gd name="T11" fmla="*/ 0 h 213"/>
                </a:gdLst>
                <a:ahLst/>
                <a:cxnLst>
                  <a:cxn ang="0">
                    <a:pos x="T0" y="T1"/>
                  </a:cxn>
                  <a:cxn ang="0">
                    <a:pos x="T2" y="T3"/>
                  </a:cxn>
                  <a:cxn ang="0">
                    <a:pos x="T4" y="T5"/>
                  </a:cxn>
                  <a:cxn ang="0">
                    <a:pos x="T6" y="T7"/>
                  </a:cxn>
                  <a:cxn ang="0">
                    <a:pos x="T8" y="T9"/>
                  </a:cxn>
                  <a:cxn ang="0">
                    <a:pos x="T10" y="T11"/>
                  </a:cxn>
                </a:cxnLst>
                <a:rect l="0" t="0" r="r" b="b"/>
                <a:pathLst>
                  <a:path w="24" h="213">
                    <a:moveTo>
                      <a:pt x="0" y="0"/>
                    </a:moveTo>
                    <a:lnTo>
                      <a:pt x="0" y="213"/>
                    </a:lnTo>
                    <a:lnTo>
                      <a:pt x="15" y="213"/>
                    </a:lnTo>
                    <a:lnTo>
                      <a:pt x="18" y="208"/>
                    </a:lnTo>
                    <a:lnTo>
                      <a:pt x="24" y="2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3" name="Freeform 474">
                <a:extLst>
                  <a:ext uri="{FF2B5EF4-FFF2-40B4-BE49-F238E27FC236}">
                    <a16:creationId xmlns:a16="http://schemas.microsoft.com/office/drawing/2014/main" id="{A34EF910-3F90-44BD-935B-396E333DE4F2}"/>
                  </a:ext>
                </a:extLst>
              </p:cNvPr>
              <p:cNvSpPr>
                <a:spLocks/>
              </p:cNvSpPr>
              <p:nvPr/>
            </p:nvSpPr>
            <p:spPr bwMode="auto">
              <a:xfrm>
                <a:off x="5202238" y="4262438"/>
                <a:ext cx="241300" cy="139700"/>
              </a:xfrm>
              <a:custGeom>
                <a:avLst/>
                <a:gdLst>
                  <a:gd name="T0" fmla="*/ 16 w 152"/>
                  <a:gd name="T1" fmla="*/ 0 h 88"/>
                  <a:gd name="T2" fmla="*/ 152 w 152"/>
                  <a:gd name="T3" fmla="*/ 88 h 88"/>
                  <a:gd name="T4" fmla="*/ 0 w 152"/>
                  <a:gd name="T5" fmla="*/ 30 h 88"/>
                  <a:gd name="T6" fmla="*/ 16 w 152"/>
                  <a:gd name="T7" fmla="*/ 0 h 88"/>
                </a:gdLst>
                <a:ahLst/>
                <a:cxnLst>
                  <a:cxn ang="0">
                    <a:pos x="T0" y="T1"/>
                  </a:cxn>
                  <a:cxn ang="0">
                    <a:pos x="T2" y="T3"/>
                  </a:cxn>
                  <a:cxn ang="0">
                    <a:pos x="T4" y="T5"/>
                  </a:cxn>
                  <a:cxn ang="0">
                    <a:pos x="T6" y="T7"/>
                  </a:cxn>
                </a:cxnLst>
                <a:rect l="0" t="0" r="r" b="b"/>
                <a:pathLst>
                  <a:path w="152" h="88">
                    <a:moveTo>
                      <a:pt x="16" y="0"/>
                    </a:moveTo>
                    <a:lnTo>
                      <a:pt x="152" y="88"/>
                    </a:lnTo>
                    <a:lnTo>
                      <a:pt x="0" y="30"/>
                    </a:lnTo>
                    <a:lnTo>
                      <a:pt x="16" y="0"/>
                    </a:lnTo>
                    <a:close/>
                  </a:path>
                </a:pathLst>
              </a:custGeom>
              <a:solidFill>
                <a:srgbClr val="E74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4" name="Freeform 475">
                <a:extLst>
                  <a:ext uri="{FF2B5EF4-FFF2-40B4-BE49-F238E27FC236}">
                    <a16:creationId xmlns:a16="http://schemas.microsoft.com/office/drawing/2014/main" id="{79226A6E-B8BA-4D06-BE7D-CEE24EF982E3}"/>
                  </a:ext>
                </a:extLst>
              </p:cNvPr>
              <p:cNvSpPr>
                <a:spLocks/>
              </p:cNvSpPr>
              <p:nvPr/>
            </p:nvSpPr>
            <p:spPr bwMode="auto">
              <a:xfrm>
                <a:off x="5202238" y="4262438"/>
                <a:ext cx="241300" cy="139700"/>
              </a:xfrm>
              <a:custGeom>
                <a:avLst/>
                <a:gdLst>
                  <a:gd name="T0" fmla="*/ 16 w 152"/>
                  <a:gd name="T1" fmla="*/ 0 h 88"/>
                  <a:gd name="T2" fmla="*/ 152 w 152"/>
                  <a:gd name="T3" fmla="*/ 88 h 88"/>
                  <a:gd name="T4" fmla="*/ 0 w 152"/>
                  <a:gd name="T5" fmla="*/ 30 h 88"/>
                  <a:gd name="T6" fmla="*/ 16 w 152"/>
                  <a:gd name="T7" fmla="*/ 0 h 88"/>
                </a:gdLst>
                <a:ahLst/>
                <a:cxnLst>
                  <a:cxn ang="0">
                    <a:pos x="T0" y="T1"/>
                  </a:cxn>
                  <a:cxn ang="0">
                    <a:pos x="T2" y="T3"/>
                  </a:cxn>
                  <a:cxn ang="0">
                    <a:pos x="T4" y="T5"/>
                  </a:cxn>
                  <a:cxn ang="0">
                    <a:pos x="T6" y="T7"/>
                  </a:cxn>
                </a:cxnLst>
                <a:rect l="0" t="0" r="r" b="b"/>
                <a:pathLst>
                  <a:path w="152" h="88">
                    <a:moveTo>
                      <a:pt x="16" y="0"/>
                    </a:moveTo>
                    <a:lnTo>
                      <a:pt x="152" y="88"/>
                    </a:lnTo>
                    <a:lnTo>
                      <a:pt x="0" y="3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5" name="Freeform 476">
                <a:extLst>
                  <a:ext uri="{FF2B5EF4-FFF2-40B4-BE49-F238E27FC236}">
                    <a16:creationId xmlns:a16="http://schemas.microsoft.com/office/drawing/2014/main" id="{BBE4C3DB-7601-4EE7-A97E-E83FCB929545}"/>
                  </a:ext>
                </a:extLst>
              </p:cNvPr>
              <p:cNvSpPr>
                <a:spLocks/>
              </p:cNvSpPr>
              <p:nvPr/>
            </p:nvSpPr>
            <p:spPr bwMode="auto">
              <a:xfrm>
                <a:off x="5202238" y="4284663"/>
                <a:ext cx="14288" cy="25400"/>
              </a:xfrm>
              <a:custGeom>
                <a:avLst/>
                <a:gdLst>
                  <a:gd name="T0" fmla="*/ 9 w 9"/>
                  <a:gd name="T1" fmla="*/ 0 h 16"/>
                  <a:gd name="T2" fmla="*/ 0 w 9"/>
                  <a:gd name="T3" fmla="*/ 16 h 16"/>
                  <a:gd name="T4" fmla="*/ 9 w 9"/>
                  <a:gd name="T5" fmla="*/ 0 h 16"/>
                  <a:gd name="T6" fmla="*/ 9 w 9"/>
                  <a:gd name="T7" fmla="*/ 0 h 16"/>
                </a:gdLst>
                <a:ahLst/>
                <a:cxnLst>
                  <a:cxn ang="0">
                    <a:pos x="T0" y="T1"/>
                  </a:cxn>
                  <a:cxn ang="0">
                    <a:pos x="T2" y="T3"/>
                  </a:cxn>
                  <a:cxn ang="0">
                    <a:pos x="T4" y="T5"/>
                  </a:cxn>
                  <a:cxn ang="0">
                    <a:pos x="T6" y="T7"/>
                  </a:cxn>
                </a:cxnLst>
                <a:rect l="0" t="0" r="r" b="b"/>
                <a:pathLst>
                  <a:path w="9" h="16">
                    <a:moveTo>
                      <a:pt x="9" y="0"/>
                    </a:moveTo>
                    <a:lnTo>
                      <a:pt x="0" y="16"/>
                    </a:lnTo>
                    <a:lnTo>
                      <a:pt x="9" y="0"/>
                    </a:lnTo>
                    <a:lnTo>
                      <a:pt x="9" y="0"/>
                    </a:lnTo>
                    <a:close/>
                  </a:path>
                </a:pathLst>
              </a:custGeom>
              <a:solidFill>
                <a:srgbClr val="C194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6" name="Freeform 477">
                <a:extLst>
                  <a:ext uri="{FF2B5EF4-FFF2-40B4-BE49-F238E27FC236}">
                    <a16:creationId xmlns:a16="http://schemas.microsoft.com/office/drawing/2014/main" id="{2B063D40-C049-466D-9C2F-0C07EE28D2AC}"/>
                  </a:ext>
                </a:extLst>
              </p:cNvPr>
              <p:cNvSpPr>
                <a:spLocks/>
              </p:cNvSpPr>
              <p:nvPr/>
            </p:nvSpPr>
            <p:spPr bwMode="auto">
              <a:xfrm>
                <a:off x="5202238" y="4284663"/>
                <a:ext cx="14288" cy="25400"/>
              </a:xfrm>
              <a:custGeom>
                <a:avLst/>
                <a:gdLst>
                  <a:gd name="T0" fmla="*/ 9 w 9"/>
                  <a:gd name="T1" fmla="*/ 0 h 16"/>
                  <a:gd name="T2" fmla="*/ 0 w 9"/>
                  <a:gd name="T3" fmla="*/ 16 h 16"/>
                  <a:gd name="T4" fmla="*/ 9 w 9"/>
                  <a:gd name="T5" fmla="*/ 0 h 16"/>
                  <a:gd name="T6" fmla="*/ 9 w 9"/>
                  <a:gd name="T7" fmla="*/ 0 h 16"/>
                </a:gdLst>
                <a:ahLst/>
                <a:cxnLst>
                  <a:cxn ang="0">
                    <a:pos x="T0" y="T1"/>
                  </a:cxn>
                  <a:cxn ang="0">
                    <a:pos x="T2" y="T3"/>
                  </a:cxn>
                  <a:cxn ang="0">
                    <a:pos x="T4" y="T5"/>
                  </a:cxn>
                  <a:cxn ang="0">
                    <a:pos x="T6" y="T7"/>
                  </a:cxn>
                </a:cxnLst>
                <a:rect l="0" t="0" r="r" b="b"/>
                <a:pathLst>
                  <a:path w="9" h="16">
                    <a:moveTo>
                      <a:pt x="9" y="0"/>
                    </a:moveTo>
                    <a:lnTo>
                      <a:pt x="0" y="16"/>
                    </a:lnTo>
                    <a:lnTo>
                      <a:pt x="9" y="0"/>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7" name="Freeform 478">
                <a:extLst>
                  <a:ext uri="{FF2B5EF4-FFF2-40B4-BE49-F238E27FC236}">
                    <a16:creationId xmlns:a16="http://schemas.microsoft.com/office/drawing/2014/main" id="{F7B029A6-2A2D-463A-A946-239CF16E68D7}"/>
                  </a:ext>
                </a:extLst>
              </p:cNvPr>
              <p:cNvSpPr>
                <a:spLocks/>
              </p:cNvSpPr>
              <p:nvPr/>
            </p:nvSpPr>
            <p:spPr bwMode="auto">
              <a:xfrm>
                <a:off x="5202238" y="4284663"/>
                <a:ext cx="241300" cy="117475"/>
              </a:xfrm>
              <a:custGeom>
                <a:avLst/>
                <a:gdLst>
                  <a:gd name="T0" fmla="*/ 9 w 152"/>
                  <a:gd name="T1" fmla="*/ 0 h 74"/>
                  <a:gd name="T2" fmla="*/ 0 w 152"/>
                  <a:gd name="T3" fmla="*/ 16 h 74"/>
                  <a:gd name="T4" fmla="*/ 152 w 152"/>
                  <a:gd name="T5" fmla="*/ 74 h 74"/>
                  <a:gd name="T6" fmla="*/ 9 w 152"/>
                  <a:gd name="T7" fmla="*/ 0 h 74"/>
                </a:gdLst>
                <a:ahLst/>
                <a:cxnLst>
                  <a:cxn ang="0">
                    <a:pos x="T0" y="T1"/>
                  </a:cxn>
                  <a:cxn ang="0">
                    <a:pos x="T2" y="T3"/>
                  </a:cxn>
                  <a:cxn ang="0">
                    <a:pos x="T4" y="T5"/>
                  </a:cxn>
                  <a:cxn ang="0">
                    <a:pos x="T6" y="T7"/>
                  </a:cxn>
                </a:cxnLst>
                <a:rect l="0" t="0" r="r" b="b"/>
                <a:pathLst>
                  <a:path w="152" h="74">
                    <a:moveTo>
                      <a:pt x="9" y="0"/>
                    </a:moveTo>
                    <a:lnTo>
                      <a:pt x="0" y="16"/>
                    </a:lnTo>
                    <a:lnTo>
                      <a:pt x="152" y="74"/>
                    </a:lnTo>
                    <a:lnTo>
                      <a:pt x="9" y="0"/>
                    </a:lnTo>
                    <a:close/>
                  </a:path>
                </a:pathLst>
              </a:custGeom>
              <a:solidFill>
                <a:srgbClr val="CA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8" name="Freeform 479">
                <a:extLst>
                  <a:ext uri="{FF2B5EF4-FFF2-40B4-BE49-F238E27FC236}">
                    <a16:creationId xmlns:a16="http://schemas.microsoft.com/office/drawing/2014/main" id="{3AEC0242-97DE-4726-9A05-76510DA6054F}"/>
                  </a:ext>
                </a:extLst>
              </p:cNvPr>
              <p:cNvSpPr>
                <a:spLocks/>
              </p:cNvSpPr>
              <p:nvPr/>
            </p:nvSpPr>
            <p:spPr bwMode="auto">
              <a:xfrm>
                <a:off x="5202238" y="4284663"/>
                <a:ext cx="241300" cy="117475"/>
              </a:xfrm>
              <a:custGeom>
                <a:avLst/>
                <a:gdLst>
                  <a:gd name="T0" fmla="*/ 9 w 152"/>
                  <a:gd name="T1" fmla="*/ 0 h 74"/>
                  <a:gd name="T2" fmla="*/ 0 w 152"/>
                  <a:gd name="T3" fmla="*/ 16 h 74"/>
                  <a:gd name="T4" fmla="*/ 152 w 152"/>
                  <a:gd name="T5" fmla="*/ 74 h 74"/>
                  <a:gd name="T6" fmla="*/ 9 w 152"/>
                  <a:gd name="T7" fmla="*/ 0 h 74"/>
                </a:gdLst>
                <a:ahLst/>
                <a:cxnLst>
                  <a:cxn ang="0">
                    <a:pos x="T0" y="T1"/>
                  </a:cxn>
                  <a:cxn ang="0">
                    <a:pos x="T2" y="T3"/>
                  </a:cxn>
                  <a:cxn ang="0">
                    <a:pos x="T4" y="T5"/>
                  </a:cxn>
                  <a:cxn ang="0">
                    <a:pos x="T6" y="T7"/>
                  </a:cxn>
                </a:cxnLst>
                <a:rect l="0" t="0" r="r" b="b"/>
                <a:pathLst>
                  <a:path w="152" h="74">
                    <a:moveTo>
                      <a:pt x="9" y="0"/>
                    </a:moveTo>
                    <a:lnTo>
                      <a:pt x="0" y="16"/>
                    </a:lnTo>
                    <a:lnTo>
                      <a:pt x="152" y="74"/>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9" name="Freeform 480">
                <a:extLst>
                  <a:ext uri="{FF2B5EF4-FFF2-40B4-BE49-F238E27FC236}">
                    <a16:creationId xmlns:a16="http://schemas.microsoft.com/office/drawing/2014/main" id="{12516404-0B5E-4F62-9FFA-A5624F74D237}"/>
                  </a:ext>
                </a:extLst>
              </p:cNvPr>
              <p:cNvSpPr>
                <a:spLocks/>
              </p:cNvSpPr>
              <p:nvPr/>
            </p:nvSpPr>
            <p:spPr bwMode="auto">
              <a:xfrm>
                <a:off x="5199063" y="3740150"/>
                <a:ext cx="538163" cy="1074738"/>
              </a:xfrm>
              <a:custGeom>
                <a:avLst/>
                <a:gdLst>
                  <a:gd name="T0" fmla="*/ 0 w 189"/>
                  <a:gd name="T1" fmla="*/ 0 h 377"/>
                  <a:gd name="T2" fmla="*/ 0 w 189"/>
                  <a:gd name="T3" fmla="*/ 9 h 377"/>
                  <a:gd name="T4" fmla="*/ 0 w 189"/>
                  <a:gd name="T5" fmla="*/ 9 h 377"/>
                  <a:gd name="T6" fmla="*/ 180 w 189"/>
                  <a:gd name="T7" fmla="*/ 189 h 377"/>
                  <a:gd name="T8" fmla="*/ 180 w 189"/>
                  <a:gd name="T9" fmla="*/ 189 h 377"/>
                  <a:gd name="T10" fmla="*/ 180 w 189"/>
                  <a:gd name="T11" fmla="*/ 189 h 377"/>
                  <a:gd name="T12" fmla="*/ 180 w 189"/>
                  <a:gd name="T13" fmla="*/ 189 h 377"/>
                  <a:gd name="T14" fmla="*/ 180 w 189"/>
                  <a:gd name="T15" fmla="*/ 189 h 377"/>
                  <a:gd name="T16" fmla="*/ 0 w 189"/>
                  <a:gd name="T17" fmla="*/ 369 h 377"/>
                  <a:gd name="T18" fmla="*/ 0 w 189"/>
                  <a:gd name="T19" fmla="*/ 377 h 377"/>
                  <a:gd name="T20" fmla="*/ 189 w 189"/>
                  <a:gd name="T21" fmla="*/ 189 h 377"/>
                  <a:gd name="T22" fmla="*/ 172 w 189"/>
                  <a:gd name="T23" fmla="*/ 112 h 377"/>
                  <a:gd name="T24" fmla="*/ 133 w 189"/>
                  <a:gd name="T25" fmla="*/ 55 h 377"/>
                  <a:gd name="T26" fmla="*/ 77 w 189"/>
                  <a:gd name="T27" fmla="*/ 17 h 377"/>
                  <a:gd name="T28" fmla="*/ 0 w 189"/>
                  <a:gd name="T29"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377">
                    <a:moveTo>
                      <a:pt x="0" y="0"/>
                    </a:moveTo>
                    <a:cubicBezTo>
                      <a:pt x="0" y="9"/>
                      <a:pt x="0" y="9"/>
                      <a:pt x="0" y="9"/>
                    </a:cubicBezTo>
                    <a:cubicBezTo>
                      <a:pt x="0" y="9"/>
                      <a:pt x="0" y="9"/>
                      <a:pt x="0" y="9"/>
                    </a:cubicBezTo>
                    <a:cubicBezTo>
                      <a:pt x="100" y="9"/>
                      <a:pt x="180" y="89"/>
                      <a:pt x="180" y="189"/>
                    </a:cubicBezTo>
                    <a:cubicBezTo>
                      <a:pt x="180" y="189"/>
                      <a:pt x="180" y="189"/>
                      <a:pt x="180" y="189"/>
                    </a:cubicBezTo>
                    <a:cubicBezTo>
                      <a:pt x="180" y="189"/>
                      <a:pt x="180" y="189"/>
                      <a:pt x="180" y="189"/>
                    </a:cubicBezTo>
                    <a:cubicBezTo>
                      <a:pt x="180" y="189"/>
                      <a:pt x="180" y="189"/>
                      <a:pt x="180" y="189"/>
                    </a:cubicBezTo>
                    <a:cubicBezTo>
                      <a:pt x="180" y="189"/>
                      <a:pt x="180" y="189"/>
                      <a:pt x="180" y="189"/>
                    </a:cubicBezTo>
                    <a:cubicBezTo>
                      <a:pt x="180" y="288"/>
                      <a:pt x="100" y="369"/>
                      <a:pt x="0" y="369"/>
                    </a:cubicBezTo>
                    <a:cubicBezTo>
                      <a:pt x="0" y="377"/>
                      <a:pt x="0" y="377"/>
                      <a:pt x="0" y="377"/>
                    </a:cubicBezTo>
                    <a:cubicBezTo>
                      <a:pt x="104" y="377"/>
                      <a:pt x="189" y="293"/>
                      <a:pt x="189" y="189"/>
                    </a:cubicBezTo>
                    <a:cubicBezTo>
                      <a:pt x="189" y="161"/>
                      <a:pt x="183" y="135"/>
                      <a:pt x="172" y="112"/>
                    </a:cubicBezTo>
                    <a:cubicBezTo>
                      <a:pt x="163" y="90"/>
                      <a:pt x="149" y="71"/>
                      <a:pt x="133" y="55"/>
                    </a:cubicBezTo>
                    <a:cubicBezTo>
                      <a:pt x="117" y="39"/>
                      <a:pt x="98" y="26"/>
                      <a:pt x="77" y="17"/>
                    </a:cubicBezTo>
                    <a:cubicBezTo>
                      <a:pt x="53" y="6"/>
                      <a:pt x="27" y="0"/>
                      <a:pt x="0" y="0"/>
                    </a:cubicBezTo>
                  </a:path>
                </a:pathLst>
              </a:custGeom>
              <a:solidFill>
                <a:srgbClr val="990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0" name="Freeform 481">
                <a:extLst>
                  <a:ext uri="{FF2B5EF4-FFF2-40B4-BE49-F238E27FC236}">
                    <a16:creationId xmlns:a16="http://schemas.microsoft.com/office/drawing/2014/main" id="{41E90BFF-298C-4B9B-99A5-A42266DE4169}"/>
                  </a:ext>
                </a:extLst>
              </p:cNvPr>
              <p:cNvSpPr>
                <a:spLocks/>
              </p:cNvSpPr>
              <p:nvPr/>
            </p:nvSpPr>
            <p:spPr bwMode="auto">
              <a:xfrm>
                <a:off x="5199063" y="3767138"/>
                <a:ext cx="512763" cy="1023938"/>
              </a:xfrm>
              <a:custGeom>
                <a:avLst/>
                <a:gdLst>
                  <a:gd name="T0" fmla="*/ 0 w 180"/>
                  <a:gd name="T1" fmla="*/ 0 h 360"/>
                  <a:gd name="T2" fmla="*/ 0 w 180"/>
                  <a:gd name="T3" fmla="*/ 2 h 360"/>
                  <a:gd name="T4" fmla="*/ 0 w 180"/>
                  <a:gd name="T5" fmla="*/ 27 h 360"/>
                  <a:gd name="T6" fmla="*/ 153 w 180"/>
                  <a:gd name="T7" fmla="*/ 180 h 360"/>
                  <a:gd name="T8" fmla="*/ 153 w 180"/>
                  <a:gd name="T9" fmla="*/ 180 h 360"/>
                  <a:gd name="T10" fmla="*/ 153 w 180"/>
                  <a:gd name="T11" fmla="*/ 180 h 360"/>
                  <a:gd name="T12" fmla="*/ 4 w 180"/>
                  <a:gd name="T13" fmla="*/ 333 h 360"/>
                  <a:gd name="T14" fmla="*/ 0 w 180"/>
                  <a:gd name="T15" fmla="*/ 333 h 360"/>
                  <a:gd name="T16" fmla="*/ 0 w 180"/>
                  <a:gd name="T17" fmla="*/ 358 h 360"/>
                  <a:gd name="T18" fmla="*/ 0 w 180"/>
                  <a:gd name="T19" fmla="*/ 360 h 360"/>
                  <a:gd name="T20" fmla="*/ 180 w 180"/>
                  <a:gd name="T21" fmla="*/ 180 h 360"/>
                  <a:gd name="T22" fmla="*/ 0 w 180"/>
                  <a:gd name="T23"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0" h="360">
                    <a:moveTo>
                      <a:pt x="0" y="0"/>
                    </a:moveTo>
                    <a:cubicBezTo>
                      <a:pt x="0" y="2"/>
                      <a:pt x="0" y="2"/>
                      <a:pt x="0" y="2"/>
                    </a:cubicBezTo>
                    <a:cubicBezTo>
                      <a:pt x="0" y="27"/>
                      <a:pt x="0" y="27"/>
                      <a:pt x="0" y="27"/>
                    </a:cubicBezTo>
                    <a:cubicBezTo>
                      <a:pt x="85" y="27"/>
                      <a:pt x="153" y="95"/>
                      <a:pt x="153" y="180"/>
                    </a:cubicBezTo>
                    <a:cubicBezTo>
                      <a:pt x="153" y="180"/>
                      <a:pt x="153" y="180"/>
                      <a:pt x="153" y="180"/>
                    </a:cubicBezTo>
                    <a:cubicBezTo>
                      <a:pt x="153" y="180"/>
                      <a:pt x="153" y="180"/>
                      <a:pt x="153" y="180"/>
                    </a:cubicBezTo>
                    <a:cubicBezTo>
                      <a:pt x="153" y="263"/>
                      <a:pt x="87" y="331"/>
                      <a:pt x="4" y="333"/>
                    </a:cubicBezTo>
                    <a:cubicBezTo>
                      <a:pt x="3" y="333"/>
                      <a:pt x="1" y="333"/>
                      <a:pt x="0" y="333"/>
                    </a:cubicBezTo>
                    <a:cubicBezTo>
                      <a:pt x="0" y="358"/>
                      <a:pt x="0" y="358"/>
                      <a:pt x="0" y="358"/>
                    </a:cubicBezTo>
                    <a:cubicBezTo>
                      <a:pt x="0" y="360"/>
                      <a:pt x="0" y="360"/>
                      <a:pt x="0" y="360"/>
                    </a:cubicBezTo>
                    <a:cubicBezTo>
                      <a:pt x="100" y="360"/>
                      <a:pt x="180" y="279"/>
                      <a:pt x="180" y="180"/>
                    </a:cubicBezTo>
                    <a:cubicBezTo>
                      <a:pt x="180" y="80"/>
                      <a:pt x="100" y="0"/>
                      <a:pt x="0" y="0"/>
                    </a:cubicBezTo>
                  </a:path>
                </a:pathLst>
              </a:custGeom>
              <a:solidFill>
                <a:srgbClr val="CA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1" name="Oval 482">
                <a:extLst>
                  <a:ext uri="{FF2B5EF4-FFF2-40B4-BE49-F238E27FC236}">
                    <a16:creationId xmlns:a16="http://schemas.microsoft.com/office/drawing/2014/main" id="{C9844E7A-BE06-42B8-BA73-41F113F2B5CD}"/>
                  </a:ext>
                </a:extLst>
              </p:cNvPr>
              <p:cNvSpPr>
                <a:spLocks noChangeArrowheads="1"/>
              </p:cNvSpPr>
              <p:nvPr/>
            </p:nvSpPr>
            <p:spPr bwMode="auto">
              <a:xfrm>
                <a:off x="5159375" y="4237038"/>
                <a:ext cx="82550" cy="82550"/>
              </a:xfrm>
              <a:prstGeom prst="ellipse">
                <a:avLst/>
              </a:prstGeom>
              <a:solidFill>
                <a:srgbClr val="F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2" name="Freeform 483">
                <a:extLst>
                  <a:ext uri="{FF2B5EF4-FFF2-40B4-BE49-F238E27FC236}">
                    <a16:creationId xmlns:a16="http://schemas.microsoft.com/office/drawing/2014/main" id="{75E7DC58-EC93-4F4F-8FBB-FF678D0C8A8E}"/>
                  </a:ext>
                </a:extLst>
              </p:cNvPr>
              <p:cNvSpPr>
                <a:spLocks noEditPoints="1"/>
              </p:cNvSpPr>
              <p:nvPr/>
            </p:nvSpPr>
            <p:spPr bwMode="auto">
              <a:xfrm>
                <a:off x="5151438" y="4230688"/>
                <a:ext cx="96838" cy="96838"/>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5 h 34"/>
                  <a:gd name="T12" fmla="*/ 5 w 34"/>
                  <a:gd name="T13" fmla="*/ 17 h 34"/>
                  <a:gd name="T14" fmla="*/ 17 w 34"/>
                  <a:gd name="T15" fmla="*/ 29 h 34"/>
                  <a:gd name="T16" fmla="*/ 29 w 34"/>
                  <a:gd name="T17" fmla="*/ 17 h 34"/>
                  <a:gd name="T18" fmla="*/ 17 w 3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6"/>
                      <a:pt x="0" y="17"/>
                    </a:cubicBezTo>
                    <a:cubicBezTo>
                      <a:pt x="0" y="8"/>
                      <a:pt x="8" y="0"/>
                      <a:pt x="17" y="0"/>
                    </a:cubicBezTo>
                    <a:cubicBezTo>
                      <a:pt x="26" y="0"/>
                      <a:pt x="34" y="8"/>
                      <a:pt x="34" y="17"/>
                    </a:cubicBezTo>
                    <a:cubicBezTo>
                      <a:pt x="34" y="26"/>
                      <a:pt x="26" y="34"/>
                      <a:pt x="17" y="34"/>
                    </a:cubicBezTo>
                    <a:close/>
                    <a:moveTo>
                      <a:pt x="17" y="5"/>
                    </a:moveTo>
                    <a:cubicBezTo>
                      <a:pt x="10" y="5"/>
                      <a:pt x="5" y="10"/>
                      <a:pt x="5" y="17"/>
                    </a:cubicBezTo>
                    <a:cubicBezTo>
                      <a:pt x="5" y="24"/>
                      <a:pt x="10" y="29"/>
                      <a:pt x="17" y="29"/>
                    </a:cubicBezTo>
                    <a:cubicBezTo>
                      <a:pt x="24" y="29"/>
                      <a:pt x="29" y="24"/>
                      <a:pt x="29" y="17"/>
                    </a:cubicBezTo>
                    <a:cubicBezTo>
                      <a:pt x="29" y="10"/>
                      <a:pt x="24" y="5"/>
                      <a:pt x="17" y="5"/>
                    </a:cubicBezTo>
                    <a:close/>
                  </a:path>
                </a:pathLst>
              </a:custGeom>
              <a:solidFill>
                <a:srgbClr val="E74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25" name="组合 24">
              <a:extLst>
                <a:ext uri="{FF2B5EF4-FFF2-40B4-BE49-F238E27FC236}">
                  <a16:creationId xmlns:a16="http://schemas.microsoft.com/office/drawing/2014/main" id="{8D706BD8-5A03-4B9C-A29C-C30F0472911D}"/>
                </a:ext>
              </a:extLst>
            </p:cNvPr>
            <p:cNvGrpSpPr/>
            <p:nvPr/>
          </p:nvGrpSpPr>
          <p:grpSpPr>
            <a:xfrm>
              <a:off x="4736611" y="4963298"/>
              <a:ext cx="888420" cy="887512"/>
              <a:chOff x="6318250" y="1809750"/>
              <a:chExt cx="1554163" cy="1552575"/>
            </a:xfrm>
          </p:grpSpPr>
          <p:sp>
            <p:nvSpPr>
              <p:cNvPr id="62" name="Oval 484">
                <a:extLst>
                  <a:ext uri="{FF2B5EF4-FFF2-40B4-BE49-F238E27FC236}">
                    <a16:creationId xmlns:a16="http://schemas.microsoft.com/office/drawing/2014/main" id="{607C5A7D-E2C2-4760-B7A8-85BE209951EA}"/>
                  </a:ext>
                </a:extLst>
              </p:cNvPr>
              <p:cNvSpPr>
                <a:spLocks noChangeArrowheads="1"/>
              </p:cNvSpPr>
              <p:nvPr/>
            </p:nvSpPr>
            <p:spPr bwMode="auto">
              <a:xfrm>
                <a:off x="6318250" y="1809750"/>
                <a:ext cx="1554163" cy="1552575"/>
              </a:xfrm>
              <a:prstGeom prst="ellipse">
                <a:avLst/>
              </a:pr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3" name="Freeform 485">
                <a:extLst>
                  <a:ext uri="{FF2B5EF4-FFF2-40B4-BE49-F238E27FC236}">
                    <a16:creationId xmlns:a16="http://schemas.microsoft.com/office/drawing/2014/main" id="{D6AFD565-7100-4D76-84E4-85D347D7C997}"/>
                  </a:ext>
                </a:extLst>
              </p:cNvPr>
              <p:cNvSpPr>
                <a:spLocks/>
              </p:cNvSpPr>
              <p:nvPr/>
            </p:nvSpPr>
            <p:spPr bwMode="auto">
              <a:xfrm>
                <a:off x="7094538" y="2149475"/>
                <a:ext cx="598488" cy="873125"/>
              </a:xfrm>
              <a:custGeom>
                <a:avLst/>
                <a:gdLst>
                  <a:gd name="T0" fmla="*/ 195 w 210"/>
                  <a:gd name="T1" fmla="*/ 0 h 307"/>
                  <a:gd name="T2" fmla="*/ 0 w 210"/>
                  <a:gd name="T3" fmla="*/ 0 h 307"/>
                  <a:gd name="T4" fmla="*/ 0 w 210"/>
                  <a:gd name="T5" fmla="*/ 307 h 307"/>
                  <a:gd name="T6" fmla="*/ 195 w 210"/>
                  <a:gd name="T7" fmla="*/ 307 h 307"/>
                  <a:gd name="T8" fmla="*/ 210 w 210"/>
                  <a:gd name="T9" fmla="*/ 291 h 307"/>
                  <a:gd name="T10" fmla="*/ 210 w 210"/>
                  <a:gd name="T11" fmla="*/ 16 h 307"/>
                  <a:gd name="T12" fmla="*/ 195 w 210"/>
                  <a:gd name="T13" fmla="*/ 0 h 307"/>
                </a:gdLst>
                <a:ahLst/>
                <a:cxnLst>
                  <a:cxn ang="0">
                    <a:pos x="T0" y="T1"/>
                  </a:cxn>
                  <a:cxn ang="0">
                    <a:pos x="T2" y="T3"/>
                  </a:cxn>
                  <a:cxn ang="0">
                    <a:pos x="T4" y="T5"/>
                  </a:cxn>
                  <a:cxn ang="0">
                    <a:pos x="T6" y="T7"/>
                  </a:cxn>
                  <a:cxn ang="0">
                    <a:pos x="T8" y="T9"/>
                  </a:cxn>
                  <a:cxn ang="0">
                    <a:pos x="T10" y="T11"/>
                  </a:cxn>
                  <a:cxn ang="0">
                    <a:pos x="T12" y="T13"/>
                  </a:cxn>
                </a:cxnLst>
                <a:rect l="0" t="0" r="r" b="b"/>
                <a:pathLst>
                  <a:path w="210" h="307">
                    <a:moveTo>
                      <a:pt x="195" y="0"/>
                    </a:moveTo>
                    <a:cubicBezTo>
                      <a:pt x="0" y="0"/>
                      <a:pt x="0" y="0"/>
                      <a:pt x="0" y="0"/>
                    </a:cubicBezTo>
                    <a:cubicBezTo>
                      <a:pt x="0" y="307"/>
                      <a:pt x="0" y="307"/>
                      <a:pt x="0" y="307"/>
                    </a:cubicBezTo>
                    <a:cubicBezTo>
                      <a:pt x="195" y="307"/>
                      <a:pt x="195" y="307"/>
                      <a:pt x="195" y="307"/>
                    </a:cubicBezTo>
                    <a:cubicBezTo>
                      <a:pt x="203" y="307"/>
                      <a:pt x="210" y="300"/>
                      <a:pt x="210" y="291"/>
                    </a:cubicBezTo>
                    <a:cubicBezTo>
                      <a:pt x="210" y="16"/>
                      <a:pt x="210" y="16"/>
                      <a:pt x="210" y="16"/>
                    </a:cubicBezTo>
                    <a:cubicBezTo>
                      <a:pt x="210" y="7"/>
                      <a:pt x="203" y="0"/>
                      <a:pt x="195" y="0"/>
                    </a:cubicBezTo>
                  </a:path>
                </a:pathLst>
              </a:custGeom>
              <a:solidFill>
                <a:srgbClr val="264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4" name="Freeform 486">
                <a:extLst>
                  <a:ext uri="{FF2B5EF4-FFF2-40B4-BE49-F238E27FC236}">
                    <a16:creationId xmlns:a16="http://schemas.microsoft.com/office/drawing/2014/main" id="{347B4FDB-59E6-438B-999B-46A66DDFDAFF}"/>
                  </a:ext>
                </a:extLst>
              </p:cNvPr>
              <p:cNvSpPr>
                <a:spLocks/>
              </p:cNvSpPr>
              <p:nvPr/>
            </p:nvSpPr>
            <p:spPr bwMode="auto">
              <a:xfrm>
                <a:off x="7094538" y="2203450"/>
                <a:ext cx="544513" cy="765175"/>
              </a:xfrm>
              <a:custGeom>
                <a:avLst/>
                <a:gdLst>
                  <a:gd name="T0" fmla="*/ 176 w 191"/>
                  <a:gd name="T1" fmla="*/ 0 h 269"/>
                  <a:gd name="T2" fmla="*/ 0 w 191"/>
                  <a:gd name="T3" fmla="*/ 0 h 269"/>
                  <a:gd name="T4" fmla="*/ 0 w 191"/>
                  <a:gd name="T5" fmla="*/ 269 h 269"/>
                  <a:gd name="T6" fmla="*/ 176 w 191"/>
                  <a:gd name="T7" fmla="*/ 269 h 269"/>
                  <a:gd name="T8" fmla="*/ 191 w 191"/>
                  <a:gd name="T9" fmla="*/ 254 h 269"/>
                  <a:gd name="T10" fmla="*/ 191 w 191"/>
                  <a:gd name="T11" fmla="*/ 15 h 269"/>
                  <a:gd name="T12" fmla="*/ 176 w 191"/>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91" h="269">
                    <a:moveTo>
                      <a:pt x="176" y="0"/>
                    </a:moveTo>
                    <a:cubicBezTo>
                      <a:pt x="0" y="0"/>
                      <a:pt x="0" y="0"/>
                      <a:pt x="0" y="0"/>
                    </a:cubicBezTo>
                    <a:cubicBezTo>
                      <a:pt x="0" y="269"/>
                      <a:pt x="0" y="269"/>
                      <a:pt x="0" y="269"/>
                    </a:cubicBezTo>
                    <a:cubicBezTo>
                      <a:pt x="176" y="269"/>
                      <a:pt x="176" y="269"/>
                      <a:pt x="176" y="269"/>
                    </a:cubicBezTo>
                    <a:cubicBezTo>
                      <a:pt x="184" y="269"/>
                      <a:pt x="191" y="263"/>
                      <a:pt x="191" y="254"/>
                    </a:cubicBezTo>
                    <a:cubicBezTo>
                      <a:pt x="191" y="15"/>
                      <a:pt x="191" y="15"/>
                      <a:pt x="191" y="15"/>
                    </a:cubicBezTo>
                    <a:cubicBezTo>
                      <a:pt x="191" y="6"/>
                      <a:pt x="184" y="0"/>
                      <a:pt x="176" y="0"/>
                    </a:cubicBezTo>
                  </a:path>
                </a:pathLst>
              </a:custGeom>
              <a:solidFill>
                <a:srgbClr val="D1B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5" name="Freeform 487">
                <a:extLst>
                  <a:ext uri="{FF2B5EF4-FFF2-40B4-BE49-F238E27FC236}">
                    <a16:creationId xmlns:a16="http://schemas.microsoft.com/office/drawing/2014/main" id="{EB3C56A3-B1E8-4A02-9CCA-596B83D1140E}"/>
                  </a:ext>
                </a:extLst>
              </p:cNvPr>
              <p:cNvSpPr>
                <a:spLocks/>
              </p:cNvSpPr>
              <p:nvPr/>
            </p:nvSpPr>
            <p:spPr bwMode="auto">
              <a:xfrm>
                <a:off x="7543800" y="2171700"/>
                <a:ext cx="68263" cy="34925"/>
              </a:xfrm>
              <a:custGeom>
                <a:avLst/>
                <a:gdLst>
                  <a:gd name="T0" fmla="*/ 12 w 24"/>
                  <a:gd name="T1" fmla="*/ 0 h 12"/>
                  <a:gd name="T2" fmla="*/ 0 w 24"/>
                  <a:gd name="T3" fmla="*/ 1 h 12"/>
                  <a:gd name="T4" fmla="*/ 7 w 24"/>
                  <a:gd name="T5" fmla="*/ 11 h 12"/>
                  <a:gd name="T6" fmla="*/ 18 w 24"/>
                  <a:gd name="T7" fmla="*/ 11 h 12"/>
                  <a:gd name="T8" fmla="*/ 24 w 24"/>
                  <a:gd name="T9" fmla="*/ 12 h 12"/>
                  <a:gd name="T10" fmla="*/ 12 w 24"/>
                  <a:gd name="T11" fmla="*/ 0 h 12"/>
                </a:gdLst>
                <a:ahLst/>
                <a:cxnLst>
                  <a:cxn ang="0">
                    <a:pos x="T0" y="T1"/>
                  </a:cxn>
                  <a:cxn ang="0">
                    <a:pos x="T2" y="T3"/>
                  </a:cxn>
                  <a:cxn ang="0">
                    <a:pos x="T4" y="T5"/>
                  </a:cxn>
                  <a:cxn ang="0">
                    <a:pos x="T6" y="T7"/>
                  </a:cxn>
                  <a:cxn ang="0">
                    <a:pos x="T8" y="T9"/>
                  </a:cxn>
                  <a:cxn ang="0">
                    <a:pos x="T10" y="T11"/>
                  </a:cxn>
                </a:cxnLst>
                <a:rect l="0" t="0" r="r" b="b"/>
                <a:pathLst>
                  <a:path w="24" h="12">
                    <a:moveTo>
                      <a:pt x="12" y="0"/>
                    </a:moveTo>
                    <a:cubicBezTo>
                      <a:pt x="0" y="1"/>
                      <a:pt x="0" y="1"/>
                      <a:pt x="0" y="1"/>
                    </a:cubicBezTo>
                    <a:cubicBezTo>
                      <a:pt x="3" y="3"/>
                      <a:pt x="6" y="6"/>
                      <a:pt x="7" y="11"/>
                    </a:cubicBezTo>
                    <a:cubicBezTo>
                      <a:pt x="18" y="11"/>
                      <a:pt x="18" y="11"/>
                      <a:pt x="18" y="11"/>
                    </a:cubicBezTo>
                    <a:cubicBezTo>
                      <a:pt x="20" y="11"/>
                      <a:pt x="22" y="11"/>
                      <a:pt x="24" y="12"/>
                    </a:cubicBezTo>
                    <a:cubicBezTo>
                      <a:pt x="23" y="5"/>
                      <a:pt x="18" y="0"/>
                      <a:pt x="12" y="0"/>
                    </a:cubicBezTo>
                  </a:path>
                </a:pathLst>
              </a:custGeom>
              <a:solidFill>
                <a:srgbClr val="2135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6" name="Freeform 488">
                <a:extLst>
                  <a:ext uri="{FF2B5EF4-FFF2-40B4-BE49-F238E27FC236}">
                    <a16:creationId xmlns:a16="http://schemas.microsoft.com/office/drawing/2014/main" id="{D934B6D0-2F46-40B6-995F-BAB1E7CF7D89}"/>
                  </a:ext>
                </a:extLst>
              </p:cNvPr>
              <p:cNvSpPr>
                <a:spLocks/>
              </p:cNvSpPr>
              <p:nvPr/>
            </p:nvSpPr>
            <p:spPr bwMode="auto">
              <a:xfrm>
                <a:off x="7094538" y="2203450"/>
                <a:ext cx="517525" cy="765175"/>
              </a:xfrm>
              <a:custGeom>
                <a:avLst/>
                <a:gdLst>
                  <a:gd name="T0" fmla="*/ 176 w 182"/>
                  <a:gd name="T1" fmla="*/ 0 h 269"/>
                  <a:gd name="T2" fmla="*/ 165 w 182"/>
                  <a:gd name="T3" fmla="*/ 0 h 269"/>
                  <a:gd name="T4" fmla="*/ 166 w 182"/>
                  <a:gd name="T5" fmla="*/ 4 h 269"/>
                  <a:gd name="T6" fmla="*/ 166 w 182"/>
                  <a:gd name="T7" fmla="*/ 244 h 269"/>
                  <a:gd name="T8" fmla="*/ 154 w 182"/>
                  <a:gd name="T9" fmla="*/ 259 h 269"/>
                  <a:gd name="T10" fmla="*/ 0 w 182"/>
                  <a:gd name="T11" fmla="*/ 269 h 269"/>
                  <a:gd name="T12" fmla="*/ 170 w 182"/>
                  <a:gd name="T13" fmla="*/ 261 h 269"/>
                  <a:gd name="T14" fmla="*/ 182 w 182"/>
                  <a:gd name="T15" fmla="*/ 246 h 269"/>
                  <a:gd name="T16" fmla="*/ 182 w 182"/>
                  <a:gd name="T17" fmla="*/ 4 h 269"/>
                  <a:gd name="T18" fmla="*/ 182 w 182"/>
                  <a:gd name="T19" fmla="*/ 1 h 269"/>
                  <a:gd name="T20" fmla="*/ 176 w 182"/>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2" h="269">
                    <a:moveTo>
                      <a:pt x="176" y="0"/>
                    </a:moveTo>
                    <a:cubicBezTo>
                      <a:pt x="165" y="0"/>
                      <a:pt x="165" y="0"/>
                      <a:pt x="165" y="0"/>
                    </a:cubicBezTo>
                    <a:cubicBezTo>
                      <a:pt x="165" y="1"/>
                      <a:pt x="166" y="3"/>
                      <a:pt x="166" y="4"/>
                    </a:cubicBezTo>
                    <a:cubicBezTo>
                      <a:pt x="166" y="244"/>
                      <a:pt x="166" y="244"/>
                      <a:pt x="166" y="244"/>
                    </a:cubicBezTo>
                    <a:cubicBezTo>
                      <a:pt x="166" y="252"/>
                      <a:pt x="160" y="259"/>
                      <a:pt x="154" y="259"/>
                    </a:cubicBezTo>
                    <a:cubicBezTo>
                      <a:pt x="0" y="269"/>
                      <a:pt x="0" y="269"/>
                      <a:pt x="0" y="269"/>
                    </a:cubicBezTo>
                    <a:cubicBezTo>
                      <a:pt x="170" y="261"/>
                      <a:pt x="170" y="261"/>
                      <a:pt x="170" y="261"/>
                    </a:cubicBezTo>
                    <a:cubicBezTo>
                      <a:pt x="177" y="261"/>
                      <a:pt x="182" y="254"/>
                      <a:pt x="182" y="246"/>
                    </a:cubicBezTo>
                    <a:cubicBezTo>
                      <a:pt x="182" y="4"/>
                      <a:pt x="182" y="4"/>
                      <a:pt x="182" y="4"/>
                    </a:cubicBezTo>
                    <a:cubicBezTo>
                      <a:pt x="182" y="3"/>
                      <a:pt x="182" y="2"/>
                      <a:pt x="182" y="1"/>
                    </a:cubicBezTo>
                    <a:cubicBezTo>
                      <a:pt x="180" y="0"/>
                      <a:pt x="178" y="0"/>
                      <a:pt x="176" y="0"/>
                    </a:cubicBezTo>
                  </a:path>
                </a:pathLst>
              </a:custGeom>
              <a:solidFill>
                <a:srgbClr val="B796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7" name="Freeform 489">
                <a:extLst>
                  <a:ext uri="{FF2B5EF4-FFF2-40B4-BE49-F238E27FC236}">
                    <a16:creationId xmlns:a16="http://schemas.microsoft.com/office/drawing/2014/main" id="{7AC02516-885D-404E-9FDA-9C2661F3D136}"/>
                  </a:ext>
                </a:extLst>
              </p:cNvPr>
              <p:cNvSpPr>
                <a:spLocks/>
              </p:cNvSpPr>
              <p:nvPr/>
            </p:nvSpPr>
            <p:spPr bwMode="auto">
              <a:xfrm>
                <a:off x="7094538" y="2171700"/>
                <a:ext cx="473075" cy="796925"/>
              </a:xfrm>
              <a:custGeom>
                <a:avLst/>
                <a:gdLst>
                  <a:gd name="T0" fmla="*/ 154 w 166"/>
                  <a:gd name="T1" fmla="*/ 0 h 280"/>
                  <a:gd name="T2" fmla="*/ 0 w 166"/>
                  <a:gd name="T3" fmla="*/ 11 h 280"/>
                  <a:gd name="T4" fmla="*/ 0 w 166"/>
                  <a:gd name="T5" fmla="*/ 280 h 280"/>
                  <a:gd name="T6" fmla="*/ 154 w 166"/>
                  <a:gd name="T7" fmla="*/ 270 h 280"/>
                  <a:gd name="T8" fmla="*/ 166 w 166"/>
                  <a:gd name="T9" fmla="*/ 255 h 280"/>
                  <a:gd name="T10" fmla="*/ 166 w 166"/>
                  <a:gd name="T11" fmla="*/ 15 h 280"/>
                  <a:gd name="T12" fmla="*/ 154 w 166"/>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166" h="280">
                    <a:moveTo>
                      <a:pt x="154" y="0"/>
                    </a:moveTo>
                    <a:cubicBezTo>
                      <a:pt x="0" y="11"/>
                      <a:pt x="0" y="11"/>
                      <a:pt x="0" y="11"/>
                    </a:cubicBezTo>
                    <a:cubicBezTo>
                      <a:pt x="0" y="280"/>
                      <a:pt x="0" y="280"/>
                      <a:pt x="0" y="280"/>
                    </a:cubicBezTo>
                    <a:cubicBezTo>
                      <a:pt x="154" y="270"/>
                      <a:pt x="154" y="270"/>
                      <a:pt x="154" y="270"/>
                    </a:cubicBezTo>
                    <a:cubicBezTo>
                      <a:pt x="160" y="270"/>
                      <a:pt x="166" y="263"/>
                      <a:pt x="166" y="255"/>
                    </a:cubicBezTo>
                    <a:cubicBezTo>
                      <a:pt x="166" y="15"/>
                      <a:pt x="166" y="15"/>
                      <a:pt x="166" y="15"/>
                    </a:cubicBezTo>
                    <a:cubicBezTo>
                      <a:pt x="166" y="7"/>
                      <a:pt x="160" y="0"/>
                      <a:pt x="154" y="0"/>
                    </a:cubicBezTo>
                  </a:path>
                </a:pathLst>
              </a:custGeom>
              <a:solidFill>
                <a:srgbClr val="F2E6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8" name="Freeform 490">
                <a:extLst>
                  <a:ext uri="{FF2B5EF4-FFF2-40B4-BE49-F238E27FC236}">
                    <a16:creationId xmlns:a16="http://schemas.microsoft.com/office/drawing/2014/main" id="{1FF0CC18-FDC7-46B7-9E55-BE8DDE5329D2}"/>
                  </a:ext>
                </a:extLst>
              </p:cNvPr>
              <p:cNvSpPr>
                <a:spLocks/>
              </p:cNvSpPr>
              <p:nvPr/>
            </p:nvSpPr>
            <p:spPr bwMode="auto">
              <a:xfrm>
                <a:off x="6497638" y="2149475"/>
                <a:ext cx="596900" cy="873125"/>
              </a:xfrm>
              <a:custGeom>
                <a:avLst/>
                <a:gdLst>
                  <a:gd name="T0" fmla="*/ 16 w 210"/>
                  <a:gd name="T1" fmla="*/ 0 h 307"/>
                  <a:gd name="T2" fmla="*/ 210 w 210"/>
                  <a:gd name="T3" fmla="*/ 0 h 307"/>
                  <a:gd name="T4" fmla="*/ 210 w 210"/>
                  <a:gd name="T5" fmla="*/ 307 h 307"/>
                  <a:gd name="T6" fmla="*/ 16 w 210"/>
                  <a:gd name="T7" fmla="*/ 307 h 307"/>
                  <a:gd name="T8" fmla="*/ 0 w 210"/>
                  <a:gd name="T9" fmla="*/ 291 h 307"/>
                  <a:gd name="T10" fmla="*/ 0 w 210"/>
                  <a:gd name="T11" fmla="*/ 16 h 307"/>
                  <a:gd name="T12" fmla="*/ 16 w 210"/>
                  <a:gd name="T13" fmla="*/ 0 h 307"/>
                </a:gdLst>
                <a:ahLst/>
                <a:cxnLst>
                  <a:cxn ang="0">
                    <a:pos x="T0" y="T1"/>
                  </a:cxn>
                  <a:cxn ang="0">
                    <a:pos x="T2" y="T3"/>
                  </a:cxn>
                  <a:cxn ang="0">
                    <a:pos x="T4" y="T5"/>
                  </a:cxn>
                  <a:cxn ang="0">
                    <a:pos x="T6" y="T7"/>
                  </a:cxn>
                  <a:cxn ang="0">
                    <a:pos x="T8" y="T9"/>
                  </a:cxn>
                  <a:cxn ang="0">
                    <a:pos x="T10" y="T11"/>
                  </a:cxn>
                  <a:cxn ang="0">
                    <a:pos x="T12" y="T13"/>
                  </a:cxn>
                </a:cxnLst>
                <a:rect l="0" t="0" r="r" b="b"/>
                <a:pathLst>
                  <a:path w="210" h="307">
                    <a:moveTo>
                      <a:pt x="16" y="0"/>
                    </a:moveTo>
                    <a:cubicBezTo>
                      <a:pt x="210" y="0"/>
                      <a:pt x="210" y="0"/>
                      <a:pt x="210" y="0"/>
                    </a:cubicBezTo>
                    <a:cubicBezTo>
                      <a:pt x="210" y="307"/>
                      <a:pt x="210" y="307"/>
                      <a:pt x="210" y="307"/>
                    </a:cubicBezTo>
                    <a:cubicBezTo>
                      <a:pt x="16" y="307"/>
                      <a:pt x="16" y="307"/>
                      <a:pt x="16" y="307"/>
                    </a:cubicBezTo>
                    <a:cubicBezTo>
                      <a:pt x="7" y="307"/>
                      <a:pt x="0" y="300"/>
                      <a:pt x="0" y="291"/>
                    </a:cubicBezTo>
                    <a:cubicBezTo>
                      <a:pt x="0" y="16"/>
                      <a:pt x="0" y="16"/>
                      <a:pt x="0" y="16"/>
                    </a:cubicBezTo>
                    <a:cubicBezTo>
                      <a:pt x="0" y="7"/>
                      <a:pt x="7" y="0"/>
                      <a:pt x="16" y="0"/>
                    </a:cubicBezTo>
                  </a:path>
                </a:pathLst>
              </a:custGeom>
              <a:solidFill>
                <a:srgbClr val="004F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9" name="Freeform 491">
                <a:extLst>
                  <a:ext uri="{FF2B5EF4-FFF2-40B4-BE49-F238E27FC236}">
                    <a16:creationId xmlns:a16="http://schemas.microsoft.com/office/drawing/2014/main" id="{ED287BA0-C15B-4DC0-8609-808E3A405F80}"/>
                  </a:ext>
                </a:extLst>
              </p:cNvPr>
              <p:cNvSpPr>
                <a:spLocks/>
              </p:cNvSpPr>
              <p:nvPr/>
            </p:nvSpPr>
            <p:spPr bwMode="auto">
              <a:xfrm>
                <a:off x="6551613" y="2203450"/>
                <a:ext cx="523875" cy="765175"/>
              </a:xfrm>
              <a:custGeom>
                <a:avLst/>
                <a:gdLst>
                  <a:gd name="T0" fmla="*/ 16 w 184"/>
                  <a:gd name="T1" fmla="*/ 0 h 269"/>
                  <a:gd name="T2" fmla="*/ 184 w 184"/>
                  <a:gd name="T3" fmla="*/ 0 h 269"/>
                  <a:gd name="T4" fmla="*/ 184 w 184"/>
                  <a:gd name="T5" fmla="*/ 269 h 269"/>
                  <a:gd name="T6" fmla="*/ 16 w 184"/>
                  <a:gd name="T7" fmla="*/ 269 h 269"/>
                  <a:gd name="T8" fmla="*/ 0 w 184"/>
                  <a:gd name="T9" fmla="*/ 254 h 269"/>
                  <a:gd name="T10" fmla="*/ 0 w 184"/>
                  <a:gd name="T11" fmla="*/ 15 h 269"/>
                  <a:gd name="T12" fmla="*/ 16 w 184"/>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84" h="269">
                    <a:moveTo>
                      <a:pt x="16" y="0"/>
                    </a:moveTo>
                    <a:cubicBezTo>
                      <a:pt x="184" y="0"/>
                      <a:pt x="184" y="0"/>
                      <a:pt x="184" y="0"/>
                    </a:cubicBezTo>
                    <a:cubicBezTo>
                      <a:pt x="184" y="269"/>
                      <a:pt x="184" y="269"/>
                      <a:pt x="184" y="269"/>
                    </a:cubicBezTo>
                    <a:cubicBezTo>
                      <a:pt x="16" y="269"/>
                      <a:pt x="16" y="269"/>
                      <a:pt x="16" y="269"/>
                    </a:cubicBezTo>
                    <a:cubicBezTo>
                      <a:pt x="7" y="269"/>
                      <a:pt x="0" y="263"/>
                      <a:pt x="0" y="254"/>
                    </a:cubicBezTo>
                    <a:cubicBezTo>
                      <a:pt x="0" y="15"/>
                      <a:pt x="0" y="15"/>
                      <a:pt x="0" y="15"/>
                    </a:cubicBezTo>
                    <a:cubicBezTo>
                      <a:pt x="0" y="6"/>
                      <a:pt x="7" y="0"/>
                      <a:pt x="16" y="0"/>
                    </a:cubicBezTo>
                  </a:path>
                </a:pathLst>
              </a:custGeom>
              <a:solidFill>
                <a:srgbClr val="BFA5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0" name="Freeform 492">
                <a:extLst>
                  <a:ext uri="{FF2B5EF4-FFF2-40B4-BE49-F238E27FC236}">
                    <a16:creationId xmlns:a16="http://schemas.microsoft.com/office/drawing/2014/main" id="{72981C14-7A0E-4015-BCC3-6779C0EA6116}"/>
                  </a:ext>
                </a:extLst>
              </p:cNvPr>
              <p:cNvSpPr>
                <a:spLocks/>
              </p:cNvSpPr>
              <p:nvPr/>
            </p:nvSpPr>
            <p:spPr bwMode="auto">
              <a:xfrm>
                <a:off x="7158038" y="2193925"/>
                <a:ext cx="61913" cy="687388"/>
              </a:xfrm>
              <a:custGeom>
                <a:avLst/>
                <a:gdLst>
                  <a:gd name="T0" fmla="*/ 39 w 39"/>
                  <a:gd name="T1" fmla="*/ 424 h 433"/>
                  <a:gd name="T2" fmla="*/ 19 w 39"/>
                  <a:gd name="T3" fmla="*/ 404 h 433"/>
                  <a:gd name="T4" fmla="*/ 0 w 39"/>
                  <a:gd name="T5" fmla="*/ 433 h 433"/>
                  <a:gd name="T6" fmla="*/ 0 w 39"/>
                  <a:gd name="T7" fmla="*/ 2 h 433"/>
                  <a:gd name="T8" fmla="*/ 39 w 39"/>
                  <a:gd name="T9" fmla="*/ 0 h 433"/>
                  <a:gd name="T10" fmla="*/ 39 w 39"/>
                  <a:gd name="T11" fmla="*/ 424 h 433"/>
                </a:gdLst>
                <a:ahLst/>
                <a:cxnLst>
                  <a:cxn ang="0">
                    <a:pos x="T0" y="T1"/>
                  </a:cxn>
                  <a:cxn ang="0">
                    <a:pos x="T2" y="T3"/>
                  </a:cxn>
                  <a:cxn ang="0">
                    <a:pos x="T4" y="T5"/>
                  </a:cxn>
                  <a:cxn ang="0">
                    <a:pos x="T6" y="T7"/>
                  </a:cxn>
                  <a:cxn ang="0">
                    <a:pos x="T8" y="T9"/>
                  </a:cxn>
                  <a:cxn ang="0">
                    <a:pos x="T10" y="T11"/>
                  </a:cxn>
                </a:cxnLst>
                <a:rect l="0" t="0" r="r" b="b"/>
                <a:pathLst>
                  <a:path w="39" h="433">
                    <a:moveTo>
                      <a:pt x="39" y="424"/>
                    </a:moveTo>
                    <a:lnTo>
                      <a:pt x="19" y="404"/>
                    </a:lnTo>
                    <a:lnTo>
                      <a:pt x="0" y="433"/>
                    </a:lnTo>
                    <a:lnTo>
                      <a:pt x="0" y="2"/>
                    </a:lnTo>
                    <a:lnTo>
                      <a:pt x="39" y="0"/>
                    </a:lnTo>
                    <a:lnTo>
                      <a:pt x="39" y="424"/>
                    </a:ln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1" name="Freeform 493">
                <a:extLst>
                  <a:ext uri="{FF2B5EF4-FFF2-40B4-BE49-F238E27FC236}">
                    <a16:creationId xmlns:a16="http://schemas.microsoft.com/office/drawing/2014/main" id="{1843C86E-0B8E-4456-91E2-3797E3A6CF19}"/>
                  </a:ext>
                </a:extLst>
              </p:cNvPr>
              <p:cNvSpPr>
                <a:spLocks/>
              </p:cNvSpPr>
              <p:nvPr/>
            </p:nvSpPr>
            <p:spPr bwMode="auto">
              <a:xfrm>
                <a:off x="6583363" y="2171700"/>
                <a:ext cx="417513" cy="31750"/>
              </a:xfrm>
              <a:custGeom>
                <a:avLst/>
                <a:gdLst>
                  <a:gd name="T0" fmla="*/ 12 w 147"/>
                  <a:gd name="T1" fmla="*/ 0 h 11"/>
                  <a:gd name="T2" fmla="*/ 0 w 147"/>
                  <a:gd name="T3" fmla="*/ 11 h 11"/>
                  <a:gd name="T4" fmla="*/ 5 w 147"/>
                  <a:gd name="T5" fmla="*/ 11 h 11"/>
                  <a:gd name="T6" fmla="*/ 147 w 147"/>
                  <a:gd name="T7" fmla="*/ 11 h 11"/>
                  <a:gd name="T8" fmla="*/ 12 w 147"/>
                  <a:gd name="T9" fmla="*/ 0 h 11"/>
                </a:gdLst>
                <a:ahLst/>
                <a:cxnLst>
                  <a:cxn ang="0">
                    <a:pos x="T0" y="T1"/>
                  </a:cxn>
                  <a:cxn ang="0">
                    <a:pos x="T2" y="T3"/>
                  </a:cxn>
                  <a:cxn ang="0">
                    <a:pos x="T4" y="T5"/>
                  </a:cxn>
                  <a:cxn ang="0">
                    <a:pos x="T6" y="T7"/>
                  </a:cxn>
                  <a:cxn ang="0">
                    <a:pos x="T8" y="T9"/>
                  </a:cxn>
                </a:cxnLst>
                <a:rect l="0" t="0" r="r" b="b"/>
                <a:pathLst>
                  <a:path w="147" h="11">
                    <a:moveTo>
                      <a:pt x="12" y="0"/>
                    </a:moveTo>
                    <a:cubicBezTo>
                      <a:pt x="6" y="0"/>
                      <a:pt x="2" y="5"/>
                      <a:pt x="0" y="11"/>
                    </a:cubicBezTo>
                    <a:cubicBezTo>
                      <a:pt x="2" y="11"/>
                      <a:pt x="3" y="11"/>
                      <a:pt x="5" y="11"/>
                    </a:cubicBezTo>
                    <a:cubicBezTo>
                      <a:pt x="147" y="11"/>
                      <a:pt x="147" y="11"/>
                      <a:pt x="147" y="11"/>
                    </a:cubicBezTo>
                    <a:cubicBezTo>
                      <a:pt x="12" y="0"/>
                      <a:pt x="12" y="0"/>
                      <a:pt x="12" y="0"/>
                    </a:cubicBezTo>
                  </a:path>
                </a:pathLst>
              </a:custGeom>
              <a:solidFill>
                <a:srgbClr val="0041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2" name="Freeform 494">
                <a:extLst>
                  <a:ext uri="{FF2B5EF4-FFF2-40B4-BE49-F238E27FC236}">
                    <a16:creationId xmlns:a16="http://schemas.microsoft.com/office/drawing/2014/main" id="{7F1ED266-D42B-410F-8F3F-31FBF07CECA2}"/>
                  </a:ext>
                </a:extLst>
              </p:cNvPr>
              <p:cNvSpPr>
                <a:spLocks/>
              </p:cNvSpPr>
              <p:nvPr/>
            </p:nvSpPr>
            <p:spPr bwMode="auto">
              <a:xfrm>
                <a:off x="7075488" y="2813050"/>
                <a:ext cx="19050" cy="155575"/>
              </a:xfrm>
              <a:custGeom>
                <a:avLst/>
                <a:gdLst>
                  <a:gd name="T0" fmla="*/ 0 w 12"/>
                  <a:gd name="T1" fmla="*/ 0 h 98"/>
                  <a:gd name="T2" fmla="*/ 0 w 12"/>
                  <a:gd name="T3" fmla="*/ 98 h 98"/>
                  <a:gd name="T4" fmla="*/ 12 w 12"/>
                  <a:gd name="T5" fmla="*/ 98 h 98"/>
                  <a:gd name="T6" fmla="*/ 0 w 12"/>
                  <a:gd name="T7" fmla="*/ 0 h 98"/>
                </a:gdLst>
                <a:ahLst/>
                <a:cxnLst>
                  <a:cxn ang="0">
                    <a:pos x="T0" y="T1"/>
                  </a:cxn>
                  <a:cxn ang="0">
                    <a:pos x="T2" y="T3"/>
                  </a:cxn>
                  <a:cxn ang="0">
                    <a:pos x="T4" y="T5"/>
                  </a:cxn>
                  <a:cxn ang="0">
                    <a:pos x="T6" y="T7"/>
                  </a:cxn>
                </a:cxnLst>
                <a:rect l="0" t="0" r="r" b="b"/>
                <a:pathLst>
                  <a:path w="12" h="98">
                    <a:moveTo>
                      <a:pt x="0" y="0"/>
                    </a:moveTo>
                    <a:lnTo>
                      <a:pt x="0" y="98"/>
                    </a:lnTo>
                    <a:lnTo>
                      <a:pt x="12" y="98"/>
                    </a:lnTo>
                    <a:lnTo>
                      <a:pt x="0" y="0"/>
                    </a:lnTo>
                    <a:close/>
                  </a:path>
                </a:pathLst>
              </a:custGeom>
              <a:solidFill>
                <a:srgbClr val="0041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3" name="Freeform 495">
                <a:extLst>
                  <a:ext uri="{FF2B5EF4-FFF2-40B4-BE49-F238E27FC236}">
                    <a16:creationId xmlns:a16="http://schemas.microsoft.com/office/drawing/2014/main" id="{0257FA14-147E-4F99-9041-8C5496689DE0}"/>
                  </a:ext>
                </a:extLst>
              </p:cNvPr>
              <p:cNvSpPr>
                <a:spLocks/>
              </p:cNvSpPr>
              <p:nvPr/>
            </p:nvSpPr>
            <p:spPr bwMode="auto">
              <a:xfrm>
                <a:off x="7075488" y="2813050"/>
                <a:ext cx="19050" cy="155575"/>
              </a:xfrm>
              <a:custGeom>
                <a:avLst/>
                <a:gdLst>
                  <a:gd name="T0" fmla="*/ 0 w 12"/>
                  <a:gd name="T1" fmla="*/ 0 h 98"/>
                  <a:gd name="T2" fmla="*/ 0 w 12"/>
                  <a:gd name="T3" fmla="*/ 98 h 98"/>
                  <a:gd name="T4" fmla="*/ 12 w 12"/>
                  <a:gd name="T5" fmla="*/ 98 h 98"/>
                  <a:gd name="T6" fmla="*/ 0 w 12"/>
                  <a:gd name="T7" fmla="*/ 0 h 98"/>
                </a:gdLst>
                <a:ahLst/>
                <a:cxnLst>
                  <a:cxn ang="0">
                    <a:pos x="T0" y="T1"/>
                  </a:cxn>
                  <a:cxn ang="0">
                    <a:pos x="T2" y="T3"/>
                  </a:cxn>
                  <a:cxn ang="0">
                    <a:pos x="T4" y="T5"/>
                  </a:cxn>
                  <a:cxn ang="0">
                    <a:pos x="T6" y="T7"/>
                  </a:cxn>
                </a:cxnLst>
                <a:rect l="0" t="0" r="r" b="b"/>
                <a:pathLst>
                  <a:path w="12" h="98">
                    <a:moveTo>
                      <a:pt x="0" y="0"/>
                    </a:moveTo>
                    <a:lnTo>
                      <a:pt x="0" y="98"/>
                    </a:lnTo>
                    <a:lnTo>
                      <a:pt x="12" y="9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4" name="Freeform 496">
                <a:extLst>
                  <a:ext uri="{FF2B5EF4-FFF2-40B4-BE49-F238E27FC236}">
                    <a16:creationId xmlns:a16="http://schemas.microsoft.com/office/drawing/2014/main" id="{9FCB2E47-A89F-4C07-8C4B-9034E4D203ED}"/>
                  </a:ext>
                </a:extLst>
              </p:cNvPr>
              <p:cNvSpPr>
                <a:spLocks/>
              </p:cNvSpPr>
              <p:nvPr/>
            </p:nvSpPr>
            <p:spPr bwMode="auto">
              <a:xfrm>
                <a:off x="6583363" y="2203450"/>
                <a:ext cx="492125" cy="765175"/>
              </a:xfrm>
              <a:custGeom>
                <a:avLst/>
                <a:gdLst>
                  <a:gd name="T0" fmla="*/ 147 w 173"/>
                  <a:gd name="T1" fmla="*/ 0 h 269"/>
                  <a:gd name="T2" fmla="*/ 5 w 173"/>
                  <a:gd name="T3" fmla="*/ 0 h 269"/>
                  <a:gd name="T4" fmla="*/ 0 w 173"/>
                  <a:gd name="T5" fmla="*/ 0 h 269"/>
                  <a:gd name="T6" fmla="*/ 0 w 173"/>
                  <a:gd name="T7" fmla="*/ 4 h 269"/>
                  <a:gd name="T8" fmla="*/ 0 w 173"/>
                  <a:gd name="T9" fmla="*/ 246 h 269"/>
                  <a:gd name="T10" fmla="*/ 12 w 173"/>
                  <a:gd name="T11" fmla="*/ 261 h 269"/>
                  <a:gd name="T12" fmla="*/ 173 w 173"/>
                  <a:gd name="T13" fmla="*/ 269 h 269"/>
                  <a:gd name="T14" fmla="*/ 173 w 173"/>
                  <a:gd name="T15" fmla="*/ 214 h 269"/>
                  <a:gd name="T16" fmla="*/ 147 w 173"/>
                  <a:gd name="T1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269">
                    <a:moveTo>
                      <a:pt x="147" y="0"/>
                    </a:moveTo>
                    <a:cubicBezTo>
                      <a:pt x="5" y="0"/>
                      <a:pt x="5" y="0"/>
                      <a:pt x="5" y="0"/>
                    </a:cubicBezTo>
                    <a:cubicBezTo>
                      <a:pt x="3" y="0"/>
                      <a:pt x="2" y="0"/>
                      <a:pt x="0" y="0"/>
                    </a:cubicBezTo>
                    <a:cubicBezTo>
                      <a:pt x="0" y="2"/>
                      <a:pt x="0" y="3"/>
                      <a:pt x="0" y="4"/>
                    </a:cubicBezTo>
                    <a:cubicBezTo>
                      <a:pt x="0" y="246"/>
                      <a:pt x="0" y="246"/>
                      <a:pt x="0" y="246"/>
                    </a:cubicBezTo>
                    <a:cubicBezTo>
                      <a:pt x="0" y="254"/>
                      <a:pt x="5" y="261"/>
                      <a:pt x="12" y="261"/>
                    </a:cubicBezTo>
                    <a:cubicBezTo>
                      <a:pt x="173" y="269"/>
                      <a:pt x="173" y="269"/>
                      <a:pt x="173" y="269"/>
                    </a:cubicBezTo>
                    <a:cubicBezTo>
                      <a:pt x="173" y="214"/>
                      <a:pt x="173" y="214"/>
                      <a:pt x="173" y="214"/>
                    </a:cubicBezTo>
                    <a:cubicBezTo>
                      <a:pt x="147" y="0"/>
                      <a:pt x="147" y="0"/>
                      <a:pt x="147" y="0"/>
                    </a:cubicBezTo>
                  </a:path>
                </a:pathLst>
              </a:custGeom>
              <a:solidFill>
                <a:srgbClr val="A788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5" name="Freeform 497">
                <a:extLst>
                  <a:ext uri="{FF2B5EF4-FFF2-40B4-BE49-F238E27FC236}">
                    <a16:creationId xmlns:a16="http://schemas.microsoft.com/office/drawing/2014/main" id="{F008C10F-55C6-4151-A8CD-C15A7AEC60BF}"/>
                  </a:ext>
                </a:extLst>
              </p:cNvPr>
              <p:cNvSpPr>
                <a:spLocks/>
              </p:cNvSpPr>
              <p:nvPr/>
            </p:nvSpPr>
            <p:spPr bwMode="auto">
              <a:xfrm>
                <a:off x="6624638" y="2171700"/>
                <a:ext cx="469900" cy="796925"/>
              </a:xfrm>
              <a:custGeom>
                <a:avLst/>
                <a:gdLst>
                  <a:gd name="T0" fmla="*/ 12 w 165"/>
                  <a:gd name="T1" fmla="*/ 0 h 280"/>
                  <a:gd name="T2" fmla="*/ 165 w 165"/>
                  <a:gd name="T3" fmla="*/ 11 h 280"/>
                  <a:gd name="T4" fmla="*/ 165 w 165"/>
                  <a:gd name="T5" fmla="*/ 280 h 280"/>
                  <a:gd name="T6" fmla="*/ 12 w 165"/>
                  <a:gd name="T7" fmla="*/ 270 h 280"/>
                  <a:gd name="T8" fmla="*/ 0 w 165"/>
                  <a:gd name="T9" fmla="*/ 255 h 280"/>
                  <a:gd name="T10" fmla="*/ 0 w 165"/>
                  <a:gd name="T11" fmla="*/ 15 h 280"/>
                  <a:gd name="T12" fmla="*/ 12 w 165"/>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165" h="280">
                    <a:moveTo>
                      <a:pt x="12" y="0"/>
                    </a:moveTo>
                    <a:cubicBezTo>
                      <a:pt x="165" y="11"/>
                      <a:pt x="165" y="11"/>
                      <a:pt x="165" y="11"/>
                    </a:cubicBezTo>
                    <a:cubicBezTo>
                      <a:pt x="165" y="280"/>
                      <a:pt x="165" y="280"/>
                      <a:pt x="165" y="280"/>
                    </a:cubicBezTo>
                    <a:cubicBezTo>
                      <a:pt x="12" y="270"/>
                      <a:pt x="12" y="270"/>
                      <a:pt x="12" y="270"/>
                    </a:cubicBezTo>
                    <a:cubicBezTo>
                      <a:pt x="5" y="270"/>
                      <a:pt x="0" y="263"/>
                      <a:pt x="0" y="255"/>
                    </a:cubicBezTo>
                    <a:cubicBezTo>
                      <a:pt x="0" y="15"/>
                      <a:pt x="0" y="15"/>
                      <a:pt x="0" y="15"/>
                    </a:cubicBezTo>
                    <a:cubicBezTo>
                      <a:pt x="0" y="7"/>
                      <a:pt x="5" y="0"/>
                      <a:pt x="12" y="0"/>
                    </a:cubicBezTo>
                    <a:close/>
                  </a:path>
                </a:pathLst>
              </a:custGeom>
              <a:solidFill>
                <a:srgbClr val="FFF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26" name="组合 25">
              <a:extLst>
                <a:ext uri="{FF2B5EF4-FFF2-40B4-BE49-F238E27FC236}">
                  <a16:creationId xmlns:a16="http://schemas.microsoft.com/office/drawing/2014/main" id="{1378F8EB-AD06-4229-9E8C-848BBD8309A4}"/>
                </a:ext>
              </a:extLst>
            </p:cNvPr>
            <p:cNvGrpSpPr/>
            <p:nvPr/>
          </p:nvGrpSpPr>
          <p:grpSpPr>
            <a:xfrm>
              <a:off x="6566970" y="4963298"/>
              <a:ext cx="888420" cy="887512"/>
              <a:chOff x="8213725" y="1809750"/>
              <a:chExt cx="1554163" cy="1552575"/>
            </a:xfrm>
          </p:grpSpPr>
          <p:sp>
            <p:nvSpPr>
              <p:cNvPr id="48" name="Oval 498">
                <a:extLst>
                  <a:ext uri="{FF2B5EF4-FFF2-40B4-BE49-F238E27FC236}">
                    <a16:creationId xmlns:a16="http://schemas.microsoft.com/office/drawing/2014/main" id="{A3A0DE32-5202-4FC8-8097-94AB3BC71BE9}"/>
                  </a:ext>
                </a:extLst>
              </p:cNvPr>
              <p:cNvSpPr>
                <a:spLocks noChangeArrowheads="1"/>
              </p:cNvSpPr>
              <p:nvPr/>
            </p:nvSpPr>
            <p:spPr bwMode="auto">
              <a:xfrm>
                <a:off x="8213725" y="1809750"/>
                <a:ext cx="1554163" cy="1552575"/>
              </a:xfrm>
              <a:prstGeom prst="ellipse">
                <a:avLst/>
              </a:prstGeom>
              <a:solidFill>
                <a:srgbClr val="89B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 name="Freeform 499">
                <a:extLst>
                  <a:ext uri="{FF2B5EF4-FFF2-40B4-BE49-F238E27FC236}">
                    <a16:creationId xmlns:a16="http://schemas.microsoft.com/office/drawing/2014/main" id="{27535D87-B001-4AC3-8A0B-FBCDF544578B}"/>
                  </a:ext>
                </a:extLst>
              </p:cNvPr>
              <p:cNvSpPr>
                <a:spLocks/>
              </p:cNvSpPr>
              <p:nvPr/>
            </p:nvSpPr>
            <p:spPr bwMode="auto">
              <a:xfrm>
                <a:off x="9274175" y="2701925"/>
                <a:ext cx="34925" cy="141288"/>
              </a:xfrm>
              <a:custGeom>
                <a:avLst/>
                <a:gdLst>
                  <a:gd name="T0" fmla="*/ 12 w 12"/>
                  <a:gd name="T1" fmla="*/ 0 h 50"/>
                  <a:gd name="T2" fmla="*/ 0 w 12"/>
                  <a:gd name="T3" fmla="*/ 50 h 50"/>
                  <a:gd name="T4" fmla="*/ 5 w 12"/>
                  <a:gd name="T5" fmla="*/ 50 h 50"/>
                  <a:gd name="T6" fmla="*/ 12 w 12"/>
                  <a:gd name="T7" fmla="*/ 0 h 50"/>
                </a:gdLst>
                <a:ahLst/>
                <a:cxnLst>
                  <a:cxn ang="0">
                    <a:pos x="T0" y="T1"/>
                  </a:cxn>
                  <a:cxn ang="0">
                    <a:pos x="T2" y="T3"/>
                  </a:cxn>
                  <a:cxn ang="0">
                    <a:pos x="T4" y="T5"/>
                  </a:cxn>
                  <a:cxn ang="0">
                    <a:pos x="T6" y="T7"/>
                  </a:cxn>
                </a:cxnLst>
                <a:rect l="0" t="0" r="r" b="b"/>
                <a:pathLst>
                  <a:path w="12" h="50">
                    <a:moveTo>
                      <a:pt x="12" y="0"/>
                    </a:moveTo>
                    <a:cubicBezTo>
                      <a:pt x="5" y="4"/>
                      <a:pt x="0" y="37"/>
                      <a:pt x="0" y="50"/>
                    </a:cubicBezTo>
                    <a:cubicBezTo>
                      <a:pt x="5" y="50"/>
                      <a:pt x="5" y="50"/>
                      <a:pt x="5" y="50"/>
                    </a:cubicBezTo>
                    <a:cubicBezTo>
                      <a:pt x="5" y="33"/>
                      <a:pt x="5" y="15"/>
                      <a:pt x="12" y="0"/>
                    </a:cubicBez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 name="Freeform 500">
                <a:extLst>
                  <a:ext uri="{FF2B5EF4-FFF2-40B4-BE49-F238E27FC236}">
                    <a16:creationId xmlns:a16="http://schemas.microsoft.com/office/drawing/2014/main" id="{C6254421-ECD9-4F0D-BF5D-41E1E5A25776}"/>
                  </a:ext>
                </a:extLst>
              </p:cNvPr>
              <p:cNvSpPr>
                <a:spLocks/>
              </p:cNvSpPr>
              <p:nvPr/>
            </p:nvSpPr>
            <p:spPr bwMode="auto">
              <a:xfrm>
                <a:off x="9288463" y="2698750"/>
                <a:ext cx="26988" cy="144463"/>
              </a:xfrm>
              <a:custGeom>
                <a:avLst/>
                <a:gdLst>
                  <a:gd name="T0" fmla="*/ 9 w 9"/>
                  <a:gd name="T1" fmla="*/ 0 h 51"/>
                  <a:gd name="T2" fmla="*/ 9 w 9"/>
                  <a:gd name="T3" fmla="*/ 0 h 51"/>
                  <a:gd name="T4" fmla="*/ 7 w 9"/>
                  <a:gd name="T5" fmla="*/ 1 h 51"/>
                  <a:gd name="T6" fmla="*/ 0 w 9"/>
                  <a:gd name="T7" fmla="*/ 51 h 51"/>
                  <a:gd name="T8" fmla="*/ 5 w 9"/>
                  <a:gd name="T9" fmla="*/ 51 h 51"/>
                  <a:gd name="T10" fmla="*/ 9 w 9"/>
                  <a:gd name="T11" fmla="*/ 0 h 51"/>
                </a:gdLst>
                <a:ahLst/>
                <a:cxnLst>
                  <a:cxn ang="0">
                    <a:pos x="T0" y="T1"/>
                  </a:cxn>
                  <a:cxn ang="0">
                    <a:pos x="T2" y="T3"/>
                  </a:cxn>
                  <a:cxn ang="0">
                    <a:pos x="T4" y="T5"/>
                  </a:cxn>
                  <a:cxn ang="0">
                    <a:pos x="T6" y="T7"/>
                  </a:cxn>
                  <a:cxn ang="0">
                    <a:pos x="T8" y="T9"/>
                  </a:cxn>
                  <a:cxn ang="0">
                    <a:pos x="T10" y="T11"/>
                  </a:cxn>
                </a:cxnLst>
                <a:rect l="0" t="0" r="r" b="b"/>
                <a:pathLst>
                  <a:path w="9" h="51">
                    <a:moveTo>
                      <a:pt x="9" y="0"/>
                    </a:moveTo>
                    <a:cubicBezTo>
                      <a:pt x="9" y="0"/>
                      <a:pt x="9" y="0"/>
                      <a:pt x="9" y="0"/>
                    </a:cubicBezTo>
                    <a:cubicBezTo>
                      <a:pt x="8" y="0"/>
                      <a:pt x="8" y="1"/>
                      <a:pt x="7" y="1"/>
                    </a:cubicBezTo>
                    <a:cubicBezTo>
                      <a:pt x="0" y="16"/>
                      <a:pt x="0" y="34"/>
                      <a:pt x="0" y="51"/>
                    </a:cubicBezTo>
                    <a:cubicBezTo>
                      <a:pt x="5" y="51"/>
                      <a:pt x="5" y="51"/>
                      <a:pt x="5" y="51"/>
                    </a:cubicBezTo>
                    <a:cubicBezTo>
                      <a:pt x="1" y="33"/>
                      <a:pt x="4" y="17"/>
                      <a:pt x="9" y="0"/>
                    </a:cubicBez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 name="Freeform 501">
                <a:extLst>
                  <a:ext uri="{FF2B5EF4-FFF2-40B4-BE49-F238E27FC236}">
                    <a16:creationId xmlns:a16="http://schemas.microsoft.com/office/drawing/2014/main" id="{62F9F70C-9FF7-45C7-B87B-C724D860BC50}"/>
                  </a:ext>
                </a:extLst>
              </p:cNvPr>
              <p:cNvSpPr>
                <a:spLocks/>
              </p:cNvSpPr>
              <p:nvPr/>
            </p:nvSpPr>
            <p:spPr bwMode="auto">
              <a:xfrm>
                <a:off x="9291638" y="2698750"/>
                <a:ext cx="28575" cy="144463"/>
              </a:xfrm>
              <a:custGeom>
                <a:avLst/>
                <a:gdLst>
                  <a:gd name="T0" fmla="*/ 8 w 10"/>
                  <a:gd name="T1" fmla="*/ 1 h 51"/>
                  <a:gd name="T2" fmla="*/ 8 w 10"/>
                  <a:gd name="T3" fmla="*/ 0 h 51"/>
                  <a:gd name="T4" fmla="*/ 4 w 10"/>
                  <a:gd name="T5" fmla="*/ 51 h 51"/>
                  <a:gd name="T6" fmla="*/ 7 w 10"/>
                  <a:gd name="T7" fmla="*/ 51 h 51"/>
                  <a:gd name="T8" fmla="*/ 8 w 10"/>
                  <a:gd name="T9" fmla="*/ 1 h 51"/>
                </a:gdLst>
                <a:ahLst/>
                <a:cxnLst>
                  <a:cxn ang="0">
                    <a:pos x="T0" y="T1"/>
                  </a:cxn>
                  <a:cxn ang="0">
                    <a:pos x="T2" y="T3"/>
                  </a:cxn>
                  <a:cxn ang="0">
                    <a:pos x="T4" y="T5"/>
                  </a:cxn>
                  <a:cxn ang="0">
                    <a:pos x="T6" y="T7"/>
                  </a:cxn>
                  <a:cxn ang="0">
                    <a:pos x="T8" y="T9"/>
                  </a:cxn>
                </a:cxnLst>
                <a:rect l="0" t="0" r="r" b="b"/>
                <a:pathLst>
                  <a:path w="10" h="51">
                    <a:moveTo>
                      <a:pt x="8" y="1"/>
                    </a:moveTo>
                    <a:cubicBezTo>
                      <a:pt x="8" y="0"/>
                      <a:pt x="8" y="0"/>
                      <a:pt x="8" y="0"/>
                    </a:cubicBezTo>
                    <a:cubicBezTo>
                      <a:pt x="3" y="17"/>
                      <a:pt x="0" y="33"/>
                      <a:pt x="4" y="51"/>
                    </a:cubicBezTo>
                    <a:cubicBezTo>
                      <a:pt x="7" y="51"/>
                      <a:pt x="7" y="51"/>
                      <a:pt x="7" y="51"/>
                    </a:cubicBezTo>
                    <a:cubicBezTo>
                      <a:pt x="6" y="34"/>
                      <a:pt x="10" y="18"/>
                      <a:pt x="8" y="1"/>
                    </a:cubicBez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 name="Freeform 502">
                <a:extLst>
                  <a:ext uri="{FF2B5EF4-FFF2-40B4-BE49-F238E27FC236}">
                    <a16:creationId xmlns:a16="http://schemas.microsoft.com/office/drawing/2014/main" id="{BCBB19A4-4F80-489B-BFB6-EAB284BF46F3}"/>
                  </a:ext>
                </a:extLst>
              </p:cNvPr>
              <p:cNvSpPr>
                <a:spLocks/>
              </p:cNvSpPr>
              <p:nvPr/>
            </p:nvSpPr>
            <p:spPr bwMode="auto">
              <a:xfrm>
                <a:off x="9309100" y="2701925"/>
                <a:ext cx="22225" cy="141288"/>
              </a:xfrm>
              <a:custGeom>
                <a:avLst/>
                <a:gdLst>
                  <a:gd name="T0" fmla="*/ 3 w 8"/>
                  <a:gd name="T1" fmla="*/ 0 h 50"/>
                  <a:gd name="T2" fmla="*/ 2 w 8"/>
                  <a:gd name="T3" fmla="*/ 0 h 50"/>
                  <a:gd name="T4" fmla="*/ 1 w 8"/>
                  <a:gd name="T5" fmla="*/ 50 h 50"/>
                  <a:gd name="T6" fmla="*/ 8 w 8"/>
                  <a:gd name="T7" fmla="*/ 50 h 50"/>
                  <a:gd name="T8" fmla="*/ 3 w 8"/>
                  <a:gd name="T9" fmla="*/ 0 h 50"/>
                </a:gdLst>
                <a:ahLst/>
                <a:cxnLst>
                  <a:cxn ang="0">
                    <a:pos x="T0" y="T1"/>
                  </a:cxn>
                  <a:cxn ang="0">
                    <a:pos x="T2" y="T3"/>
                  </a:cxn>
                  <a:cxn ang="0">
                    <a:pos x="T4" y="T5"/>
                  </a:cxn>
                  <a:cxn ang="0">
                    <a:pos x="T6" y="T7"/>
                  </a:cxn>
                  <a:cxn ang="0">
                    <a:pos x="T8" y="T9"/>
                  </a:cxn>
                </a:cxnLst>
                <a:rect l="0" t="0" r="r" b="b"/>
                <a:pathLst>
                  <a:path w="8" h="50">
                    <a:moveTo>
                      <a:pt x="3" y="0"/>
                    </a:moveTo>
                    <a:cubicBezTo>
                      <a:pt x="2" y="0"/>
                      <a:pt x="2" y="0"/>
                      <a:pt x="2" y="0"/>
                    </a:cubicBezTo>
                    <a:cubicBezTo>
                      <a:pt x="4" y="17"/>
                      <a:pt x="0" y="33"/>
                      <a:pt x="1" y="50"/>
                    </a:cubicBezTo>
                    <a:cubicBezTo>
                      <a:pt x="8" y="50"/>
                      <a:pt x="8" y="50"/>
                      <a:pt x="8" y="50"/>
                    </a:cubicBezTo>
                    <a:cubicBezTo>
                      <a:pt x="8" y="33"/>
                      <a:pt x="7" y="16"/>
                      <a:pt x="3" y="0"/>
                    </a:cubicBez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 name="Freeform 503">
                <a:extLst>
                  <a:ext uri="{FF2B5EF4-FFF2-40B4-BE49-F238E27FC236}">
                    <a16:creationId xmlns:a16="http://schemas.microsoft.com/office/drawing/2014/main" id="{12E6F2B7-E94B-440E-A0DF-84CBB6FE990B}"/>
                  </a:ext>
                </a:extLst>
              </p:cNvPr>
              <p:cNvSpPr>
                <a:spLocks/>
              </p:cNvSpPr>
              <p:nvPr/>
            </p:nvSpPr>
            <p:spPr bwMode="auto">
              <a:xfrm>
                <a:off x="9317038" y="2701925"/>
                <a:ext cx="34925" cy="141288"/>
              </a:xfrm>
              <a:custGeom>
                <a:avLst/>
                <a:gdLst>
                  <a:gd name="T0" fmla="*/ 0 w 12"/>
                  <a:gd name="T1" fmla="*/ 0 h 50"/>
                  <a:gd name="T2" fmla="*/ 5 w 12"/>
                  <a:gd name="T3" fmla="*/ 50 h 50"/>
                  <a:gd name="T4" fmla="*/ 12 w 12"/>
                  <a:gd name="T5" fmla="*/ 50 h 50"/>
                  <a:gd name="T6" fmla="*/ 0 w 12"/>
                  <a:gd name="T7" fmla="*/ 0 h 50"/>
                </a:gdLst>
                <a:ahLst/>
                <a:cxnLst>
                  <a:cxn ang="0">
                    <a:pos x="T0" y="T1"/>
                  </a:cxn>
                  <a:cxn ang="0">
                    <a:pos x="T2" y="T3"/>
                  </a:cxn>
                  <a:cxn ang="0">
                    <a:pos x="T4" y="T5"/>
                  </a:cxn>
                  <a:cxn ang="0">
                    <a:pos x="T6" y="T7"/>
                  </a:cxn>
                </a:cxnLst>
                <a:rect l="0" t="0" r="r" b="b"/>
                <a:pathLst>
                  <a:path w="12" h="50">
                    <a:moveTo>
                      <a:pt x="0" y="0"/>
                    </a:moveTo>
                    <a:cubicBezTo>
                      <a:pt x="4" y="16"/>
                      <a:pt x="5" y="33"/>
                      <a:pt x="5" y="50"/>
                    </a:cubicBezTo>
                    <a:cubicBezTo>
                      <a:pt x="12" y="50"/>
                      <a:pt x="12" y="50"/>
                      <a:pt x="12" y="50"/>
                    </a:cubicBezTo>
                    <a:cubicBezTo>
                      <a:pt x="12" y="37"/>
                      <a:pt x="7" y="3"/>
                      <a:pt x="0" y="0"/>
                    </a:cubicBez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4" name="Freeform 504">
                <a:extLst>
                  <a:ext uri="{FF2B5EF4-FFF2-40B4-BE49-F238E27FC236}">
                    <a16:creationId xmlns:a16="http://schemas.microsoft.com/office/drawing/2014/main" id="{2DC61A2D-A24E-4681-B4D6-A536B4195F5D}"/>
                  </a:ext>
                </a:extLst>
              </p:cNvPr>
              <p:cNvSpPr>
                <a:spLocks/>
              </p:cNvSpPr>
              <p:nvPr/>
            </p:nvSpPr>
            <p:spPr bwMode="auto">
              <a:xfrm>
                <a:off x="8602663" y="2433638"/>
                <a:ext cx="663575" cy="527050"/>
              </a:xfrm>
              <a:custGeom>
                <a:avLst/>
                <a:gdLst>
                  <a:gd name="T0" fmla="*/ 0 w 233"/>
                  <a:gd name="T1" fmla="*/ 0 h 185"/>
                  <a:gd name="T2" fmla="*/ 0 w 233"/>
                  <a:gd name="T3" fmla="*/ 146 h 185"/>
                  <a:gd name="T4" fmla="*/ 116 w 233"/>
                  <a:gd name="T5" fmla="*/ 185 h 185"/>
                  <a:gd name="T6" fmla="*/ 233 w 233"/>
                  <a:gd name="T7" fmla="*/ 146 h 185"/>
                  <a:gd name="T8" fmla="*/ 233 w 233"/>
                  <a:gd name="T9" fmla="*/ 0 h 185"/>
                  <a:gd name="T10" fmla="*/ 0 w 233"/>
                  <a:gd name="T11" fmla="*/ 0 h 185"/>
                </a:gdLst>
                <a:ahLst/>
                <a:cxnLst>
                  <a:cxn ang="0">
                    <a:pos x="T0" y="T1"/>
                  </a:cxn>
                  <a:cxn ang="0">
                    <a:pos x="T2" y="T3"/>
                  </a:cxn>
                  <a:cxn ang="0">
                    <a:pos x="T4" y="T5"/>
                  </a:cxn>
                  <a:cxn ang="0">
                    <a:pos x="T6" y="T7"/>
                  </a:cxn>
                  <a:cxn ang="0">
                    <a:pos x="T8" y="T9"/>
                  </a:cxn>
                  <a:cxn ang="0">
                    <a:pos x="T10" y="T11"/>
                  </a:cxn>
                </a:cxnLst>
                <a:rect l="0" t="0" r="r" b="b"/>
                <a:pathLst>
                  <a:path w="233" h="185">
                    <a:moveTo>
                      <a:pt x="0" y="0"/>
                    </a:moveTo>
                    <a:cubicBezTo>
                      <a:pt x="0" y="146"/>
                      <a:pt x="0" y="146"/>
                      <a:pt x="0" y="146"/>
                    </a:cubicBezTo>
                    <a:cubicBezTo>
                      <a:pt x="0" y="160"/>
                      <a:pt x="52" y="185"/>
                      <a:pt x="116" y="185"/>
                    </a:cubicBezTo>
                    <a:cubicBezTo>
                      <a:pt x="181" y="185"/>
                      <a:pt x="233" y="160"/>
                      <a:pt x="233" y="146"/>
                    </a:cubicBezTo>
                    <a:cubicBezTo>
                      <a:pt x="233" y="0"/>
                      <a:pt x="233" y="0"/>
                      <a:pt x="233" y="0"/>
                    </a:cubicBezTo>
                    <a:cubicBezTo>
                      <a:pt x="0" y="0"/>
                      <a:pt x="0" y="0"/>
                      <a:pt x="0" y="0"/>
                    </a:cubicBezTo>
                  </a:path>
                </a:pathLst>
              </a:custGeom>
              <a:solidFill>
                <a:srgbClr val="0E3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5" name="Freeform 505">
                <a:extLst>
                  <a:ext uri="{FF2B5EF4-FFF2-40B4-BE49-F238E27FC236}">
                    <a16:creationId xmlns:a16="http://schemas.microsoft.com/office/drawing/2014/main" id="{4C2117A9-7DCF-40D2-9592-7744B6C45DE9}"/>
                  </a:ext>
                </a:extLst>
              </p:cNvPr>
              <p:cNvSpPr>
                <a:spLocks/>
              </p:cNvSpPr>
              <p:nvPr/>
            </p:nvSpPr>
            <p:spPr bwMode="auto">
              <a:xfrm>
                <a:off x="8602663" y="2498725"/>
                <a:ext cx="663575" cy="239713"/>
              </a:xfrm>
              <a:custGeom>
                <a:avLst/>
                <a:gdLst>
                  <a:gd name="T0" fmla="*/ 418 w 418"/>
                  <a:gd name="T1" fmla="*/ 0 h 151"/>
                  <a:gd name="T2" fmla="*/ 0 w 418"/>
                  <a:gd name="T3" fmla="*/ 0 h 151"/>
                  <a:gd name="T4" fmla="*/ 0 w 418"/>
                  <a:gd name="T5" fmla="*/ 76 h 151"/>
                  <a:gd name="T6" fmla="*/ 208 w 418"/>
                  <a:gd name="T7" fmla="*/ 151 h 151"/>
                  <a:gd name="T8" fmla="*/ 418 w 418"/>
                  <a:gd name="T9" fmla="*/ 76 h 151"/>
                  <a:gd name="T10" fmla="*/ 418 w 418"/>
                  <a:gd name="T11" fmla="*/ 0 h 151"/>
                </a:gdLst>
                <a:ahLst/>
                <a:cxnLst>
                  <a:cxn ang="0">
                    <a:pos x="T0" y="T1"/>
                  </a:cxn>
                  <a:cxn ang="0">
                    <a:pos x="T2" y="T3"/>
                  </a:cxn>
                  <a:cxn ang="0">
                    <a:pos x="T4" y="T5"/>
                  </a:cxn>
                  <a:cxn ang="0">
                    <a:pos x="T6" y="T7"/>
                  </a:cxn>
                  <a:cxn ang="0">
                    <a:pos x="T8" y="T9"/>
                  </a:cxn>
                  <a:cxn ang="0">
                    <a:pos x="T10" y="T11"/>
                  </a:cxn>
                </a:cxnLst>
                <a:rect l="0" t="0" r="r" b="b"/>
                <a:pathLst>
                  <a:path w="418" h="151">
                    <a:moveTo>
                      <a:pt x="418" y="0"/>
                    </a:moveTo>
                    <a:lnTo>
                      <a:pt x="0" y="0"/>
                    </a:lnTo>
                    <a:lnTo>
                      <a:pt x="0" y="76"/>
                    </a:lnTo>
                    <a:lnTo>
                      <a:pt x="208" y="151"/>
                    </a:lnTo>
                    <a:lnTo>
                      <a:pt x="418" y="76"/>
                    </a:lnTo>
                    <a:lnTo>
                      <a:pt x="418" y="0"/>
                    </a:lnTo>
                    <a:close/>
                  </a:path>
                </a:pathLst>
              </a:custGeom>
              <a:solidFill>
                <a:srgbClr val="09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6" name="Freeform 506">
                <a:extLst>
                  <a:ext uri="{FF2B5EF4-FFF2-40B4-BE49-F238E27FC236}">
                    <a16:creationId xmlns:a16="http://schemas.microsoft.com/office/drawing/2014/main" id="{23D02651-2809-4D5D-9B47-D1A8B83D4AED}"/>
                  </a:ext>
                </a:extLst>
              </p:cNvPr>
              <p:cNvSpPr>
                <a:spLocks/>
              </p:cNvSpPr>
              <p:nvPr/>
            </p:nvSpPr>
            <p:spPr bwMode="auto">
              <a:xfrm>
                <a:off x="8602663" y="2498725"/>
                <a:ext cx="663575" cy="239713"/>
              </a:xfrm>
              <a:custGeom>
                <a:avLst/>
                <a:gdLst>
                  <a:gd name="T0" fmla="*/ 418 w 418"/>
                  <a:gd name="T1" fmla="*/ 0 h 151"/>
                  <a:gd name="T2" fmla="*/ 0 w 418"/>
                  <a:gd name="T3" fmla="*/ 0 h 151"/>
                  <a:gd name="T4" fmla="*/ 0 w 418"/>
                  <a:gd name="T5" fmla="*/ 76 h 151"/>
                  <a:gd name="T6" fmla="*/ 208 w 418"/>
                  <a:gd name="T7" fmla="*/ 151 h 151"/>
                  <a:gd name="T8" fmla="*/ 418 w 418"/>
                  <a:gd name="T9" fmla="*/ 76 h 151"/>
                  <a:gd name="T10" fmla="*/ 418 w 418"/>
                  <a:gd name="T11" fmla="*/ 0 h 151"/>
                </a:gdLst>
                <a:ahLst/>
                <a:cxnLst>
                  <a:cxn ang="0">
                    <a:pos x="T0" y="T1"/>
                  </a:cxn>
                  <a:cxn ang="0">
                    <a:pos x="T2" y="T3"/>
                  </a:cxn>
                  <a:cxn ang="0">
                    <a:pos x="T4" y="T5"/>
                  </a:cxn>
                  <a:cxn ang="0">
                    <a:pos x="T6" y="T7"/>
                  </a:cxn>
                  <a:cxn ang="0">
                    <a:pos x="T8" y="T9"/>
                  </a:cxn>
                  <a:cxn ang="0">
                    <a:pos x="T10" y="T11"/>
                  </a:cxn>
                </a:cxnLst>
                <a:rect l="0" t="0" r="r" b="b"/>
                <a:pathLst>
                  <a:path w="418" h="151">
                    <a:moveTo>
                      <a:pt x="418" y="0"/>
                    </a:moveTo>
                    <a:lnTo>
                      <a:pt x="0" y="0"/>
                    </a:lnTo>
                    <a:lnTo>
                      <a:pt x="0" y="76"/>
                    </a:lnTo>
                    <a:lnTo>
                      <a:pt x="208" y="151"/>
                    </a:lnTo>
                    <a:lnTo>
                      <a:pt x="418" y="76"/>
                    </a:lnTo>
                    <a:lnTo>
                      <a:pt x="4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7" name="Freeform 507">
                <a:extLst>
                  <a:ext uri="{FF2B5EF4-FFF2-40B4-BE49-F238E27FC236}">
                    <a16:creationId xmlns:a16="http://schemas.microsoft.com/office/drawing/2014/main" id="{753DCBF3-A2D5-4FA2-9655-493A1E95F81D}"/>
                  </a:ext>
                </a:extLst>
              </p:cNvPr>
              <p:cNvSpPr>
                <a:spLocks/>
              </p:cNvSpPr>
              <p:nvPr/>
            </p:nvSpPr>
            <p:spPr bwMode="auto">
              <a:xfrm>
                <a:off x="8281988" y="2236788"/>
                <a:ext cx="1306513" cy="444500"/>
              </a:xfrm>
              <a:custGeom>
                <a:avLst/>
                <a:gdLst>
                  <a:gd name="T0" fmla="*/ 412 w 823"/>
                  <a:gd name="T1" fmla="*/ 280 h 280"/>
                  <a:gd name="T2" fmla="*/ 0 w 823"/>
                  <a:gd name="T3" fmla="*/ 135 h 280"/>
                  <a:gd name="T4" fmla="*/ 403 w 823"/>
                  <a:gd name="T5" fmla="*/ 0 h 280"/>
                  <a:gd name="T6" fmla="*/ 823 w 823"/>
                  <a:gd name="T7" fmla="*/ 128 h 280"/>
                  <a:gd name="T8" fmla="*/ 412 w 823"/>
                  <a:gd name="T9" fmla="*/ 280 h 280"/>
                </a:gdLst>
                <a:ahLst/>
                <a:cxnLst>
                  <a:cxn ang="0">
                    <a:pos x="T0" y="T1"/>
                  </a:cxn>
                  <a:cxn ang="0">
                    <a:pos x="T2" y="T3"/>
                  </a:cxn>
                  <a:cxn ang="0">
                    <a:pos x="T4" y="T5"/>
                  </a:cxn>
                  <a:cxn ang="0">
                    <a:pos x="T6" y="T7"/>
                  </a:cxn>
                  <a:cxn ang="0">
                    <a:pos x="T8" y="T9"/>
                  </a:cxn>
                </a:cxnLst>
                <a:rect l="0" t="0" r="r" b="b"/>
                <a:pathLst>
                  <a:path w="823" h="280">
                    <a:moveTo>
                      <a:pt x="412" y="280"/>
                    </a:moveTo>
                    <a:lnTo>
                      <a:pt x="0" y="135"/>
                    </a:lnTo>
                    <a:lnTo>
                      <a:pt x="403" y="0"/>
                    </a:lnTo>
                    <a:lnTo>
                      <a:pt x="823" y="128"/>
                    </a:lnTo>
                    <a:lnTo>
                      <a:pt x="412" y="280"/>
                    </a:lnTo>
                    <a:close/>
                  </a:path>
                </a:pathLst>
              </a:custGeom>
              <a:solidFill>
                <a:srgbClr val="2B5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8" name="Freeform 508">
                <a:extLst>
                  <a:ext uri="{FF2B5EF4-FFF2-40B4-BE49-F238E27FC236}">
                    <a16:creationId xmlns:a16="http://schemas.microsoft.com/office/drawing/2014/main" id="{066485E7-CD20-4729-81C9-51301462A712}"/>
                  </a:ext>
                </a:extLst>
              </p:cNvPr>
              <p:cNvSpPr>
                <a:spLocks/>
              </p:cNvSpPr>
              <p:nvPr/>
            </p:nvSpPr>
            <p:spPr bwMode="auto">
              <a:xfrm>
                <a:off x="8932863" y="2447925"/>
                <a:ext cx="393700" cy="96838"/>
              </a:xfrm>
              <a:custGeom>
                <a:avLst/>
                <a:gdLst>
                  <a:gd name="T0" fmla="*/ 248 w 248"/>
                  <a:gd name="T1" fmla="*/ 56 h 61"/>
                  <a:gd name="T2" fmla="*/ 11 w 248"/>
                  <a:gd name="T3" fmla="*/ 0 h 61"/>
                  <a:gd name="T4" fmla="*/ 0 w 248"/>
                  <a:gd name="T5" fmla="*/ 7 h 61"/>
                  <a:gd name="T6" fmla="*/ 232 w 248"/>
                  <a:gd name="T7" fmla="*/ 61 h 61"/>
                  <a:gd name="T8" fmla="*/ 248 w 248"/>
                  <a:gd name="T9" fmla="*/ 56 h 61"/>
                </a:gdLst>
                <a:ahLst/>
                <a:cxnLst>
                  <a:cxn ang="0">
                    <a:pos x="T0" y="T1"/>
                  </a:cxn>
                  <a:cxn ang="0">
                    <a:pos x="T2" y="T3"/>
                  </a:cxn>
                  <a:cxn ang="0">
                    <a:pos x="T4" y="T5"/>
                  </a:cxn>
                  <a:cxn ang="0">
                    <a:pos x="T6" y="T7"/>
                  </a:cxn>
                  <a:cxn ang="0">
                    <a:pos x="T8" y="T9"/>
                  </a:cxn>
                </a:cxnLst>
                <a:rect l="0" t="0" r="r" b="b"/>
                <a:pathLst>
                  <a:path w="248" h="61">
                    <a:moveTo>
                      <a:pt x="248" y="56"/>
                    </a:moveTo>
                    <a:lnTo>
                      <a:pt x="11" y="0"/>
                    </a:lnTo>
                    <a:lnTo>
                      <a:pt x="0" y="7"/>
                    </a:lnTo>
                    <a:lnTo>
                      <a:pt x="232" y="61"/>
                    </a:lnTo>
                    <a:lnTo>
                      <a:pt x="248" y="56"/>
                    </a:ln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9" name="Freeform 509">
                <a:extLst>
                  <a:ext uri="{FF2B5EF4-FFF2-40B4-BE49-F238E27FC236}">
                    <a16:creationId xmlns:a16="http://schemas.microsoft.com/office/drawing/2014/main" id="{011D07B3-DE24-4BD6-B5A2-D64C0DD25347}"/>
                  </a:ext>
                </a:extLst>
              </p:cNvPr>
              <p:cNvSpPr>
                <a:spLocks/>
              </p:cNvSpPr>
              <p:nvPr/>
            </p:nvSpPr>
            <p:spPr bwMode="auto">
              <a:xfrm>
                <a:off x="8924925" y="2436813"/>
                <a:ext cx="36513" cy="31750"/>
              </a:xfrm>
              <a:custGeom>
                <a:avLst/>
                <a:gdLst>
                  <a:gd name="T0" fmla="*/ 8 w 13"/>
                  <a:gd name="T1" fmla="*/ 10 h 11"/>
                  <a:gd name="T2" fmla="*/ 1 w 13"/>
                  <a:gd name="T3" fmla="*/ 8 h 11"/>
                  <a:gd name="T4" fmla="*/ 5 w 13"/>
                  <a:gd name="T5" fmla="*/ 1 h 11"/>
                  <a:gd name="T6" fmla="*/ 12 w 13"/>
                  <a:gd name="T7" fmla="*/ 3 h 11"/>
                  <a:gd name="T8" fmla="*/ 8 w 13"/>
                  <a:gd name="T9" fmla="*/ 10 h 11"/>
                </a:gdLst>
                <a:ahLst/>
                <a:cxnLst>
                  <a:cxn ang="0">
                    <a:pos x="T0" y="T1"/>
                  </a:cxn>
                  <a:cxn ang="0">
                    <a:pos x="T2" y="T3"/>
                  </a:cxn>
                  <a:cxn ang="0">
                    <a:pos x="T4" y="T5"/>
                  </a:cxn>
                  <a:cxn ang="0">
                    <a:pos x="T6" y="T7"/>
                  </a:cxn>
                  <a:cxn ang="0">
                    <a:pos x="T8" y="T9"/>
                  </a:cxn>
                </a:cxnLst>
                <a:rect l="0" t="0" r="r" b="b"/>
                <a:pathLst>
                  <a:path w="13" h="11">
                    <a:moveTo>
                      <a:pt x="8" y="10"/>
                    </a:moveTo>
                    <a:cubicBezTo>
                      <a:pt x="5" y="11"/>
                      <a:pt x="2" y="10"/>
                      <a:pt x="1" y="8"/>
                    </a:cubicBezTo>
                    <a:cubicBezTo>
                      <a:pt x="0" y="5"/>
                      <a:pt x="2" y="2"/>
                      <a:pt x="5" y="1"/>
                    </a:cubicBezTo>
                    <a:cubicBezTo>
                      <a:pt x="8" y="0"/>
                      <a:pt x="11" y="1"/>
                      <a:pt x="12" y="3"/>
                    </a:cubicBezTo>
                    <a:cubicBezTo>
                      <a:pt x="13" y="6"/>
                      <a:pt x="11" y="8"/>
                      <a:pt x="8" y="10"/>
                    </a:cubicBez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0" name="Freeform 510">
                <a:extLst>
                  <a:ext uri="{FF2B5EF4-FFF2-40B4-BE49-F238E27FC236}">
                    <a16:creationId xmlns:a16="http://schemas.microsoft.com/office/drawing/2014/main" id="{0AC29FCB-91DB-4DB1-B7DC-9E0EF9387593}"/>
                  </a:ext>
                </a:extLst>
              </p:cNvPr>
              <p:cNvSpPr>
                <a:spLocks/>
              </p:cNvSpPr>
              <p:nvPr/>
            </p:nvSpPr>
            <p:spPr bwMode="auto">
              <a:xfrm>
                <a:off x="9301163" y="2536825"/>
                <a:ext cx="25400" cy="161925"/>
              </a:xfrm>
              <a:custGeom>
                <a:avLst/>
                <a:gdLst>
                  <a:gd name="T0" fmla="*/ 16 w 16"/>
                  <a:gd name="T1" fmla="*/ 98 h 102"/>
                  <a:gd name="T2" fmla="*/ 0 w 16"/>
                  <a:gd name="T3" fmla="*/ 102 h 102"/>
                  <a:gd name="T4" fmla="*/ 0 w 16"/>
                  <a:gd name="T5" fmla="*/ 5 h 102"/>
                  <a:gd name="T6" fmla="*/ 16 w 16"/>
                  <a:gd name="T7" fmla="*/ 0 h 102"/>
                  <a:gd name="T8" fmla="*/ 16 w 16"/>
                  <a:gd name="T9" fmla="*/ 98 h 102"/>
                </a:gdLst>
                <a:ahLst/>
                <a:cxnLst>
                  <a:cxn ang="0">
                    <a:pos x="T0" y="T1"/>
                  </a:cxn>
                  <a:cxn ang="0">
                    <a:pos x="T2" y="T3"/>
                  </a:cxn>
                  <a:cxn ang="0">
                    <a:pos x="T4" y="T5"/>
                  </a:cxn>
                  <a:cxn ang="0">
                    <a:pos x="T6" y="T7"/>
                  </a:cxn>
                  <a:cxn ang="0">
                    <a:pos x="T8" y="T9"/>
                  </a:cxn>
                </a:cxnLst>
                <a:rect l="0" t="0" r="r" b="b"/>
                <a:pathLst>
                  <a:path w="16" h="102">
                    <a:moveTo>
                      <a:pt x="16" y="98"/>
                    </a:moveTo>
                    <a:lnTo>
                      <a:pt x="0" y="102"/>
                    </a:lnTo>
                    <a:lnTo>
                      <a:pt x="0" y="5"/>
                    </a:lnTo>
                    <a:lnTo>
                      <a:pt x="16" y="0"/>
                    </a:lnTo>
                    <a:lnTo>
                      <a:pt x="16" y="98"/>
                    </a:lnTo>
                    <a:close/>
                  </a:path>
                </a:pathLst>
              </a:custGeom>
              <a:solidFill>
                <a:srgbClr val="DB2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1" name="Oval 511">
                <a:extLst>
                  <a:ext uri="{FF2B5EF4-FFF2-40B4-BE49-F238E27FC236}">
                    <a16:creationId xmlns:a16="http://schemas.microsoft.com/office/drawing/2014/main" id="{221C1C95-4B4D-4485-AD9A-1D030239A3F3}"/>
                  </a:ext>
                </a:extLst>
              </p:cNvPr>
              <p:cNvSpPr>
                <a:spLocks noChangeArrowheads="1"/>
              </p:cNvSpPr>
              <p:nvPr/>
            </p:nvSpPr>
            <p:spPr bwMode="auto">
              <a:xfrm>
                <a:off x="9297988" y="2662238"/>
                <a:ext cx="33338" cy="55563"/>
              </a:xfrm>
              <a:prstGeom prst="ellipse">
                <a:avLst/>
              </a:pr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27" name="组合 26">
              <a:extLst>
                <a:ext uri="{FF2B5EF4-FFF2-40B4-BE49-F238E27FC236}">
                  <a16:creationId xmlns:a16="http://schemas.microsoft.com/office/drawing/2014/main" id="{7B9BFC5D-E0F1-4F10-A139-3417AA2EB295}"/>
                </a:ext>
              </a:extLst>
            </p:cNvPr>
            <p:cNvGrpSpPr/>
            <p:nvPr/>
          </p:nvGrpSpPr>
          <p:grpSpPr>
            <a:xfrm>
              <a:off x="8397329" y="4963298"/>
              <a:ext cx="888420" cy="887512"/>
              <a:chOff x="8213725" y="5181600"/>
              <a:chExt cx="1554163" cy="1552575"/>
            </a:xfrm>
          </p:grpSpPr>
          <p:sp>
            <p:nvSpPr>
              <p:cNvPr id="43" name="Oval 512">
                <a:extLst>
                  <a:ext uri="{FF2B5EF4-FFF2-40B4-BE49-F238E27FC236}">
                    <a16:creationId xmlns:a16="http://schemas.microsoft.com/office/drawing/2014/main" id="{F3EC839F-F17C-499F-AAAD-00A56AF2DF5D}"/>
                  </a:ext>
                </a:extLst>
              </p:cNvPr>
              <p:cNvSpPr>
                <a:spLocks noChangeArrowheads="1"/>
              </p:cNvSpPr>
              <p:nvPr/>
            </p:nvSpPr>
            <p:spPr bwMode="auto">
              <a:xfrm>
                <a:off x="8213725" y="5181600"/>
                <a:ext cx="1554163" cy="1552575"/>
              </a:xfrm>
              <a:prstGeom prst="ellipse">
                <a:avLst/>
              </a:prstGeom>
              <a:solidFill>
                <a:srgbClr val="E243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 name="Freeform 513">
                <a:extLst>
                  <a:ext uri="{FF2B5EF4-FFF2-40B4-BE49-F238E27FC236}">
                    <a16:creationId xmlns:a16="http://schemas.microsoft.com/office/drawing/2014/main" id="{9D86B7BB-D0E9-4943-BFE9-5E6099CD2B9A}"/>
                  </a:ext>
                </a:extLst>
              </p:cNvPr>
              <p:cNvSpPr>
                <a:spLocks/>
              </p:cNvSpPr>
              <p:nvPr/>
            </p:nvSpPr>
            <p:spPr bwMode="auto">
              <a:xfrm>
                <a:off x="8421688" y="5662613"/>
                <a:ext cx="844550" cy="777875"/>
              </a:xfrm>
              <a:custGeom>
                <a:avLst/>
                <a:gdLst>
                  <a:gd name="T0" fmla="*/ 160 w 297"/>
                  <a:gd name="T1" fmla="*/ 0 h 273"/>
                  <a:gd name="T2" fmla="*/ 23 w 297"/>
                  <a:gd name="T3" fmla="*/ 116 h 273"/>
                  <a:gd name="T4" fmla="*/ 69 w 297"/>
                  <a:gd name="T5" fmla="*/ 202 h 273"/>
                  <a:gd name="T6" fmla="*/ 6 w 297"/>
                  <a:gd name="T7" fmla="*/ 263 h 273"/>
                  <a:gd name="T8" fmla="*/ 132 w 297"/>
                  <a:gd name="T9" fmla="*/ 229 h 273"/>
                  <a:gd name="T10" fmla="*/ 160 w 297"/>
                  <a:gd name="T11" fmla="*/ 231 h 273"/>
                  <a:gd name="T12" fmla="*/ 297 w 297"/>
                  <a:gd name="T13" fmla="*/ 116 h 273"/>
                  <a:gd name="T14" fmla="*/ 160 w 297"/>
                  <a:gd name="T15" fmla="*/ 0 h 2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7" h="273">
                    <a:moveTo>
                      <a:pt x="160" y="0"/>
                    </a:moveTo>
                    <a:cubicBezTo>
                      <a:pt x="85" y="0"/>
                      <a:pt x="23" y="52"/>
                      <a:pt x="23" y="116"/>
                    </a:cubicBezTo>
                    <a:cubicBezTo>
                      <a:pt x="23" y="150"/>
                      <a:pt x="41" y="181"/>
                      <a:pt x="69" y="202"/>
                    </a:cubicBezTo>
                    <a:cubicBezTo>
                      <a:pt x="51" y="234"/>
                      <a:pt x="0" y="262"/>
                      <a:pt x="6" y="263"/>
                    </a:cubicBezTo>
                    <a:cubicBezTo>
                      <a:pt x="67" y="273"/>
                      <a:pt x="110" y="247"/>
                      <a:pt x="132" y="229"/>
                    </a:cubicBezTo>
                    <a:cubicBezTo>
                      <a:pt x="141" y="231"/>
                      <a:pt x="151" y="231"/>
                      <a:pt x="160" y="231"/>
                    </a:cubicBezTo>
                    <a:cubicBezTo>
                      <a:pt x="236" y="231"/>
                      <a:pt x="297" y="180"/>
                      <a:pt x="297" y="116"/>
                    </a:cubicBezTo>
                    <a:cubicBezTo>
                      <a:pt x="297" y="52"/>
                      <a:pt x="236" y="0"/>
                      <a:pt x="160" y="0"/>
                    </a:cubicBezTo>
                  </a:path>
                </a:pathLst>
              </a:custGeom>
              <a:solidFill>
                <a:srgbClr val="D7F7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 name="Freeform 514">
                <a:extLst>
                  <a:ext uri="{FF2B5EF4-FFF2-40B4-BE49-F238E27FC236}">
                    <a16:creationId xmlns:a16="http://schemas.microsoft.com/office/drawing/2014/main" id="{DEE45F8A-D5C4-4641-A226-F6651FA7AD91}"/>
                  </a:ext>
                </a:extLst>
              </p:cNvPr>
              <p:cNvSpPr>
                <a:spLocks noEditPoints="1"/>
              </p:cNvSpPr>
              <p:nvPr/>
            </p:nvSpPr>
            <p:spPr bwMode="auto">
              <a:xfrm>
                <a:off x="9266238" y="5962650"/>
                <a:ext cx="0" cy="65088"/>
              </a:xfrm>
              <a:custGeom>
                <a:avLst/>
                <a:gdLst>
                  <a:gd name="T0" fmla="*/ 23 h 23"/>
                  <a:gd name="T1" fmla="*/ 11 h 23"/>
                  <a:gd name="T2" fmla="*/ 11 h 23"/>
                  <a:gd name="T3" fmla="*/ 10 h 23"/>
                  <a:gd name="T4" fmla="*/ 10 h 23"/>
                  <a:gd name="T5" fmla="*/ 10 h 23"/>
                  <a:gd name="T6" fmla="*/ 10 h 23"/>
                  <a:gd name="T7" fmla="*/ 9 h 23"/>
                  <a:gd name="T8" fmla="*/ 9 h 23"/>
                  <a:gd name="T9" fmla="*/ 9 h 23"/>
                  <a:gd name="T10" fmla="*/ 9 h 23"/>
                  <a:gd name="T11" fmla="*/ 9 h 23"/>
                  <a:gd name="T12" fmla="*/ 9 h 23"/>
                  <a:gd name="T13" fmla="*/ 8 h 23"/>
                  <a:gd name="T14" fmla="*/ 8 h 23"/>
                  <a:gd name="T15" fmla="*/ 8 h 23"/>
                  <a:gd name="T16" fmla="*/ 8 h 23"/>
                  <a:gd name="T17" fmla="*/ 8 h 23"/>
                  <a:gd name="T18" fmla="*/ 7 h 23"/>
                  <a:gd name="T19" fmla="*/ 7 h 23"/>
                  <a:gd name="T20" fmla="*/ 7 h 23"/>
                  <a:gd name="T21" fmla="*/ 7 h 23"/>
                  <a:gd name="T22" fmla="*/ 7 h 23"/>
                  <a:gd name="T23" fmla="*/ 7 h 23"/>
                  <a:gd name="T24" fmla="*/ 6 h 23"/>
                  <a:gd name="T25" fmla="*/ 6 h 23"/>
                  <a:gd name="T26" fmla="*/ 6 h 23"/>
                  <a:gd name="T27" fmla="*/ 6 h 23"/>
                  <a:gd name="T28" fmla="*/ 6 h 23"/>
                  <a:gd name="T29" fmla="*/ 5 h 23"/>
                  <a:gd name="T30" fmla="*/ 5 h 23"/>
                  <a:gd name="T31" fmla="*/ 5 h 23"/>
                  <a:gd name="T32" fmla="*/ 5 h 23"/>
                  <a:gd name="T33" fmla="*/ 5 h 23"/>
                  <a:gd name="T34" fmla="*/ 5 h 23"/>
                  <a:gd name="T35" fmla="*/ 4 h 23"/>
                  <a:gd name="T36" fmla="*/ 4 h 23"/>
                  <a:gd name="T37" fmla="*/ 4 h 23"/>
                  <a:gd name="T38" fmla="*/ 3 h 23"/>
                  <a:gd name="T39" fmla="*/ 3 h 23"/>
                  <a:gd name="T40" fmla="*/ 3 h 23"/>
                  <a:gd name="T41" fmla="*/ 3 h 23"/>
                  <a:gd name="T42" fmla="*/ 2 h 23"/>
                  <a:gd name="T43" fmla="*/ 2 h 23"/>
                  <a:gd name="T44" fmla="*/ 2 h 23"/>
                  <a:gd name="T45" fmla="*/ 2 h 23"/>
                  <a:gd name="T46" fmla="*/ 2 h 23"/>
                  <a:gd name="T47" fmla="*/ 2 h 23"/>
                  <a:gd name="T48" fmla="*/ 1 h 23"/>
                  <a:gd name="T49" fmla="*/ 1 h 23"/>
                  <a:gd name="T50" fmla="*/ 1 h 23"/>
                  <a:gd name="T51" fmla="*/ 1 h 23"/>
                  <a:gd name="T52" fmla="*/ 1 h 23"/>
                  <a:gd name="T53" fmla="*/ 0 h 23"/>
                  <a:gd name="T54" fmla="*/ 0 h 23"/>
                  <a:gd name="T55" fmla="*/ 0 h 23"/>
                  <a:gd name="T56" fmla="*/ 0 h 2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Lst>
                <a:rect l="0" t="0" r="r" b="b"/>
                <a:pathLst>
                  <a:path h="23">
                    <a:moveTo>
                      <a:pt x="0" y="22"/>
                    </a:moveTo>
                    <a:cubicBezTo>
                      <a:pt x="0" y="22"/>
                      <a:pt x="0" y="22"/>
                      <a:pt x="0" y="23"/>
                    </a:cubicBezTo>
                    <a:cubicBezTo>
                      <a:pt x="0" y="23"/>
                      <a:pt x="0" y="23"/>
                      <a:pt x="0" y="23"/>
                    </a:cubicBezTo>
                    <a:cubicBezTo>
                      <a:pt x="0" y="22"/>
                      <a:pt x="0" y="22"/>
                      <a:pt x="0" y="22"/>
                    </a:cubicBezTo>
                    <a:moveTo>
                      <a:pt x="0" y="11"/>
                    </a:moveTo>
                    <a:cubicBezTo>
                      <a:pt x="0" y="11"/>
                      <a:pt x="0" y="11"/>
                      <a:pt x="0" y="11"/>
                    </a:cubicBezTo>
                    <a:cubicBezTo>
                      <a:pt x="0" y="11"/>
                      <a:pt x="0" y="11"/>
                      <a:pt x="0" y="11"/>
                    </a:cubicBezTo>
                    <a:moveTo>
                      <a:pt x="0" y="10"/>
                    </a:moveTo>
                    <a:cubicBezTo>
                      <a:pt x="0" y="10"/>
                      <a:pt x="0" y="11"/>
                      <a:pt x="0" y="11"/>
                    </a:cubicBezTo>
                    <a:cubicBezTo>
                      <a:pt x="0" y="11"/>
                      <a:pt x="0" y="11"/>
                      <a:pt x="0" y="11"/>
                    </a:cubicBezTo>
                    <a:cubicBezTo>
                      <a:pt x="0" y="11"/>
                      <a:pt x="0" y="10"/>
                      <a:pt x="0" y="10"/>
                    </a:cubicBezTo>
                    <a:moveTo>
                      <a:pt x="0" y="10"/>
                    </a:moveTo>
                    <a:cubicBezTo>
                      <a:pt x="0" y="10"/>
                      <a:pt x="0" y="10"/>
                      <a:pt x="0" y="10"/>
                    </a:cubicBezTo>
                    <a:cubicBezTo>
                      <a:pt x="0" y="10"/>
                      <a:pt x="0" y="10"/>
                      <a:pt x="0" y="10"/>
                    </a:cubicBezTo>
                    <a:moveTo>
                      <a:pt x="0" y="10"/>
                    </a:moveTo>
                    <a:cubicBezTo>
                      <a:pt x="0" y="10"/>
                      <a:pt x="0" y="10"/>
                      <a:pt x="0" y="10"/>
                    </a:cubicBezTo>
                    <a:cubicBezTo>
                      <a:pt x="0" y="10"/>
                      <a:pt x="0" y="10"/>
                      <a:pt x="0" y="10"/>
                    </a:cubicBezTo>
                    <a:moveTo>
                      <a:pt x="0" y="10"/>
                    </a:moveTo>
                    <a:cubicBezTo>
                      <a:pt x="0" y="10"/>
                      <a:pt x="0" y="10"/>
                      <a:pt x="0" y="10"/>
                    </a:cubicBezTo>
                    <a:cubicBezTo>
                      <a:pt x="0" y="10"/>
                      <a:pt x="0" y="10"/>
                      <a:pt x="0" y="10"/>
                    </a:cubicBezTo>
                    <a:moveTo>
                      <a:pt x="0" y="10"/>
                    </a:moveTo>
                    <a:cubicBezTo>
                      <a:pt x="0" y="10"/>
                      <a:pt x="0" y="10"/>
                      <a:pt x="0" y="10"/>
                    </a:cubicBezTo>
                    <a:cubicBezTo>
                      <a:pt x="0" y="10"/>
                      <a:pt x="0" y="10"/>
                      <a:pt x="0" y="10"/>
                    </a:cubicBezTo>
                    <a:moveTo>
                      <a:pt x="0" y="9"/>
                    </a:moveTo>
                    <a:cubicBezTo>
                      <a:pt x="0" y="10"/>
                      <a:pt x="0" y="10"/>
                      <a:pt x="0" y="10"/>
                    </a:cubicBezTo>
                    <a:cubicBezTo>
                      <a:pt x="0" y="10"/>
                      <a:pt x="0" y="10"/>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7"/>
                    </a:moveTo>
                    <a:cubicBezTo>
                      <a:pt x="0" y="7"/>
                      <a:pt x="0" y="8"/>
                      <a:pt x="0" y="8"/>
                    </a:cubicBezTo>
                    <a:cubicBezTo>
                      <a:pt x="0" y="8"/>
                      <a:pt x="0" y="7"/>
                      <a:pt x="0" y="7"/>
                    </a:cubicBezTo>
                    <a:moveTo>
                      <a:pt x="0" y="7"/>
                    </a:moveTo>
                    <a:cubicBezTo>
                      <a:pt x="0" y="7"/>
                      <a:pt x="0" y="7"/>
                      <a:pt x="0" y="7"/>
                    </a:cubicBezTo>
                    <a:cubicBezTo>
                      <a:pt x="0" y="7"/>
                      <a:pt x="0" y="7"/>
                      <a:pt x="0" y="7"/>
                    </a:cubicBezTo>
                    <a:moveTo>
                      <a:pt x="0" y="7"/>
                    </a:moveTo>
                    <a:cubicBezTo>
                      <a:pt x="0" y="7"/>
                      <a:pt x="0" y="7"/>
                      <a:pt x="0" y="7"/>
                    </a:cubicBezTo>
                    <a:cubicBezTo>
                      <a:pt x="0" y="7"/>
                      <a:pt x="0" y="7"/>
                      <a:pt x="0" y="7"/>
                    </a:cubicBezTo>
                    <a:moveTo>
                      <a:pt x="0" y="7"/>
                    </a:moveTo>
                    <a:cubicBezTo>
                      <a:pt x="0" y="7"/>
                      <a:pt x="0" y="7"/>
                      <a:pt x="0" y="7"/>
                    </a:cubicBezTo>
                    <a:cubicBezTo>
                      <a:pt x="0" y="7"/>
                      <a:pt x="0" y="7"/>
                      <a:pt x="0" y="7"/>
                    </a:cubicBezTo>
                    <a:moveTo>
                      <a:pt x="0" y="7"/>
                    </a:moveTo>
                    <a:cubicBezTo>
                      <a:pt x="0" y="7"/>
                      <a:pt x="0" y="7"/>
                      <a:pt x="0" y="7"/>
                    </a:cubicBezTo>
                    <a:cubicBezTo>
                      <a:pt x="0" y="7"/>
                      <a:pt x="0" y="7"/>
                      <a:pt x="0" y="7"/>
                    </a:cubicBezTo>
                    <a:moveTo>
                      <a:pt x="0" y="7"/>
                    </a:moveTo>
                    <a:cubicBezTo>
                      <a:pt x="0" y="7"/>
                      <a:pt x="0" y="7"/>
                      <a:pt x="0" y="7"/>
                    </a:cubicBezTo>
                    <a:cubicBezTo>
                      <a:pt x="0" y="7"/>
                      <a:pt x="0" y="7"/>
                      <a:pt x="0" y="7"/>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5"/>
                    </a:moveTo>
                    <a:cubicBezTo>
                      <a:pt x="0" y="5"/>
                      <a:pt x="0" y="6"/>
                      <a:pt x="0" y="6"/>
                    </a:cubicBezTo>
                    <a:cubicBezTo>
                      <a:pt x="0" y="6"/>
                      <a:pt x="0" y="5"/>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1"/>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D33E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 name="Freeform 515">
                <a:extLst>
                  <a:ext uri="{FF2B5EF4-FFF2-40B4-BE49-F238E27FC236}">
                    <a16:creationId xmlns:a16="http://schemas.microsoft.com/office/drawing/2014/main" id="{4065A636-E391-4C2B-BA6B-DB170C8975EC}"/>
                  </a:ext>
                </a:extLst>
              </p:cNvPr>
              <p:cNvSpPr>
                <a:spLocks/>
              </p:cNvSpPr>
              <p:nvPr/>
            </p:nvSpPr>
            <p:spPr bwMode="auto">
              <a:xfrm>
                <a:off x="8856663" y="5662613"/>
                <a:ext cx="409575" cy="368300"/>
              </a:xfrm>
              <a:custGeom>
                <a:avLst/>
                <a:gdLst>
                  <a:gd name="T0" fmla="*/ 36 w 144"/>
                  <a:gd name="T1" fmla="*/ 97 h 129"/>
                  <a:gd name="T2" fmla="*/ 144 w 144"/>
                  <a:gd name="T3" fmla="*/ 128 h 129"/>
                  <a:gd name="T4" fmla="*/ 144 w 144"/>
                  <a:gd name="T5" fmla="*/ 116 h 129"/>
                  <a:gd name="T6" fmla="*/ 144 w 144"/>
                  <a:gd name="T7" fmla="*/ 116 h 129"/>
                  <a:gd name="T8" fmla="*/ 144 w 144"/>
                  <a:gd name="T9" fmla="*/ 115 h 129"/>
                  <a:gd name="T10" fmla="*/ 144 w 144"/>
                  <a:gd name="T11" fmla="*/ 115 h 129"/>
                  <a:gd name="T12" fmla="*/ 144 w 144"/>
                  <a:gd name="T13" fmla="*/ 115 h 129"/>
                  <a:gd name="T14" fmla="*/ 144 w 144"/>
                  <a:gd name="T15" fmla="*/ 115 h 129"/>
                  <a:gd name="T16" fmla="*/ 144 w 144"/>
                  <a:gd name="T17" fmla="*/ 115 h 129"/>
                  <a:gd name="T18" fmla="*/ 144 w 144"/>
                  <a:gd name="T19" fmla="*/ 114 h 129"/>
                  <a:gd name="T20" fmla="*/ 144 w 144"/>
                  <a:gd name="T21" fmla="*/ 114 h 129"/>
                  <a:gd name="T22" fmla="*/ 144 w 144"/>
                  <a:gd name="T23" fmla="*/ 114 h 129"/>
                  <a:gd name="T24" fmla="*/ 144 w 144"/>
                  <a:gd name="T25" fmla="*/ 114 h 129"/>
                  <a:gd name="T26" fmla="*/ 144 w 144"/>
                  <a:gd name="T27" fmla="*/ 114 h 129"/>
                  <a:gd name="T28" fmla="*/ 144 w 144"/>
                  <a:gd name="T29" fmla="*/ 113 h 129"/>
                  <a:gd name="T30" fmla="*/ 144 w 144"/>
                  <a:gd name="T31" fmla="*/ 113 h 129"/>
                  <a:gd name="T32" fmla="*/ 144 w 144"/>
                  <a:gd name="T33" fmla="*/ 113 h 129"/>
                  <a:gd name="T34" fmla="*/ 144 w 144"/>
                  <a:gd name="T35" fmla="*/ 113 h 129"/>
                  <a:gd name="T36" fmla="*/ 144 w 144"/>
                  <a:gd name="T37" fmla="*/ 113 h 129"/>
                  <a:gd name="T38" fmla="*/ 144 w 144"/>
                  <a:gd name="T39" fmla="*/ 113 h 129"/>
                  <a:gd name="T40" fmla="*/ 144 w 144"/>
                  <a:gd name="T41" fmla="*/ 112 h 129"/>
                  <a:gd name="T42" fmla="*/ 144 w 144"/>
                  <a:gd name="T43" fmla="*/ 112 h 129"/>
                  <a:gd name="T44" fmla="*/ 144 w 144"/>
                  <a:gd name="T45" fmla="*/ 112 h 129"/>
                  <a:gd name="T46" fmla="*/ 144 w 144"/>
                  <a:gd name="T47" fmla="*/ 112 h 129"/>
                  <a:gd name="T48" fmla="*/ 144 w 144"/>
                  <a:gd name="T49" fmla="*/ 112 h 129"/>
                  <a:gd name="T50" fmla="*/ 144 w 144"/>
                  <a:gd name="T51" fmla="*/ 111 h 129"/>
                  <a:gd name="T52" fmla="*/ 144 w 144"/>
                  <a:gd name="T53" fmla="*/ 111 h 129"/>
                  <a:gd name="T54" fmla="*/ 144 w 144"/>
                  <a:gd name="T55" fmla="*/ 111 h 129"/>
                  <a:gd name="T56" fmla="*/ 144 w 144"/>
                  <a:gd name="T57" fmla="*/ 111 h 129"/>
                  <a:gd name="T58" fmla="*/ 144 w 144"/>
                  <a:gd name="T59" fmla="*/ 111 h 129"/>
                  <a:gd name="T60" fmla="*/ 144 w 144"/>
                  <a:gd name="T61" fmla="*/ 111 h 129"/>
                  <a:gd name="T62" fmla="*/ 144 w 144"/>
                  <a:gd name="T63" fmla="*/ 110 h 129"/>
                  <a:gd name="T64" fmla="*/ 144 w 144"/>
                  <a:gd name="T65" fmla="*/ 110 h 129"/>
                  <a:gd name="T66" fmla="*/ 144 w 144"/>
                  <a:gd name="T67" fmla="*/ 110 h 129"/>
                  <a:gd name="T68" fmla="*/ 144 w 144"/>
                  <a:gd name="T69" fmla="*/ 110 h 129"/>
                  <a:gd name="T70" fmla="*/ 144 w 144"/>
                  <a:gd name="T71" fmla="*/ 110 h 129"/>
                  <a:gd name="T72" fmla="*/ 144 w 144"/>
                  <a:gd name="T73" fmla="*/ 109 h 129"/>
                  <a:gd name="T74" fmla="*/ 144 w 144"/>
                  <a:gd name="T75" fmla="*/ 109 h 129"/>
                  <a:gd name="T76" fmla="*/ 144 w 144"/>
                  <a:gd name="T77" fmla="*/ 109 h 129"/>
                  <a:gd name="T78" fmla="*/ 144 w 144"/>
                  <a:gd name="T79" fmla="*/ 108 h 129"/>
                  <a:gd name="T80" fmla="*/ 144 w 144"/>
                  <a:gd name="T81" fmla="*/ 108 h 129"/>
                  <a:gd name="T82" fmla="*/ 144 w 144"/>
                  <a:gd name="T83" fmla="*/ 108 h 129"/>
                  <a:gd name="T84" fmla="*/ 144 w 144"/>
                  <a:gd name="T85" fmla="*/ 108 h 129"/>
                  <a:gd name="T86" fmla="*/ 144 w 144"/>
                  <a:gd name="T87" fmla="*/ 107 h 129"/>
                  <a:gd name="T88" fmla="*/ 144 w 144"/>
                  <a:gd name="T89" fmla="*/ 107 h 129"/>
                  <a:gd name="T90" fmla="*/ 144 w 144"/>
                  <a:gd name="T91" fmla="*/ 107 h 129"/>
                  <a:gd name="T92" fmla="*/ 144 w 144"/>
                  <a:gd name="T93" fmla="*/ 107 h 129"/>
                  <a:gd name="T94" fmla="*/ 144 w 144"/>
                  <a:gd name="T95" fmla="*/ 107 h 129"/>
                  <a:gd name="T96" fmla="*/ 144 w 144"/>
                  <a:gd name="T97" fmla="*/ 107 h 129"/>
                  <a:gd name="T98" fmla="*/ 144 w 144"/>
                  <a:gd name="T99" fmla="*/ 106 h 129"/>
                  <a:gd name="T100" fmla="*/ 144 w 144"/>
                  <a:gd name="T101" fmla="*/ 106 h 129"/>
                  <a:gd name="T102" fmla="*/ 144 w 144"/>
                  <a:gd name="T103" fmla="*/ 106 h 129"/>
                  <a:gd name="T104" fmla="*/ 144 w 144"/>
                  <a:gd name="T105" fmla="*/ 106 h 129"/>
                  <a:gd name="T106" fmla="*/ 144 w 144"/>
                  <a:gd name="T107" fmla="*/ 106 h 129"/>
                  <a:gd name="T108" fmla="*/ 144 w 144"/>
                  <a:gd name="T109" fmla="*/ 106 h 129"/>
                  <a:gd name="T110" fmla="*/ 144 w 144"/>
                  <a:gd name="T111" fmla="*/ 105 h 129"/>
                  <a:gd name="T112" fmla="*/ 144 w 144"/>
                  <a:gd name="T113" fmla="*/ 105 h 129"/>
                  <a:gd name="T114" fmla="*/ 144 w 144"/>
                  <a:gd name="T115" fmla="*/ 105 h 129"/>
                  <a:gd name="T116" fmla="*/ 13 w 144"/>
                  <a:gd name="T1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4" h="129">
                    <a:moveTo>
                      <a:pt x="13" y="0"/>
                    </a:moveTo>
                    <a:cubicBezTo>
                      <a:pt x="0" y="37"/>
                      <a:pt x="12" y="76"/>
                      <a:pt x="36" y="97"/>
                    </a:cubicBezTo>
                    <a:cubicBezTo>
                      <a:pt x="63" y="120"/>
                      <a:pt x="95" y="129"/>
                      <a:pt x="127" y="129"/>
                    </a:cubicBezTo>
                    <a:cubicBezTo>
                      <a:pt x="133" y="129"/>
                      <a:pt x="138" y="128"/>
                      <a:pt x="144" y="128"/>
                    </a:cubicBezTo>
                    <a:cubicBezTo>
                      <a:pt x="144" y="127"/>
                      <a:pt x="144" y="127"/>
                      <a:pt x="144" y="127"/>
                    </a:cubicBezTo>
                    <a:cubicBezTo>
                      <a:pt x="144" y="123"/>
                      <a:pt x="144" y="119"/>
                      <a:pt x="144" y="116"/>
                    </a:cubicBezTo>
                    <a:cubicBezTo>
                      <a:pt x="144" y="116"/>
                      <a:pt x="144" y="116"/>
                      <a:pt x="144" y="116"/>
                    </a:cubicBezTo>
                    <a:cubicBezTo>
                      <a:pt x="144" y="116"/>
                      <a:pt x="144" y="116"/>
                      <a:pt x="144" y="116"/>
                    </a:cubicBezTo>
                    <a:cubicBezTo>
                      <a:pt x="144" y="116"/>
                      <a:pt x="144" y="115"/>
                      <a:pt x="144" y="115"/>
                    </a:cubicBezTo>
                    <a:cubicBezTo>
                      <a:pt x="144" y="115"/>
                      <a:pt x="144" y="115"/>
                      <a:pt x="144" y="115"/>
                    </a:cubicBezTo>
                    <a:cubicBezTo>
                      <a:pt x="144" y="115"/>
                      <a:pt x="144" y="115"/>
                      <a:pt x="144" y="115"/>
                    </a:cubicBezTo>
                    <a:cubicBezTo>
                      <a:pt x="144" y="115"/>
                      <a:pt x="144" y="115"/>
                      <a:pt x="144" y="115"/>
                    </a:cubicBezTo>
                    <a:cubicBezTo>
                      <a:pt x="144" y="115"/>
                      <a:pt x="144" y="115"/>
                      <a:pt x="144" y="115"/>
                    </a:cubicBezTo>
                    <a:cubicBezTo>
                      <a:pt x="144" y="115"/>
                      <a:pt x="144" y="115"/>
                      <a:pt x="144" y="115"/>
                    </a:cubicBezTo>
                    <a:cubicBezTo>
                      <a:pt x="144" y="115"/>
                      <a:pt x="144" y="115"/>
                      <a:pt x="144" y="115"/>
                    </a:cubicBezTo>
                    <a:cubicBezTo>
                      <a:pt x="144" y="115"/>
                      <a:pt x="144" y="115"/>
                      <a:pt x="144" y="115"/>
                    </a:cubicBezTo>
                    <a:cubicBezTo>
                      <a:pt x="144" y="115"/>
                      <a:pt x="144" y="115"/>
                      <a:pt x="144" y="115"/>
                    </a:cubicBezTo>
                    <a:cubicBezTo>
                      <a:pt x="144" y="115"/>
                      <a:pt x="144" y="115"/>
                      <a:pt x="144" y="115"/>
                    </a:cubicBezTo>
                    <a:cubicBezTo>
                      <a:pt x="144" y="115"/>
                      <a:pt x="144" y="115"/>
                      <a:pt x="144" y="114"/>
                    </a:cubicBezTo>
                    <a:cubicBezTo>
                      <a:pt x="144" y="114"/>
                      <a:pt x="144" y="114"/>
                      <a:pt x="144" y="114"/>
                    </a:cubicBezTo>
                    <a:cubicBezTo>
                      <a:pt x="144" y="114"/>
                      <a:pt x="144" y="114"/>
                      <a:pt x="144" y="114"/>
                    </a:cubicBezTo>
                    <a:cubicBezTo>
                      <a:pt x="144" y="114"/>
                      <a:pt x="144" y="114"/>
                      <a:pt x="144" y="114"/>
                    </a:cubicBezTo>
                    <a:cubicBezTo>
                      <a:pt x="144" y="114"/>
                      <a:pt x="144" y="114"/>
                      <a:pt x="144" y="114"/>
                    </a:cubicBezTo>
                    <a:cubicBezTo>
                      <a:pt x="144" y="114"/>
                      <a:pt x="144" y="114"/>
                      <a:pt x="144" y="114"/>
                    </a:cubicBezTo>
                    <a:cubicBezTo>
                      <a:pt x="144" y="114"/>
                      <a:pt x="144" y="114"/>
                      <a:pt x="144" y="114"/>
                    </a:cubicBezTo>
                    <a:cubicBezTo>
                      <a:pt x="144" y="114"/>
                      <a:pt x="144" y="114"/>
                      <a:pt x="144" y="114"/>
                    </a:cubicBezTo>
                    <a:cubicBezTo>
                      <a:pt x="144" y="114"/>
                      <a:pt x="144" y="114"/>
                      <a:pt x="144" y="114"/>
                    </a:cubicBezTo>
                    <a:cubicBezTo>
                      <a:pt x="144" y="114"/>
                      <a:pt x="144" y="114"/>
                      <a:pt x="144" y="114"/>
                    </a:cubicBezTo>
                    <a:cubicBezTo>
                      <a:pt x="144" y="114"/>
                      <a:pt x="144" y="114"/>
                      <a:pt x="144" y="114"/>
                    </a:cubicBezTo>
                    <a:cubicBezTo>
                      <a:pt x="144" y="114"/>
                      <a:pt x="144" y="114"/>
                      <a:pt x="144" y="113"/>
                    </a:cubicBezTo>
                    <a:cubicBezTo>
                      <a:pt x="144" y="113"/>
                      <a:pt x="144" y="113"/>
                      <a:pt x="144" y="113"/>
                    </a:cubicBezTo>
                    <a:cubicBezTo>
                      <a:pt x="144" y="113"/>
                      <a:pt x="144" y="113"/>
                      <a:pt x="144" y="113"/>
                    </a:cubicBezTo>
                    <a:cubicBezTo>
                      <a:pt x="144" y="113"/>
                      <a:pt x="144" y="113"/>
                      <a:pt x="144" y="113"/>
                    </a:cubicBezTo>
                    <a:cubicBezTo>
                      <a:pt x="144" y="113"/>
                      <a:pt x="144" y="113"/>
                      <a:pt x="144" y="113"/>
                    </a:cubicBezTo>
                    <a:cubicBezTo>
                      <a:pt x="144" y="113"/>
                      <a:pt x="144" y="113"/>
                      <a:pt x="144" y="113"/>
                    </a:cubicBezTo>
                    <a:cubicBezTo>
                      <a:pt x="144" y="113"/>
                      <a:pt x="144" y="113"/>
                      <a:pt x="144" y="113"/>
                    </a:cubicBezTo>
                    <a:cubicBezTo>
                      <a:pt x="144" y="113"/>
                      <a:pt x="144" y="113"/>
                      <a:pt x="144" y="113"/>
                    </a:cubicBezTo>
                    <a:cubicBezTo>
                      <a:pt x="144" y="113"/>
                      <a:pt x="144" y="113"/>
                      <a:pt x="144" y="113"/>
                    </a:cubicBezTo>
                    <a:cubicBezTo>
                      <a:pt x="144" y="113"/>
                      <a:pt x="144" y="113"/>
                      <a:pt x="144" y="113"/>
                    </a:cubicBezTo>
                    <a:cubicBezTo>
                      <a:pt x="144" y="113"/>
                      <a:pt x="144" y="113"/>
                      <a:pt x="144" y="113"/>
                    </a:cubicBezTo>
                    <a:cubicBezTo>
                      <a:pt x="144" y="113"/>
                      <a:pt x="144" y="112"/>
                      <a:pt x="144" y="112"/>
                    </a:cubicBezTo>
                    <a:cubicBezTo>
                      <a:pt x="144" y="112"/>
                      <a:pt x="144" y="112"/>
                      <a:pt x="144" y="112"/>
                    </a:cubicBezTo>
                    <a:cubicBezTo>
                      <a:pt x="144" y="112"/>
                      <a:pt x="144" y="112"/>
                      <a:pt x="144" y="112"/>
                    </a:cubicBezTo>
                    <a:cubicBezTo>
                      <a:pt x="144" y="112"/>
                      <a:pt x="144" y="112"/>
                      <a:pt x="144" y="112"/>
                    </a:cubicBezTo>
                    <a:cubicBezTo>
                      <a:pt x="144" y="112"/>
                      <a:pt x="144" y="112"/>
                      <a:pt x="144" y="112"/>
                    </a:cubicBezTo>
                    <a:cubicBezTo>
                      <a:pt x="144" y="112"/>
                      <a:pt x="144" y="112"/>
                      <a:pt x="144" y="112"/>
                    </a:cubicBezTo>
                    <a:cubicBezTo>
                      <a:pt x="144" y="112"/>
                      <a:pt x="144" y="112"/>
                      <a:pt x="144" y="112"/>
                    </a:cubicBezTo>
                    <a:cubicBezTo>
                      <a:pt x="144" y="112"/>
                      <a:pt x="144" y="112"/>
                      <a:pt x="144" y="112"/>
                    </a:cubicBezTo>
                    <a:cubicBezTo>
                      <a:pt x="144" y="112"/>
                      <a:pt x="144" y="112"/>
                      <a:pt x="144" y="112"/>
                    </a:cubicBezTo>
                    <a:cubicBezTo>
                      <a:pt x="144" y="112"/>
                      <a:pt x="144" y="112"/>
                      <a:pt x="144" y="112"/>
                    </a:cubicBezTo>
                    <a:cubicBezTo>
                      <a:pt x="144" y="112"/>
                      <a:pt x="144" y="112"/>
                      <a:pt x="144" y="112"/>
                    </a:cubicBezTo>
                    <a:cubicBezTo>
                      <a:pt x="144" y="112"/>
                      <a:pt x="144" y="111"/>
                      <a:pt x="144" y="111"/>
                    </a:cubicBezTo>
                    <a:cubicBezTo>
                      <a:pt x="144" y="111"/>
                      <a:pt x="144" y="111"/>
                      <a:pt x="144" y="111"/>
                    </a:cubicBezTo>
                    <a:cubicBezTo>
                      <a:pt x="144" y="111"/>
                      <a:pt x="144" y="111"/>
                      <a:pt x="144" y="111"/>
                    </a:cubicBezTo>
                    <a:cubicBezTo>
                      <a:pt x="144" y="111"/>
                      <a:pt x="144" y="111"/>
                      <a:pt x="144" y="111"/>
                    </a:cubicBezTo>
                    <a:cubicBezTo>
                      <a:pt x="144" y="111"/>
                      <a:pt x="144" y="111"/>
                      <a:pt x="144" y="111"/>
                    </a:cubicBezTo>
                    <a:cubicBezTo>
                      <a:pt x="144" y="111"/>
                      <a:pt x="144" y="111"/>
                      <a:pt x="144" y="111"/>
                    </a:cubicBezTo>
                    <a:cubicBezTo>
                      <a:pt x="144" y="111"/>
                      <a:pt x="144" y="111"/>
                      <a:pt x="144" y="111"/>
                    </a:cubicBezTo>
                    <a:cubicBezTo>
                      <a:pt x="144" y="111"/>
                      <a:pt x="144" y="111"/>
                      <a:pt x="144" y="111"/>
                    </a:cubicBezTo>
                    <a:cubicBezTo>
                      <a:pt x="144" y="111"/>
                      <a:pt x="144" y="111"/>
                      <a:pt x="144" y="111"/>
                    </a:cubicBezTo>
                    <a:cubicBezTo>
                      <a:pt x="144" y="111"/>
                      <a:pt x="144" y="111"/>
                      <a:pt x="144" y="111"/>
                    </a:cubicBezTo>
                    <a:cubicBezTo>
                      <a:pt x="144" y="111"/>
                      <a:pt x="144" y="111"/>
                      <a:pt x="144" y="111"/>
                    </a:cubicBezTo>
                    <a:cubicBezTo>
                      <a:pt x="144" y="111"/>
                      <a:pt x="144" y="110"/>
                      <a:pt x="144" y="110"/>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0"/>
                      <a:pt x="144" y="109"/>
                      <a:pt x="144" y="109"/>
                    </a:cubicBezTo>
                    <a:cubicBezTo>
                      <a:pt x="144" y="109"/>
                      <a:pt x="144" y="109"/>
                      <a:pt x="144" y="109"/>
                    </a:cubicBezTo>
                    <a:cubicBezTo>
                      <a:pt x="144" y="109"/>
                      <a:pt x="144" y="109"/>
                      <a:pt x="144" y="109"/>
                    </a:cubicBezTo>
                    <a:cubicBezTo>
                      <a:pt x="144" y="109"/>
                      <a:pt x="144" y="109"/>
                      <a:pt x="144" y="109"/>
                    </a:cubicBezTo>
                    <a:cubicBezTo>
                      <a:pt x="144" y="109"/>
                      <a:pt x="144" y="109"/>
                      <a:pt x="144" y="109"/>
                    </a:cubicBezTo>
                    <a:cubicBezTo>
                      <a:pt x="144" y="109"/>
                      <a:pt x="144" y="109"/>
                      <a:pt x="144" y="109"/>
                    </a:cubicBezTo>
                    <a:cubicBezTo>
                      <a:pt x="144" y="109"/>
                      <a:pt x="144" y="109"/>
                      <a:pt x="144" y="108"/>
                    </a:cubicBezTo>
                    <a:cubicBezTo>
                      <a:pt x="144" y="108"/>
                      <a:pt x="144" y="108"/>
                      <a:pt x="144" y="108"/>
                    </a:cubicBezTo>
                    <a:cubicBezTo>
                      <a:pt x="144" y="108"/>
                      <a:pt x="144" y="108"/>
                      <a:pt x="144" y="108"/>
                    </a:cubicBezTo>
                    <a:cubicBezTo>
                      <a:pt x="144" y="108"/>
                      <a:pt x="144" y="108"/>
                      <a:pt x="144" y="108"/>
                    </a:cubicBezTo>
                    <a:cubicBezTo>
                      <a:pt x="144" y="108"/>
                      <a:pt x="144" y="108"/>
                      <a:pt x="144" y="108"/>
                    </a:cubicBezTo>
                    <a:cubicBezTo>
                      <a:pt x="144" y="108"/>
                      <a:pt x="144" y="108"/>
                      <a:pt x="144" y="108"/>
                    </a:cubicBezTo>
                    <a:cubicBezTo>
                      <a:pt x="144" y="108"/>
                      <a:pt x="144" y="108"/>
                      <a:pt x="144" y="108"/>
                    </a:cubicBezTo>
                    <a:cubicBezTo>
                      <a:pt x="144" y="108"/>
                      <a:pt x="144" y="108"/>
                      <a:pt x="144" y="108"/>
                    </a:cubicBezTo>
                    <a:cubicBezTo>
                      <a:pt x="144" y="108"/>
                      <a:pt x="144" y="108"/>
                      <a:pt x="144" y="107"/>
                    </a:cubicBezTo>
                    <a:cubicBezTo>
                      <a:pt x="144" y="107"/>
                      <a:pt x="144" y="107"/>
                      <a:pt x="144" y="107"/>
                    </a:cubicBezTo>
                    <a:cubicBezTo>
                      <a:pt x="144" y="107"/>
                      <a:pt x="144" y="107"/>
                      <a:pt x="144" y="107"/>
                    </a:cubicBezTo>
                    <a:cubicBezTo>
                      <a:pt x="144" y="107"/>
                      <a:pt x="144" y="107"/>
                      <a:pt x="144" y="107"/>
                    </a:cubicBezTo>
                    <a:cubicBezTo>
                      <a:pt x="144" y="107"/>
                      <a:pt x="144" y="107"/>
                      <a:pt x="144" y="107"/>
                    </a:cubicBezTo>
                    <a:cubicBezTo>
                      <a:pt x="144" y="107"/>
                      <a:pt x="144" y="107"/>
                      <a:pt x="144" y="107"/>
                    </a:cubicBezTo>
                    <a:cubicBezTo>
                      <a:pt x="144" y="107"/>
                      <a:pt x="144" y="107"/>
                      <a:pt x="144" y="107"/>
                    </a:cubicBezTo>
                    <a:cubicBezTo>
                      <a:pt x="144" y="107"/>
                      <a:pt x="144" y="107"/>
                      <a:pt x="144" y="107"/>
                    </a:cubicBezTo>
                    <a:cubicBezTo>
                      <a:pt x="144" y="107"/>
                      <a:pt x="144" y="107"/>
                      <a:pt x="144" y="107"/>
                    </a:cubicBezTo>
                    <a:cubicBezTo>
                      <a:pt x="144" y="107"/>
                      <a:pt x="144" y="107"/>
                      <a:pt x="144" y="107"/>
                    </a:cubicBezTo>
                    <a:cubicBezTo>
                      <a:pt x="144" y="107"/>
                      <a:pt x="144" y="107"/>
                      <a:pt x="144" y="107"/>
                    </a:cubicBezTo>
                    <a:cubicBezTo>
                      <a:pt x="144" y="107"/>
                      <a:pt x="144" y="107"/>
                      <a:pt x="144" y="107"/>
                    </a:cubicBezTo>
                    <a:cubicBezTo>
                      <a:pt x="144" y="106"/>
                      <a:pt x="144" y="106"/>
                      <a:pt x="144" y="106"/>
                    </a:cubicBezTo>
                    <a:cubicBezTo>
                      <a:pt x="144" y="106"/>
                      <a:pt x="144" y="106"/>
                      <a:pt x="144" y="106"/>
                    </a:cubicBezTo>
                    <a:cubicBezTo>
                      <a:pt x="144" y="106"/>
                      <a:pt x="144" y="106"/>
                      <a:pt x="144" y="106"/>
                    </a:cubicBezTo>
                    <a:cubicBezTo>
                      <a:pt x="144" y="106"/>
                      <a:pt x="144" y="106"/>
                      <a:pt x="144" y="106"/>
                    </a:cubicBezTo>
                    <a:cubicBezTo>
                      <a:pt x="144" y="106"/>
                      <a:pt x="144" y="106"/>
                      <a:pt x="144" y="106"/>
                    </a:cubicBezTo>
                    <a:cubicBezTo>
                      <a:pt x="144" y="106"/>
                      <a:pt x="144" y="106"/>
                      <a:pt x="144" y="106"/>
                    </a:cubicBezTo>
                    <a:cubicBezTo>
                      <a:pt x="144" y="106"/>
                      <a:pt x="144" y="106"/>
                      <a:pt x="144" y="106"/>
                    </a:cubicBezTo>
                    <a:cubicBezTo>
                      <a:pt x="144" y="106"/>
                      <a:pt x="144" y="106"/>
                      <a:pt x="144" y="106"/>
                    </a:cubicBezTo>
                    <a:cubicBezTo>
                      <a:pt x="144" y="106"/>
                      <a:pt x="144" y="106"/>
                      <a:pt x="144" y="106"/>
                    </a:cubicBezTo>
                    <a:cubicBezTo>
                      <a:pt x="144" y="106"/>
                      <a:pt x="144" y="106"/>
                      <a:pt x="144" y="106"/>
                    </a:cubicBezTo>
                    <a:cubicBezTo>
                      <a:pt x="144" y="106"/>
                      <a:pt x="144" y="106"/>
                      <a:pt x="144" y="106"/>
                    </a:cubicBezTo>
                    <a:cubicBezTo>
                      <a:pt x="144" y="105"/>
                      <a:pt x="144" y="105"/>
                      <a:pt x="144" y="105"/>
                    </a:cubicBezTo>
                    <a:cubicBezTo>
                      <a:pt x="144" y="105"/>
                      <a:pt x="144" y="105"/>
                      <a:pt x="144" y="105"/>
                    </a:cubicBezTo>
                    <a:cubicBezTo>
                      <a:pt x="144" y="105"/>
                      <a:pt x="144" y="105"/>
                      <a:pt x="144" y="105"/>
                    </a:cubicBezTo>
                    <a:cubicBezTo>
                      <a:pt x="144" y="105"/>
                      <a:pt x="144" y="105"/>
                      <a:pt x="144" y="105"/>
                    </a:cubicBezTo>
                    <a:cubicBezTo>
                      <a:pt x="144" y="105"/>
                      <a:pt x="144" y="105"/>
                      <a:pt x="144" y="105"/>
                    </a:cubicBezTo>
                    <a:cubicBezTo>
                      <a:pt x="144" y="105"/>
                      <a:pt x="144" y="105"/>
                      <a:pt x="144" y="105"/>
                    </a:cubicBezTo>
                    <a:cubicBezTo>
                      <a:pt x="144" y="105"/>
                      <a:pt x="144" y="105"/>
                      <a:pt x="144" y="105"/>
                    </a:cubicBezTo>
                    <a:cubicBezTo>
                      <a:pt x="138" y="48"/>
                      <a:pt x="82" y="2"/>
                      <a:pt x="13" y="0"/>
                    </a:cubicBezTo>
                  </a:path>
                </a:pathLst>
              </a:custGeom>
              <a:solidFill>
                <a:srgbClr val="C8E6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 name="Freeform 516">
                <a:extLst>
                  <a:ext uri="{FF2B5EF4-FFF2-40B4-BE49-F238E27FC236}">
                    <a16:creationId xmlns:a16="http://schemas.microsoft.com/office/drawing/2014/main" id="{528D988F-4722-46D3-924B-11812878F0D9}"/>
                  </a:ext>
                </a:extLst>
              </p:cNvPr>
              <p:cNvSpPr>
                <a:spLocks/>
              </p:cNvSpPr>
              <p:nvPr/>
            </p:nvSpPr>
            <p:spPr bwMode="auto">
              <a:xfrm>
                <a:off x="8910638" y="5497513"/>
                <a:ext cx="646113" cy="595313"/>
              </a:xfrm>
              <a:custGeom>
                <a:avLst/>
                <a:gdLst>
                  <a:gd name="T0" fmla="*/ 105 w 227"/>
                  <a:gd name="T1" fmla="*/ 0 h 209"/>
                  <a:gd name="T2" fmla="*/ 210 w 227"/>
                  <a:gd name="T3" fmla="*/ 88 h 209"/>
                  <a:gd name="T4" fmla="*/ 174 w 227"/>
                  <a:gd name="T5" fmla="*/ 154 h 209"/>
                  <a:gd name="T6" fmla="*/ 223 w 227"/>
                  <a:gd name="T7" fmla="*/ 200 h 209"/>
                  <a:gd name="T8" fmla="*/ 127 w 227"/>
                  <a:gd name="T9" fmla="*/ 175 h 209"/>
                  <a:gd name="T10" fmla="*/ 105 w 227"/>
                  <a:gd name="T11" fmla="*/ 177 h 209"/>
                  <a:gd name="T12" fmla="*/ 0 w 227"/>
                  <a:gd name="T13" fmla="*/ 88 h 209"/>
                  <a:gd name="T14" fmla="*/ 105 w 227"/>
                  <a:gd name="T15" fmla="*/ 0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209">
                    <a:moveTo>
                      <a:pt x="105" y="0"/>
                    </a:moveTo>
                    <a:cubicBezTo>
                      <a:pt x="163" y="0"/>
                      <a:pt x="210" y="39"/>
                      <a:pt x="210" y="88"/>
                    </a:cubicBezTo>
                    <a:cubicBezTo>
                      <a:pt x="210" y="115"/>
                      <a:pt x="196" y="138"/>
                      <a:pt x="174" y="154"/>
                    </a:cubicBezTo>
                    <a:cubicBezTo>
                      <a:pt x="189" y="178"/>
                      <a:pt x="227" y="200"/>
                      <a:pt x="223" y="200"/>
                    </a:cubicBezTo>
                    <a:cubicBezTo>
                      <a:pt x="176" y="209"/>
                      <a:pt x="143" y="188"/>
                      <a:pt x="127" y="175"/>
                    </a:cubicBezTo>
                    <a:cubicBezTo>
                      <a:pt x="120" y="176"/>
                      <a:pt x="112" y="177"/>
                      <a:pt x="105" y="177"/>
                    </a:cubicBezTo>
                    <a:cubicBezTo>
                      <a:pt x="47" y="177"/>
                      <a:pt x="0" y="137"/>
                      <a:pt x="0" y="88"/>
                    </a:cubicBezTo>
                    <a:cubicBezTo>
                      <a:pt x="0" y="39"/>
                      <a:pt x="47" y="0"/>
                      <a:pt x="10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nvGrpSpPr>
            <p:cNvPr id="28" name="组合 27">
              <a:extLst>
                <a:ext uri="{FF2B5EF4-FFF2-40B4-BE49-F238E27FC236}">
                  <a16:creationId xmlns:a16="http://schemas.microsoft.com/office/drawing/2014/main" id="{D9888E11-5CD6-47D0-B1DD-57E00A868136}"/>
                </a:ext>
              </a:extLst>
            </p:cNvPr>
            <p:cNvGrpSpPr/>
            <p:nvPr/>
          </p:nvGrpSpPr>
          <p:grpSpPr>
            <a:xfrm>
              <a:off x="10227689" y="4963298"/>
              <a:ext cx="853935" cy="854842"/>
              <a:chOff x="10034588" y="5210175"/>
              <a:chExt cx="1493838" cy="1495425"/>
            </a:xfrm>
          </p:grpSpPr>
          <p:sp>
            <p:nvSpPr>
              <p:cNvPr id="29" name="Oval 517">
                <a:extLst>
                  <a:ext uri="{FF2B5EF4-FFF2-40B4-BE49-F238E27FC236}">
                    <a16:creationId xmlns:a16="http://schemas.microsoft.com/office/drawing/2014/main" id="{3AF5C4B7-7E14-422C-AE46-026CDECAD193}"/>
                  </a:ext>
                </a:extLst>
              </p:cNvPr>
              <p:cNvSpPr>
                <a:spLocks noChangeArrowheads="1"/>
              </p:cNvSpPr>
              <p:nvPr/>
            </p:nvSpPr>
            <p:spPr bwMode="auto">
              <a:xfrm>
                <a:off x="10034588" y="5210175"/>
                <a:ext cx="1493838" cy="1495425"/>
              </a:xfrm>
              <a:prstGeom prst="ellipse">
                <a:avLst/>
              </a:pr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 name="Freeform 518">
                <a:extLst>
                  <a:ext uri="{FF2B5EF4-FFF2-40B4-BE49-F238E27FC236}">
                    <a16:creationId xmlns:a16="http://schemas.microsoft.com/office/drawing/2014/main" id="{C2EB0AFE-643C-46C6-A375-C882DFB06C06}"/>
                  </a:ext>
                </a:extLst>
              </p:cNvPr>
              <p:cNvSpPr>
                <a:spLocks noEditPoints="1"/>
              </p:cNvSpPr>
              <p:nvPr/>
            </p:nvSpPr>
            <p:spPr bwMode="auto">
              <a:xfrm>
                <a:off x="10777538" y="6705600"/>
                <a:ext cx="3175" cy="0"/>
              </a:xfrm>
              <a:custGeom>
                <a:avLst/>
                <a:gdLst>
                  <a:gd name="T0" fmla="*/ 1 w 1"/>
                  <a:gd name="T1" fmla="*/ 1 w 1"/>
                  <a:gd name="T2" fmla="*/ 1 w 1"/>
                  <a:gd name="T3" fmla="*/ 1 w 1"/>
                  <a:gd name="T4" fmla="*/ 1 w 1"/>
                  <a:gd name="T5" fmla="*/ 1 w 1"/>
                  <a:gd name="T6" fmla="*/ 0 w 1"/>
                  <a:gd name="T7" fmla="*/ 0 w 1"/>
                  <a:gd name="T8"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path>
                </a:pathLst>
              </a:custGeom>
              <a:solidFill>
                <a:srgbClr val="FFC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 name="Freeform 519">
                <a:extLst>
                  <a:ext uri="{FF2B5EF4-FFF2-40B4-BE49-F238E27FC236}">
                    <a16:creationId xmlns:a16="http://schemas.microsoft.com/office/drawing/2014/main" id="{3DEA7C65-C657-48DC-B816-439C4F4CF780}"/>
                  </a:ext>
                </a:extLst>
              </p:cNvPr>
              <p:cNvSpPr>
                <a:spLocks noEditPoints="1"/>
              </p:cNvSpPr>
              <p:nvPr/>
            </p:nvSpPr>
            <p:spPr bwMode="auto">
              <a:xfrm>
                <a:off x="10199688" y="5737225"/>
                <a:ext cx="1328738" cy="968375"/>
              </a:xfrm>
              <a:custGeom>
                <a:avLst/>
                <a:gdLst>
                  <a:gd name="T0" fmla="*/ 345 w 467"/>
                  <a:gd name="T1" fmla="*/ 11 h 340"/>
                  <a:gd name="T2" fmla="*/ 298 w 467"/>
                  <a:gd name="T3" fmla="*/ 94 h 340"/>
                  <a:gd name="T4" fmla="*/ 336 w 467"/>
                  <a:gd name="T5" fmla="*/ 105 h 340"/>
                  <a:gd name="T6" fmla="*/ 336 w 467"/>
                  <a:gd name="T7" fmla="*/ 105 h 340"/>
                  <a:gd name="T8" fmla="*/ 391 w 467"/>
                  <a:gd name="T9" fmla="*/ 36 h 340"/>
                  <a:gd name="T10" fmla="*/ 363 w 467"/>
                  <a:gd name="T11" fmla="*/ 11 h 340"/>
                  <a:gd name="T12" fmla="*/ 335 w 467"/>
                  <a:gd name="T13" fmla="*/ 0 h 340"/>
                  <a:gd name="T14" fmla="*/ 191 w 467"/>
                  <a:gd name="T15" fmla="*/ 131 h 340"/>
                  <a:gd name="T16" fmla="*/ 191 w 467"/>
                  <a:gd name="T17" fmla="*/ 131 h 340"/>
                  <a:gd name="T18" fmla="*/ 192 w 467"/>
                  <a:gd name="T19" fmla="*/ 131 h 340"/>
                  <a:gd name="T20" fmla="*/ 192 w 467"/>
                  <a:gd name="T21" fmla="*/ 131 h 340"/>
                  <a:gd name="T22" fmla="*/ 192 w 467"/>
                  <a:gd name="T23" fmla="*/ 131 h 340"/>
                  <a:gd name="T24" fmla="*/ 193 w 467"/>
                  <a:gd name="T25" fmla="*/ 131 h 340"/>
                  <a:gd name="T26" fmla="*/ 344 w 467"/>
                  <a:gd name="T27" fmla="*/ 188 h 340"/>
                  <a:gd name="T28" fmla="*/ 325 w 467"/>
                  <a:gd name="T29" fmla="*/ 191 h 340"/>
                  <a:gd name="T30" fmla="*/ 198 w 467"/>
                  <a:gd name="T31" fmla="*/ 200 h 340"/>
                  <a:gd name="T32" fmla="*/ 197 w 467"/>
                  <a:gd name="T33" fmla="*/ 200 h 340"/>
                  <a:gd name="T34" fmla="*/ 197 w 467"/>
                  <a:gd name="T35" fmla="*/ 200 h 340"/>
                  <a:gd name="T36" fmla="*/ 197 w 467"/>
                  <a:gd name="T37" fmla="*/ 200 h 340"/>
                  <a:gd name="T38" fmla="*/ 196 w 467"/>
                  <a:gd name="T39" fmla="*/ 200 h 340"/>
                  <a:gd name="T40" fmla="*/ 196 w 467"/>
                  <a:gd name="T41" fmla="*/ 200 h 340"/>
                  <a:gd name="T42" fmla="*/ 196 w 467"/>
                  <a:gd name="T43" fmla="*/ 200 h 340"/>
                  <a:gd name="T44" fmla="*/ 195 w 467"/>
                  <a:gd name="T45" fmla="*/ 200 h 340"/>
                  <a:gd name="T46" fmla="*/ 195 w 467"/>
                  <a:gd name="T47" fmla="*/ 200 h 340"/>
                  <a:gd name="T48" fmla="*/ 194 w 467"/>
                  <a:gd name="T49" fmla="*/ 200 h 340"/>
                  <a:gd name="T50" fmla="*/ 194 w 467"/>
                  <a:gd name="T51" fmla="*/ 200 h 340"/>
                  <a:gd name="T52" fmla="*/ 194 w 467"/>
                  <a:gd name="T53" fmla="*/ 200 h 340"/>
                  <a:gd name="T54" fmla="*/ 193 w 467"/>
                  <a:gd name="T55" fmla="*/ 200 h 340"/>
                  <a:gd name="T56" fmla="*/ 193 w 467"/>
                  <a:gd name="T57" fmla="*/ 200 h 340"/>
                  <a:gd name="T58" fmla="*/ 193 w 467"/>
                  <a:gd name="T59" fmla="*/ 200 h 340"/>
                  <a:gd name="T60" fmla="*/ 192 w 467"/>
                  <a:gd name="T61" fmla="*/ 200 h 340"/>
                  <a:gd name="T62" fmla="*/ 150 w 467"/>
                  <a:gd name="T63" fmla="*/ 199 h 340"/>
                  <a:gd name="T64" fmla="*/ 149 w 467"/>
                  <a:gd name="T65" fmla="*/ 199 h 340"/>
                  <a:gd name="T66" fmla="*/ 163 w 467"/>
                  <a:gd name="T67" fmla="*/ 337 h 340"/>
                  <a:gd name="T68" fmla="*/ 203 w 467"/>
                  <a:gd name="T69" fmla="*/ 340 h 340"/>
                  <a:gd name="T70" fmla="*/ 204 w 467"/>
                  <a:gd name="T71" fmla="*/ 340 h 340"/>
                  <a:gd name="T72" fmla="*/ 204 w 467"/>
                  <a:gd name="T73" fmla="*/ 340 h 340"/>
                  <a:gd name="T74" fmla="*/ 467 w 467"/>
                  <a:gd name="T75" fmla="*/ 77 h 340"/>
                  <a:gd name="T76" fmla="*/ 467 w 467"/>
                  <a:gd name="T77" fmla="*/ 76 h 340"/>
                  <a:gd name="T78" fmla="*/ 411 w 467"/>
                  <a:gd name="T79" fmla="*/ 26 h 340"/>
                  <a:gd name="T80" fmla="*/ 332 w 467"/>
                  <a:gd name="T81" fmla="*/ 126 h 340"/>
                  <a:gd name="T82" fmla="*/ 277 w 467"/>
                  <a:gd name="T83" fmla="*/ 11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7" h="340">
                    <a:moveTo>
                      <a:pt x="351" y="10"/>
                    </a:moveTo>
                    <a:cubicBezTo>
                      <a:pt x="349" y="10"/>
                      <a:pt x="347" y="10"/>
                      <a:pt x="345" y="11"/>
                    </a:cubicBezTo>
                    <a:cubicBezTo>
                      <a:pt x="344" y="11"/>
                      <a:pt x="343" y="11"/>
                      <a:pt x="343" y="11"/>
                    </a:cubicBezTo>
                    <a:cubicBezTo>
                      <a:pt x="343" y="11"/>
                      <a:pt x="298" y="81"/>
                      <a:pt x="298" y="94"/>
                    </a:cubicBezTo>
                    <a:cubicBezTo>
                      <a:pt x="298" y="95"/>
                      <a:pt x="298" y="95"/>
                      <a:pt x="298" y="96"/>
                    </a:cubicBezTo>
                    <a:cubicBezTo>
                      <a:pt x="303" y="99"/>
                      <a:pt x="318" y="105"/>
                      <a:pt x="336" y="105"/>
                    </a:cubicBezTo>
                    <a:cubicBezTo>
                      <a:pt x="336" y="105"/>
                      <a:pt x="336" y="105"/>
                      <a:pt x="336" y="105"/>
                    </a:cubicBezTo>
                    <a:cubicBezTo>
                      <a:pt x="336" y="105"/>
                      <a:pt x="336" y="105"/>
                      <a:pt x="336" y="105"/>
                    </a:cubicBezTo>
                    <a:cubicBezTo>
                      <a:pt x="342" y="105"/>
                      <a:pt x="349" y="104"/>
                      <a:pt x="356" y="102"/>
                    </a:cubicBezTo>
                    <a:cubicBezTo>
                      <a:pt x="384" y="94"/>
                      <a:pt x="402" y="67"/>
                      <a:pt x="391" y="36"/>
                    </a:cubicBezTo>
                    <a:cubicBezTo>
                      <a:pt x="386" y="20"/>
                      <a:pt x="374" y="14"/>
                      <a:pt x="363" y="11"/>
                    </a:cubicBezTo>
                    <a:cubicBezTo>
                      <a:pt x="363" y="11"/>
                      <a:pt x="363" y="11"/>
                      <a:pt x="363" y="11"/>
                    </a:cubicBezTo>
                    <a:cubicBezTo>
                      <a:pt x="359" y="11"/>
                      <a:pt x="355" y="10"/>
                      <a:pt x="351" y="10"/>
                    </a:cubicBezTo>
                    <a:moveTo>
                      <a:pt x="335" y="0"/>
                    </a:moveTo>
                    <a:cubicBezTo>
                      <a:pt x="132" y="132"/>
                      <a:pt x="132" y="132"/>
                      <a:pt x="132" y="132"/>
                    </a:cubicBezTo>
                    <a:cubicBezTo>
                      <a:pt x="151" y="131"/>
                      <a:pt x="170" y="131"/>
                      <a:pt x="191" y="131"/>
                    </a:cubicBezTo>
                    <a:cubicBezTo>
                      <a:pt x="191" y="131"/>
                      <a:pt x="191" y="131"/>
                      <a:pt x="191" y="131"/>
                    </a:cubicBezTo>
                    <a:cubicBezTo>
                      <a:pt x="191" y="131"/>
                      <a:pt x="191" y="131"/>
                      <a:pt x="191" y="131"/>
                    </a:cubicBezTo>
                    <a:cubicBezTo>
                      <a:pt x="191" y="131"/>
                      <a:pt x="192" y="131"/>
                      <a:pt x="192" y="131"/>
                    </a:cubicBezTo>
                    <a:cubicBezTo>
                      <a:pt x="192" y="131"/>
                      <a:pt x="192" y="131"/>
                      <a:pt x="192" y="131"/>
                    </a:cubicBezTo>
                    <a:cubicBezTo>
                      <a:pt x="192" y="131"/>
                      <a:pt x="192" y="131"/>
                      <a:pt x="192" y="131"/>
                    </a:cubicBezTo>
                    <a:cubicBezTo>
                      <a:pt x="192" y="131"/>
                      <a:pt x="192" y="131"/>
                      <a:pt x="192" y="131"/>
                    </a:cubicBezTo>
                    <a:cubicBezTo>
                      <a:pt x="192" y="131"/>
                      <a:pt x="192" y="131"/>
                      <a:pt x="192" y="131"/>
                    </a:cubicBezTo>
                    <a:cubicBezTo>
                      <a:pt x="192" y="131"/>
                      <a:pt x="192" y="131"/>
                      <a:pt x="192" y="131"/>
                    </a:cubicBezTo>
                    <a:cubicBezTo>
                      <a:pt x="193" y="131"/>
                      <a:pt x="193" y="131"/>
                      <a:pt x="193" y="131"/>
                    </a:cubicBezTo>
                    <a:cubicBezTo>
                      <a:pt x="193" y="131"/>
                      <a:pt x="193" y="131"/>
                      <a:pt x="193" y="131"/>
                    </a:cubicBezTo>
                    <a:cubicBezTo>
                      <a:pt x="302" y="131"/>
                      <a:pt x="391" y="146"/>
                      <a:pt x="391" y="165"/>
                    </a:cubicBezTo>
                    <a:cubicBezTo>
                      <a:pt x="391" y="174"/>
                      <a:pt x="373" y="182"/>
                      <a:pt x="344" y="188"/>
                    </a:cubicBezTo>
                    <a:cubicBezTo>
                      <a:pt x="344" y="188"/>
                      <a:pt x="344" y="188"/>
                      <a:pt x="344" y="188"/>
                    </a:cubicBezTo>
                    <a:cubicBezTo>
                      <a:pt x="338" y="189"/>
                      <a:pt x="332" y="190"/>
                      <a:pt x="325" y="191"/>
                    </a:cubicBezTo>
                    <a:cubicBezTo>
                      <a:pt x="291" y="196"/>
                      <a:pt x="247" y="200"/>
                      <a:pt x="198" y="200"/>
                    </a:cubicBezTo>
                    <a:cubicBezTo>
                      <a:pt x="198" y="200"/>
                      <a:pt x="198" y="200"/>
                      <a:pt x="198" y="200"/>
                    </a:cubicBezTo>
                    <a:cubicBezTo>
                      <a:pt x="197" y="200"/>
                      <a:pt x="197" y="200"/>
                      <a:pt x="197" y="200"/>
                    </a:cubicBezTo>
                    <a:cubicBezTo>
                      <a:pt x="197" y="200"/>
                      <a:pt x="197" y="200"/>
                      <a:pt x="197" y="200"/>
                    </a:cubicBezTo>
                    <a:cubicBezTo>
                      <a:pt x="197" y="200"/>
                      <a:pt x="197" y="200"/>
                      <a:pt x="197" y="200"/>
                    </a:cubicBezTo>
                    <a:cubicBezTo>
                      <a:pt x="197" y="200"/>
                      <a:pt x="197" y="200"/>
                      <a:pt x="197" y="200"/>
                    </a:cubicBezTo>
                    <a:cubicBezTo>
                      <a:pt x="197" y="200"/>
                      <a:pt x="197" y="200"/>
                      <a:pt x="197" y="200"/>
                    </a:cubicBezTo>
                    <a:cubicBezTo>
                      <a:pt x="197" y="200"/>
                      <a:pt x="197" y="200"/>
                      <a:pt x="197" y="200"/>
                    </a:cubicBezTo>
                    <a:cubicBezTo>
                      <a:pt x="196" y="200"/>
                      <a:pt x="196" y="200"/>
                      <a:pt x="196" y="200"/>
                    </a:cubicBezTo>
                    <a:cubicBezTo>
                      <a:pt x="196" y="200"/>
                      <a:pt x="196" y="200"/>
                      <a:pt x="196" y="200"/>
                    </a:cubicBezTo>
                    <a:cubicBezTo>
                      <a:pt x="196" y="200"/>
                      <a:pt x="196" y="200"/>
                      <a:pt x="196" y="200"/>
                    </a:cubicBezTo>
                    <a:cubicBezTo>
                      <a:pt x="196" y="200"/>
                      <a:pt x="196" y="200"/>
                      <a:pt x="196" y="200"/>
                    </a:cubicBezTo>
                    <a:cubicBezTo>
                      <a:pt x="196" y="200"/>
                      <a:pt x="196" y="200"/>
                      <a:pt x="196" y="200"/>
                    </a:cubicBezTo>
                    <a:cubicBezTo>
                      <a:pt x="196" y="200"/>
                      <a:pt x="196" y="200"/>
                      <a:pt x="196" y="200"/>
                    </a:cubicBezTo>
                    <a:cubicBezTo>
                      <a:pt x="195" y="200"/>
                      <a:pt x="195" y="200"/>
                      <a:pt x="195" y="200"/>
                    </a:cubicBezTo>
                    <a:cubicBezTo>
                      <a:pt x="195" y="200"/>
                      <a:pt x="195" y="200"/>
                      <a:pt x="195" y="200"/>
                    </a:cubicBezTo>
                    <a:cubicBezTo>
                      <a:pt x="195" y="200"/>
                      <a:pt x="195" y="200"/>
                      <a:pt x="195" y="200"/>
                    </a:cubicBezTo>
                    <a:cubicBezTo>
                      <a:pt x="195" y="200"/>
                      <a:pt x="195" y="200"/>
                      <a:pt x="195" y="200"/>
                    </a:cubicBezTo>
                    <a:cubicBezTo>
                      <a:pt x="195" y="200"/>
                      <a:pt x="195" y="200"/>
                      <a:pt x="194" y="200"/>
                    </a:cubicBezTo>
                    <a:cubicBezTo>
                      <a:pt x="194" y="200"/>
                      <a:pt x="194" y="200"/>
                      <a:pt x="194" y="200"/>
                    </a:cubicBezTo>
                    <a:cubicBezTo>
                      <a:pt x="194" y="200"/>
                      <a:pt x="194" y="200"/>
                      <a:pt x="194" y="200"/>
                    </a:cubicBezTo>
                    <a:cubicBezTo>
                      <a:pt x="194" y="200"/>
                      <a:pt x="194" y="200"/>
                      <a:pt x="194" y="200"/>
                    </a:cubicBezTo>
                    <a:cubicBezTo>
                      <a:pt x="194" y="200"/>
                      <a:pt x="194" y="200"/>
                      <a:pt x="194" y="200"/>
                    </a:cubicBezTo>
                    <a:cubicBezTo>
                      <a:pt x="194" y="200"/>
                      <a:pt x="194" y="200"/>
                      <a:pt x="194" y="200"/>
                    </a:cubicBezTo>
                    <a:cubicBezTo>
                      <a:pt x="194" y="200"/>
                      <a:pt x="194" y="200"/>
                      <a:pt x="193" y="200"/>
                    </a:cubicBezTo>
                    <a:cubicBezTo>
                      <a:pt x="193" y="200"/>
                      <a:pt x="193" y="200"/>
                      <a:pt x="193" y="200"/>
                    </a:cubicBezTo>
                    <a:cubicBezTo>
                      <a:pt x="193" y="200"/>
                      <a:pt x="193" y="200"/>
                      <a:pt x="193" y="200"/>
                    </a:cubicBezTo>
                    <a:cubicBezTo>
                      <a:pt x="193" y="200"/>
                      <a:pt x="193" y="200"/>
                      <a:pt x="193" y="200"/>
                    </a:cubicBezTo>
                    <a:cubicBezTo>
                      <a:pt x="193" y="200"/>
                      <a:pt x="193" y="200"/>
                      <a:pt x="193" y="200"/>
                    </a:cubicBezTo>
                    <a:cubicBezTo>
                      <a:pt x="193" y="200"/>
                      <a:pt x="193" y="200"/>
                      <a:pt x="193" y="200"/>
                    </a:cubicBezTo>
                    <a:cubicBezTo>
                      <a:pt x="193" y="200"/>
                      <a:pt x="192" y="200"/>
                      <a:pt x="192" y="200"/>
                    </a:cubicBezTo>
                    <a:cubicBezTo>
                      <a:pt x="192" y="200"/>
                      <a:pt x="192" y="200"/>
                      <a:pt x="192" y="200"/>
                    </a:cubicBezTo>
                    <a:cubicBezTo>
                      <a:pt x="192" y="200"/>
                      <a:pt x="192" y="200"/>
                      <a:pt x="192" y="200"/>
                    </a:cubicBezTo>
                    <a:cubicBezTo>
                      <a:pt x="177" y="200"/>
                      <a:pt x="163" y="200"/>
                      <a:pt x="150" y="199"/>
                    </a:cubicBezTo>
                    <a:cubicBezTo>
                      <a:pt x="150" y="199"/>
                      <a:pt x="149" y="199"/>
                      <a:pt x="149" y="199"/>
                    </a:cubicBezTo>
                    <a:cubicBezTo>
                      <a:pt x="149" y="199"/>
                      <a:pt x="149" y="199"/>
                      <a:pt x="149" y="199"/>
                    </a:cubicBezTo>
                    <a:cubicBezTo>
                      <a:pt x="77" y="196"/>
                      <a:pt x="20" y="187"/>
                      <a:pt x="0" y="175"/>
                    </a:cubicBezTo>
                    <a:cubicBezTo>
                      <a:pt x="163" y="337"/>
                      <a:pt x="163" y="337"/>
                      <a:pt x="163" y="337"/>
                    </a:cubicBezTo>
                    <a:cubicBezTo>
                      <a:pt x="176" y="339"/>
                      <a:pt x="189" y="340"/>
                      <a:pt x="203" y="340"/>
                    </a:cubicBezTo>
                    <a:cubicBezTo>
                      <a:pt x="203" y="340"/>
                      <a:pt x="203" y="340"/>
                      <a:pt x="203" y="340"/>
                    </a:cubicBezTo>
                    <a:cubicBezTo>
                      <a:pt x="203" y="340"/>
                      <a:pt x="203" y="340"/>
                      <a:pt x="204" y="340"/>
                    </a:cubicBezTo>
                    <a:cubicBezTo>
                      <a:pt x="204" y="340"/>
                      <a:pt x="204" y="340"/>
                      <a:pt x="204" y="340"/>
                    </a:cubicBezTo>
                    <a:cubicBezTo>
                      <a:pt x="204" y="340"/>
                      <a:pt x="204" y="340"/>
                      <a:pt x="204" y="340"/>
                    </a:cubicBezTo>
                    <a:cubicBezTo>
                      <a:pt x="204" y="340"/>
                      <a:pt x="204" y="340"/>
                      <a:pt x="204" y="340"/>
                    </a:cubicBezTo>
                    <a:cubicBezTo>
                      <a:pt x="204" y="340"/>
                      <a:pt x="204" y="340"/>
                      <a:pt x="204" y="340"/>
                    </a:cubicBezTo>
                    <a:cubicBezTo>
                      <a:pt x="349" y="340"/>
                      <a:pt x="467" y="223"/>
                      <a:pt x="467" y="77"/>
                    </a:cubicBezTo>
                    <a:cubicBezTo>
                      <a:pt x="467" y="77"/>
                      <a:pt x="467" y="77"/>
                      <a:pt x="467" y="77"/>
                    </a:cubicBezTo>
                    <a:cubicBezTo>
                      <a:pt x="467" y="77"/>
                      <a:pt x="467" y="76"/>
                      <a:pt x="467" y="76"/>
                    </a:cubicBezTo>
                    <a:cubicBezTo>
                      <a:pt x="404" y="12"/>
                      <a:pt x="404" y="12"/>
                      <a:pt x="404" y="12"/>
                    </a:cubicBezTo>
                    <a:cubicBezTo>
                      <a:pt x="407" y="16"/>
                      <a:pt x="409" y="21"/>
                      <a:pt x="411" y="26"/>
                    </a:cubicBezTo>
                    <a:cubicBezTo>
                      <a:pt x="426" y="70"/>
                      <a:pt x="401" y="110"/>
                      <a:pt x="360" y="122"/>
                    </a:cubicBezTo>
                    <a:cubicBezTo>
                      <a:pt x="350" y="125"/>
                      <a:pt x="341" y="126"/>
                      <a:pt x="332" y="126"/>
                    </a:cubicBezTo>
                    <a:cubicBezTo>
                      <a:pt x="307" y="126"/>
                      <a:pt x="285" y="118"/>
                      <a:pt x="277" y="112"/>
                    </a:cubicBezTo>
                    <a:cubicBezTo>
                      <a:pt x="277" y="112"/>
                      <a:pt x="277" y="111"/>
                      <a:pt x="277" y="110"/>
                    </a:cubicBezTo>
                    <a:cubicBezTo>
                      <a:pt x="277" y="94"/>
                      <a:pt x="319" y="26"/>
                      <a:pt x="335" y="0"/>
                    </a:cubicBezTo>
                  </a:path>
                </a:pathLst>
              </a:custGeom>
              <a:solidFill>
                <a:srgbClr val="FF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 name="Oval 520">
                <a:extLst>
                  <a:ext uri="{FF2B5EF4-FFF2-40B4-BE49-F238E27FC236}">
                    <a16:creationId xmlns:a16="http://schemas.microsoft.com/office/drawing/2014/main" id="{E86025C8-DCBB-46AD-8771-DC500D8E1F8E}"/>
                  </a:ext>
                </a:extLst>
              </p:cNvPr>
              <p:cNvSpPr>
                <a:spLocks noChangeArrowheads="1"/>
              </p:cNvSpPr>
              <p:nvPr/>
            </p:nvSpPr>
            <p:spPr bwMode="auto">
              <a:xfrm>
                <a:off x="10180638" y="6110288"/>
                <a:ext cx="1131888" cy="196850"/>
              </a:xfrm>
              <a:prstGeom prst="ellipse">
                <a:avLst/>
              </a:prstGeom>
              <a:solidFill>
                <a:srgbClr val="70D4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 name="Freeform 521">
                <a:extLst>
                  <a:ext uri="{FF2B5EF4-FFF2-40B4-BE49-F238E27FC236}">
                    <a16:creationId xmlns:a16="http://schemas.microsoft.com/office/drawing/2014/main" id="{4467B3BC-A5D9-4D22-AE93-7D606549F3E3}"/>
                  </a:ext>
                </a:extLst>
              </p:cNvPr>
              <p:cNvSpPr>
                <a:spLocks noEditPoints="1"/>
              </p:cNvSpPr>
              <p:nvPr/>
            </p:nvSpPr>
            <p:spPr bwMode="auto">
              <a:xfrm>
                <a:off x="10623550" y="6110288"/>
                <a:ext cx="555625" cy="196850"/>
              </a:xfrm>
              <a:custGeom>
                <a:avLst/>
                <a:gdLst>
                  <a:gd name="T0" fmla="*/ 43 w 195"/>
                  <a:gd name="T1" fmla="*/ 69 h 69"/>
                  <a:gd name="T2" fmla="*/ 44 w 195"/>
                  <a:gd name="T3" fmla="*/ 69 h 69"/>
                  <a:gd name="T4" fmla="*/ 44 w 195"/>
                  <a:gd name="T5" fmla="*/ 69 h 69"/>
                  <a:gd name="T6" fmla="*/ 44 w 195"/>
                  <a:gd name="T7" fmla="*/ 69 h 69"/>
                  <a:gd name="T8" fmla="*/ 44 w 195"/>
                  <a:gd name="T9" fmla="*/ 69 h 69"/>
                  <a:gd name="T10" fmla="*/ 44 w 195"/>
                  <a:gd name="T11" fmla="*/ 69 h 69"/>
                  <a:gd name="T12" fmla="*/ 45 w 195"/>
                  <a:gd name="T13" fmla="*/ 69 h 69"/>
                  <a:gd name="T14" fmla="*/ 45 w 195"/>
                  <a:gd name="T15" fmla="*/ 69 h 69"/>
                  <a:gd name="T16" fmla="*/ 45 w 195"/>
                  <a:gd name="T17" fmla="*/ 69 h 69"/>
                  <a:gd name="T18" fmla="*/ 45 w 195"/>
                  <a:gd name="T19" fmla="*/ 69 h 69"/>
                  <a:gd name="T20" fmla="*/ 46 w 195"/>
                  <a:gd name="T21" fmla="*/ 69 h 69"/>
                  <a:gd name="T22" fmla="*/ 46 w 195"/>
                  <a:gd name="T23" fmla="*/ 69 h 69"/>
                  <a:gd name="T24" fmla="*/ 46 w 195"/>
                  <a:gd name="T25" fmla="*/ 69 h 69"/>
                  <a:gd name="T26" fmla="*/ 47 w 195"/>
                  <a:gd name="T27" fmla="*/ 69 h 69"/>
                  <a:gd name="T28" fmla="*/ 47 w 195"/>
                  <a:gd name="T29" fmla="*/ 69 h 69"/>
                  <a:gd name="T30" fmla="*/ 47 w 195"/>
                  <a:gd name="T31" fmla="*/ 69 h 69"/>
                  <a:gd name="T32" fmla="*/ 47 w 195"/>
                  <a:gd name="T33" fmla="*/ 69 h 69"/>
                  <a:gd name="T34" fmla="*/ 47 w 195"/>
                  <a:gd name="T35" fmla="*/ 69 h 69"/>
                  <a:gd name="T36" fmla="*/ 48 w 195"/>
                  <a:gd name="T37" fmla="*/ 69 h 69"/>
                  <a:gd name="T38" fmla="*/ 48 w 195"/>
                  <a:gd name="T39" fmla="*/ 69 h 69"/>
                  <a:gd name="T40" fmla="*/ 48 w 195"/>
                  <a:gd name="T41" fmla="*/ 69 h 69"/>
                  <a:gd name="T42" fmla="*/ 48 w 195"/>
                  <a:gd name="T43" fmla="*/ 69 h 69"/>
                  <a:gd name="T44" fmla="*/ 49 w 195"/>
                  <a:gd name="T45" fmla="*/ 69 h 69"/>
                  <a:gd name="T46" fmla="*/ 49 w 195"/>
                  <a:gd name="T47" fmla="*/ 69 h 69"/>
                  <a:gd name="T48" fmla="*/ 0 w 195"/>
                  <a:gd name="T49" fmla="*/ 68 h 69"/>
                  <a:gd name="T50" fmla="*/ 0 w 195"/>
                  <a:gd name="T51" fmla="*/ 68 h 69"/>
                  <a:gd name="T52" fmla="*/ 176 w 195"/>
                  <a:gd name="T53" fmla="*/ 60 h 69"/>
                  <a:gd name="T54" fmla="*/ 195 w 195"/>
                  <a:gd name="T55" fmla="*/ 57 h 69"/>
                  <a:gd name="T56" fmla="*/ 42 w 195"/>
                  <a:gd name="T57" fmla="*/ 0 h 69"/>
                  <a:gd name="T58" fmla="*/ 44 w 195"/>
                  <a:gd name="T59" fmla="*/ 0 h 69"/>
                  <a:gd name="T60" fmla="*/ 44 w 195"/>
                  <a:gd name="T61" fmla="*/ 0 h 69"/>
                  <a:gd name="T62" fmla="*/ 42 w 195"/>
                  <a:gd name="T63" fmla="*/ 0 h 69"/>
                  <a:gd name="T64" fmla="*/ 43 w 195"/>
                  <a:gd name="T65" fmla="*/ 0 h 69"/>
                  <a:gd name="T66" fmla="*/ 43 w 195"/>
                  <a:gd name="T6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5" h="69">
                    <a:moveTo>
                      <a:pt x="43" y="69"/>
                    </a:moveTo>
                    <a:cubicBezTo>
                      <a:pt x="43" y="69"/>
                      <a:pt x="43" y="69"/>
                      <a:pt x="43" y="69"/>
                    </a:cubicBezTo>
                    <a:cubicBezTo>
                      <a:pt x="43" y="69"/>
                      <a:pt x="43" y="69"/>
                      <a:pt x="43" y="69"/>
                    </a:cubicBezTo>
                    <a:moveTo>
                      <a:pt x="44" y="69"/>
                    </a:moveTo>
                    <a:cubicBezTo>
                      <a:pt x="44" y="69"/>
                      <a:pt x="44" y="69"/>
                      <a:pt x="44" y="69"/>
                    </a:cubicBezTo>
                    <a:cubicBezTo>
                      <a:pt x="44" y="69"/>
                      <a:pt x="44" y="69"/>
                      <a:pt x="44" y="69"/>
                    </a:cubicBezTo>
                    <a:moveTo>
                      <a:pt x="44" y="69"/>
                    </a:moveTo>
                    <a:cubicBezTo>
                      <a:pt x="44" y="69"/>
                      <a:pt x="44" y="69"/>
                      <a:pt x="44" y="69"/>
                    </a:cubicBezTo>
                    <a:cubicBezTo>
                      <a:pt x="44" y="69"/>
                      <a:pt x="44" y="69"/>
                      <a:pt x="44" y="69"/>
                    </a:cubicBezTo>
                    <a:moveTo>
                      <a:pt x="44" y="69"/>
                    </a:moveTo>
                    <a:cubicBezTo>
                      <a:pt x="44" y="69"/>
                      <a:pt x="44" y="69"/>
                      <a:pt x="44" y="69"/>
                    </a:cubicBezTo>
                    <a:cubicBezTo>
                      <a:pt x="44" y="69"/>
                      <a:pt x="44" y="69"/>
                      <a:pt x="44" y="69"/>
                    </a:cubicBezTo>
                    <a:moveTo>
                      <a:pt x="45" y="69"/>
                    </a:moveTo>
                    <a:cubicBezTo>
                      <a:pt x="45" y="69"/>
                      <a:pt x="45" y="69"/>
                      <a:pt x="45" y="69"/>
                    </a:cubicBezTo>
                    <a:cubicBezTo>
                      <a:pt x="45" y="69"/>
                      <a:pt x="45" y="69"/>
                      <a:pt x="45" y="69"/>
                    </a:cubicBezTo>
                    <a:moveTo>
                      <a:pt x="45" y="69"/>
                    </a:moveTo>
                    <a:cubicBezTo>
                      <a:pt x="45" y="69"/>
                      <a:pt x="45" y="69"/>
                      <a:pt x="45" y="69"/>
                    </a:cubicBezTo>
                    <a:cubicBezTo>
                      <a:pt x="45" y="69"/>
                      <a:pt x="45" y="69"/>
                      <a:pt x="45" y="69"/>
                    </a:cubicBezTo>
                    <a:moveTo>
                      <a:pt x="45" y="69"/>
                    </a:moveTo>
                    <a:cubicBezTo>
                      <a:pt x="45" y="69"/>
                      <a:pt x="45" y="69"/>
                      <a:pt x="45" y="69"/>
                    </a:cubicBezTo>
                    <a:cubicBezTo>
                      <a:pt x="45" y="69"/>
                      <a:pt x="45" y="69"/>
                      <a:pt x="45" y="69"/>
                    </a:cubicBezTo>
                    <a:moveTo>
                      <a:pt x="46" y="69"/>
                    </a:moveTo>
                    <a:cubicBezTo>
                      <a:pt x="46" y="69"/>
                      <a:pt x="46" y="69"/>
                      <a:pt x="46" y="69"/>
                    </a:cubicBezTo>
                    <a:cubicBezTo>
                      <a:pt x="46" y="69"/>
                      <a:pt x="46" y="69"/>
                      <a:pt x="46" y="69"/>
                    </a:cubicBezTo>
                    <a:moveTo>
                      <a:pt x="46" y="69"/>
                    </a:moveTo>
                    <a:cubicBezTo>
                      <a:pt x="46" y="69"/>
                      <a:pt x="46" y="69"/>
                      <a:pt x="46" y="69"/>
                    </a:cubicBezTo>
                    <a:cubicBezTo>
                      <a:pt x="46" y="69"/>
                      <a:pt x="46" y="69"/>
                      <a:pt x="46" y="69"/>
                    </a:cubicBezTo>
                    <a:moveTo>
                      <a:pt x="47" y="69"/>
                    </a:moveTo>
                    <a:cubicBezTo>
                      <a:pt x="47" y="69"/>
                      <a:pt x="47" y="69"/>
                      <a:pt x="47" y="69"/>
                    </a:cubicBezTo>
                    <a:cubicBezTo>
                      <a:pt x="47" y="69"/>
                      <a:pt x="47" y="69"/>
                      <a:pt x="47" y="69"/>
                    </a:cubicBezTo>
                    <a:moveTo>
                      <a:pt x="47" y="69"/>
                    </a:moveTo>
                    <a:cubicBezTo>
                      <a:pt x="47" y="69"/>
                      <a:pt x="47" y="69"/>
                      <a:pt x="47" y="69"/>
                    </a:cubicBezTo>
                    <a:cubicBezTo>
                      <a:pt x="47" y="69"/>
                      <a:pt x="47" y="69"/>
                      <a:pt x="47" y="69"/>
                    </a:cubicBezTo>
                    <a:moveTo>
                      <a:pt x="47" y="69"/>
                    </a:moveTo>
                    <a:cubicBezTo>
                      <a:pt x="47" y="69"/>
                      <a:pt x="47" y="69"/>
                      <a:pt x="47" y="69"/>
                    </a:cubicBezTo>
                    <a:cubicBezTo>
                      <a:pt x="47" y="69"/>
                      <a:pt x="47" y="69"/>
                      <a:pt x="47" y="69"/>
                    </a:cubicBezTo>
                    <a:moveTo>
                      <a:pt x="48" y="69"/>
                    </a:moveTo>
                    <a:cubicBezTo>
                      <a:pt x="48" y="69"/>
                      <a:pt x="48" y="69"/>
                      <a:pt x="48" y="69"/>
                    </a:cubicBezTo>
                    <a:cubicBezTo>
                      <a:pt x="48" y="69"/>
                      <a:pt x="48" y="69"/>
                      <a:pt x="48" y="69"/>
                    </a:cubicBezTo>
                    <a:moveTo>
                      <a:pt x="48" y="69"/>
                    </a:moveTo>
                    <a:cubicBezTo>
                      <a:pt x="48" y="69"/>
                      <a:pt x="48" y="69"/>
                      <a:pt x="48" y="69"/>
                    </a:cubicBezTo>
                    <a:cubicBezTo>
                      <a:pt x="48" y="69"/>
                      <a:pt x="48" y="69"/>
                      <a:pt x="48" y="69"/>
                    </a:cubicBezTo>
                    <a:moveTo>
                      <a:pt x="48" y="69"/>
                    </a:moveTo>
                    <a:cubicBezTo>
                      <a:pt x="48" y="69"/>
                      <a:pt x="48" y="69"/>
                      <a:pt x="48" y="69"/>
                    </a:cubicBezTo>
                    <a:cubicBezTo>
                      <a:pt x="48" y="69"/>
                      <a:pt x="48" y="69"/>
                      <a:pt x="48" y="69"/>
                    </a:cubicBezTo>
                    <a:moveTo>
                      <a:pt x="49" y="69"/>
                    </a:moveTo>
                    <a:cubicBezTo>
                      <a:pt x="49" y="69"/>
                      <a:pt x="49" y="69"/>
                      <a:pt x="49" y="69"/>
                    </a:cubicBezTo>
                    <a:cubicBezTo>
                      <a:pt x="49" y="69"/>
                      <a:pt x="49" y="69"/>
                      <a:pt x="49" y="69"/>
                    </a:cubicBezTo>
                    <a:moveTo>
                      <a:pt x="0" y="68"/>
                    </a:moveTo>
                    <a:cubicBezTo>
                      <a:pt x="0" y="68"/>
                      <a:pt x="0" y="68"/>
                      <a:pt x="0" y="68"/>
                    </a:cubicBezTo>
                    <a:cubicBezTo>
                      <a:pt x="0" y="68"/>
                      <a:pt x="1" y="68"/>
                      <a:pt x="1" y="68"/>
                    </a:cubicBezTo>
                    <a:cubicBezTo>
                      <a:pt x="1" y="68"/>
                      <a:pt x="0" y="68"/>
                      <a:pt x="0" y="68"/>
                    </a:cubicBezTo>
                    <a:moveTo>
                      <a:pt x="195" y="57"/>
                    </a:moveTo>
                    <a:cubicBezTo>
                      <a:pt x="189" y="58"/>
                      <a:pt x="183" y="59"/>
                      <a:pt x="176" y="60"/>
                    </a:cubicBezTo>
                    <a:cubicBezTo>
                      <a:pt x="183" y="59"/>
                      <a:pt x="189" y="58"/>
                      <a:pt x="195" y="57"/>
                    </a:cubicBezTo>
                    <a:cubicBezTo>
                      <a:pt x="195" y="57"/>
                      <a:pt x="195" y="57"/>
                      <a:pt x="195" y="57"/>
                    </a:cubicBezTo>
                    <a:moveTo>
                      <a:pt x="42" y="0"/>
                    </a:moveTo>
                    <a:cubicBezTo>
                      <a:pt x="42" y="0"/>
                      <a:pt x="42" y="0"/>
                      <a:pt x="42" y="0"/>
                    </a:cubicBezTo>
                    <a:cubicBezTo>
                      <a:pt x="42" y="0"/>
                      <a:pt x="42" y="0"/>
                      <a:pt x="42" y="0"/>
                    </a:cubicBezTo>
                    <a:moveTo>
                      <a:pt x="44" y="0"/>
                    </a:moveTo>
                    <a:cubicBezTo>
                      <a:pt x="44" y="0"/>
                      <a:pt x="44" y="0"/>
                      <a:pt x="44" y="0"/>
                    </a:cubicBezTo>
                    <a:cubicBezTo>
                      <a:pt x="44" y="0"/>
                      <a:pt x="44" y="0"/>
                      <a:pt x="44" y="0"/>
                    </a:cubicBezTo>
                    <a:moveTo>
                      <a:pt x="43" y="0"/>
                    </a:moveTo>
                    <a:cubicBezTo>
                      <a:pt x="43" y="0"/>
                      <a:pt x="42" y="0"/>
                      <a:pt x="42" y="0"/>
                    </a:cubicBezTo>
                    <a:cubicBezTo>
                      <a:pt x="42" y="0"/>
                      <a:pt x="43" y="0"/>
                      <a:pt x="43" y="0"/>
                    </a:cubicBezTo>
                    <a:moveTo>
                      <a:pt x="43" y="0"/>
                    </a:moveTo>
                    <a:cubicBezTo>
                      <a:pt x="43" y="0"/>
                      <a:pt x="43" y="0"/>
                      <a:pt x="43" y="0"/>
                    </a:cubicBezTo>
                    <a:cubicBezTo>
                      <a:pt x="43" y="0"/>
                      <a:pt x="43" y="0"/>
                      <a:pt x="43" y="0"/>
                    </a:cubicBezTo>
                  </a:path>
                </a:pathLst>
              </a:custGeom>
              <a:solidFill>
                <a:srgbClr val="D39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 name="Freeform 522">
                <a:extLst>
                  <a:ext uri="{FF2B5EF4-FFF2-40B4-BE49-F238E27FC236}">
                    <a16:creationId xmlns:a16="http://schemas.microsoft.com/office/drawing/2014/main" id="{BF6A15B0-D06D-4D3A-ADD1-871CB9B0E833}"/>
                  </a:ext>
                </a:extLst>
              </p:cNvPr>
              <p:cNvSpPr>
                <a:spLocks/>
              </p:cNvSpPr>
              <p:nvPr/>
            </p:nvSpPr>
            <p:spPr bwMode="auto">
              <a:xfrm>
                <a:off x="10444163" y="6110288"/>
                <a:ext cx="735013" cy="196850"/>
              </a:xfrm>
              <a:custGeom>
                <a:avLst/>
                <a:gdLst>
                  <a:gd name="T0" fmla="*/ 106 w 258"/>
                  <a:gd name="T1" fmla="*/ 0 h 69"/>
                  <a:gd name="T2" fmla="*/ 106 w 258"/>
                  <a:gd name="T3" fmla="*/ 0 h 69"/>
                  <a:gd name="T4" fmla="*/ 106 w 258"/>
                  <a:gd name="T5" fmla="*/ 0 h 69"/>
                  <a:gd name="T6" fmla="*/ 105 w 258"/>
                  <a:gd name="T7" fmla="*/ 0 h 69"/>
                  <a:gd name="T8" fmla="*/ 105 w 258"/>
                  <a:gd name="T9" fmla="*/ 0 h 69"/>
                  <a:gd name="T10" fmla="*/ 105 w 258"/>
                  <a:gd name="T11" fmla="*/ 0 h 69"/>
                  <a:gd name="T12" fmla="*/ 0 w 258"/>
                  <a:gd name="T13" fmla="*/ 5 h 69"/>
                  <a:gd name="T14" fmla="*/ 63 w 258"/>
                  <a:gd name="T15" fmla="*/ 68 h 69"/>
                  <a:gd name="T16" fmla="*/ 64 w 258"/>
                  <a:gd name="T17" fmla="*/ 68 h 69"/>
                  <a:gd name="T18" fmla="*/ 106 w 258"/>
                  <a:gd name="T19" fmla="*/ 69 h 69"/>
                  <a:gd name="T20" fmla="*/ 106 w 258"/>
                  <a:gd name="T21" fmla="*/ 69 h 69"/>
                  <a:gd name="T22" fmla="*/ 106 w 258"/>
                  <a:gd name="T23" fmla="*/ 69 h 69"/>
                  <a:gd name="T24" fmla="*/ 107 w 258"/>
                  <a:gd name="T25" fmla="*/ 69 h 69"/>
                  <a:gd name="T26" fmla="*/ 107 w 258"/>
                  <a:gd name="T27" fmla="*/ 69 h 69"/>
                  <a:gd name="T28" fmla="*/ 107 w 258"/>
                  <a:gd name="T29" fmla="*/ 69 h 69"/>
                  <a:gd name="T30" fmla="*/ 107 w 258"/>
                  <a:gd name="T31" fmla="*/ 69 h 69"/>
                  <a:gd name="T32" fmla="*/ 107 w 258"/>
                  <a:gd name="T33" fmla="*/ 69 h 69"/>
                  <a:gd name="T34" fmla="*/ 107 w 258"/>
                  <a:gd name="T35" fmla="*/ 69 h 69"/>
                  <a:gd name="T36" fmla="*/ 108 w 258"/>
                  <a:gd name="T37" fmla="*/ 69 h 69"/>
                  <a:gd name="T38" fmla="*/ 108 w 258"/>
                  <a:gd name="T39" fmla="*/ 69 h 69"/>
                  <a:gd name="T40" fmla="*/ 108 w 258"/>
                  <a:gd name="T41" fmla="*/ 69 h 69"/>
                  <a:gd name="T42" fmla="*/ 108 w 258"/>
                  <a:gd name="T43" fmla="*/ 69 h 69"/>
                  <a:gd name="T44" fmla="*/ 108 w 258"/>
                  <a:gd name="T45" fmla="*/ 69 h 69"/>
                  <a:gd name="T46" fmla="*/ 108 w 258"/>
                  <a:gd name="T47" fmla="*/ 69 h 69"/>
                  <a:gd name="T48" fmla="*/ 109 w 258"/>
                  <a:gd name="T49" fmla="*/ 69 h 69"/>
                  <a:gd name="T50" fmla="*/ 109 w 258"/>
                  <a:gd name="T51" fmla="*/ 69 h 69"/>
                  <a:gd name="T52" fmla="*/ 109 w 258"/>
                  <a:gd name="T53" fmla="*/ 69 h 69"/>
                  <a:gd name="T54" fmla="*/ 109 w 258"/>
                  <a:gd name="T55" fmla="*/ 69 h 69"/>
                  <a:gd name="T56" fmla="*/ 110 w 258"/>
                  <a:gd name="T57" fmla="*/ 69 h 69"/>
                  <a:gd name="T58" fmla="*/ 110 w 258"/>
                  <a:gd name="T59" fmla="*/ 69 h 69"/>
                  <a:gd name="T60" fmla="*/ 110 w 258"/>
                  <a:gd name="T61" fmla="*/ 69 h 69"/>
                  <a:gd name="T62" fmla="*/ 110 w 258"/>
                  <a:gd name="T63" fmla="*/ 69 h 69"/>
                  <a:gd name="T64" fmla="*/ 110 w 258"/>
                  <a:gd name="T65" fmla="*/ 69 h 69"/>
                  <a:gd name="T66" fmla="*/ 110 w 258"/>
                  <a:gd name="T67" fmla="*/ 69 h 69"/>
                  <a:gd name="T68" fmla="*/ 111 w 258"/>
                  <a:gd name="T69" fmla="*/ 69 h 69"/>
                  <a:gd name="T70" fmla="*/ 111 w 258"/>
                  <a:gd name="T71" fmla="*/ 69 h 69"/>
                  <a:gd name="T72" fmla="*/ 111 w 258"/>
                  <a:gd name="T73" fmla="*/ 69 h 69"/>
                  <a:gd name="T74" fmla="*/ 111 w 258"/>
                  <a:gd name="T75" fmla="*/ 69 h 69"/>
                  <a:gd name="T76" fmla="*/ 111 w 258"/>
                  <a:gd name="T77" fmla="*/ 69 h 69"/>
                  <a:gd name="T78" fmla="*/ 111 w 258"/>
                  <a:gd name="T79" fmla="*/ 69 h 69"/>
                  <a:gd name="T80" fmla="*/ 112 w 258"/>
                  <a:gd name="T81" fmla="*/ 69 h 69"/>
                  <a:gd name="T82" fmla="*/ 112 w 258"/>
                  <a:gd name="T83" fmla="*/ 69 h 69"/>
                  <a:gd name="T84" fmla="*/ 239 w 258"/>
                  <a:gd name="T85" fmla="*/ 60 h 69"/>
                  <a:gd name="T86" fmla="*/ 258 w 258"/>
                  <a:gd name="T87" fmla="*/ 57 h 69"/>
                  <a:gd name="T88" fmla="*/ 206 w 258"/>
                  <a:gd name="T89" fmla="*/ 5 h 69"/>
                  <a:gd name="T90" fmla="*/ 107 w 258"/>
                  <a:gd name="T91" fmla="*/ 0 h 69"/>
                  <a:gd name="T92" fmla="*/ 107 w 258"/>
                  <a:gd name="T93" fmla="*/ 0 h 69"/>
                  <a:gd name="T94" fmla="*/ 106 w 258"/>
                  <a:gd name="T95" fmla="*/ 0 h 69"/>
                  <a:gd name="T96" fmla="*/ 106 w 258"/>
                  <a:gd name="T97" fmla="*/ 0 h 69"/>
                  <a:gd name="T98" fmla="*/ 106 w 258"/>
                  <a:gd name="T99" fmla="*/ 0 h 69"/>
                  <a:gd name="T100" fmla="*/ 106 w 258"/>
                  <a:gd name="T10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8" h="69">
                    <a:moveTo>
                      <a:pt x="106" y="0"/>
                    </a:moveTo>
                    <a:cubicBezTo>
                      <a:pt x="106" y="0"/>
                      <a:pt x="106" y="0"/>
                      <a:pt x="106" y="0"/>
                    </a:cubicBezTo>
                    <a:cubicBezTo>
                      <a:pt x="106" y="0"/>
                      <a:pt x="106" y="0"/>
                      <a:pt x="106" y="0"/>
                    </a:cubicBezTo>
                    <a:cubicBezTo>
                      <a:pt x="106" y="0"/>
                      <a:pt x="105" y="0"/>
                      <a:pt x="105" y="0"/>
                    </a:cubicBezTo>
                    <a:cubicBezTo>
                      <a:pt x="105" y="0"/>
                      <a:pt x="105" y="0"/>
                      <a:pt x="105" y="0"/>
                    </a:cubicBezTo>
                    <a:cubicBezTo>
                      <a:pt x="105" y="0"/>
                      <a:pt x="105" y="0"/>
                      <a:pt x="105" y="0"/>
                    </a:cubicBezTo>
                    <a:cubicBezTo>
                      <a:pt x="66" y="0"/>
                      <a:pt x="30" y="2"/>
                      <a:pt x="0" y="5"/>
                    </a:cubicBezTo>
                    <a:cubicBezTo>
                      <a:pt x="63" y="68"/>
                      <a:pt x="63" y="68"/>
                      <a:pt x="63" y="68"/>
                    </a:cubicBezTo>
                    <a:cubicBezTo>
                      <a:pt x="63" y="68"/>
                      <a:pt x="64" y="68"/>
                      <a:pt x="64" y="68"/>
                    </a:cubicBezTo>
                    <a:cubicBezTo>
                      <a:pt x="77" y="69"/>
                      <a:pt x="91" y="69"/>
                      <a:pt x="106" y="69"/>
                    </a:cubicBezTo>
                    <a:cubicBezTo>
                      <a:pt x="106" y="69"/>
                      <a:pt x="106" y="69"/>
                      <a:pt x="106" y="69"/>
                    </a:cubicBezTo>
                    <a:cubicBezTo>
                      <a:pt x="106" y="69"/>
                      <a:pt x="106" y="69"/>
                      <a:pt x="106" y="69"/>
                    </a:cubicBezTo>
                    <a:cubicBezTo>
                      <a:pt x="106" y="69"/>
                      <a:pt x="107" y="69"/>
                      <a:pt x="107" y="69"/>
                    </a:cubicBezTo>
                    <a:cubicBezTo>
                      <a:pt x="107" y="69"/>
                      <a:pt x="107" y="69"/>
                      <a:pt x="107" y="69"/>
                    </a:cubicBezTo>
                    <a:cubicBezTo>
                      <a:pt x="107" y="69"/>
                      <a:pt x="107" y="69"/>
                      <a:pt x="107" y="69"/>
                    </a:cubicBezTo>
                    <a:cubicBezTo>
                      <a:pt x="107" y="69"/>
                      <a:pt x="107" y="69"/>
                      <a:pt x="107" y="69"/>
                    </a:cubicBezTo>
                    <a:cubicBezTo>
                      <a:pt x="107" y="69"/>
                      <a:pt x="107" y="69"/>
                      <a:pt x="107" y="69"/>
                    </a:cubicBezTo>
                    <a:cubicBezTo>
                      <a:pt x="107" y="69"/>
                      <a:pt x="107" y="69"/>
                      <a:pt x="107" y="69"/>
                    </a:cubicBezTo>
                    <a:cubicBezTo>
                      <a:pt x="108" y="69"/>
                      <a:pt x="108" y="69"/>
                      <a:pt x="108" y="69"/>
                    </a:cubicBezTo>
                    <a:cubicBezTo>
                      <a:pt x="108" y="69"/>
                      <a:pt x="108" y="69"/>
                      <a:pt x="108" y="69"/>
                    </a:cubicBezTo>
                    <a:cubicBezTo>
                      <a:pt x="108" y="69"/>
                      <a:pt x="108" y="69"/>
                      <a:pt x="108" y="69"/>
                    </a:cubicBezTo>
                    <a:cubicBezTo>
                      <a:pt x="108" y="69"/>
                      <a:pt x="108" y="69"/>
                      <a:pt x="108" y="69"/>
                    </a:cubicBezTo>
                    <a:cubicBezTo>
                      <a:pt x="108" y="69"/>
                      <a:pt x="108" y="69"/>
                      <a:pt x="108" y="69"/>
                    </a:cubicBezTo>
                    <a:cubicBezTo>
                      <a:pt x="108" y="69"/>
                      <a:pt x="108" y="69"/>
                      <a:pt x="108" y="69"/>
                    </a:cubicBezTo>
                    <a:cubicBezTo>
                      <a:pt x="109" y="69"/>
                      <a:pt x="109" y="69"/>
                      <a:pt x="109" y="69"/>
                    </a:cubicBezTo>
                    <a:cubicBezTo>
                      <a:pt x="109" y="69"/>
                      <a:pt x="109" y="69"/>
                      <a:pt x="109" y="69"/>
                    </a:cubicBezTo>
                    <a:cubicBezTo>
                      <a:pt x="109" y="69"/>
                      <a:pt x="109" y="69"/>
                      <a:pt x="109" y="69"/>
                    </a:cubicBezTo>
                    <a:cubicBezTo>
                      <a:pt x="109" y="69"/>
                      <a:pt x="109" y="69"/>
                      <a:pt x="109" y="69"/>
                    </a:cubicBezTo>
                    <a:cubicBezTo>
                      <a:pt x="109" y="69"/>
                      <a:pt x="109" y="69"/>
                      <a:pt x="110" y="69"/>
                    </a:cubicBezTo>
                    <a:cubicBezTo>
                      <a:pt x="110" y="69"/>
                      <a:pt x="110" y="69"/>
                      <a:pt x="110" y="69"/>
                    </a:cubicBezTo>
                    <a:cubicBezTo>
                      <a:pt x="110" y="69"/>
                      <a:pt x="110" y="69"/>
                      <a:pt x="110" y="69"/>
                    </a:cubicBezTo>
                    <a:cubicBezTo>
                      <a:pt x="110" y="69"/>
                      <a:pt x="110" y="69"/>
                      <a:pt x="110" y="69"/>
                    </a:cubicBezTo>
                    <a:cubicBezTo>
                      <a:pt x="110" y="69"/>
                      <a:pt x="110" y="69"/>
                      <a:pt x="110" y="69"/>
                    </a:cubicBezTo>
                    <a:cubicBezTo>
                      <a:pt x="110" y="69"/>
                      <a:pt x="110" y="69"/>
                      <a:pt x="110" y="69"/>
                    </a:cubicBezTo>
                    <a:cubicBezTo>
                      <a:pt x="110" y="69"/>
                      <a:pt x="110" y="69"/>
                      <a:pt x="111" y="69"/>
                    </a:cubicBezTo>
                    <a:cubicBezTo>
                      <a:pt x="111" y="69"/>
                      <a:pt x="111" y="69"/>
                      <a:pt x="111" y="69"/>
                    </a:cubicBezTo>
                    <a:cubicBezTo>
                      <a:pt x="111" y="69"/>
                      <a:pt x="111" y="69"/>
                      <a:pt x="111" y="69"/>
                    </a:cubicBezTo>
                    <a:cubicBezTo>
                      <a:pt x="111" y="69"/>
                      <a:pt x="111" y="69"/>
                      <a:pt x="111" y="69"/>
                    </a:cubicBezTo>
                    <a:cubicBezTo>
                      <a:pt x="111" y="69"/>
                      <a:pt x="111" y="69"/>
                      <a:pt x="111" y="69"/>
                    </a:cubicBezTo>
                    <a:cubicBezTo>
                      <a:pt x="111" y="69"/>
                      <a:pt x="111" y="69"/>
                      <a:pt x="111" y="69"/>
                    </a:cubicBezTo>
                    <a:cubicBezTo>
                      <a:pt x="111" y="69"/>
                      <a:pt x="111" y="69"/>
                      <a:pt x="112" y="69"/>
                    </a:cubicBezTo>
                    <a:cubicBezTo>
                      <a:pt x="112" y="69"/>
                      <a:pt x="112" y="69"/>
                      <a:pt x="112" y="69"/>
                    </a:cubicBezTo>
                    <a:cubicBezTo>
                      <a:pt x="161" y="69"/>
                      <a:pt x="205" y="65"/>
                      <a:pt x="239" y="60"/>
                    </a:cubicBezTo>
                    <a:cubicBezTo>
                      <a:pt x="246" y="59"/>
                      <a:pt x="252" y="58"/>
                      <a:pt x="258" y="57"/>
                    </a:cubicBezTo>
                    <a:cubicBezTo>
                      <a:pt x="206" y="5"/>
                      <a:pt x="206" y="5"/>
                      <a:pt x="206" y="5"/>
                    </a:cubicBezTo>
                    <a:cubicBezTo>
                      <a:pt x="177" y="2"/>
                      <a:pt x="143" y="0"/>
                      <a:pt x="107" y="0"/>
                    </a:cubicBezTo>
                    <a:cubicBezTo>
                      <a:pt x="107" y="0"/>
                      <a:pt x="107" y="0"/>
                      <a:pt x="107" y="0"/>
                    </a:cubicBezTo>
                    <a:cubicBezTo>
                      <a:pt x="107" y="0"/>
                      <a:pt x="107" y="0"/>
                      <a:pt x="106" y="0"/>
                    </a:cubicBezTo>
                    <a:cubicBezTo>
                      <a:pt x="106" y="0"/>
                      <a:pt x="106" y="0"/>
                      <a:pt x="106" y="0"/>
                    </a:cubicBezTo>
                    <a:cubicBezTo>
                      <a:pt x="106" y="0"/>
                      <a:pt x="106" y="0"/>
                      <a:pt x="106" y="0"/>
                    </a:cubicBezTo>
                    <a:cubicBezTo>
                      <a:pt x="106" y="0"/>
                      <a:pt x="106" y="0"/>
                      <a:pt x="106" y="0"/>
                    </a:cubicBezTo>
                  </a:path>
                </a:pathLst>
              </a:custGeom>
              <a:solidFill>
                <a:srgbClr val="5DC7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 name="Freeform 523">
                <a:extLst>
                  <a:ext uri="{FF2B5EF4-FFF2-40B4-BE49-F238E27FC236}">
                    <a16:creationId xmlns:a16="http://schemas.microsoft.com/office/drawing/2014/main" id="{04D318CF-3A7F-4EF6-A8AC-E6E82967DD94}"/>
                  </a:ext>
                </a:extLst>
              </p:cNvPr>
              <p:cNvSpPr>
                <a:spLocks noEditPoints="1"/>
              </p:cNvSpPr>
              <p:nvPr/>
            </p:nvSpPr>
            <p:spPr bwMode="auto">
              <a:xfrm>
                <a:off x="10963275" y="5689600"/>
                <a:ext cx="449263" cy="423863"/>
              </a:xfrm>
              <a:custGeom>
                <a:avLst/>
                <a:gdLst>
                  <a:gd name="T0" fmla="*/ 143 w 158"/>
                  <a:gd name="T1" fmla="*/ 43 h 149"/>
                  <a:gd name="T2" fmla="*/ 73 w 158"/>
                  <a:gd name="T3" fmla="*/ 8 h 149"/>
                  <a:gd name="T4" fmla="*/ 9 w 158"/>
                  <a:gd name="T5" fmla="*/ 129 h 149"/>
                  <a:gd name="T6" fmla="*/ 92 w 158"/>
                  <a:gd name="T7" fmla="*/ 139 h 149"/>
                  <a:gd name="T8" fmla="*/ 143 w 158"/>
                  <a:gd name="T9" fmla="*/ 43 h 149"/>
                  <a:gd name="T10" fmla="*/ 88 w 158"/>
                  <a:gd name="T11" fmla="*/ 119 h 149"/>
                  <a:gd name="T12" fmla="*/ 30 w 158"/>
                  <a:gd name="T13" fmla="*/ 113 h 149"/>
                  <a:gd name="T14" fmla="*/ 75 w 158"/>
                  <a:gd name="T15" fmla="*/ 28 h 149"/>
                  <a:gd name="T16" fmla="*/ 123 w 158"/>
                  <a:gd name="T17" fmla="*/ 53 h 149"/>
                  <a:gd name="T18" fmla="*/ 88 w 158"/>
                  <a:gd name="T19" fmla="*/ 11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49">
                    <a:moveTo>
                      <a:pt x="143" y="43"/>
                    </a:moveTo>
                    <a:cubicBezTo>
                      <a:pt x="128" y="0"/>
                      <a:pt x="80" y="7"/>
                      <a:pt x="73" y="8"/>
                    </a:cubicBezTo>
                    <a:cubicBezTo>
                      <a:pt x="73" y="8"/>
                      <a:pt x="0" y="122"/>
                      <a:pt x="9" y="129"/>
                    </a:cubicBezTo>
                    <a:cubicBezTo>
                      <a:pt x="19" y="137"/>
                      <a:pt x="57" y="149"/>
                      <a:pt x="92" y="139"/>
                    </a:cubicBezTo>
                    <a:cubicBezTo>
                      <a:pt x="133" y="127"/>
                      <a:pt x="158" y="87"/>
                      <a:pt x="143" y="43"/>
                    </a:cubicBezTo>
                    <a:moveTo>
                      <a:pt x="88" y="119"/>
                    </a:moveTo>
                    <a:cubicBezTo>
                      <a:pt x="63" y="127"/>
                      <a:pt x="37" y="118"/>
                      <a:pt x="30" y="113"/>
                    </a:cubicBezTo>
                    <a:cubicBezTo>
                      <a:pt x="23" y="107"/>
                      <a:pt x="75" y="28"/>
                      <a:pt x="75" y="28"/>
                    </a:cubicBezTo>
                    <a:cubicBezTo>
                      <a:pt x="79" y="27"/>
                      <a:pt x="113" y="23"/>
                      <a:pt x="123" y="53"/>
                    </a:cubicBezTo>
                    <a:cubicBezTo>
                      <a:pt x="134" y="84"/>
                      <a:pt x="116" y="111"/>
                      <a:pt x="88" y="119"/>
                    </a:cubicBezTo>
                  </a:path>
                </a:pathLst>
              </a:custGeom>
              <a:solidFill>
                <a:srgbClr val="D3EF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 name="Freeform 524">
                <a:extLst>
                  <a:ext uri="{FF2B5EF4-FFF2-40B4-BE49-F238E27FC236}">
                    <a16:creationId xmlns:a16="http://schemas.microsoft.com/office/drawing/2014/main" id="{9AB90C2F-7805-4FC3-89F9-4A93ADB9248E}"/>
                  </a:ext>
                </a:extLst>
              </p:cNvPr>
              <p:cNvSpPr>
                <a:spLocks/>
              </p:cNvSpPr>
              <p:nvPr/>
            </p:nvSpPr>
            <p:spPr bwMode="auto">
              <a:xfrm>
                <a:off x="11229975" y="570865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3C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 name="Freeform 525">
                <a:extLst>
                  <a:ext uri="{FF2B5EF4-FFF2-40B4-BE49-F238E27FC236}">
                    <a16:creationId xmlns:a16="http://schemas.microsoft.com/office/drawing/2014/main" id="{05273F93-D757-4A12-B1A0-AB0A76866F83}"/>
                  </a:ext>
                </a:extLst>
              </p:cNvPr>
              <p:cNvSpPr>
                <a:spLocks noEditPoints="1"/>
              </p:cNvSpPr>
              <p:nvPr/>
            </p:nvSpPr>
            <p:spPr bwMode="auto">
              <a:xfrm>
                <a:off x="11047413" y="5765800"/>
                <a:ext cx="185738" cy="269875"/>
              </a:xfrm>
              <a:custGeom>
                <a:avLst/>
                <a:gdLst>
                  <a:gd name="T0" fmla="*/ 0 w 65"/>
                  <a:gd name="T1" fmla="*/ 84 h 95"/>
                  <a:gd name="T2" fmla="*/ 0 w 65"/>
                  <a:gd name="T3" fmla="*/ 86 h 95"/>
                  <a:gd name="T4" fmla="*/ 38 w 65"/>
                  <a:gd name="T5" fmla="*/ 95 h 95"/>
                  <a:gd name="T6" fmla="*/ 38 w 65"/>
                  <a:gd name="T7" fmla="*/ 95 h 95"/>
                  <a:gd name="T8" fmla="*/ 0 w 65"/>
                  <a:gd name="T9" fmla="*/ 86 h 95"/>
                  <a:gd name="T10" fmla="*/ 0 w 65"/>
                  <a:gd name="T11" fmla="*/ 84 h 95"/>
                  <a:gd name="T12" fmla="*/ 54 w 65"/>
                  <a:gd name="T13" fmla="*/ 0 h 95"/>
                  <a:gd name="T14" fmla="*/ 47 w 65"/>
                  <a:gd name="T15" fmla="*/ 1 h 95"/>
                  <a:gd name="T16" fmla="*/ 53 w 65"/>
                  <a:gd name="T17" fmla="*/ 0 h 95"/>
                  <a:gd name="T18" fmla="*/ 65 w 65"/>
                  <a:gd name="T19" fmla="*/ 1 h 95"/>
                  <a:gd name="T20" fmla="*/ 65 w 65"/>
                  <a:gd name="T21" fmla="*/ 1 h 95"/>
                  <a:gd name="T22" fmla="*/ 54 w 65"/>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95">
                    <a:moveTo>
                      <a:pt x="0" y="84"/>
                    </a:moveTo>
                    <a:cubicBezTo>
                      <a:pt x="0" y="85"/>
                      <a:pt x="0" y="85"/>
                      <a:pt x="0" y="86"/>
                    </a:cubicBezTo>
                    <a:cubicBezTo>
                      <a:pt x="5" y="89"/>
                      <a:pt x="20" y="95"/>
                      <a:pt x="38" y="95"/>
                    </a:cubicBezTo>
                    <a:cubicBezTo>
                      <a:pt x="38" y="95"/>
                      <a:pt x="38" y="95"/>
                      <a:pt x="38" y="95"/>
                    </a:cubicBezTo>
                    <a:cubicBezTo>
                      <a:pt x="20" y="95"/>
                      <a:pt x="5" y="89"/>
                      <a:pt x="0" y="86"/>
                    </a:cubicBezTo>
                    <a:cubicBezTo>
                      <a:pt x="0" y="85"/>
                      <a:pt x="0" y="85"/>
                      <a:pt x="0" y="84"/>
                    </a:cubicBezTo>
                    <a:moveTo>
                      <a:pt x="54" y="0"/>
                    </a:moveTo>
                    <a:cubicBezTo>
                      <a:pt x="51" y="0"/>
                      <a:pt x="49" y="0"/>
                      <a:pt x="47" y="1"/>
                    </a:cubicBezTo>
                    <a:cubicBezTo>
                      <a:pt x="49" y="0"/>
                      <a:pt x="51" y="0"/>
                      <a:pt x="53" y="0"/>
                    </a:cubicBezTo>
                    <a:cubicBezTo>
                      <a:pt x="57" y="0"/>
                      <a:pt x="61" y="1"/>
                      <a:pt x="65" y="1"/>
                    </a:cubicBezTo>
                    <a:cubicBezTo>
                      <a:pt x="65" y="1"/>
                      <a:pt x="65" y="1"/>
                      <a:pt x="65" y="1"/>
                    </a:cubicBezTo>
                    <a:cubicBezTo>
                      <a:pt x="61" y="1"/>
                      <a:pt x="57" y="0"/>
                      <a:pt x="54" y="0"/>
                    </a:cubicBezTo>
                  </a:path>
                </a:pathLst>
              </a:custGeom>
              <a:solidFill>
                <a:srgbClr val="D39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 name="Freeform 526">
                <a:extLst>
                  <a:ext uri="{FF2B5EF4-FFF2-40B4-BE49-F238E27FC236}">
                    <a16:creationId xmlns:a16="http://schemas.microsoft.com/office/drawing/2014/main" id="{81F3045B-0428-4B2C-A069-E99B51719B47}"/>
                  </a:ext>
                </a:extLst>
              </p:cNvPr>
              <p:cNvSpPr>
                <a:spLocks/>
              </p:cNvSpPr>
              <p:nvPr/>
            </p:nvSpPr>
            <p:spPr bwMode="auto">
              <a:xfrm>
                <a:off x="10988675" y="5708650"/>
                <a:ext cx="244475" cy="384175"/>
              </a:xfrm>
              <a:custGeom>
                <a:avLst/>
                <a:gdLst>
                  <a:gd name="T0" fmla="*/ 77 w 86"/>
                  <a:gd name="T1" fmla="*/ 0 h 135"/>
                  <a:gd name="T2" fmla="*/ 64 w 86"/>
                  <a:gd name="T3" fmla="*/ 1 h 135"/>
                  <a:gd name="T4" fmla="*/ 64 w 86"/>
                  <a:gd name="T5" fmla="*/ 1 h 135"/>
                  <a:gd name="T6" fmla="*/ 0 w 86"/>
                  <a:gd name="T7" fmla="*/ 120 h 135"/>
                  <a:gd name="T8" fmla="*/ 0 w 86"/>
                  <a:gd name="T9" fmla="*/ 122 h 135"/>
                  <a:gd name="T10" fmla="*/ 43 w 86"/>
                  <a:gd name="T11" fmla="*/ 135 h 135"/>
                  <a:gd name="T12" fmla="*/ 59 w 86"/>
                  <a:gd name="T13" fmla="*/ 115 h 135"/>
                  <a:gd name="T14" fmla="*/ 21 w 86"/>
                  <a:gd name="T15" fmla="*/ 106 h 135"/>
                  <a:gd name="T16" fmla="*/ 21 w 86"/>
                  <a:gd name="T17" fmla="*/ 104 h 135"/>
                  <a:gd name="T18" fmla="*/ 66 w 86"/>
                  <a:gd name="T19" fmla="*/ 21 h 135"/>
                  <a:gd name="T20" fmla="*/ 68 w 86"/>
                  <a:gd name="T21" fmla="*/ 21 h 135"/>
                  <a:gd name="T22" fmla="*/ 75 w 86"/>
                  <a:gd name="T23" fmla="*/ 20 h 135"/>
                  <a:gd name="T24" fmla="*/ 86 w 86"/>
                  <a:gd name="T25" fmla="*/ 21 h 135"/>
                  <a:gd name="T26" fmla="*/ 86 w 86"/>
                  <a:gd name="T27" fmla="*/ 12 h 135"/>
                  <a:gd name="T28" fmla="*/ 85 w 86"/>
                  <a:gd name="T29" fmla="*/ 0 h 135"/>
                  <a:gd name="T30" fmla="*/ 85 w 86"/>
                  <a:gd name="T31" fmla="*/ 0 h 135"/>
                  <a:gd name="T32" fmla="*/ 77 w 86"/>
                  <a:gd name="T33"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5">
                    <a:moveTo>
                      <a:pt x="77" y="0"/>
                    </a:moveTo>
                    <a:cubicBezTo>
                      <a:pt x="71" y="0"/>
                      <a:pt x="66" y="0"/>
                      <a:pt x="64" y="1"/>
                    </a:cubicBezTo>
                    <a:cubicBezTo>
                      <a:pt x="64" y="1"/>
                      <a:pt x="64" y="1"/>
                      <a:pt x="64" y="1"/>
                    </a:cubicBezTo>
                    <a:cubicBezTo>
                      <a:pt x="64" y="1"/>
                      <a:pt x="0" y="101"/>
                      <a:pt x="0" y="120"/>
                    </a:cubicBezTo>
                    <a:cubicBezTo>
                      <a:pt x="0" y="121"/>
                      <a:pt x="0" y="122"/>
                      <a:pt x="0" y="122"/>
                    </a:cubicBezTo>
                    <a:cubicBezTo>
                      <a:pt x="6" y="127"/>
                      <a:pt x="23" y="133"/>
                      <a:pt x="43" y="135"/>
                    </a:cubicBezTo>
                    <a:cubicBezTo>
                      <a:pt x="49" y="129"/>
                      <a:pt x="54" y="122"/>
                      <a:pt x="59" y="115"/>
                    </a:cubicBezTo>
                    <a:cubicBezTo>
                      <a:pt x="41" y="115"/>
                      <a:pt x="26" y="109"/>
                      <a:pt x="21" y="106"/>
                    </a:cubicBezTo>
                    <a:cubicBezTo>
                      <a:pt x="21" y="105"/>
                      <a:pt x="21" y="105"/>
                      <a:pt x="21" y="104"/>
                    </a:cubicBezTo>
                    <a:cubicBezTo>
                      <a:pt x="21" y="91"/>
                      <a:pt x="66" y="21"/>
                      <a:pt x="66" y="21"/>
                    </a:cubicBezTo>
                    <a:cubicBezTo>
                      <a:pt x="66" y="21"/>
                      <a:pt x="67" y="21"/>
                      <a:pt x="68" y="21"/>
                    </a:cubicBezTo>
                    <a:cubicBezTo>
                      <a:pt x="70" y="20"/>
                      <a:pt x="72" y="20"/>
                      <a:pt x="75" y="20"/>
                    </a:cubicBezTo>
                    <a:cubicBezTo>
                      <a:pt x="78" y="20"/>
                      <a:pt x="82" y="21"/>
                      <a:pt x="86" y="21"/>
                    </a:cubicBezTo>
                    <a:cubicBezTo>
                      <a:pt x="86" y="18"/>
                      <a:pt x="86" y="16"/>
                      <a:pt x="86" y="12"/>
                    </a:cubicBezTo>
                    <a:cubicBezTo>
                      <a:pt x="86" y="8"/>
                      <a:pt x="86" y="4"/>
                      <a:pt x="85" y="0"/>
                    </a:cubicBezTo>
                    <a:cubicBezTo>
                      <a:pt x="85" y="0"/>
                      <a:pt x="85" y="0"/>
                      <a:pt x="85" y="0"/>
                    </a:cubicBezTo>
                    <a:cubicBezTo>
                      <a:pt x="82" y="0"/>
                      <a:pt x="80" y="0"/>
                      <a:pt x="77" y="0"/>
                    </a:cubicBezTo>
                  </a:path>
                </a:pathLst>
              </a:custGeom>
              <a:solidFill>
                <a:srgbClr val="AFE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 name="Freeform 527">
                <a:extLst>
                  <a:ext uri="{FF2B5EF4-FFF2-40B4-BE49-F238E27FC236}">
                    <a16:creationId xmlns:a16="http://schemas.microsoft.com/office/drawing/2014/main" id="{C5C96F92-7124-4378-9833-634DD277063E}"/>
                  </a:ext>
                </a:extLst>
              </p:cNvPr>
              <p:cNvSpPr>
                <a:spLocks/>
              </p:cNvSpPr>
              <p:nvPr/>
            </p:nvSpPr>
            <p:spPr bwMode="auto">
              <a:xfrm>
                <a:off x="10260013" y="5654675"/>
                <a:ext cx="952500" cy="574675"/>
              </a:xfrm>
              <a:custGeom>
                <a:avLst/>
                <a:gdLst>
                  <a:gd name="T0" fmla="*/ 335 w 335"/>
                  <a:gd name="T1" fmla="*/ 0 h 202"/>
                  <a:gd name="T2" fmla="*/ 0 w 335"/>
                  <a:gd name="T3" fmla="*/ 0 h 202"/>
                  <a:gd name="T4" fmla="*/ 108 w 335"/>
                  <a:gd name="T5" fmla="*/ 190 h 202"/>
                  <a:gd name="T6" fmla="*/ 122 w 335"/>
                  <a:gd name="T7" fmla="*/ 202 h 202"/>
                  <a:gd name="T8" fmla="*/ 184 w 335"/>
                  <a:gd name="T9" fmla="*/ 202 h 202"/>
                  <a:gd name="T10" fmla="*/ 212 w 335"/>
                  <a:gd name="T11" fmla="*/ 202 h 202"/>
                  <a:gd name="T12" fmla="*/ 227 w 335"/>
                  <a:gd name="T13" fmla="*/ 190 h 202"/>
                  <a:gd name="T14" fmla="*/ 335 w 335"/>
                  <a:gd name="T15" fmla="*/ 0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5" h="202">
                    <a:moveTo>
                      <a:pt x="335" y="0"/>
                    </a:moveTo>
                    <a:cubicBezTo>
                      <a:pt x="0" y="0"/>
                      <a:pt x="0" y="0"/>
                      <a:pt x="0" y="0"/>
                    </a:cubicBezTo>
                    <a:cubicBezTo>
                      <a:pt x="0" y="89"/>
                      <a:pt x="37" y="163"/>
                      <a:pt x="108" y="190"/>
                    </a:cubicBezTo>
                    <a:cubicBezTo>
                      <a:pt x="108" y="197"/>
                      <a:pt x="115" y="202"/>
                      <a:pt x="122" y="202"/>
                    </a:cubicBezTo>
                    <a:cubicBezTo>
                      <a:pt x="184" y="202"/>
                      <a:pt x="184" y="202"/>
                      <a:pt x="184" y="202"/>
                    </a:cubicBezTo>
                    <a:cubicBezTo>
                      <a:pt x="212" y="202"/>
                      <a:pt x="212" y="202"/>
                      <a:pt x="212" y="202"/>
                    </a:cubicBezTo>
                    <a:cubicBezTo>
                      <a:pt x="220" y="202"/>
                      <a:pt x="227" y="197"/>
                      <a:pt x="227" y="190"/>
                    </a:cubicBezTo>
                    <a:cubicBezTo>
                      <a:pt x="298" y="163"/>
                      <a:pt x="335" y="89"/>
                      <a:pt x="335" y="0"/>
                    </a:cubicBezTo>
                    <a:close/>
                  </a:path>
                </a:pathLst>
              </a:custGeom>
              <a:solidFill>
                <a:srgbClr val="E4EE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 name="Freeform 528">
                <a:extLst>
                  <a:ext uri="{FF2B5EF4-FFF2-40B4-BE49-F238E27FC236}">
                    <a16:creationId xmlns:a16="http://schemas.microsoft.com/office/drawing/2014/main" id="{2B48161B-866A-4C2A-AA7A-BDB9C2BBF6A0}"/>
                  </a:ext>
                </a:extLst>
              </p:cNvPr>
              <p:cNvSpPr>
                <a:spLocks/>
              </p:cNvSpPr>
              <p:nvPr/>
            </p:nvSpPr>
            <p:spPr bwMode="auto">
              <a:xfrm>
                <a:off x="10260013" y="5608638"/>
                <a:ext cx="952500" cy="80963"/>
              </a:xfrm>
              <a:custGeom>
                <a:avLst/>
                <a:gdLst>
                  <a:gd name="T0" fmla="*/ 335 w 335"/>
                  <a:gd name="T1" fmla="*/ 16 h 28"/>
                  <a:gd name="T2" fmla="*/ 167 w 335"/>
                  <a:gd name="T3" fmla="*/ 28 h 28"/>
                  <a:gd name="T4" fmla="*/ 0 w 335"/>
                  <a:gd name="T5" fmla="*/ 16 h 28"/>
                  <a:gd name="T6" fmla="*/ 169 w 335"/>
                  <a:gd name="T7" fmla="*/ 0 h 28"/>
                  <a:gd name="T8" fmla="*/ 335 w 335"/>
                  <a:gd name="T9" fmla="*/ 16 h 28"/>
                </a:gdLst>
                <a:ahLst/>
                <a:cxnLst>
                  <a:cxn ang="0">
                    <a:pos x="T0" y="T1"/>
                  </a:cxn>
                  <a:cxn ang="0">
                    <a:pos x="T2" y="T3"/>
                  </a:cxn>
                  <a:cxn ang="0">
                    <a:pos x="T4" y="T5"/>
                  </a:cxn>
                  <a:cxn ang="0">
                    <a:pos x="T6" y="T7"/>
                  </a:cxn>
                  <a:cxn ang="0">
                    <a:pos x="T8" y="T9"/>
                  </a:cxn>
                </a:cxnLst>
                <a:rect l="0" t="0" r="r" b="b"/>
                <a:pathLst>
                  <a:path w="335" h="28">
                    <a:moveTo>
                      <a:pt x="335" y="16"/>
                    </a:moveTo>
                    <a:cubicBezTo>
                      <a:pt x="335" y="22"/>
                      <a:pt x="260" y="28"/>
                      <a:pt x="167" y="28"/>
                    </a:cubicBezTo>
                    <a:cubicBezTo>
                      <a:pt x="75" y="28"/>
                      <a:pt x="0" y="22"/>
                      <a:pt x="0" y="16"/>
                    </a:cubicBezTo>
                    <a:cubicBezTo>
                      <a:pt x="0" y="10"/>
                      <a:pt x="77" y="0"/>
                      <a:pt x="169" y="0"/>
                    </a:cubicBezTo>
                    <a:cubicBezTo>
                      <a:pt x="262" y="0"/>
                      <a:pt x="335" y="10"/>
                      <a:pt x="335" y="16"/>
                    </a:cubicBezTo>
                    <a:close/>
                  </a:path>
                </a:pathLst>
              </a:custGeom>
              <a:solidFill>
                <a:srgbClr val="8ECA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 name="Freeform 529">
                <a:extLst>
                  <a:ext uri="{FF2B5EF4-FFF2-40B4-BE49-F238E27FC236}">
                    <a16:creationId xmlns:a16="http://schemas.microsoft.com/office/drawing/2014/main" id="{DF93627B-8DB1-4043-A433-07165FCD51FF}"/>
                  </a:ext>
                </a:extLst>
              </p:cNvPr>
              <p:cNvSpPr>
                <a:spLocks/>
              </p:cNvSpPr>
              <p:nvPr/>
            </p:nvSpPr>
            <p:spPr bwMode="auto">
              <a:xfrm>
                <a:off x="10331450" y="5643563"/>
                <a:ext cx="809625" cy="46038"/>
              </a:xfrm>
              <a:custGeom>
                <a:avLst/>
                <a:gdLst>
                  <a:gd name="T0" fmla="*/ 0 w 285"/>
                  <a:gd name="T1" fmla="*/ 10 h 16"/>
                  <a:gd name="T2" fmla="*/ 142 w 285"/>
                  <a:gd name="T3" fmla="*/ 16 h 16"/>
                  <a:gd name="T4" fmla="*/ 285 w 285"/>
                  <a:gd name="T5" fmla="*/ 10 h 16"/>
                  <a:gd name="T6" fmla="*/ 142 w 285"/>
                  <a:gd name="T7" fmla="*/ 0 h 16"/>
                  <a:gd name="T8" fmla="*/ 0 w 285"/>
                  <a:gd name="T9" fmla="*/ 10 h 16"/>
                </a:gdLst>
                <a:ahLst/>
                <a:cxnLst>
                  <a:cxn ang="0">
                    <a:pos x="T0" y="T1"/>
                  </a:cxn>
                  <a:cxn ang="0">
                    <a:pos x="T2" y="T3"/>
                  </a:cxn>
                  <a:cxn ang="0">
                    <a:pos x="T4" y="T5"/>
                  </a:cxn>
                  <a:cxn ang="0">
                    <a:pos x="T6" y="T7"/>
                  </a:cxn>
                  <a:cxn ang="0">
                    <a:pos x="T8" y="T9"/>
                  </a:cxn>
                </a:cxnLst>
                <a:rect l="0" t="0" r="r" b="b"/>
                <a:pathLst>
                  <a:path w="285" h="16">
                    <a:moveTo>
                      <a:pt x="0" y="10"/>
                    </a:moveTo>
                    <a:cubicBezTo>
                      <a:pt x="30" y="13"/>
                      <a:pt x="82" y="16"/>
                      <a:pt x="142" y="16"/>
                    </a:cubicBezTo>
                    <a:cubicBezTo>
                      <a:pt x="203" y="16"/>
                      <a:pt x="255" y="13"/>
                      <a:pt x="285" y="10"/>
                    </a:cubicBezTo>
                    <a:cubicBezTo>
                      <a:pt x="258" y="3"/>
                      <a:pt x="204" y="0"/>
                      <a:pt x="142" y="0"/>
                    </a:cubicBezTo>
                    <a:cubicBezTo>
                      <a:pt x="80" y="0"/>
                      <a:pt x="27" y="3"/>
                      <a:pt x="0" y="10"/>
                    </a:cubicBezTo>
                    <a:close/>
                  </a:path>
                </a:pathLst>
              </a:custGeom>
              <a:solidFill>
                <a:srgbClr val="3C24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 name="Freeform 530">
                <a:extLst>
                  <a:ext uri="{FF2B5EF4-FFF2-40B4-BE49-F238E27FC236}">
                    <a16:creationId xmlns:a16="http://schemas.microsoft.com/office/drawing/2014/main" id="{9040529E-4DB7-45B7-BBF4-6F80044A7903}"/>
                  </a:ext>
                </a:extLst>
              </p:cNvPr>
              <p:cNvSpPr>
                <a:spLocks/>
              </p:cNvSpPr>
              <p:nvPr/>
            </p:nvSpPr>
            <p:spPr bwMode="auto">
              <a:xfrm>
                <a:off x="10282238" y="5715000"/>
                <a:ext cx="290513" cy="395288"/>
              </a:xfrm>
              <a:custGeom>
                <a:avLst/>
                <a:gdLst>
                  <a:gd name="T0" fmla="*/ 100 w 102"/>
                  <a:gd name="T1" fmla="*/ 131 h 139"/>
                  <a:gd name="T2" fmla="*/ 50 w 102"/>
                  <a:gd name="T3" fmla="*/ 84 h 139"/>
                  <a:gd name="T4" fmla="*/ 30 w 102"/>
                  <a:gd name="T5" fmla="*/ 47 h 139"/>
                  <a:gd name="T6" fmla="*/ 21 w 102"/>
                  <a:gd name="T7" fmla="*/ 6 h 139"/>
                  <a:gd name="T8" fmla="*/ 8 w 102"/>
                  <a:gd name="T9" fmla="*/ 6 h 139"/>
                  <a:gd name="T10" fmla="*/ 37 w 102"/>
                  <a:gd name="T11" fmla="*/ 92 h 139"/>
                  <a:gd name="T12" fmla="*/ 96 w 102"/>
                  <a:gd name="T13" fmla="*/ 139 h 139"/>
                  <a:gd name="T14" fmla="*/ 100 w 102"/>
                  <a:gd name="T15" fmla="*/ 131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39">
                    <a:moveTo>
                      <a:pt x="100" y="131"/>
                    </a:moveTo>
                    <a:cubicBezTo>
                      <a:pt x="82" y="116"/>
                      <a:pt x="65" y="104"/>
                      <a:pt x="50" y="84"/>
                    </a:cubicBezTo>
                    <a:cubicBezTo>
                      <a:pt x="42" y="73"/>
                      <a:pt x="34" y="61"/>
                      <a:pt x="30" y="47"/>
                    </a:cubicBezTo>
                    <a:cubicBezTo>
                      <a:pt x="25" y="34"/>
                      <a:pt x="25" y="20"/>
                      <a:pt x="21" y="6"/>
                    </a:cubicBezTo>
                    <a:cubicBezTo>
                      <a:pt x="19" y="1"/>
                      <a:pt x="10" y="0"/>
                      <a:pt x="8" y="6"/>
                    </a:cubicBezTo>
                    <a:cubicBezTo>
                      <a:pt x="0" y="36"/>
                      <a:pt x="22" y="68"/>
                      <a:pt x="37" y="92"/>
                    </a:cubicBezTo>
                    <a:cubicBezTo>
                      <a:pt x="51" y="112"/>
                      <a:pt x="71" y="138"/>
                      <a:pt x="96" y="139"/>
                    </a:cubicBezTo>
                    <a:cubicBezTo>
                      <a:pt x="100" y="139"/>
                      <a:pt x="102" y="134"/>
                      <a:pt x="100"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grpSp>
      </p:grpSp>
    </p:spTree>
    <p:extLst>
      <p:ext uri="{BB962C8B-B14F-4D97-AF65-F5344CB8AC3E}">
        <p14:creationId xmlns:p14="http://schemas.microsoft.com/office/powerpoint/2010/main" val="23271122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D67DE4B-426E-4327-BC61-D55DC36501BA}"/>
              </a:ext>
            </a:extLst>
          </p:cNvPr>
          <p:cNvSpPr>
            <a:spLocks noGrp="1"/>
          </p:cNvSpPr>
          <p:nvPr>
            <p:ph type="title"/>
          </p:nvPr>
        </p:nvSpPr>
        <p:spPr/>
        <p:txBody>
          <a:bodyPr/>
          <a:lstStyle/>
          <a:p>
            <a:r>
              <a:rPr lang="zh-CN" altLang="en-US" dirty="0">
                <a:latin typeface="+mn-lt"/>
                <a:ea typeface="+mn-ea"/>
                <a:cs typeface="+mn-ea"/>
                <a:sym typeface="+mn-lt"/>
              </a:rPr>
              <a:t>学术类图标素材分享（单色版）</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68E78044-1846-4618-A30A-BC0C3846A444}"/>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82</a:t>
            </a:fld>
            <a:endParaRPr lang="en-US" dirty="0">
              <a:solidFill>
                <a:srgbClr val="000000">
                  <a:tint val="75000"/>
                </a:srgbClr>
              </a:solidFill>
              <a:cs typeface="+mn-ea"/>
              <a:sym typeface="+mn-lt"/>
            </a:endParaRPr>
          </a:p>
        </p:txBody>
      </p:sp>
      <p:sp>
        <p:nvSpPr>
          <p:cNvPr id="4" name="Freeform 55">
            <a:extLst>
              <a:ext uri="{FF2B5EF4-FFF2-40B4-BE49-F238E27FC236}">
                <a16:creationId xmlns:a16="http://schemas.microsoft.com/office/drawing/2014/main" id="{E3AC84CA-F969-4B3D-95D6-DB1A79108EF3}"/>
              </a:ext>
            </a:extLst>
          </p:cNvPr>
          <p:cNvSpPr>
            <a:spLocks noEditPoints="1"/>
          </p:cNvSpPr>
          <p:nvPr/>
        </p:nvSpPr>
        <p:spPr bwMode="auto">
          <a:xfrm>
            <a:off x="818745" y="1268704"/>
            <a:ext cx="432941" cy="473929"/>
          </a:xfrm>
          <a:custGeom>
            <a:avLst/>
            <a:gdLst>
              <a:gd name="T0" fmla="*/ 65 w 128"/>
              <a:gd name="T1" fmla="*/ 0 h 140"/>
              <a:gd name="T2" fmla="*/ 52 w 128"/>
              <a:gd name="T3" fmla="*/ 12 h 140"/>
              <a:gd name="T4" fmla="*/ 65 w 128"/>
              <a:gd name="T5" fmla="*/ 25 h 140"/>
              <a:gd name="T6" fmla="*/ 77 w 128"/>
              <a:gd name="T7" fmla="*/ 12 h 140"/>
              <a:gd name="T8" fmla="*/ 65 w 128"/>
              <a:gd name="T9" fmla="*/ 0 h 140"/>
              <a:gd name="T10" fmla="*/ 26 w 128"/>
              <a:gd name="T11" fmla="*/ 92 h 140"/>
              <a:gd name="T12" fmla="*/ 8 w 128"/>
              <a:gd name="T13" fmla="*/ 88 h 140"/>
              <a:gd name="T14" fmla="*/ 3 w 128"/>
              <a:gd name="T15" fmla="*/ 105 h 140"/>
              <a:gd name="T16" fmla="*/ 21 w 128"/>
              <a:gd name="T17" fmla="*/ 109 h 140"/>
              <a:gd name="T18" fmla="*/ 26 w 128"/>
              <a:gd name="T19" fmla="*/ 92 h 140"/>
              <a:gd name="T20" fmla="*/ 120 w 128"/>
              <a:gd name="T21" fmla="*/ 88 h 140"/>
              <a:gd name="T22" fmla="*/ 104 w 128"/>
              <a:gd name="T23" fmla="*/ 92 h 140"/>
              <a:gd name="T24" fmla="*/ 108 w 128"/>
              <a:gd name="T25" fmla="*/ 109 h 140"/>
              <a:gd name="T26" fmla="*/ 125 w 128"/>
              <a:gd name="T27" fmla="*/ 105 h 140"/>
              <a:gd name="T28" fmla="*/ 120 w 128"/>
              <a:gd name="T29" fmla="*/ 88 h 140"/>
              <a:gd name="T30" fmla="*/ 114 w 128"/>
              <a:gd name="T31" fmla="*/ 78 h 140"/>
              <a:gd name="T32" fmla="*/ 122 w 128"/>
              <a:gd name="T33" fmla="*/ 80 h 140"/>
              <a:gd name="T34" fmla="*/ 122 w 128"/>
              <a:gd name="T35" fmla="*/ 60 h 140"/>
              <a:gd name="T36" fmla="*/ 114 w 128"/>
              <a:gd name="T37" fmla="*/ 61 h 140"/>
              <a:gd name="T38" fmla="*/ 114 w 128"/>
              <a:gd name="T39" fmla="*/ 78 h 140"/>
              <a:gd name="T40" fmla="*/ 120 w 128"/>
              <a:gd name="T41" fmla="*/ 52 h 140"/>
              <a:gd name="T42" fmla="*/ 125 w 128"/>
              <a:gd name="T43" fmla="*/ 35 h 140"/>
              <a:gd name="T44" fmla="*/ 108 w 128"/>
              <a:gd name="T45" fmla="*/ 30 h 140"/>
              <a:gd name="T46" fmla="*/ 104 w 128"/>
              <a:gd name="T47" fmla="*/ 47 h 140"/>
              <a:gd name="T48" fmla="*/ 120 w 128"/>
              <a:gd name="T49" fmla="*/ 52 h 140"/>
              <a:gd name="T50" fmla="*/ 28 w 128"/>
              <a:gd name="T51" fmla="*/ 25 h 140"/>
              <a:gd name="T52" fmla="*/ 33 w 128"/>
              <a:gd name="T53" fmla="*/ 31 h 140"/>
              <a:gd name="T54" fmla="*/ 47 w 128"/>
              <a:gd name="T55" fmla="*/ 23 h 140"/>
              <a:gd name="T56" fmla="*/ 45 w 128"/>
              <a:gd name="T57" fmla="*/ 15 h 140"/>
              <a:gd name="T58" fmla="*/ 28 w 128"/>
              <a:gd name="T59" fmla="*/ 25 h 140"/>
              <a:gd name="T60" fmla="*/ 65 w 128"/>
              <a:gd name="T61" fmla="*/ 115 h 140"/>
              <a:gd name="T62" fmla="*/ 52 w 128"/>
              <a:gd name="T63" fmla="*/ 127 h 140"/>
              <a:gd name="T64" fmla="*/ 65 w 128"/>
              <a:gd name="T65" fmla="*/ 140 h 140"/>
              <a:gd name="T66" fmla="*/ 77 w 128"/>
              <a:gd name="T67" fmla="*/ 127 h 140"/>
              <a:gd name="T68" fmla="*/ 65 w 128"/>
              <a:gd name="T69" fmla="*/ 115 h 140"/>
              <a:gd name="T70" fmla="*/ 7 w 128"/>
              <a:gd name="T71" fmla="*/ 80 h 140"/>
              <a:gd name="T72" fmla="*/ 15 w 128"/>
              <a:gd name="T73" fmla="*/ 78 h 140"/>
              <a:gd name="T74" fmla="*/ 15 w 128"/>
              <a:gd name="T75" fmla="*/ 61 h 140"/>
              <a:gd name="T76" fmla="*/ 7 w 128"/>
              <a:gd name="T77" fmla="*/ 60 h 140"/>
              <a:gd name="T78" fmla="*/ 7 w 128"/>
              <a:gd name="T79" fmla="*/ 80 h 140"/>
              <a:gd name="T80" fmla="*/ 8 w 128"/>
              <a:gd name="T81" fmla="*/ 52 h 140"/>
              <a:gd name="T82" fmla="*/ 26 w 128"/>
              <a:gd name="T83" fmla="*/ 47 h 140"/>
              <a:gd name="T84" fmla="*/ 21 w 128"/>
              <a:gd name="T85" fmla="*/ 30 h 140"/>
              <a:gd name="T86" fmla="*/ 3 w 128"/>
              <a:gd name="T87" fmla="*/ 35 h 140"/>
              <a:gd name="T88" fmla="*/ 8 w 128"/>
              <a:gd name="T89" fmla="*/ 52 h 140"/>
              <a:gd name="T90" fmla="*/ 27 w 128"/>
              <a:gd name="T91" fmla="*/ 115 h 140"/>
              <a:gd name="T92" fmla="*/ 45 w 128"/>
              <a:gd name="T93" fmla="*/ 124 h 140"/>
              <a:gd name="T94" fmla="*/ 47 w 128"/>
              <a:gd name="T95" fmla="*/ 117 h 140"/>
              <a:gd name="T96" fmla="*/ 33 w 128"/>
              <a:gd name="T97" fmla="*/ 109 h 140"/>
              <a:gd name="T98" fmla="*/ 27 w 128"/>
              <a:gd name="T99" fmla="*/ 115 h 140"/>
              <a:gd name="T100" fmla="*/ 82 w 128"/>
              <a:gd name="T101" fmla="*/ 22 h 140"/>
              <a:gd name="T102" fmla="*/ 97 w 128"/>
              <a:gd name="T103" fmla="*/ 31 h 140"/>
              <a:gd name="T104" fmla="*/ 102 w 128"/>
              <a:gd name="T105" fmla="*/ 25 h 140"/>
              <a:gd name="T106" fmla="*/ 85 w 128"/>
              <a:gd name="T107" fmla="*/ 15 h 140"/>
              <a:gd name="T108" fmla="*/ 82 w 128"/>
              <a:gd name="T109" fmla="*/ 22 h 140"/>
              <a:gd name="T110" fmla="*/ 82 w 128"/>
              <a:gd name="T111" fmla="*/ 117 h 140"/>
              <a:gd name="T112" fmla="*/ 84 w 128"/>
              <a:gd name="T113" fmla="*/ 124 h 140"/>
              <a:gd name="T114" fmla="*/ 102 w 128"/>
              <a:gd name="T115" fmla="*/ 114 h 140"/>
              <a:gd name="T116" fmla="*/ 97 w 128"/>
              <a:gd name="T117" fmla="*/ 108 h 140"/>
              <a:gd name="T118" fmla="*/ 82 w 128"/>
              <a:gd name="T119" fmla="*/ 11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 h="140">
                <a:moveTo>
                  <a:pt x="65" y="0"/>
                </a:moveTo>
                <a:cubicBezTo>
                  <a:pt x="58" y="0"/>
                  <a:pt x="52" y="5"/>
                  <a:pt x="52" y="12"/>
                </a:cubicBezTo>
                <a:cubicBezTo>
                  <a:pt x="52" y="19"/>
                  <a:pt x="58" y="25"/>
                  <a:pt x="65" y="25"/>
                </a:cubicBezTo>
                <a:cubicBezTo>
                  <a:pt x="71" y="25"/>
                  <a:pt x="77" y="19"/>
                  <a:pt x="77" y="12"/>
                </a:cubicBezTo>
                <a:cubicBezTo>
                  <a:pt x="77" y="5"/>
                  <a:pt x="71" y="0"/>
                  <a:pt x="65" y="0"/>
                </a:cubicBezTo>
                <a:close/>
                <a:moveTo>
                  <a:pt x="26" y="92"/>
                </a:moveTo>
                <a:cubicBezTo>
                  <a:pt x="22" y="86"/>
                  <a:pt x="14" y="84"/>
                  <a:pt x="8" y="88"/>
                </a:cubicBezTo>
                <a:cubicBezTo>
                  <a:pt x="2" y="91"/>
                  <a:pt x="0" y="99"/>
                  <a:pt x="3" y="105"/>
                </a:cubicBezTo>
                <a:cubicBezTo>
                  <a:pt x="7" y="111"/>
                  <a:pt x="15" y="113"/>
                  <a:pt x="21" y="109"/>
                </a:cubicBezTo>
                <a:cubicBezTo>
                  <a:pt x="27" y="106"/>
                  <a:pt x="29" y="98"/>
                  <a:pt x="26" y="92"/>
                </a:cubicBezTo>
                <a:close/>
                <a:moveTo>
                  <a:pt x="120" y="88"/>
                </a:moveTo>
                <a:cubicBezTo>
                  <a:pt x="115" y="84"/>
                  <a:pt x="107" y="86"/>
                  <a:pt x="104" y="92"/>
                </a:cubicBezTo>
                <a:cubicBezTo>
                  <a:pt x="101" y="98"/>
                  <a:pt x="103" y="106"/>
                  <a:pt x="108" y="109"/>
                </a:cubicBezTo>
                <a:cubicBezTo>
                  <a:pt x="114" y="113"/>
                  <a:pt x="121" y="111"/>
                  <a:pt x="125" y="105"/>
                </a:cubicBezTo>
                <a:cubicBezTo>
                  <a:pt x="128" y="99"/>
                  <a:pt x="126" y="91"/>
                  <a:pt x="120" y="88"/>
                </a:cubicBezTo>
                <a:close/>
                <a:moveTo>
                  <a:pt x="114" y="78"/>
                </a:moveTo>
                <a:cubicBezTo>
                  <a:pt x="117" y="78"/>
                  <a:pt x="119" y="79"/>
                  <a:pt x="122" y="80"/>
                </a:cubicBezTo>
                <a:cubicBezTo>
                  <a:pt x="122" y="60"/>
                  <a:pt x="122" y="60"/>
                  <a:pt x="122" y="60"/>
                </a:cubicBezTo>
                <a:cubicBezTo>
                  <a:pt x="119" y="61"/>
                  <a:pt x="117" y="61"/>
                  <a:pt x="114" y="61"/>
                </a:cubicBezTo>
                <a:lnTo>
                  <a:pt x="114" y="78"/>
                </a:lnTo>
                <a:close/>
                <a:moveTo>
                  <a:pt x="120" y="52"/>
                </a:moveTo>
                <a:cubicBezTo>
                  <a:pt x="126" y="48"/>
                  <a:pt x="128" y="41"/>
                  <a:pt x="125" y="35"/>
                </a:cubicBezTo>
                <a:cubicBezTo>
                  <a:pt x="121" y="29"/>
                  <a:pt x="114" y="27"/>
                  <a:pt x="108" y="30"/>
                </a:cubicBezTo>
                <a:cubicBezTo>
                  <a:pt x="103" y="34"/>
                  <a:pt x="101" y="41"/>
                  <a:pt x="104" y="47"/>
                </a:cubicBezTo>
                <a:cubicBezTo>
                  <a:pt x="107" y="53"/>
                  <a:pt x="115" y="55"/>
                  <a:pt x="120" y="52"/>
                </a:cubicBezTo>
                <a:close/>
                <a:moveTo>
                  <a:pt x="28" y="25"/>
                </a:moveTo>
                <a:cubicBezTo>
                  <a:pt x="30" y="27"/>
                  <a:pt x="32" y="29"/>
                  <a:pt x="33" y="31"/>
                </a:cubicBezTo>
                <a:cubicBezTo>
                  <a:pt x="47" y="23"/>
                  <a:pt x="47" y="23"/>
                  <a:pt x="47" y="23"/>
                </a:cubicBezTo>
                <a:cubicBezTo>
                  <a:pt x="46" y="21"/>
                  <a:pt x="45" y="18"/>
                  <a:pt x="45" y="15"/>
                </a:cubicBezTo>
                <a:lnTo>
                  <a:pt x="28" y="25"/>
                </a:lnTo>
                <a:close/>
                <a:moveTo>
                  <a:pt x="65" y="115"/>
                </a:moveTo>
                <a:cubicBezTo>
                  <a:pt x="58" y="115"/>
                  <a:pt x="52" y="121"/>
                  <a:pt x="52" y="127"/>
                </a:cubicBezTo>
                <a:cubicBezTo>
                  <a:pt x="52" y="134"/>
                  <a:pt x="58" y="140"/>
                  <a:pt x="65" y="140"/>
                </a:cubicBezTo>
                <a:cubicBezTo>
                  <a:pt x="71" y="140"/>
                  <a:pt x="77" y="134"/>
                  <a:pt x="77" y="127"/>
                </a:cubicBezTo>
                <a:cubicBezTo>
                  <a:pt x="77" y="121"/>
                  <a:pt x="71" y="115"/>
                  <a:pt x="65" y="115"/>
                </a:cubicBezTo>
                <a:close/>
                <a:moveTo>
                  <a:pt x="7" y="80"/>
                </a:moveTo>
                <a:cubicBezTo>
                  <a:pt x="10" y="79"/>
                  <a:pt x="12" y="78"/>
                  <a:pt x="15" y="78"/>
                </a:cubicBezTo>
                <a:cubicBezTo>
                  <a:pt x="15" y="61"/>
                  <a:pt x="15" y="61"/>
                  <a:pt x="15" y="61"/>
                </a:cubicBezTo>
                <a:cubicBezTo>
                  <a:pt x="12" y="61"/>
                  <a:pt x="10" y="61"/>
                  <a:pt x="7" y="60"/>
                </a:cubicBezTo>
                <a:lnTo>
                  <a:pt x="7" y="80"/>
                </a:lnTo>
                <a:close/>
                <a:moveTo>
                  <a:pt x="8" y="52"/>
                </a:moveTo>
                <a:cubicBezTo>
                  <a:pt x="14" y="55"/>
                  <a:pt x="22" y="53"/>
                  <a:pt x="26" y="47"/>
                </a:cubicBezTo>
                <a:cubicBezTo>
                  <a:pt x="29" y="41"/>
                  <a:pt x="27" y="34"/>
                  <a:pt x="21" y="30"/>
                </a:cubicBezTo>
                <a:cubicBezTo>
                  <a:pt x="15" y="27"/>
                  <a:pt x="7" y="29"/>
                  <a:pt x="3" y="35"/>
                </a:cubicBezTo>
                <a:cubicBezTo>
                  <a:pt x="0" y="41"/>
                  <a:pt x="2" y="48"/>
                  <a:pt x="8" y="52"/>
                </a:cubicBezTo>
                <a:close/>
                <a:moveTo>
                  <a:pt x="27" y="115"/>
                </a:moveTo>
                <a:cubicBezTo>
                  <a:pt x="45" y="124"/>
                  <a:pt x="45" y="124"/>
                  <a:pt x="45" y="124"/>
                </a:cubicBezTo>
                <a:cubicBezTo>
                  <a:pt x="45" y="122"/>
                  <a:pt x="46" y="119"/>
                  <a:pt x="47" y="117"/>
                </a:cubicBezTo>
                <a:cubicBezTo>
                  <a:pt x="33" y="109"/>
                  <a:pt x="33" y="109"/>
                  <a:pt x="33" y="109"/>
                </a:cubicBezTo>
                <a:cubicBezTo>
                  <a:pt x="31" y="111"/>
                  <a:pt x="29" y="113"/>
                  <a:pt x="27" y="115"/>
                </a:cubicBezTo>
                <a:close/>
                <a:moveTo>
                  <a:pt x="82" y="22"/>
                </a:moveTo>
                <a:cubicBezTo>
                  <a:pt x="97" y="31"/>
                  <a:pt x="97" y="31"/>
                  <a:pt x="97" y="31"/>
                </a:cubicBezTo>
                <a:cubicBezTo>
                  <a:pt x="98" y="29"/>
                  <a:pt x="100" y="27"/>
                  <a:pt x="102" y="25"/>
                </a:cubicBezTo>
                <a:cubicBezTo>
                  <a:pt x="85" y="15"/>
                  <a:pt x="85" y="15"/>
                  <a:pt x="85" y="15"/>
                </a:cubicBezTo>
                <a:cubicBezTo>
                  <a:pt x="84" y="18"/>
                  <a:pt x="83" y="20"/>
                  <a:pt x="82" y="22"/>
                </a:cubicBezTo>
                <a:close/>
                <a:moveTo>
                  <a:pt x="82" y="117"/>
                </a:moveTo>
                <a:cubicBezTo>
                  <a:pt x="83" y="119"/>
                  <a:pt x="84" y="121"/>
                  <a:pt x="84" y="124"/>
                </a:cubicBezTo>
                <a:cubicBezTo>
                  <a:pt x="102" y="114"/>
                  <a:pt x="102" y="114"/>
                  <a:pt x="102" y="114"/>
                </a:cubicBezTo>
                <a:cubicBezTo>
                  <a:pt x="100" y="112"/>
                  <a:pt x="98" y="110"/>
                  <a:pt x="97" y="108"/>
                </a:cubicBezTo>
                <a:lnTo>
                  <a:pt x="82" y="117"/>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 name="Freeform 56">
            <a:extLst>
              <a:ext uri="{FF2B5EF4-FFF2-40B4-BE49-F238E27FC236}">
                <a16:creationId xmlns:a16="http://schemas.microsoft.com/office/drawing/2014/main" id="{63522B67-4364-4126-B1EA-E74923E2EDB6}"/>
              </a:ext>
            </a:extLst>
          </p:cNvPr>
          <p:cNvSpPr>
            <a:spLocks noEditPoints="1"/>
          </p:cNvSpPr>
          <p:nvPr/>
        </p:nvSpPr>
        <p:spPr bwMode="auto">
          <a:xfrm>
            <a:off x="1912621" y="1281512"/>
            <a:ext cx="522602" cy="512355"/>
          </a:xfrm>
          <a:custGeom>
            <a:avLst/>
            <a:gdLst>
              <a:gd name="T0" fmla="*/ 106 w 154"/>
              <a:gd name="T1" fmla="*/ 83 h 151"/>
              <a:gd name="T2" fmla="*/ 127 w 154"/>
              <a:gd name="T3" fmla="*/ 61 h 151"/>
              <a:gd name="T4" fmla="*/ 123 w 154"/>
              <a:gd name="T5" fmla="*/ 59 h 151"/>
              <a:gd name="T6" fmla="*/ 103 w 154"/>
              <a:gd name="T7" fmla="*/ 79 h 151"/>
              <a:gd name="T8" fmla="*/ 106 w 154"/>
              <a:gd name="T9" fmla="*/ 83 h 151"/>
              <a:gd name="T10" fmla="*/ 150 w 154"/>
              <a:gd name="T11" fmla="*/ 73 h 151"/>
              <a:gd name="T12" fmla="*/ 117 w 154"/>
              <a:gd name="T13" fmla="*/ 106 h 151"/>
              <a:gd name="T14" fmla="*/ 120 w 154"/>
              <a:gd name="T15" fmla="*/ 110 h 151"/>
              <a:gd name="T16" fmla="*/ 154 w 154"/>
              <a:gd name="T17" fmla="*/ 76 h 151"/>
              <a:gd name="T18" fmla="*/ 150 w 154"/>
              <a:gd name="T19" fmla="*/ 73 h 151"/>
              <a:gd name="T20" fmla="*/ 76 w 154"/>
              <a:gd name="T21" fmla="*/ 147 h 151"/>
              <a:gd name="T22" fmla="*/ 78 w 154"/>
              <a:gd name="T23" fmla="*/ 151 h 151"/>
              <a:gd name="T24" fmla="*/ 112 w 154"/>
              <a:gd name="T25" fmla="*/ 117 h 151"/>
              <a:gd name="T26" fmla="*/ 108 w 154"/>
              <a:gd name="T27" fmla="*/ 114 h 151"/>
              <a:gd name="T28" fmla="*/ 76 w 154"/>
              <a:gd name="T29" fmla="*/ 147 h 151"/>
              <a:gd name="T30" fmla="*/ 98 w 154"/>
              <a:gd name="T31" fmla="*/ 108 h 151"/>
              <a:gd name="T32" fmla="*/ 94 w 154"/>
              <a:gd name="T33" fmla="*/ 106 h 151"/>
              <a:gd name="T34" fmla="*/ 67 w 154"/>
              <a:gd name="T35" fmla="*/ 133 h 151"/>
              <a:gd name="T36" fmla="*/ 69 w 154"/>
              <a:gd name="T37" fmla="*/ 137 h 151"/>
              <a:gd name="T38" fmla="*/ 98 w 154"/>
              <a:gd name="T39" fmla="*/ 108 h 151"/>
              <a:gd name="T40" fmla="*/ 85 w 154"/>
              <a:gd name="T41" fmla="*/ 103 h 151"/>
              <a:gd name="T42" fmla="*/ 81 w 154"/>
              <a:gd name="T43" fmla="*/ 100 h 151"/>
              <a:gd name="T44" fmla="*/ 61 w 154"/>
              <a:gd name="T45" fmla="*/ 120 h 151"/>
              <a:gd name="T46" fmla="*/ 64 w 154"/>
              <a:gd name="T47" fmla="*/ 124 h 151"/>
              <a:gd name="T48" fmla="*/ 85 w 154"/>
              <a:gd name="T49" fmla="*/ 103 h 151"/>
              <a:gd name="T50" fmla="*/ 109 w 154"/>
              <a:gd name="T51" fmla="*/ 92 h 151"/>
              <a:gd name="T52" fmla="*/ 111 w 154"/>
              <a:gd name="T53" fmla="*/ 95 h 151"/>
              <a:gd name="T54" fmla="*/ 140 w 154"/>
              <a:gd name="T55" fmla="*/ 67 h 151"/>
              <a:gd name="T56" fmla="*/ 136 w 154"/>
              <a:gd name="T57" fmla="*/ 65 h 151"/>
              <a:gd name="T58" fmla="*/ 109 w 154"/>
              <a:gd name="T59" fmla="*/ 92 h 151"/>
              <a:gd name="T60" fmla="*/ 64 w 154"/>
              <a:gd name="T61" fmla="*/ 30 h 151"/>
              <a:gd name="T62" fmla="*/ 99 w 154"/>
              <a:gd name="T63" fmla="*/ 64 h 151"/>
              <a:gd name="T64" fmla="*/ 112 w 154"/>
              <a:gd name="T65" fmla="*/ 51 h 151"/>
              <a:gd name="T66" fmla="*/ 77 w 154"/>
              <a:gd name="T67" fmla="*/ 17 h 151"/>
              <a:gd name="T68" fmla="*/ 19 w 154"/>
              <a:gd name="T69" fmla="*/ 14 h 151"/>
              <a:gd name="T70" fmla="*/ 32 w 154"/>
              <a:gd name="T71" fmla="*/ 27 h 151"/>
              <a:gd name="T72" fmla="*/ 64 w 154"/>
              <a:gd name="T73" fmla="*/ 30 h 151"/>
              <a:gd name="T74" fmla="*/ 95 w 154"/>
              <a:gd name="T75" fmla="*/ 41 h 151"/>
              <a:gd name="T76" fmla="*/ 105 w 154"/>
              <a:gd name="T77" fmla="*/ 51 h 151"/>
              <a:gd name="T78" fmla="*/ 98 w 154"/>
              <a:gd name="T79" fmla="*/ 57 h 151"/>
              <a:gd name="T80" fmla="*/ 89 w 154"/>
              <a:gd name="T81" fmla="*/ 48 h 151"/>
              <a:gd name="T82" fmla="*/ 95 w 154"/>
              <a:gd name="T83" fmla="*/ 41 h 151"/>
              <a:gd name="T84" fmla="*/ 31 w 154"/>
              <a:gd name="T85" fmla="*/ 64 h 151"/>
              <a:gd name="T86" fmla="*/ 28 w 154"/>
              <a:gd name="T87" fmla="*/ 31 h 151"/>
              <a:gd name="T88" fmla="*/ 15 w 154"/>
              <a:gd name="T89" fmla="*/ 18 h 151"/>
              <a:gd name="T90" fmla="*/ 18 w 154"/>
              <a:gd name="T91" fmla="*/ 76 h 151"/>
              <a:gd name="T92" fmla="*/ 52 w 154"/>
              <a:gd name="T93" fmla="*/ 111 h 151"/>
              <a:gd name="T94" fmla="*/ 65 w 154"/>
              <a:gd name="T95" fmla="*/ 98 h 151"/>
              <a:gd name="T96" fmla="*/ 31 w 154"/>
              <a:gd name="T97" fmla="*/ 64 h 151"/>
              <a:gd name="T98" fmla="*/ 51 w 154"/>
              <a:gd name="T99" fmla="*/ 105 h 151"/>
              <a:gd name="T100" fmla="*/ 42 w 154"/>
              <a:gd name="T101" fmla="*/ 94 h 151"/>
              <a:gd name="T102" fmla="*/ 49 w 154"/>
              <a:gd name="T103" fmla="*/ 87 h 151"/>
              <a:gd name="T104" fmla="*/ 58 w 154"/>
              <a:gd name="T105" fmla="*/ 97 h 151"/>
              <a:gd name="T106" fmla="*/ 51 w 154"/>
              <a:gd name="T107" fmla="*/ 10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 h="151">
                <a:moveTo>
                  <a:pt x="106" y="83"/>
                </a:moveTo>
                <a:cubicBezTo>
                  <a:pt x="115" y="78"/>
                  <a:pt x="123" y="71"/>
                  <a:pt x="127" y="61"/>
                </a:cubicBezTo>
                <a:cubicBezTo>
                  <a:pt x="126" y="61"/>
                  <a:pt x="124" y="59"/>
                  <a:pt x="123" y="59"/>
                </a:cubicBezTo>
                <a:cubicBezTo>
                  <a:pt x="119" y="68"/>
                  <a:pt x="112" y="75"/>
                  <a:pt x="103" y="79"/>
                </a:cubicBezTo>
                <a:cubicBezTo>
                  <a:pt x="104" y="80"/>
                  <a:pt x="105" y="82"/>
                  <a:pt x="106" y="83"/>
                </a:cubicBezTo>
                <a:close/>
                <a:moveTo>
                  <a:pt x="150" y="73"/>
                </a:moveTo>
                <a:cubicBezTo>
                  <a:pt x="144" y="88"/>
                  <a:pt x="132" y="100"/>
                  <a:pt x="117" y="106"/>
                </a:cubicBezTo>
                <a:cubicBezTo>
                  <a:pt x="118" y="107"/>
                  <a:pt x="119" y="109"/>
                  <a:pt x="120" y="110"/>
                </a:cubicBezTo>
                <a:cubicBezTo>
                  <a:pt x="135" y="103"/>
                  <a:pt x="147" y="91"/>
                  <a:pt x="154" y="76"/>
                </a:cubicBezTo>
                <a:cubicBezTo>
                  <a:pt x="153" y="75"/>
                  <a:pt x="151" y="74"/>
                  <a:pt x="150" y="73"/>
                </a:cubicBezTo>
                <a:close/>
                <a:moveTo>
                  <a:pt x="76" y="147"/>
                </a:moveTo>
                <a:cubicBezTo>
                  <a:pt x="76" y="148"/>
                  <a:pt x="78" y="150"/>
                  <a:pt x="78" y="151"/>
                </a:cubicBezTo>
                <a:cubicBezTo>
                  <a:pt x="93" y="144"/>
                  <a:pt x="106" y="132"/>
                  <a:pt x="112" y="117"/>
                </a:cubicBezTo>
                <a:cubicBezTo>
                  <a:pt x="111" y="116"/>
                  <a:pt x="109" y="115"/>
                  <a:pt x="108" y="114"/>
                </a:cubicBezTo>
                <a:cubicBezTo>
                  <a:pt x="102" y="129"/>
                  <a:pt x="90" y="141"/>
                  <a:pt x="76" y="147"/>
                </a:cubicBezTo>
                <a:close/>
                <a:moveTo>
                  <a:pt x="98" y="108"/>
                </a:moveTo>
                <a:cubicBezTo>
                  <a:pt x="97" y="108"/>
                  <a:pt x="95" y="106"/>
                  <a:pt x="94" y="106"/>
                </a:cubicBezTo>
                <a:cubicBezTo>
                  <a:pt x="89" y="118"/>
                  <a:pt x="79" y="127"/>
                  <a:pt x="67" y="133"/>
                </a:cubicBezTo>
                <a:cubicBezTo>
                  <a:pt x="67" y="134"/>
                  <a:pt x="69" y="136"/>
                  <a:pt x="69" y="137"/>
                </a:cubicBezTo>
                <a:cubicBezTo>
                  <a:pt x="82" y="131"/>
                  <a:pt x="92" y="121"/>
                  <a:pt x="98" y="108"/>
                </a:cubicBezTo>
                <a:close/>
                <a:moveTo>
                  <a:pt x="85" y="103"/>
                </a:moveTo>
                <a:cubicBezTo>
                  <a:pt x="84" y="102"/>
                  <a:pt x="82" y="101"/>
                  <a:pt x="81" y="100"/>
                </a:cubicBezTo>
                <a:cubicBezTo>
                  <a:pt x="77" y="109"/>
                  <a:pt x="70" y="116"/>
                  <a:pt x="61" y="120"/>
                </a:cubicBezTo>
                <a:cubicBezTo>
                  <a:pt x="62" y="121"/>
                  <a:pt x="63" y="123"/>
                  <a:pt x="64" y="124"/>
                </a:cubicBezTo>
                <a:cubicBezTo>
                  <a:pt x="73" y="120"/>
                  <a:pt x="81" y="112"/>
                  <a:pt x="85" y="103"/>
                </a:cubicBezTo>
                <a:close/>
                <a:moveTo>
                  <a:pt x="109" y="92"/>
                </a:moveTo>
                <a:cubicBezTo>
                  <a:pt x="109" y="92"/>
                  <a:pt x="111" y="95"/>
                  <a:pt x="111" y="95"/>
                </a:cubicBezTo>
                <a:cubicBezTo>
                  <a:pt x="124" y="90"/>
                  <a:pt x="134" y="80"/>
                  <a:pt x="140" y="67"/>
                </a:cubicBezTo>
                <a:cubicBezTo>
                  <a:pt x="139" y="67"/>
                  <a:pt x="137" y="65"/>
                  <a:pt x="136" y="65"/>
                </a:cubicBezTo>
                <a:cubicBezTo>
                  <a:pt x="130" y="77"/>
                  <a:pt x="121" y="86"/>
                  <a:pt x="109" y="92"/>
                </a:cubicBezTo>
                <a:close/>
                <a:moveTo>
                  <a:pt x="64" y="30"/>
                </a:moveTo>
                <a:cubicBezTo>
                  <a:pt x="99" y="64"/>
                  <a:pt x="99" y="64"/>
                  <a:pt x="99" y="64"/>
                </a:cubicBezTo>
                <a:cubicBezTo>
                  <a:pt x="112" y="51"/>
                  <a:pt x="112" y="51"/>
                  <a:pt x="112" y="51"/>
                </a:cubicBezTo>
                <a:cubicBezTo>
                  <a:pt x="77" y="17"/>
                  <a:pt x="77" y="17"/>
                  <a:pt x="77" y="17"/>
                </a:cubicBezTo>
                <a:cubicBezTo>
                  <a:pt x="61" y="0"/>
                  <a:pt x="35" y="0"/>
                  <a:pt x="19" y="14"/>
                </a:cubicBezTo>
                <a:cubicBezTo>
                  <a:pt x="32" y="27"/>
                  <a:pt x="32" y="27"/>
                  <a:pt x="32" y="27"/>
                </a:cubicBezTo>
                <a:cubicBezTo>
                  <a:pt x="41" y="20"/>
                  <a:pt x="55" y="21"/>
                  <a:pt x="64" y="30"/>
                </a:cubicBezTo>
                <a:close/>
                <a:moveTo>
                  <a:pt x="95" y="41"/>
                </a:moveTo>
                <a:cubicBezTo>
                  <a:pt x="105" y="51"/>
                  <a:pt x="105" y="51"/>
                  <a:pt x="105" y="51"/>
                </a:cubicBezTo>
                <a:cubicBezTo>
                  <a:pt x="98" y="57"/>
                  <a:pt x="98" y="57"/>
                  <a:pt x="98" y="57"/>
                </a:cubicBezTo>
                <a:cubicBezTo>
                  <a:pt x="89" y="48"/>
                  <a:pt x="89" y="48"/>
                  <a:pt x="89" y="48"/>
                </a:cubicBezTo>
                <a:lnTo>
                  <a:pt x="95" y="41"/>
                </a:lnTo>
                <a:close/>
                <a:moveTo>
                  <a:pt x="31" y="64"/>
                </a:moveTo>
                <a:cubicBezTo>
                  <a:pt x="22" y="54"/>
                  <a:pt x="21" y="40"/>
                  <a:pt x="28" y="31"/>
                </a:cubicBezTo>
                <a:cubicBezTo>
                  <a:pt x="15" y="18"/>
                  <a:pt x="15" y="18"/>
                  <a:pt x="15" y="18"/>
                </a:cubicBezTo>
                <a:cubicBezTo>
                  <a:pt x="0" y="34"/>
                  <a:pt x="1" y="60"/>
                  <a:pt x="18" y="76"/>
                </a:cubicBezTo>
                <a:cubicBezTo>
                  <a:pt x="52" y="111"/>
                  <a:pt x="52" y="111"/>
                  <a:pt x="52" y="111"/>
                </a:cubicBezTo>
                <a:cubicBezTo>
                  <a:pt x="65" y="98"/>
                  <a:pt x="65" y="98"/>
                  <a:pt x="65" y="98"/>
                </a:cubicBezTo>
                <a:lnTo>
                  <a:pt x="31" y="64"/>
                </a:lnTo>
                <a:close/>
                <a:moveTo>
                  <a:pt x="51" y="105"/>
                </a:moveTo>
                <a:cubicBezTo>
                  <a:pt x="42" y="94"/>
                  <a:pt x="42" y="94"/>
                  <a:pt x="42" y="94"/>
                </a:cubicBezTo>
                <a:cubicBezTo>
                  <a:pt x="49" y="87"/>
                  <a:pt x="49" y="87"/>
                  <a:pt x="49" y="87"/>
                </a:cubicBezTo>
                <a:cubicBezTo>
                  <a:pt x="58" y="97"/>
                  <a:pt x="58" y="97"/>
                  <a:pt x="58" y="97"/>
                </a:cubicBezTo>
                <a:lnTo>
                  <a:pt x="51" y="105"/>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 name="Freeform 57">
            <a:extLst>
              <a:ext uri="{FF2B5EF4-FFF2-40B4-BE49-F238E27FC236}">
                <a16:creationId xmlns:a16="http://schemas.microsoft.com/office/drawing/2014/main" id="{65C25F30-A41B-48AF-969B-67E96FE0706A}"/>
              </a:ext>
            </a:extLst>
          </p:cNvPr>
          <p:cNvSpPr>
            <a:spLocks noEditPoints="1"/>
          </p:cNvSpPr>
          <p:nvPr/>
        </p:nvSpPr>
        <p:spPr bwMode="auto">
          <a:xfrm>
            <a:off x="2980882" y="1281512"/>
            <a:ext cx="578961" cy="489300"/>
          </a:xfrm>
          <a:custGeom>
            <a:avLst/>
            <a:gdLst>
              <a:gd name="T0" fmla="*/ 144 w 171"/>
              <a:gd name="T1" fmla="*/ 95 h 144"/>
              <a:gd name="T2" fmla="*/ 166 w 171"/>
              <a:gd name="T3" fmla="*/ 41 h 144"/>
              <a:gd name="T4" fmla="*/ 160 w 171"/>
              <a:gd name="T5" fmla="*/ 38 h 144"/>
              <a:gd name="T6" fmla="*/ 138 w 171"/>
              <a:gd name="T7" fmla="*/ 95 h 144"/>
              <a:gd name="T8" fmla="*/ 93 w 171"/>
              <a:gd name="T9" fmla="*/ 95 h 144"/>
              <a:gd name="T10" fmla="*/ 71 w 171"/>
              <a:gd name="T11" fmla="*/ 38 h 144"/>
              <a:gd name="T12" fmla="*/ 71 w 171"/>
              <a:gd name="T13" fmla="*/ 39 h 144"/>
              <a:gd name="T14" fmla="*/ 40 w 171"/>
              <a:gd name="T15" fmla="*/ 27 h 144"/>
              <a:gd name="T16" fmla="*/ 40 w 171"/>
              <a:gd name="T17" fmla="*/ 0 h 144"/>
              <a:gd name="T18" fmla="*/ 31 w 171"/>
              <a:gd name="T19" fmla="*/ 0 h 144"/>
              <a:gd name="T20" fmla="*/ 31 w 171"/>
              <a:gd name="T21" fmla="*/ 34 h 144"/>
              <a:gd name="T22" fmla="*/ 29 w 171"/>
              <a:gd name="T23" fmla="*/ 39 h 144"/>
              <a:gd name="T24" fmla="*/ 29 w 171"/>
              <a:gd name="T25" fmla="*/ 38 h 144"/>
              <a:gd name="T26" fmla="*/ 0 w 171"/>
              <a:gd name="T27" fmla="*/ 112 h 144"/>
              <a:gd name="T28" fmla="*/ 5 w 171"/>
              <a:gd name="T29" fmla="*/ 114 h 144"/>
              <a:gd name="T30" fmla="*/ 10 w 171"/>
              <a:gd name="T31" fmla="*/ 103 h 144"/>
              <a:gd name="T32" fmla="*/ 31 w 171"/>
              <a:gd name="T33" fmla="*/ 103 h 144"/>
              <a:gd name="T34" fmla="*/ 31 w 171"/>
              <a:gd name="T35" fmla="*/ 144 h 144"/>
              <a:gd name="T36" fmla="*/ 40 w 171"/>
              <a:gd name="T37" fmla="*/ 144 h 144"/>
              <a:gd name="T38" fmla="*/ 40 w 171"/>
              <a:gd name="T39" fmla="*/ 103 h 144"/>
              <a:gd name="T40" fmla="*/ 90 w 171"/>
              <a:gd name="T41" fmla="*/ 103 h 144"/>
              <a:gd name="T42" fmla="*/ 94 w 171"/>
              <a:gd name="T43" fmla="*/ 113 h 144"/>
              <a:gd name="T44" fmla="*/ 94 w 171"/>
              <a:gd name="T45" fmla="*/ 113 h 144"/>
              <a:gd name="T46" fmla="*/ 94 w 171"/>
              <a:gd name="T47" fmla="*/ 113 h 144"/>
              <a:gd name="T48" fmla="*/ 94 w 171"/>
              <a:gd name="T49" fmla="*/ 114 h 144"/>
              <a:gd name="T50" fmla="*/ 95 w 171"/>
              <a:gd name="T51" fmla="*/ 114 h 144"/>
              <a:gd name="T52" fmla="*/ 137 w 171"/>
              <a:gd name="T53" fmla="*/ 114 h 144"/>
              <a:gd name="T54" fmla="*/ 137 w 171"/>
              <a:gd name="T55" fmla="*/ 114 h 144"/>
              <a:gd name="T56" fmla="*/ 141 w 171"/>
              <a:gd name="T57" fmla="*/ 103 h 144"/>
              <a:gd name="T58" fmla="*/ 171 w 171"/>
              <a:gd name="T59" fmla="*/ 103 h 144"/>
              <a:gd name="T60" fmla="*/ 171 w 171"/>
              <a:gd name="T61" fmla="*/ 95 h 144"/>
              <a:gd name="T62" fmla="*/ 144 w 171"/>
              <a:gd name="T63" fmla="*/ 95 h 144"/>
              <a:gd name="T64" fmla="*/ 31 w 171"/>
              <a:gd name="T65" fmla="*/ 95 h 144"/>
              <a:gd name="T66" fmla="*/ 13 w 171"/>
              <a:gd name="T67" fmla="*/ 95 h 144"/>
              <a:gd name="T68" fmla="*/ 31 w 171"/>
              <a:gd name="T69" fmla="*/ 48 h 144"/>
              <a:gd name="T70" fmla="*/ 31 w 171"/>
              <a:gd name="T71" fmla="*/ 95 h 144"/>
              <a:gd name="T72" fmla="*/ 40 w 171"/>
              <a:gd name="T73" fmla="*/ 95 h 144"/>
              <a:gd name="T74" fmla="*/ 40 w 171"/>
              <a:gd name="T75" fmla="*/ 34 h 144"/>
              <a:gd name="T76" fmla="*/ 66 w 171"/>
              <a:gd name="T77" fmla="*/ 41 h 144"/>
              <a:gd name="T78" fmla="*/ 66 w 171"/>
              <a:gd name="T79" fmla="*/ 41 h 144"/>
              <a:gd name="T80" fmla="*/ 87 w 171"/>
              <a:gd name="T81" fmla="*/ 95 h 144"/>
              <a:gd name="T82" fmla="*/ 40 w 171"/>
              <a:gd name="T83" fmla="*/ 95 h 144"/>
              <a:gd name="T84" fmla="*/ 132 w 171"/>
              <a:gd name="T85" fmla="*/ 111 h 144"/>
              <a:gd name="T86" fmla="*/ 132 w 171"/>
              <a:gd name="T87" fmla="*/ 111 h 144"/>
              <a:gd name="T88" fmla="*/ 100 w 171"/>
              <a:gd name="T89" fmla="*/ 111 h 144"/>
              <a:gd name="T90" fmla="*/ 96 w 171"/>
              <a:gd name="T91" fmla="*/ 103 h 144"/>
              <a:gd name="T92" fmla="*/ 135 w 171"/>
              <a:gd name="T93" fmla="*/ 103 h 144"/>
              <a:gd name="T94" fmla="*/ 132 w 171"/>
              <a:gd name="T95" fmla="*/ 1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1" h="144">
                <a:moveTo>
                  <a:pt x="144" y="95"/>
                </a:moveTo>
                <a:cubicBezTo>
                  <a:pt x="166" y="41"/>
                  <a:pt x="166" y="41"/>
                  <a:pt x="166" y="41"/>
                </a:cubicBezTo>
                <a:cubicBezTo>
                  <a:pt x="160" y="38"/>
                  <a:pt x="160" y="38"/>
                  <a:pt x="160" y="38"/>
                </a:cubicBezTo>
                <a:cubicBezTo>
                  <a:pt x="138" y="95"/>
                  <a:pt x="138" y="95"/>
                  <a:pt x="138" y="95"/>
                </a:cubicBezTo>
                <a:cubicBezTo>
                  <a:pt x="93" y="95"/>
                  <a:pt x="93" y="95"/>
                  <a:pt x="93" y="95"/>
                </a:cubicBezTo>
                <a:cubicBezTo>
                  <a:pt x="71" y="38"/>
                  <a:pt x="71" y="38"/>
                  <a:pt x="71" y="38"/>
                </a:cubicBezTo>
                <a:cubicBezTo>
                  <a:pt x="71" y="39"/>
                  <a:pt x="71" y="39"/>
                  <a:pt x="71" y="39"/>
                </a:cubicBezTo>
                <a:cubicBezTo>
                  <a:pt x="65" y="25"/>
                  <a:pt x="51" y="22"/>
                  <a:pt x="40" y="27"/>
                </a:cubicBezTo>
                <a:cubicBezTo>
                  <a:pt x="40" y="0"/>
                  <a:pt x="40" y="0"/>
                  <a:pt x="40" y="0"/>
                </a:cubicBezTo>
                <a:cubicBezTo>
                  <a:pt x="31" y="0"/>
                  <a:pt x="31" y="0"/>
                  <a:pt x="31" y="0"/>
                </a:cubicBezTo>
                <a:cubicBezTo>
                  <a:pt x="31" y="34"/>
                  <a:pt x="31" y="34"/>
                  <a:pt x="31" y="34"/>
                </a:cubicBezTo>
                <a:cubicBezTo>
                  <a:pt x="30" y="35"/>
                  <a:pt x="29" y="37"/>
                  <a:pt x="29" y="39"/>
                </a:cubicBezTo>
                <a:cubicBezTo>
                  <a:pt x="29" y="38"/>
                  <a:pt x="29" y="38"/>
                  <a:pt x="29" y="38"/>
                </a:cubicBezTo>
                <a:cubicBezTo>
                  <a:pt x="0" y="112"/>
                  <a:pt x="0" y="112"/>
                  <a:pt x="0" y="112"/>
                </a:cubicBezTo>
                <a:cubicBezTo>
                  <a:pt x="5" y="114"/>
                  <a:pt x="5" y="114"/>
                  <a:pt x="5" y="114"/>
                </a:cubicBezTo>
                <a:cubicBezTo>
                  <a:pt x="10" y="103"/>
                  <a:pt x="10" y="103"/>
                  <a:pt x="10" y="103"/>
                </a:cubicBezTo>
                <a:cubicBezTo>
                  <a:pt x="31" y="103"/>
                  <a:pt x="31" y="103"/>
                  <a:pt x="31" y="103"/>
                </a:cubicBezTo>
                <a:cubicBezTo>
                  <a:pt x="31" y="144"/>
                  <a:pt x="31" y="144"/>
                  <a:pt x="31" y="144"/>
                </a:cubicBezTo>
                <a:cubicBezTo>
                  <a:pt x="40" y="144"/>
                  <a:pt x="40" y="144"/>
                  <a:pt x="40" y="144"/>
                </a:cubicBezTo>
                <a:cubicBezTo>
                  <a:pt x="40" y="103"/>
                  <a:pt x="40" y="103"/>
                  <a:pt x="40" y="103"/>
                </a:cubicBezTo>
                <a:cubicBezTo>
                  <a:pt x="90" y="103"/>
                  <a:pt x="90" y="103"/>
                  <a:pt x="90" y="103"/>
                </a:cubicBezTo>
                <a:cubicBezTo>
                  <a:pt x="94" y="113"/>
                  <a:pt x="94" y="113"/>
                  <a:pt x="94" y="113"/>
                </a:cubicBezTo>
                <a:cubicBezTo>
                  <a:pt x="94" y="113"/>
                  <a:pt x="94" y="113"/>
                  <a:pt x="94" y="113"/>
                </a:cubicBezTo>
                <a:cubicBezTo>
                  <a:pt x="94" y="113"/>
                  <a:pt x="94" y="113"/>
                  <a:pt x="94" y="113"/>
                </a:cubicBezTo>
                <a:cubicBezTo>
                  <a:pt x="94" y="114"/>
                  <a:pt x="94" y="114"/>
                  <a:pt x="94" y="114"/>
                </a:cubicBezTo>
                <a:cubicBezTo>
                  <a:pt x="95" y="114"/>
                  <a:pt x="95" y="114"/>
                  <a:pt x="95" y="114"/>
                </a:cubicBezTo>
                <a:cubicBezTo>
                  <a:pt x="102" y="132"/>
                  <a:pt x="129" y="132"/>
                  <a:pt x="137" y="114"/>
                </a:cubicBezTo>
                <a:cubicBezTo>
                  <a:pt x="137" y="114"/>
                  <a:pt x="137" y="114"/>
                  <a:pt x="137" y="114"/>
                </a:cubicBezTo>
                <a:cubicBezTo>
                  <a:pt x="141" y="103"/>
                  <a:pt x="141" y="103"/>
                  <a:pt x="141" y="103"/>
                </a:cubicBezTo>
                <a:cubicBezTo>
                  <a:pt x="171" y="103"/>
                  <a:pt x="171" y="103"/>
                  <a:pt x="171" y="103"/>
                </a:cubicBezTo>
                <a:cubicBezTo>
                  <a:pt x="171" y="95"/>
                  <a:pt x="171" y="95"/>
                  <a:pt x="171" y="95"/>
                </a:cubicBezTo>
                <a:lnTo>
                  <a:pt x="144" y="95"/>
                </a:lnTo>
                <a:close/>
                <a:moveTo>
                  <a:pt x="31" y="95"/>
                </a:moveTo>
                <a:cubicBezTo>
                  <a:pt x="13" y="95"/>
                  <a:pt x="13" y="95"/>
                  <a:pt x="13" y="95"/>
                </a:cubicBezTo>
                <a:cubicBezTo>
                  <a:pt x="31" y="48"/>
                  <a:pt x="31" y="48"/>
                  <a:pt x="31" y="48"/>
                </a:cubicBezTo>
                <a:lnTo>
                  <a:pt x="31" y="95"/>
                </a:lnTo>
                <a:close/>
                <a:moveTo>
                  <a:pt x="40" y="95"/>
                </a:moveTo>
                <a:cubicBezTo>
                  <a:pt x="40" y="34"/>
                  <a:pt x="40" y="34"/>
                  <a:pt x="40" y="34"/>
                </a:cubicBezTo>
                <a:cubicBezTo>
                  <a:pt x="48" y="28"/>
                  <a:pt x="61" y="30"/>
                  <a:pt x="66" y="41"/>
                </a:cubicBezTo>
                <a:cubicBezTo>
                  <a:pt x="66" y="41"/>
                  <a:pt x="66" y="41"/>
                  <a:pt x="66" y="41"/>
                </a:cubicBezTo>
                <a:cubicBezTo>
                  <a:pt x="87" y="95"/>
                  <a:pt x="87" y="95"/>
                  <a:pt x="87" y="95"/>
                </a:cubicBezTo>
                <a:lnTo>
                  <a:pt x="40" y="95"/>
                </a:lnTo>
                <a:close/>
                <a:moveTo>
                  <a:pt x="132" y="111"/>
                </a:moveTo>
                <a:cubicBezTo>
                  <a:pt x="132" y="111"/>
                  <a:pt x="132" y="111"/>
                  <a:pt x="132" y="111"/>
                </a:cubicBezTo>
                <a:cubicBezTo>
                  <a:pt x="126" y="125"/>
                  <a:pt x="105" y="125"/>
                  <a:pt x="100" y="111"/>
                </a:cubicBezTo>
                <a:cubicBezTo>
                  <a:pt x="96" y="103"/>
                  <a:pt x="96" y="103"/>
                  <a:pt x="96" y="103"/>
                </a:cubicBezTo>
                <a:cubicBezTo>
                  <a:pt x="135" y="103"/>
                  <a:pt x="135" y="103"/>
                  <a:pt x="135" y="103"/>
                </a:cubicBezTo>
                <a:lnTo>
                  <a:pt x="132" y="111"/>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 name="Freeform 58">
            <a:extLst>
              <a:ext uri="{FF2B5EF4-FFF2-40B4-BE49-F238E27FC236}">
                <a16:creationId xmlns:a16="http://schemas.microsoft.com/office/drawing/2014/main" id="{A03BBDDD-6F6A-475F-87E6-D9FBCEB56496}"/>
              </a:ext>
            </a:extLst>
          </p:cNvPr>
          <p:cNvSpPr>
            <a:spLocks noEditPoints="1"/>
          </p:cNvSpPr>
          <p:nvPr/>
        </p:nvSpPr>
        <p:spPr bwMode="auto">
          <a:xfrm>
            <a:off x="4133680" y="1253334"/>
            <a:ext cx="502108" cy="502108"/>
          </a:xfrm>
          <a:custGeom>
            <a:avLst/>
            <a:gdLst>
              <a:gd name="T0" fmla="*/ 74 w 148"/>
              <a:gd name="T1" fmla="*/ 94 h 148"/>
              <a:gd name="T2" fmla="*/ 64 w 148"/>
              <a:gd name="T3" fmla="*/ 91 h 148"/>
              <a:gd name="T4" fmla="*/ 47 w 148"/>
              <a:gd name="T5" fmla="*/ 121 h 148"/>
              <a:gd name="T6" fmla="*/ 74 w 148"/>
              <a:gd name="T7" fmla="*/ 128 h 148"/>
              <a:gd name="T8" fmla="*/ 101 w 148"/>
              <a:gd name="T9" fmla="*/ 121 h 148"/>
              <a:gd name="T10" fmla="*/ 84 w 148"/>
              <a:gd name="T11" fmla="*/ 91 h 148"/>
              <a:gd name="T12" fmla="*/ 74 w 148"/>
              <a:gd name="T13" fmla="*/ 94 h 148"/>
              <a:gd name="T14" fmla="*/ 101 w 148"/>
              <a:gd name="T15" fmla="*/ 27 h 148"/>
              <a:gd name="T16" fmla="*/ 84 w 148"/>
              <a:gd name="T17" fmla="*/ 56 h 148"/>
              <a:gd name="T18" fmla="*/ 95 w 148"/>
              <a:gd name="T19" fmla="*/ 74 h 148"/>
              <a:gd name="T20" fmla="*/ 128 w 148"/>
              <a:gd name="T21" fmla="*/ 74 h 148"/>
              <a:gd name="T22" fmla="*/ 101 w 148"/>
              <a:gd name="T23" fmla="*/ 27 h 148"/>
              <a:gd name="T24" fmla="*/ 74 w 148"/>
              <a:gd name="T25" fmla="*/ 86 h 148"/>
              <a:gd name="T26" fmla="*/ 86 w 148"/>
              <a:gd name="T27" fmla="*/ 74 h 148"/>
              <a:gd name="T28" fmla="*/ 74 w 148"/>
              <a:gd name="T29" fmla="*/ 61 h 148"/>
              <a:gd name="T30" fmla="*/ 62 w 148"/>
              <a:gd name="T31" fmla="*/ 74 h 148"/>
              <a:gd name="T32" fmla="*/ 74 w 148"/>
              <a:gd name="T33" fmla="*/ 86 h 148"/>
              <a:gd name="T34" fmla="*/ 64 w 148"/>
              <a:gd name="T35" fmla="*/ 56 h 148"/>
              <a:gd name="T36" fmla="*/ 47 w 148"/>
              <a:gd name="T37" fmla="*/ 27 h 148"/>
              <a:gd name="T38" fmla="*/ 20 w 148"/>
              <a:gd name="T39" fmla="*/ 74 h 148"/>
              <a:gd name="T40" fmla="*/ 53 w 148"/>
              <a:gd name="T41" fmla="*/ 74 h 148"/>
              <a:gd name="T42" fmla="*/ 64 w 148"/>
              <a:gd name="T43" fmla="*/ 56 h 148"/>
              <a:gd name="T44" fmla="*/ 74 w 148"/>
              <a:gd name="T45" fmla="*/ 0 h 148"/>
              <a:gd name="T46" fmla="*/ 0 w 148"/>
              <a:gd name="T47" fmla="*/ 74 h 148"/>
              <a:gd name="T48" fmla="*/ 74 w 148"/>
              <a:gd name="T49" fmla="*/ 148 h 148"/>
              <a:gd name="T50" fmla="*/ 148 w 148"/>
              <a:gd name="T51" fmla="*/ 74 h 148"/>
              <a:gd name="T52" fmla="*/ 74 w 148"/>
              <a:gd name="T53" fmla="*/ 0 h 148"/>
              <a:gd name="T54" fmla="*/ 74 w 148"/>
              <a:gd name="T55" fmla="*/ 140 h 148"/>
              <a:gd name="T56" fmla="*/ 8 w 148"/>
              <a:gd name="T57" fmla="*/ 74 h 148"/>
              <a:gd name="T58" fmla="*/ 74 w 148"/>
              <a:gd name="T59" fmla="*/ 8 h 148"/>
              <a:gd name="T60" fmla="*/ 140 w 148"/>
              <a:gd name="T61" fmla="*/ 74 h 148"/>
              <a:gd name="T62" fmla="*/ 74 w 148"/>
              <a:gd name="T63"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8" h="148">
                <a:moveTo>
                  <a:pt x="74" y="94"/>
                </a:moveTo>
                <a:cubicBezTo>
                  <a:pt x="70" y="94"/>
                  <a:pt x="67" y="93"/>
                  <a:pt x="64" y="91"/>
                </a:cubicBezTo>
                <a:cubicBezTo>
                  <a:pt x="47" y="121"/>
                  <a:pt x="47" y="121"/>
                  <a:pt x="47" y="121"/>
                </a:cubicBezTo>
                <a:cubicBezTo>
                  <a:pt x="55" y="125"/>
                  <a:pt x="64" y="128"/>
                  <a:pt x="74" y="128"/>
                </a:cubicBezTo>
                <a:cubicBezTo>
                  <a:pt x="84" y="128"/>
                  <a:pt x="93" y="125"/>
                  <a:pt x="101" y="121"/>
                </a:cubicBezTo>
                <a:cubicBezTo>
                  <a:pt x="84" y="91"/>
                  <a:pt x="84" y="91"/>
                  <a:pt x="84" y="91"/>
                </a:cubicBezTo>
                <a:cubicBezTo>
                  <a:pt x="81" y="93"/>
                  <a:pt x="78" y="94"/>
                  <a:pt x="74" y="94"/>
                </a:cubicBezTo>
                <a:close/>
                <a:moveTo>
                  <a:pt x="101" y="27"/>
                </a:moveTo>
                <a:cubicBezTo>
                  <a:pt x="84" y="56"/>
                  <a:pt x="84" y="56"/>
                  <a:pt x="84" y="56"/>
                </a:cubicBezTo>
                <a:cubicBezTo>
                  <a:pt x="90" y="60"/>
                  <a:pt x="95" y="66"/>
                  <a:pt x="95" y="74"/>
                </a:cubicBezTo>
                <a:cubicBezTo>
                  <a:pt x="128" y="74"/>
                  <a:pt x="128" y="74"/>
                  <a:pt x="128" y="74"/>
                </a:cubicBezTo>
                <a:cubicBezTo>
                  <a:pt x="128" y="54"/>
                  <a:pt x="117" y="36"/>
                  <a:pt x="101" y="27"/>
                </a:cubicBezTo>
                <a:close/>
                <a:moveTo>
                  <a:pt x="74" y="86"/>
                </a:moveTo>
                <a:cubicBezTo>
                  <a:pt x="81" y="86"/>
                  <a:pt x="86" y="81"/>
                  <a:pt x="86" y="74"/>
                </a:cubicBezTo>
                <a:cubicBezTo>
                  <a:pt x="86" y="67"/>
                  <a:pt x="81" y="61"/>
                  <a:pt x="74" y="61"/>
                </a:cubicBezTo>
                <a:cubicBezTo>
                  <a:pt x="67" y="61"/>
                  <a:pt x="62" y="67"/>
                  <a:pt x="62" y="74"/>
                </a:cubicBezTo>
                <a:cubicBezTo>
                  <a:pt x="62" y="81"/>
                  <a:pt x="67" y="86"/>
                  <a:pt x="74" y="86"/>
                </a:cubicBezTo>
                <a:close/>
                <a:moveTo>
                  <a:pt x="64" y="56"/>
                </a:moveTo>
                <a:cubicBezTo>
                  <a:pt x="47" y="27"/>
                  <a:pt x="47" y="27"/>
                  <a:pt x="47" y="27"/>
                </a:cubicBezTo>
                <a:cubicBezTo>
                  <a:pt x="31" y="36"/>
                  <a:pt x="20" y="54"/>
                  <a:pt x="20" y="74"/>
                </a:cubicBezTo>
                <a:cubicBezTo>
                  <a:pt x="53" y="74"/>
                  <a:pt x="53" y="74"/>
                  <a:pt x="53" y="74"/>
                </a:cubicBezTo>
                <a:cubicBezTo>
                  <a:pt x="53" y="66"/>
                  <a:pt x="58" y="60"/>
                  <a:pt x="64" y="56"/>
                </a:cubicBezTo>
                <a:close/>
                <a:moveTo>
                  <a:pt x="74" y="0"/>
                </a:moveTo>
                <a:cubicBezTo>
                  <a:pt x="33" y="0"/>
                  <a:pt x="0" y="33"/>
                  <a:pt x="0" y="74"/>
                </a:cubicBezTo>
                <a:cubicBezTo>
                  <a:pt x="0" y="115"/>
                  <a:pt x="33" y="148"/>
                  <a:pt x="74" y="148"/>
                </a:cubicBezTo>
                <a:cubicBezTo>
                  <a:pt x="115" y="148"/>
                  <a:pt x="148" y="115"/>
                  <a:pt x="148" y="74"/>
                </a:cubicBezTo>
                <a:cubicBezTo>
                  <a:pt x="148" y="33"/>
                  <a:pt x="115" y="0"/>
                  <a:pt x="74" y="0"/>
                </a:cubicBezTo>
                <a:close/>
                <a:moveTo>
                  <a:pt x="74" y="140"/>
                </a:moveTo>
                <a:cubicBezTo>
                  <a:pt x="38" y="140"/>
                  <a:pt x="8" y="110"/>
                  <a:pt x="8" y="74"/>
                </a:cubicBezTo>
                <a:cubicBezTo>
                  <a:pt x="8" y="37"/>
                  <a:pt x="38" y="8"/>
                  <a:pt x="74" y="8"/>
                </a:cubicBezTo>
                <a:cubicBezTo>
                  <a:pt x="110" y="8"/>
                  <a:pt x="140" y="37"/>
                  <a:pt x="140" y="74"/>
                </a:cubicBezTo>
                <a:cubicBezTo>
                  <a:pt x="140" y="110"/>
                  <a:pt x="110" y="140"/>
                  <a:pt x="74" y="14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 name="Freeform 59">
            <a:extLst>
              <a:ext uri="{FF2B5EF4-FFF2-40B4-BE49-F238E27FC236}">
                <a16:creationId xmlns:a16="http://schemas.microsoft.com/office/drawing/2014/main" id="{628CB6AC-93AC-4E5D-9D8B-ACAF5AC3F6CE}"/>
              </a:ext>
            </a:extLst>
          </p:cNvPr>
          <p:cNvSpPr>
            <a:spLocks noEditPoints="1"/>
          </p:cNvSpPr>
          <p:nvPr/>
        </p:nvSpPr>
        <p:spPr bwMode="auto">
          <a:xfrm>
            <a:off x="5201940" y="1207222"/>
            <a:ext cx="596895" cy="543096"/>
          </a:xfrm>
          <a:custGeom>
            <a:avLst/>
            <a:gdLst>
              <a:gd name="T0" fmla="*/ 153 w 176"/>
              <a:gd name="T1" fmla="*/ 73 h 160"/>
              <a:gd name="T2" fmla="*/ 122 w 176"/>
              <a:gd name="T3" fmla="*/ 68 h 160"/>
              <a:gd name="T4" fmla="*/ 133 w 176"/>
              <a:gd name="T5" fmla="*/ 38 h 160"/>
              <a:gd name="T6" fmla="*/ 112 w 176"/>
              <a:gd name="T7" fmla="*/ 0 h 160"/>
              <a:gd name="T8" fmla="*/ 123 w 176"/>
              <a:gd name="T9" fmla="*/ 30 h 160"/>
              <a:gd name="T10" fmla="*/ 88 w 176"/>
              <a:gd name="T11" fmla="*/ 71 h 160"/>
              <a:gd name="T12" fmla="*/ 52 w 176"/>
              <a:gd name="T13" fmla="*/ 30 h 160"/>
              <a:gd name="T14" fmla="*/ 64 w 176"/>
              <a:gd name="T15" fmla="*/ 0 h 160"/>
              <a:gd name="T16" fmla="*/ 43 w 176"/>
              <a:gd name="T17" fmla="*/ 38 h 160"/>
              <a:gd name="T18" fmla="*/ 54 w 176"/>
              <a:gd name="T19" fmla="*/ 68 h 160"/>
              <a:gd name="T20" fmla="*/ 22 w 176"/>
              <a:gd name="T21" fmla="*/ 73 h 160"/>
              <a:gd name="T22" fmla="*/ 0 w 176"/>
              <a:gd name="T23" fmla="*/ 110 h 160"/>
              <a:gd name="T24" fmla="*/ 20 w 176"/>
              <a:gd name="T25" fmla="*/ 86 h 160"/>
              <a:gd name="T26" fmla="*/ 74 w 176"/>
              <a:gd name="T27" fmla="*/ 96 h 160"/>
              <a:gd name="T28" fmla="*/ 56 w 176"/>
              <a:gd name="T29" fmla="*/ 147 h 160"/>
              <a:gd name="T30" fmla="*/ 24 w 176"/>
              <a:gd name="T31" fmla="*/ 153 h 160"/>
              <a:gd name="T32" fmla="*/ 68 w 176"/>
              <a:gd name="T33" fmla="*/ 152 h 160"/>
              <a:gd name="T34" fmla="*/ 88 w 176"/>
              <a:gd name="T35" fmla="*/ 127 h 160"/>
              <a:gd name="T36" fmla="*/ 108 w 176"/>
              <a:gd name="T37" fmla="*/ 152 h 160"/>
              <a:gd name="T38" fmla="*/ 151 w 176"/>
              <a:gd name="T39" fmla="*/ 153 h 160"/>
              <a:gd name="T40" fmla="*/ 120 w 176"/>
              <a:gd name="T41" fmla="*/ 147 h 160"/>
              <a:gd name="T42" fmla="*/ 102 w 176"/>
              <a:gd name="T43" fmla="*/ 96 h 160"/>
              <a:gd name="T44" fmla="*/ 155 w 176"/>
              <a:gd name="T45" fmla="*/ 86 h 160"/>
              <a:gd name="T46" fmla="*/ 176 w 176"/>
              <a:gd name="T47" fmla="*/ 110 h 160"/>
              <a:gd name="T48" fmla="*/ 153 w 176"/>
              <a:gd name="T49" fmla="*/ 73 h 160"/>
              <a:gd name="T50" fmla="*/ 88 w 176"/>
              <a:gd name="T51" fmla="*/ 98 h 160"/>
              <a:gd name="T52" fmla="*/ 78 w 176"/>
              <a:gd name="T53" fmla="*/ 87 h 160"/>
              <a:gd name="T54" fmla="*/ 88 w 176"/>
              <a:gd name="T55" fmla="*/ 77 h 160"/>
              <a:gd name="T56" fmla="*/ 98 w 176"/>
              <a:gd name="T57" fmla="*/ 87 h 160"/>
              <a:gd name="T58" fmla="*/ 88 w 176"/>
              <a:gd name="T59" fmla="*/ 98 h 160"/>
              <a:gd name="T60" fmla="*/ 73 w 176"/>
              <a:gd name="T61" fmla="*/ 58 h 160"/>
              <a:gd name="T62" fmla="*/ 88 w 176"/>
              <a:gd name="T63" fmla="*/ 55 h 160"/>
              <a:gd name="T64" fmla="*/ 103 w 176"/>
              <a:gd name="T65" fmla="*/ 58 h 160"/>
              <a:gd name="T66" fmla="*/ 111 w 176"/>
              <a:gd name="T67" fmla="*/ 49 h 160"/>
              <a:gd name="T68" fmla="*/ 88 w 176"/>
              <a:gd name="T69" fmla="*/ 42 h 160"/>
              <a:gd name="T70" fmla="*/ 65 w 176"/>
              <a:gd name="T71" fmla="*/ 49 h 160"/>
              <a:gd name="T72" fmla="*/ 73 w 176"/>
              <a:gd name="T73" fmla="*/ 58 h 160"/>
              <a:gd name="T74" fmla="*/ 66 w 176"/>
              <a:gd name="T75" fmla="*/ 127 h 160"/>
              <a:gd name="T76" fmla="*/ 70 w 176"/>
              <a:gd name="T77" fmla="*/ 115 h 160"/>
              <a:gd name="T78" fmla="*/ 55 w 176"/>
              <a:gd name="T79" fmla="*/ 89 h 160"/>
              <a:gd name="T80" fmla="*/ 43 w 176"/>
              <a:gd name="T81" fmla="*/ 87 h 160"/>
              <a:gd name="T82" fmla="*/ 43 w 176"/>
              <a:gd name="T83" fmla="*/ 88 h 160"/>
              <a:gd name="T84" fmla="*/ 66 w 176"/>
              <a:gd name="T85" fmla="*/ 127 h 160"/>
              <a:gd name="T86" fmla="*/ 106 w 176"/>
              <a:gd name="T87" fmla="*/ 115 h 160"/>
              <a:gd name="T88" fmla="*/ 110 w 176"/>
              <a:gd name="T89" fmla="*/ 127 h 160"/>
              <a:gd name="T90" fmla="*/ 133 w 176"/>
              <a:gd name="T91" fmla="*/ 88 h 160"/>
              <a:gd name="T92" fmla="*/ 133 w 176"/>
              <a:gd name="T93" fmla="*/ 87 h 160"/>
              <a:gd name="T94" fmla="*/ 121 w 176"/>
              <a:gd name="T95" fmla="*/ 89 h 160"/>
              <a:gd name="T96" fmla="*/ 106 w 176"/>
              <a:gd name="T97" fmla="*/ 11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6" h="160">
                <a:moveTo>
                  <a:pt x="153" y="73"/>
                </a:moveTo>
                <a:cubicBezTo>
                  <a:pt x="143" y="67"/>
                  <a:pt x="132" y="66"/>
                  <a:pt x="122" y="68"/>
                </a:cubicBezTo>
                <a:cubicBezTo>
                  <a:pt x="129" y="60"/>
                  <a:pt x="133" y="50"/>
                  <a:pt x="133" y="38"/>
                </a:cubicBezTo>
                <a:cubicBezTo>
                  <a:pt x="133" y="22"/>
                  <a:pt x="125" y="8"/>
                  <a:pt x="112" y="0"/>
                </a:cubicBezTo>
                <a:cubicBezTo>
                  <a:pt x="119" y="8"/>
                  <a:pt x="123" y="18"/>
                  <a:pt x="123" y="30"/>
                </a:cubicBezTo>
                <a:cubicBezTo>
                  <a:pt x="123" y="53"/>
                  <a:pt x="107" y="71"/>
                  <a:pt x="88" y="71"/>
                </a:cubicBezTo>
                <a:cubicBezTo>
                  <a:pt x="68" y="71"/>
                  <a:pt x="52" y="53"/>
                  <a:pt x="52" y="30"/>
                </a:cubicBezTo>
                <a:cubicBezTo>
                  <a:pt x="52" y="18"/>
                  <a:pt x="57" y="8"/>
                  <a:pt x="64" y="0"/>
                </a:cubicBezTo>
                <a:cubicBezTo>
                  <a:pt x="51" y="8"/>
                  <a:pt x="43" y="22"/>
                  <a:pt x="43" y="38"/>
                </a:cubicBezTo>
                <a:cubicBezTo>
                  <a:pt x="43" y="50"/>
                  <a:pt x="47" y="60"/>
                  <a:pt x="54" y="68"/>
                </a:cubicBezTo>
                <a:cubicBezTo>
                  <a:pt x="44" y="66"/>
                  <a:pt x="32" y="67"/>
                  <a:pt x="22" y="73"/>
                </a:cubicBezTo>
                <a:cubicBezTo>
                  <a:pt x="9" y="81"/>
                  <a:pt x="1" y="95"/>
                  <a:pt x="0" y="110"/>
                </a:cubicBezTo>
                <a:cubicBezTo>
                  <a:pt x="3" y="101"/>
                  <a:pt x="10" y="92"/>
                  <a:pt x="20" y="86"/>
                </a:cubicBezTo>
                <a:cubicBezTo>
                  <a:pt x="40" y="74"/>
                  <a:pt x="64" y="79"/>
                  <a:pt x="74" y="96"/>
                </a:cubicBezTo>
                <a:cubicBezTo>
                  <a:pt x="83" y="113"/>
                  <a:pt x="75" y="136"/>
                  <a:pt x="56" y="147"/>
                </a:cubicBezTo>
                <a:cubicBezTo>
                  <a:pt x="46" y="153"/>
                  <a:pt x="34" y="155"/>
                  <a:pt x="24" y="153"/>
                </a:cubicBezTo>
                <a:cubicBezTo>
                  <a:pt x="38" y="159"/>
                  <a:pt x="54" y="160"/>
                  <a:pt x="68" y="152"/>
                </a:cubicBezTo>
                <a:cubicBezTo>
                  <a:pt x="78" y="146"/>
                  <a:pt x="84" y="137"/>
                  <a:pt x="88" y="127"/>
                </a:cubicBezTo>
                <a:cubicBezTo>
                  <a:pt x="91" y="137"/>
                  <a:pt x="98" y="146"/>
                  <a:pt x="108" y="152"/>
                </a:cubicBezTo>
                <a:cubicBezTo>
                  <a:pt x="122" y="160"/>
                  <a:pt x="138" y="159"/>
                  <a:pt x="151" y="153"/>
                </a:cubicBezTo>
                <a:cubicBezTo>
                  <a:pt x="141" y="155"/>
                  <a:pt x="130" y="153"/>
                  <a:pt x="120" y="147"/>
                </a:cubicBezTo>
                <a:cubicBezTo>
                  <a:pt x="100" y="136"/>
                  <a:pt x="92" y="113"/>
                  <a:pt x="102" y="96"/>
                </a:cubicBezTo>
                <a:cubicBezTo>
                  <a:pt x="112" y="79"/>
                  <a:pt x="136" y="74"/>
                  <a:pt x="155" y="86"/>
                </a:cubicBezTo>
                <a:cubicBezTo>
                  <a:pt x="166" y="92"/>
                  <a:pt x="173" y="101"/>
                  <a:pt x="176" y="110"/>
                </a:cubicBezTo>
                <a:cubicBezTo>
                  <a:pt x="175" y="95"/>
                  <a:pt x="167" y="81"/>
                  <a:pt x="153" y="73"/>
                </a:cubicBezTo>
                <a:close/>
                <a:moveTo>
                  <a:pt x="88" y="98"/>
                </a:moveTo>
                <a:cubicBezTo>
                  <a:pt x="82" y="98"/>
                  <a:pt x="78" y="93"/>
                  <a:pt x="78" y="87"/>
                </a:cubicBezTo>
                <a:cubicBezTo>
                  <a:pt x="78" y="82"/>
                  <a:pt x="82" y="77"/>
                  <a:pt x="88" y="77"/>
                </a:cubicBezTo>
                <a:cubicBezTo>
                  <a:pt x="94" y="77"/>
                  <a:pt x="98" y="82"/>
                  <a:pt x="98" y="87"/>
                </a:cubicBezTo>
                <a:cubicBezTo>
                  <a:pt x="98" y="93"/>
                  <a:pt x="94" y="98"/>
                  <a:pt x="88" y="98"/>
                </a:cubicBezTo>
                <a:close/>
                <a:moveTo>
                  <a:pt x="73" y="58"/>
                </a:moveTo>
                <a:cubicBezTo>
                  <a:pt x="77" y="56"/>
                  <a:pt x="82" y="55"/>
                  <a:pt x="88" y="55"/>
                </a:cubicBezTo>
                <a:cubicBezTo>
                  <a:pt x="93" y="55"/>
                  <a:pt x="98" y="56"/>
                  <a:pt x="103" y="58"/>
                </a:cubicBezTo>
                <a:cubicBezTo>
                  <a:pt x="106" y="56"/>
                  <a:pt x="109" y="53"/>
                  <a:pt x="111" y="49"/>
                </a:cubicBezTo>
                <a:cubicBezTo>
                  <a:pt x="104" y="45"/>
                  <a:pt x="96" y="42"/>
                  <a:pt x="88" y="42"/>
                </a:cubicBezTo>
                <a:cubicBezTo>
                  <a:pt x="79" y="42"/>
                  <a:pt x="71" y="45"/>
                  <a:pt x="65" y="49"/>
                </a:cubicBezTo>
                <a:cubicBezTo>
                  <a:pt x="67" y="53"/>
                  <a:pt x="70" y="56"/>
                  <a:pt x="73" y="58"/>
                </a:cubicBezTo>
                <a:close/>
                <a:moveTo>
                  <a:pt x="66" y="127"/>
                </a:moveTo>
                <a:cubicBezTo>
                  <a:pt x="68" y="124"/>
                  <a:pt x="70" y="120"/>
                  <a:pt x="70" y="115"/>
                </a:cubicBezTo>
                <a:cubicBezTo>
                  <a:pt x="61" y="110"/>
                  <a:pt x="56" y="100"/>
                  <a:pt x="55" y="89"/>
                </a:cubicBezTo>
                <a:cubicBezTo>
                  <a:pt x="51" y="88"/>
                  <a:pt x="47" y="87"/>
                  <a:pt x="43" y="87"/>
                </a:cubicBezTo>
                <a:cubicBezTo>
                  <a:pt x="43" y="87"/>
                  <a:pt x="43" y="87"/>
                  <a:pt x="43" y="88"/>
                </a:cubicBezTo>
                <a:cubicBezTo>
                  <a:pt x="43" y="105"/>
                  <a:pt x="52" y="119"/>
                  <a:pt x="66" y="127"/>
                </a:cubicBezTo>
                <a:close/>
                <a:moveTo>
                  <a:pt x="106" y="115"/>
                </a:moveTo>
                <a:cubicBezTo>
                  <a:pt x="106" y="120"/>
                  <a:pt x="108" y="124"/>
                  <a:pt x="110" y="127"/>
                </a:cubicBezTo>
                <a:cubicBezTo>
                  <a:pt x="124" y="119"/>
                  <a:pt x="133" y="105"/>
                  <a:pt x="133" y="88"/>
                </a:cubicBezTo>
                <a:cubicBezTo>
                  <a:pt x="133" y="87"/>
                  <a:pt x="133" y="87"/>
                  <a:pt x="133" y="87"/>
                </a:cubicBezTo>
                <a:cubicBezTo>
                  <a:pt x="129" y="87"/>
                  <a:pt x="125" y="88"/>
                  <a:pt x="121" y="89"/>
                </a:cubicBezTo>
                <a:cubicBezTo>
                  <a:pt x="120" y="100"/>
                  <a:pt x="114" y="110"/>
                  <a:pt x="106" y="11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 name="Freeform 60">
            <a:extLst>
              <a:ext uri="{FF2B5EF4-FFF2-40B4-BE49-F238E27FC236}">
                <a16:creationId xmlns:a16="http://schemas.microsoft.com/office/drawing/2014/main" id="{5003FE67-0CA9-4238-8FDA-46AD45138426}"/>
              </a:ext>
            </a:extLst>
          </p:cNvPr>
          <p:cNvSpPr>
            <a:spLocks noEditPoints="1"/>
          </p:cNvSpPr>
          <p:nvPr/>
        </p:nvSpPr>
        <p:spPr bwMode="auto">
          <a:xfrm>
            <a:off x="6357301" y="1268704"/>
            <a:ext cx="502108" cy="502108"/>
          </a:xfrm>
          <a:custGeom>
            <a:avLst/>
            <a:gdLst>
              <a:gd name="T0" fmla="*/ 0 w 196"/>
              <a:gd name="T1" fmla="*/ 30 h 196"/>
              <a:gd name="T2" fmla="*/ 196 w 196"/>
              <a:gd name="T3" fmla="*/ 165 h 196"/>
              <a:gd name="T4" fmla="*/ 8 w 196"/>
              <a:gd name="T5" fmla="*/ 30 h 196"/>
              <a:gd name="T6" fmla="*/ 26 w 196"/>
              <a:gd name="T7" fmla="*/ 18 h 196"/>
              <a:gd name="T8" fmla="*/ 8 w 196"/>
              <a:gd name="T9" fmla="*/ 30 h 196"/>
              <a:gd name="T10" fmla="*/ 22 w 196"/>
              <a:gd name="T11" fmla="*/ 30 h 196"/>
              <a:gd name="T12" fmla="*/ 20 w 196"/>
              <a:gd name="T13" fmla="*/ 42 h 196"/>
              <a:gd name="T14" fmla="*/ 22 w 196"/>
              <a:gd name="T15" fmla="*/ 46 h 196"/>
              <a:gd name="T16" fmla="*/ 42 w 196"/>
              <a:gd name="T17" fmla="*/ 34 h 196"/>
              <a:gd name="T18" fmla="*/ 22 w 196"/>
              <a:gd name="T19" fmla="*/ 46 h 196"/>
              <a:gd name="T20" fmla="*/ 38 w 196"/>
              <a:gd name="T21" fmla="*/ 46 h 196"/>
              <a:gd name="T22" fmla="*/ 34 w 196"/>
              <a:gd name="T23" fmla="*/ 57 h 196"/>
              <a:gd name="T24" fmla="*/ 38 w 196"/>
              <a:gd name="T25" fmla="*/ 61 h 196"/>
              <a:gd name="T26" fmla="*/ 58 w 196"/>
              <a:gd name="T27" fmla="*/ 49 h 196"/>
              <a:gd name="T28" fmla="*/ 38 w 196"/>
              <a:gd name="T29" fmla="*/ 61 h 196"/>
              <a:gd name="T30" fmla="*/ 54 w 196"/>
              <a:gd name="T31" fmla="*/ 61 h 196"/>
              <a:gd name="T32" fmla="*/ 50 w 196"/>
              <a:gd name="T33" fmla="*/ 73 h 196"/>
              <a:gd name="T34" fmla="*/ 54 w 196"/>
              <a:gd name="T35" fmla="*/ 76 h 196"/>
              <a:gd name="T36" fmla="*/ 73 w 196"/>
              <a:gd name="T37" fmla="*/ 65 h 196"/>
              <a:gd name="T38" fmla="*/ 54 w 196"/>
              <a:gd name="T39" fmla="*/ 76 h 196"/>
              <a:gd name="T40" fmla="*/ 69 w 196"/>
              <a:gd name="T41" fmla="*/ 76 h 196"/>
              <a:gd name="T42" fmla="*/ 65 w 196"/>
              <a:gd name="T43" fmla="*/ 88 h 196"/>
              <a:gd name="T44" fmla="*/ 69 w 196"/>
              <a:gd name="T45" fmla="*/ 91 h 196"/>
              <a:gd name="T46" fmla="*/ 89 w 196"/>
              <a:gd name="T47" fmla="*/ 80 h 196"/>
              <a:gd name="T48" fmla="*/ 69 w 196"/>
              <a:gd name="T49" fmla="*/ 91 h 196"/>
              <a:gd name="T50" fmla="*/ 85 w 196"/>
              <a:gd name="T51" fmla="*/ 91 h 196"/>
              <a:gd name="T52" fmla="*/ 81 w 196"/>
              <a:gd name="T53" fmla="*/ 103 h 196"/>
              <a:gd name="T54" fmla="*/ 85 w 196"/>
              <a:gd name="T55" fmla="*/ 107 h 196"/>
              <a:gd name="T56" fmla="*/ 104 w 196"/>
              <a:gd name="T57" fmla="*/ 95 h 196"/>
              <a:gd name="T58" fmla="*/ 85 w 196"/>
              <a:gd name="T59" fmla="*/ 107 h 196"/>
              <a:gd name="T60" fmla="*/ 100 w 196"/>
              <a:gd name="T61" fmla="*/ 107 h 196"/>
              <a:gd name="T62" fmla="*/ 96 w 196"/>
              <a:gd name="T63" fmla="*/ 119 h 196"/>
              <a:gd name="T64" fmla="*/ 100 w 196"/>
              <a:gd name="T65" fmla="*/ 123 h 196"/>
              <a:gd name="T66" fmla="*/ 119 w 196"/>
              <a:gd name="T67" fmla="*/ 111 h 196"/>
              <a:gd name="T68" fmla="*/ 100 w 196"/>
              <a:gd name="T69" fmla="*/ 123 h 196"/>
              <a:gd name="T70" fmla="*/ 115 w 196"/>
              <a:gd name="T71" fmla="*/ 123 h 196"/>
              <a:gd name="T72" fmla="*/ 111 w 196"/>
              <a:gd name="T73" fmla="*/ 133 h 196"/>
              <a:gd name="T74" fmla="*/ 115 w 196"/>
              <a:gd name="T75" fmla="*/ 137 h 196"/>
              <a:gd name="T76" fmla="*/ 135 w 196"/>
              <a:gd name="T77" fmla="*/ 127 h 196"/>
              <a:gd name="T78" fmla="*/ 115 w 196"/>
              <a:gd name="T79" fmla="*/ 137 h 196"/>
              <a:gd name="T80" fmla="*/ 131 w 196"/>
              <a:gd name="T81" fmla="*/ 137 h 196"/>
              <a:gd name="T82" fmla="*/ 127 w 196"/>
              <a:gd name="T83" fmla="*/ 149 h 196"/>
              <a:gd name="T84" fmla="*/ 131 w 196"/>
              <a:gd name="T85" fmla="*/ 153 h 196"/>
              <a:gd name="T86" fmla="*/ 149 w 196"/>
              <a:gd name="T87" fmla="*/ 141 h 196"/>
              <a:gd name="T88" fmla="*/ 131 w 196"/>
              <a:gd name="T89" fmla="*/ 153 h 196"/>
              <a:gd name="T90" fmla="*/ 147 w 196"/>
              <a:gd name="T91" fmla="*/ 153 h 196"/>
              <a:gd name="T92" fmla="*/ 143 w 196"/>
              <a:gd name="T93" fmla="*/ 165 h 196"/>
              <a:gd name="T94" fmla="*/ 147 w 196"/>
              <a:gd name="T95" fmla="*/ 169 h 196"/>
              <a:gd name="T96" fmla="*/ 165 w 196"/>
              <a:gd name="T97" fmla="*/ 157 h 196"/>
              <a:gd name="T98" fmla="*/ 147 w 196"/>
              <a:gd name="T99" fmla="*/ 169 h 196"/>
              <a:gd name="T100" fmla="*/ 161 w 196"/>
              <a:gd name="T101" fmla="*/ 169 h 196"/>
              <a:gd name="T102" fmla="*/ 157 w 196"/>
              <a:gd name="T103" fmla="*/ 180 h 196"/>
              <a:gd name="T104" fmla="*/ 161 w 196"/>
              <a:gd name="T105" fmla="*/ 184 h 196"/>
              <a:gd name="T106" fmla="*/ 181 w 196"/>
              <a:gd name="T107" fmla="*/ 173 h 196"/>
              <a:gd name="T108" fmla="*/ 161 w 196"/>
              <a:gd name="T109" fmla="*/ 18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6" h="196">
                <a:moveTo>
                  <a:pt x="30" y="0"/>
                </a:moveTo>
                <a:lnTo>
                  <a:pt x="0" y="30"/>
                </a:lnTo>
                <a:lnTo>
                  <a:pt x="165" y="196"/>
                </a:lnTo>
                <a:lnTo>
                  <a:pt x="196" y="165"/>
                </a:lnTo>
                <a:lnTo>
                  <a:pt x="30" y="0"/>
                </a:lnTo>
                <a:close/>
                <a:moveTo>
                  <a:pt x="8" y="30"/>
                </a:moveTo>
                <a:lnTo>
                  <a:pt x="22" y="14"/>
                </a:lnTo>
                <a:lnTo>
                  <a:pt x="26" y="18"/>
                </a:lnTo>
                <a:lnTo>
                  <a:pt x="12" y="34"/>
                </a:lnTo>
                <a:lnTo>
                  <a:pt x="8" y="30"/>
                </a:lnTo>
                <a:close/>
                <a:moveTo>
                  <a:pt x="16" y="38"/>
                </a:moveTo>
                <a:lnTo>
                  <a:pt x="22" y="30"/>
                </a:lnTo>
                <a:lnTo>
                  <a:pt x="26" y="34"/>
                </a:lnTo>
                <a:lnTo>
                  <a:pt x="20" y="42"/>
                </a:lnTo>
                <a:lnTo>
                  <a:pt x="16" y="38"/>
                </a:lnTo>
                <a:close/>
                <a:moveTo>
                  <a:pt x="22" y="46"/>
                </a:moveTo>
                <a:lnTo>
                  <a:pt x="38" y="30"/>
                </a:lnTo>
                <a:lnTo>
                  <a:pt x="42" y="34"/>
                </a:lnTo>
                <a:lnTo>
                  <a:pt x="26" y="49"/>
                </a:lnTo>
                <a:lnTo>
                  <a:pt x="22" y="46"/>
                </a:lnTo>
                <a:close/>
                <a:moveTo>
                  <a:pt x="30" y="53"/>
                </a:moveTo>
                <a:lnTo>
                  <a:pt x="38" y="46"/>
                </a:lnTo>
                <a:lnTo>
                  <a:pt x="42" y="49"/>
                </a:lnTo>
                <a:lnTo>
                  <a:pt x="34" y="57"/>
                </a:lnTo>
                <a:lnTo>
                  <a:pt x="30" y="53"/>
                </a:lnTo>
                <a:close/>
                <a:moveTo>
                  <a:pt x="38" y="61"/>
                </a:moveTo>
                <a:lnTo>
                  <a:pt x="54" y="46"/>
                </a:lnTo>
                <a:lnTo>
                  <a:pt x="58" y="49"/>
                </a:lnTo>
                <a:lnTo>
                  <a:pt x="42" y="65"/>
                </a:lnTo>
                <a:lnTo>
                  <a:pt x="38" y="61"/>
                </a:lnTo>
                <a:close/>
                <a:moveTo>
                  <a:pt x="46" y="69"/>
                </a:moveTo>
                <a:lnTo>
                  <a:pt x="54" y="61"/>
                </a:lnTo>
                <a:lnTo>
                  <a:pt x="58" y="65"/>
                </a:lnTo>
                <a:lnTo>
                  <a:pt x="50" y="73"/>
                </a:lnTo>
                <a:lnTo>
                  <a:pt x="46" y="69"/>
                </a:lnTo>
                <a:close/>
                <a:moveTo>
                  <a:pt x="54" y="76"/>
                </a:moveTo>
                <a:lnTo>
                  <a:pt x="69" y="61"/>
                </a:lnTo>
                <a:lnTo>
                  <a:pt x="73" y="65"/>
                </a:lnTo>
                <a:lnTo>
                  <a:pt x="58" y="80"/>
                </a:lnTo>
                <a:lnTo>
                  <a:pt x="54" y="76"/>
                </a:lnTo>
                <a:close/>
                <a:moveTo>
                  <a:pt x="62" y="84"/>
                </a:moveTo>
                <a:lnTo>
                  <a:pt x="69" y="76"/>
                </a:lnTo>
                <a:lnTo>
                  <a:pt x="73" y="80"/>
                </a:lnTo>
                <a:lnTo>
                  <a:pt x="65" y="88"/>
                </a:lnTo>
                <a:lnTo>
                  <a:pt x="62" y="84"/>
                </a:lnTo>
                <a:close/>
                <a:moveTo>
                  <a:pt x="69" y="91"/>
                </a:moveTo>
                <a:lnTo>
                  <a:pt x="85" y="76"/>
                </a:lnTo>
                <a:lnTo>
                  <a:pt x="89" y="80"/>
                </a:lnTo>
                <a:lnTo>
                  <a:pt x="73" y="95"/>
                </a:lnTo>
                <a:lnTo>
                  <a:pt x="69" y="91"/>
                </a:lnTo>
                <a:close/>
                <a:moveTo>
                  <a:pt x="77" y="99"/>
                </a:moveTo>
                <a:lnTo>
                  <a:pt x="85" y="91"/>
                </a:lnTo>
                <a:lnTo>
                  <a:pt x="89" y="95"/>
                </a:lnTo>
                <a:lnTo>
                  <a:pt x="81" y="103"/>
                </a:lnTo>
                <a:lnTo>
                  <a:pt x="77" y="99"/>
                </a:lnTo>
                <a:close/>
                <a:moveTo>
                  <a:pt x="85" y="107"/>
                </a:moveTo>
                <a:lnTo>
                  <a:pt x="100" y="91"/>
                </a:lnTo>
                <a:lnTo>
                  <a:pt x="104" y="95"/>
                </a:lnTo>
                <a:lnTo>
                  <a:pt x="89" y="111"/>
                </a:lnTo>
                <a:lnTo>
                  <a:pt x="85" y="107"/>
                </a:lnTo>
                <a:close/>
                <a:moveTo>
                  <a:pt x="93" y="115"/>
                </a:moveTo>
                <a:lnTo>
                  <a:pt x="100" y="107"/>
                </a:lnTo>
                <a:lnTo>
                  <a:pt x="104" y="111"/>
                </a:lnTo>
                <a:lnTo>
                  <a:pt x="96" y="119"/>
                </a:lnTo>
                <a:lnTo>
                  <a:pt x="93" y="115"/>
                </a:lnTo>
                <a:close/>
                <a:moveTo>
                  <a:pt x="100" y="123"/>
                </a:moveTo>
                <a:lnTo>
                  <a:pt x="115" y="107"/>
                </a:lnTo>
                <a:lnTo>
                  <a:pt x="119" y="111"/>
                </a:lnTo>
                <a:lnTo>
                  <a:pt x="104" y="127"/>
                </a:lnTo>
                <a:lnTo>
                  <a:pt x="100" y="123"/>
                </a:lnTo>
                <a:close/>
                <a:moveTo>
                  <a:pt x="108" y="131"/>
                </a:moveTo>
                <a:lnTo>
                  <a:pt x="115" y="123"/>
                </a:lnTo>
                <a:lnTo>
                  <a:pt x="119" y="127"/>
                </a:lnTo>
                <a:lnTo>
                  <a:pt x="111" y="133"/>
                </a:lnTo>
                <a:lnTo>
                  <a:pt x="108" y="131"/>
                </a:lnTo>
                <a:close/>
                <a:moveTo>
                  <a:pt x="115" y="137"/>
                </a:moveTo>
                <a:lnTo>
                  <a:pt x="131" y="123"/>
                </a:lnTo>
                <a:lnTo>
                  <a:pt x="135" y="127"/>
                </a:lnTo>
                <a:lnTo>
                  <a:pt x="119" y="141"/>
                </a:lnTo>
                <a:lnTo>
                  <a:pt x="115" y="137"/>
                </a:lnTo>
                <a:close/>
                <a:moveTo>
                  <a:pt x="123" y="145"/>
                </a:moveTo>
                <a:lnTo>
                  <a:pt x="131" y="137"/>
                </a:lnTo>
                <a:lnTo>
                  <a:pt x="135" y="141"/>
                </a:lnTo>
                <a:lnTo>
                  <a:pt x="127" y="149"/>
                </a:lnTo>
                <a:lnTo>
                  <a:pt x="123" y="145"/>
                </a:lnTo>
                <a:close/>
                <a:moveTo>
                  <a:pt x="131" y="153"/>
                </a:moveTo>
                <a:lnTo>
                  <a:pt x="147" y="137"/>
                </a:lnTo>
                <a:lnTo>
                  <a:pt x="149" y="141"/>
                </a:lnTo>
                <a:lnTo>
                  <a:pt x="135" y="157"/>
                </a:lnTo>
                <a:lnTo>
                  <a:pt x="131" y="153"/>
                </a:lnTo>
                <a:close/>
                <a:moveTo>
                  <a:pt x="139" y="161"/>
                </a:moveTo>
                <a:lnTo>
                  <a:pt x="147" y="153"/>
                </a:lnTo>
                <a:lnTo>
                  <a:pt x="149" y="157"/>
                </a:lnTo>
                <a:lnTo>
                  <a:pt x="143" y="165"/>
                </a:lnTo>
                <a:lnTo>
                  <a:pt x="139" y="161"/>
                </a:lnTo>
                <a:close/>
                <a:moveTo>
                  <a:pt x="147" y="169"/>
                </a:moveTo>
                <a:lnTo>
                  <a:pt x="161" y="153"/>
                </a:lnTo>
                <a:lnTo>
                  <a:pt x="165" y="157"/>
                </a:lnTo>
                <a:lnTo>
                  <a:pt x="149" y="173"/>
                </a:lnTo>
                <a:lnTo>
                  <a:pt x="147" y="169"/>
                </a:lnTo>
                <a:close/>
                <a:moveTo>
                  <a:pt x="153" y="176"/>
                </a:moveTo>
                <a:lnTo>
                  <a:pt x="161" y="169"/>
                </a:lnTo>
                <a:lnTo>
                  <a:pt x="165" y="173"/>
                </a:lnTo>
                <a:lnTo>
                  <a:pt x="157" y="180"/>
                </a:lnTo>
                <a:lnTo>
                  <a:pt x="153" y="176"/>
                </a:lnTo>
                <a:close/>
                <a:moveTo>
                  <a:pt x="161" y="184"/>
                </a:moveTo>
                <a:lnTo>
                  <a:pt x="177" y="169"/>
                </a:lnTo>
                <a:lnTo>
                  <a:pt x="181" y="173"/>
                </a:lnTo>
                <a:lnTo>
                  <a:pt x="165" y="188"/>
                </a:lnTo>
                <a:lnTo>
                  <a:pt x="161" y="184"/>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 name="Freeform 61">
            <a:extLst>
              <a:ext uri="{FF2B5EF4-FFF2-40B4-BE49-F238E27FC236}">
                <a16:creationId xmlns:a16="http://schemas.microsoft.com/office/drawing/2014/main" id="{EA001709-33CD-45FB-97D5-FF63DD40D75A}"/>
              </a:ext>
            </a:extLst>
          </p:cNvPr>
          <p:cNvSpPr>
            <a:spLocks noEditPoints="1"/>
          </p:cNvSpPr>
          <p:nvPr/>
        </p:nvSpPr>
        <p:spPr bwMode="auto">
          <a:xfrm>
            <a:off x="7451178" y="1309693"/>
            <a:ext cx="561029" cy="320222"/>
          </a:xfrm>
          <a:custGeom>
            <a:avLst/>
            <a:gdLst>
              <a:gd name="T0" fmla="*/ 148 w 165"/>
              <a:gd name="T1" fmla="*/ 66 h 95"/>
              <a:gd name="T2" fmla="*/ 82 w 165"/>
              <a:gd name="T3" fmla="*/ 0 h 95"/>
              <a:gd name="T4" fmla="*/ 17 w 165"/>
              <a:gd name="T5" fmla="*/ 66 h 95"/>
              <a:gd name="T6" fmla="*/ 0 w 165"/>
              <a:gd name="T7" fmla="*/ 66 h 95"/>
              <a:gd name="T8" fmla="*/ 0 w 165"/>
              <a:gd name="T9" fmla="*/ 95 h 95"/>
              <a:gd name="T10" fmla="*/ 165 w 165"/>
              <a:gd name="T11" fmla="*/ 95 h 95"/>
              <a:gd name="T12" fmla="*/ 165 w 165"/>
              <a:gd name="T13" fmla="*/ 66 h 95"/>
              <a:gd name="T14" fmla="*/ 148 w 165"/>
              <a:gd name="T15" fmla="*/ 66 h 95"/>
              <a:gd name="T16" fmla="*/ 41 w 165"/>
              <a:gd name="T17" fmla="*/ 66 h 95"/>
              <a:gd name="T18" fmla="*/ 82 w 165"/>
              <a:gd name="T19" fmla="*/ 25 h 95"/>
              <a:gd name="T20" fmla="*/ 124 w 165"/>
              <a:gd name="T21" fmla="*/ 66 h 95"/>
              <a:gd name="T22" fmla="*/ 41 w 165"/>
              <a:gd name="T23" fmla="*/ 6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95">
                <a:moveTo>
                  <a:pt x="148" y="66"/>
                </a:moveTo>
                <a:cubicBezTo>
                  <a:pt x="148" y="30"/>
                  <a:pt x="119" y="0"/>
                  <a:pt x="82" y="0"/>
                </a:cubicBezTo>
                <a:cubicBezTo>
                  <a:pt x="46" y="0"/>
                  <a:pt x="17" y="30"/>
                  <a:pt x="17" y="66"/>
                </a:cubicBezTo>
                <a:cubicBezTo>
                  <a:pt x="0" y="66"/>
                  <a:pt x="0" y="66"/>
                  <a:pt x="0" y="66"/>
                </a:cubicBezTo>
                <a:cubicBezTo>
                  <a:pt x="0" y="95"/>
                  <a:pt x="0" y="95"/>
                  <a:pt x="0" y="95"/>
                </a:cubicBezTo>
                <a:cubicBezTo>
                  <a:pt x="165" y="95"/>
                  <a:pt x="165" y="95"/>
                  <a:pt x="165" y="95"/>
                </a:cubicBezTo>
                <a:cubicBezTo>
                  <a:pt x="165" y="66"/>
                  <a:pt x="165" y="66"/>
                  <a:pt x="165" y="66"/>
                </a:cubicBezTo>
                <a:lnTo>
                  <a:pt x="148" y="66"/>
                </a:lnTo>
                <a:close/>
                <a:moveTo>
                  <a:pt x="41" y="66"/>
                </a:moveTo>
                <a:cubicBezTo>
                  <a:pt x="41" y="43"/>
                  <a:pt x="60" y="25"/>
                  <a:pt x="82" y="25"/>
                </a:cubicBezTo>
                <a:cubicBezTo>
                  <a:pt x="105" y="25"/>
                  <a:pt x="124" y="43"/>
                  <a:pt x="124" y="66"/>
                </a:cubicBezTo>
                <a:lnTo>
                  <a:pt x="41" y="6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1" name="Freeform 62">
            <a:extLst>
              <a:ext uri="{FF2B5EF4-FFF2-40B4-BE49-F238E27FC236}">
                <a16:creationId xmlns:a16="http://schemas.microsoft.com/office/drawing/2014/main" id="{AE0622BE-A379-4D27-8903-295BA8161DBC}"/>
              </a:ext>
            </a:extLst>
          </p:cNvPr>
          <p:cNvSpPr>
            <a:spLocks noEditPoints="1"/>
          </p:cNvSpPr>
          <p:nvPr/>
        </p:nvSpPr>
        <p:spPr bwMode="auto">
          <a:xfrm>
            <a:off x="8578359" y="1330188"/>
            <a:ext cx="571277" cy="274111"/>
          </a:xfrm>
          <a:custGeom>
            <a:avLst/>
            <a:gdLst>
              <a:gd name="T0" fmla="*/ 68 w 223"/>
              <a:gd name="T1" fmla="*/ 0 h 107"/>
              <a:gd name="T2" fmla="*/ 0 w 223"/>
              <a:gd name="T3" fmla="*/ 107 h 107"/>
              <a:gd name="T4" fmla="*/ 223 w 223"/>
              <a:gd name="T5" fmla="*/ 107 h 107"/>
              <a:gd name="T6" fmla="*/ 68 w 223"/>
              <a:gd name="T7" fmla="*/ 0 h 107"/>
              <a:gd name="T8" fmla="*/ 74 w 223"/>
              <a:gd name="T9" fmla="*/ 31 h 107"/>
              <a:gd name="T10" fmla="*/ 154 w 223"/>
              <a:gd name="T11" fmla="*/ 84 h 107"/>
              <a:gd name="T12" fmla="*/ 39 w 223"/>
              <a:gd name="T13" fmla="*/ 84 h 107"/>
              <a:gd name="T14" fmla="*/ 74 w 223"/>
              <a:gd name="T15" fmla="*/ 31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 h="107">
                <a:moveTo>
                  <a:pt x="68" y="0"/>
                </a:moveTo>
                <a:lnTo>
                  <a:pt x="0" y="107"/>
                </a:lnTo>
                <a:lnTo>
                  <a:pt x="223" y="107"/>
                </a:lnTo>
                <a:lnTo>
                  <a:pt x="68" y="0"/>
                </a:lnTo>
                <a:close/>
                <a:moveTo>
                  <a:pt x="74" y="31"/>
                </a:moveTo>
                <a:lnTo>
                  <a:pt x="154" y="84"/>
                </a:lnTo>
                <a:lnTo>
                  <a:pt x="39" y="84"/>
                </a:lnTo>
                <a:lnTo>
                  <a:pt x="74" y="31"/>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2" name="Freeform 63">
            <a:extLst>
              <a:ext uri="{FF2B5EF4-FFF2-40B4-BE49-F238E27FC236}">
                <a16:creationId xmlns:a16="http://schemas.microsoft.com/office/drawing/2014/main" id="{C7992072-1561-44C8-8CA3-465DB9CA5EA6}"/>
              </a:ext>
            </a:extLst>
          </p:cNvPr>
          <p:cNvSpPr>
            <a:spLocks noEditPoints="1"/>
          </p:cNvSpPr>
          <p:nvPr/>
        </p:nvSpPr>
        <p:spPr bwMode="auto">
          <a:xfrm>
            <a:off x="9738844" y="1196975"/>
            <a:ext cx="448312" cy="558467"/>
          </a:xfrm>
          <a:custGeom>
            <a:avLst/>
            <a:gdLst>
              <a:gd name="T0" fmla="*/ 130 w 132"/>
              <a:gd name="T1" fmla="*/ 156 h 165"/>
              <a:gd name="T2" fmla="*/ 122 w 132"/>
              <a:gd name="T3" fmla="*/ 140 h 165"/>
              <a:gd name="T4" fmla="*/ 109 w 132"/>
              <a:gd name="T5" fmla="*/ 107 h 165"/>
              <a:gd name="T6" fmla="*/ 119 w 132"/>
              <a:gd name="T7" fmla="*/ 99 h 165"/>
              <a:gd name="T8" fmla="*/ 81 w 132"/>
              <a:gd name="T9" fmla="*/ 51 h 165"/>
              <a:gd name="T10" fmla="*/ 70 w 132"/>
              <a:gd name="T11" fmla="*/ 30 h 165"/>
              <a:gd name="T12" fmla="*/ 74 w 132"/>
              <a:gd name="T13" fmla="*/ 21 h 165"/>
              <a:gd name="T14" fmla="*/ 70 w 132"/>
              <a:gd name="T15" fmla="*/ 0 h 165"/>
              <a:gd name="T16" fmla="*/ 58 w 132"/>
              <a:gd name="T17" fmla="*/ 4 h 165"/>
              <a:gd name="T18" fmla="*/ 62 w 132"/>
              <a:gd name="T19" fmla="*/ 25 h 165"/>
              <a:gd name="T20" fmla="*/ 49 w 132"/>
              <a:gd name="T21" fmla="*/ 45 h 165"/>
              <a:gd name="T22" fmla="*/ 27 w 132"/>
              <a:gd name="T23" fmla="*/ 99 h 165"/>
              <a:gd name="T24" fmla="*/ 12 w 132"/>
              <a:gd name="T25" fmla="*/ 107 h 165"/>
              <a:gd name="T26" fmla="*/ 6 w 132"/>
              <a:gd name="T27" fmla="*/ 139 h 165"/>
              <a:gd name="T28" fmla="*/ 2 w 132"/>
              <a:gd name="T29" fmla="*/ 156 h 165"/>
              <a:gd name="T30" fmla="*/ 0 w 132"/>
              <a:gd name="T31" fmla="*/ 165 h 165"/>
              <a:gd name="T32" fmla="*/ 5 w 132"/>
              <a:gd name="T33" fmla="*/ 158 h 165"/>
              <a:gd name="T34" fmla="*/ 18 w 132"/>
              <a:gd name="T35" fmla="*/ 142 h 165"/>
              <a:gd name="T36" fmla="*/ 58 w 132"/>
              <a:gd name="T37" fmla="*/ 107 h 165"/>
              <a:gd name="T38" fmla="*/ 62 w 132"/>
              <a:gd name="T39" fmla="*/ 120 h 165"/>
              <a:gd name="T40" fmla="*/ 74 w 132"/>
              <a:gd name="T41" fmla="*/ 115 h 165"/>
              <a:gd name="T42" fmla="*/ 96 w 132"/>
              <a:gd name="T43" fmla="*/ 107 h 165"/>
              <a:gd name="T44" fmla="*/ 118 w 132"/>
              <a:gd name="T45" fmla="*/ 141 h 165"/>
              <a:gd name="T46" fmla="*/ 127 w 132"/>
              <a:gd name="T47" fmla="*/ 158 h 165"/>
              <a:gd name="T48" fmla="*/ 66 w 132"/>
              <a:gd name="T49" fmla="*/ 37 h 165"/>
              <a:gd name="T50" fmla="*/ 66 w 132"/>
              <a:gd name="T51" fmla="*/ 54 h 165"/>
              <a:gd name="T52" fmla="*/ 66 w 132"/>
              <a:gd name="T53" fmla="*/ 37 h 165"/>
              <a:gd name="T54" fmla="*/ 74 w 132"/>
              <a:gd name="T55" fmla="*/ 91 h 165"/>
              <a:gd name="T56" fmla="*/ 62 w 132"/>
              <a:gd name="T57" fmla="*/ 87 h 165"/>
              <a:gd name="T58" fmla="*/ 58 w 132"/>
              <a:gd name="T59" fmla="*/ 99 h 165"/>
              <a:gd name="T60" fmla="*/ 59 w 132"/>
              <a:gd name="T61" fmla="*/ 60 h 165"/>
              <a:gd name="T62" fmla="*/ 73 w 132"/>
              <a:gd name="T63" fmla="*/ 60 h 165"/>
              <a:gd name="T64" fmla="*/ 74 w 132"/>
              <a:gd name="T65" fmla="*/ 9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165">
                <a:moveTo>
                  <a:pt x="132" y="165"/>
                </a:moveTo>
                <a:cubicBezTo>
                  <a:pt x="130" y="156"/>
                  <a:pt x="130" y="156"/>
                  <a:pt x="130" y="156"/>
                </a:cubicBezTo>
                <a:cubicBezTo>
                  <a:pt x="130" y="156"/>
                  <a:pt x="130" y="156"/>
                  <a:pt x="130" y="156"/>
                </a:cubicBezTo>
                <a:cubicBezTo>
                  <a:pt x="122" y="140"/>
                  <a:pt x="122" y="140"/>
                  <a:pt x="122" y="140"/>
                </a:cubicBezTo>
                <a:cubicBezTo>
                  <a:pt x="126" y="139"/>
                  <a:pt x="126" y="139"/>
                  <a:pt x="126" y="139"/>
                </a:cubicBezTo>
                <a:cubicBezTo>
                  <a:pt x="109" y="107"/>
                  <a:pt x="109" y="107"/>
                  <a:pt x="109" y="107"/>
                </a:cubicBezTo>
                <a:cubicBezTo>
                  <a:pt x="119" y="107"/>
                  <a:pt x="119" y="107"/>
                  <a:pt x="119" y="107"/>
                </a:cubicBezTo>
                <a:cubicBezTo>
                  <a:pt x="119" y="99"/>
                  <a:pt x="119" y="99"/>
                  <a:pt x="119" y="99"/>
                </a:cubicBezTo>
                <a:cubicBezTo>
                  <a:pt x="105" y="99"/>
                  <a:pt x="105" y="99"/>
                  <a:pt x="105" y="99"/>
                </a:cubicBezTo>
                <a:cubicBezTo>
                  <a:pt x="81" y="51"/>
                  <a:pt x="81" y="51"/>
                  <a:pt x="81" y="51"/>
                </a:cubicBezTo>
                <a:cubicBezTo>
                  <a:pt x="82" y="49"/>
                  <a:pt x="82" y="47"/>
                  <a:pt x="82" y="45"/>
                </a:cubicBezTo>
                <a:cubicBezTo>
                  <a:pt x="82" y="38"/>
                  <a:pt x="77" y="32"/>
                  <a:pt x="70" y="30"/>
                </a:cubicBezTo>
                <a:cubicBezTo>
                  <a:pt x="70" y="25"/>
                  <a:pt x="70" y="25"/>
                  <a:pt x="70" y="25"/>
                </a:cubicBezTo>
                <a:cubicBezTo>
                  <a:pt x="72" y="25"/>
                  <a:pt x="74" y="23"/>
                  <a:pt x="74" y="21"/>
                </a:cubicBezTo>
                <a:cubicBezTo>
                  <a:pt x="74" y="4"/>
                  <a:pt x="74" y="4"/>
                  <a:pt x="74" y="4"/>
                </a:cubicBezTo>
                <a:cubicBezTo>
                  <a:pt x="74" y="2"/>
                  <a:pt x="72" y="0"/>
                  <a:pt x="70" y="0"/>
                </a:cubicBezTo>
                <a:cubicBezTo>
                  <a:pt x="62" y="0"/>
                  <a:pt x="62" y="0"/>
                  <a:pt x="62" y="0"/>
                </a:cubicBezTo>
                <a:cubicBezTo>
                  <a:pt x="59" y="0"/>
                  <a:pt x="58" y="2"/>
                  <a:pt x="58" y="4"/>
                </a:cubicBezTo>
                <a:cubicBezTo>
                  <a:pt x="58" y="21"/>
                  <a:pt x="58" y="21"/>
                  <a:pt x="58" y="21"/>
                </a:cubicBezTo>
                <a:cubicBezTo>
                  <a:pt x="58" y="23"/>
                  <a:pt x="59" y="25"/>
                  <a:pt x="62" y="25"/>
                </a:cubicBezTo>
                <a:cubicBezTo>
                  <a:pt x="62" y="30"/>
                  <a:pt x="62" y="30"/>
                  <a:pt x="62" y="30"/>
                </a:cubicBezTo>
                <a:cubicBezTo>
                  <a:pt x="55" y="32"/>
                  <a:pt x="49" y="38"/>
                  <a:pt x="49" y="45"/>
                </a:cubicBezTo>
                <a:cubicBezTo>
                  <a:pt x="49" y="48"/>
                  <a:pt x="50" y="50"/>
                  <a:pt x="50" y="51"/>
                </a:cubicBezTo>
                <a:cubicBezTo>
                  <a:pt x="27" y="99"/>
                  <a:pt x="27" y="99"/>
                  <a:pt x="27" y="99"/>
                </a:cubicBezTo>
                <a:cubicBezTo>
                  <a:pt x="12" y="99"/>
                  <a:pt x="12" y="99"/>
                  <a:pt x="12" y="99"/>
                </a:cubicBezTo>
                <a:cubicBezTo>
                  <a:pt x="12" y="107"/>
                  <a:pt x="12" y="107"/>
                  <a:pt x="12" y="107"/>
                </a:cubicBezTo>
                <a:cubicBezTo>
                  <a:pt x="22" y="107"/>
                  <a:pt x="22" y="107"/>
                  <a:pt x="22" y="107"/>
                </a:cubicBezTo>
                <a:cubicBezTo>
                  <a:pt x="6" y="139"/>
                  <a:pt x="6" y="139"/>
                  <a:pt x="6" y="139"/>
                </a:cubicBezTo>
                <a:cubicBezTo>
                  <a:pt x="10" y="140"/>
                  <a:pt x="10" y="140"/>
                  <a:pt x="10" y="140"/>
                </a:cubicBezTo>
                <a:cubicBezTo>
                  <a:pt x="2" y="156"/>
                  <a:pt x="2" y="156"/>
                  <a:pt x="2" y="156"/>
                </a:cubicBezTo>
                <a:cubicBezTo>
                  <a:pt x="2" y="156"/>
                  <a:pt x="2" y="156"/>
                  <a:pt x="2" y="156"/>
                </a:cubicBezTo>
                <a:cubicBezTo>
                  <a:pt x="0" y="165"/>
                  <a:pt x="0" y="165"/>
                  <a:pt x="0" y="165"/>
                </a:cubicBezTo>
                <a:cubicBezTo>
                  <a:pt x="5" y="158"/>
                  <a:pt x="5" y="158"/>
                  <a:pt x="5" y="158"/>
                </a:cubicBezTo>
                <a:cubicBezTo>
                  <a:pt x="5" y="158"/>
                  <a:pt x="5" y="158"/>
                  <a:pt x="5" y="158"/>
                </a:cubicBezTo>
                <a:cubicBezTo>
                  <a:pt x="14" y="141"/>
                  <a:pt x="14" y="141"/>
                  <a:pt x="14" y="141"/>
                </a:cubicBezTo>
                <a:cubicBezTo>
                  <a:pt x="18" y="142"/>
                  <a:pt x="18" y="142"/>
                  <a:pt x="18" y="142"/>
                </a:cubicBezTo>
                <a:cubicBezTo>
                  <a:pt x="35" y="107"/>
                  <a:pt x="35" y="107"/>
                  <a:pt x="35" y="107"/>
                </a:cubicBezTo>
                <a:cubicBezTo>
                  <a:pt x="58" y="107"/>
                  <a:pt x="58" y="107"/>
                  <a:pt x="58" y="107"/>
                </a:cubicBezTo>
                <a:cubicBezTo>
                  <a:pt x="58" y="115"/>
                  <a:pt x="58" y="115"/>
                  <a:pt x="58" y="115"/>
                </a:cubicBezTo>
                <a:cubicBezTo>
                  <a:pt x="58" y="118"/>
                  <a:pt x="59" y="120"/>
                  <a:pt x="62" y="120"/>
                </a:cubicBezTo>
                <a:cubicBezTo>
                  <a:pt x="70" y="120"/>
                  <a:pt x="70" y="120"/>
                  <a:pt x="70" y="120"/>
                </a:cubicBezTo>
                <a:cubicBezTo>
                  <a:pt x="72" y="120"/>
                  <a:pt x="74" y="118"/>
                  <a:pt x="74" y="115"/>
                </a:cubicBezTo>
                <a:cubicBezTo>
                  <a:pt x="74" y="107"/>
                  <a:pt x="74" y="107"/>
                  <a:pt x="74" y="107"/>
                </a:cubicBezTo>
                <a:cubicBezTo>
                  <a:pt x="96" y="107"/>
                  <a:pt x="96" y="107"/>
                  <a:pt x="96" y="107"/>
                </a:cubicBezTo>
                <a:cubicBezTo>
                  <a:pt x="114" y="142"/>
                  <a:pt x="114" y="142"/>
                  <a:pt x="114" y="142"/>
                </a:cubicBezTo>
                <a:cubicBezTo>
                  <a:pt x="118" y="141"/>
                  <a:pt x="118" y="141"/>
                  <a:pt x="118" y="141"/>
                </a:cubicBezTo>
                <a:cubicBezTo>
                  <a:pt x="127" y="158"/>
                  <a:pt x="127" y="158"/>
                  <a:pt x="127" y="158"/>
                </a:cubicBezTo>
                <a:cubicBezTo>
                  <a:pt x="127" y="158"/>
                  <a:pt x="127" y="158"/>
                  <a:pt x="127" y="158"/>
                </a:cubicBezTo>
                <a:lnTo>
                  <a:pt x="132" y="165"/>
                </a:lnTo>
                <a:close/>
                <a:moveTo>
                  <a:pt x="66" y="37"/>
                </a:moveTo>
                <a:cubicBezTo>
                  <a:pt x="70" y="37"/>
                  <a:pt x="74" y="41"/>
                  <a:pt x="74" y="45"/>
                </a:cubicBezTo>
                <a:cubicBezTo>
                  <a:pt x="74" y="50"/>
                  <a:pt x="70" y="54"/>
                  <a:pt x="66" y="54"/>
                </a:cubicBezTo>
                <a:cubicBezTo>
                  <a:pt x="61" y="54"/>
                  <a:pt x="58" y="50"/>
                  <a:pt x="58" y="45"/>
                </a:cubicBezTo>
                <a:cubicBezTo>
                  <a:pt x="58" y="41"/>
                  <a:pt x="61" y="37"/>
                  <a:pt x="66" y="37"/>
                </a:cubicBezTo>
                <a:close/>
                <a:moveTo>
                  <a:pt x="74" y="99"/>
                </a:moveTo>
                <a:cubicBezTo>
                  <a:pt x="74" y="91"/>
                  <a:pt x="74" y="91"/>
                  <a:pt x="74" y="91"/>
                </a:cubicBezTo>
                <a:cubicBezTo>
                  <a:pt x="74" y="88"/>
                  <a:pt x="72" y="87"/>
                  <a:pt x="70" y="87"/>
                </a:cubicBezTo>
                <a:cubicBezTo>
                  <a:pt x="62" y="87"/>
                  <a:pt x="62" y="87"/>
                  <a:pt x="62" y="87"/>
                </a:cubicBezTo>
                <a:cubicBezTo>
                  <a:pt x="59" y="87"/>
                  <a:pt x="58" y="88"/>
                  <a:pt x="58" y="91"/>
                </a:cubicBezTo>
                <a:cubicBezTo>
                  <a:pt x="58" y="99"/>
                  <a:pt x="58" y="99"/>
                  <a:pt x="58" y="99"/>
                </a:cubicBezTo>
                <a:cubicBezTo>
                  <a:pt x="39" y="99"/>
                  <a:pt x="39" y="99"/>
                  <a:pt x="39" y="99"/>
                </a:cubicBezTo>
                <a:cubicBezTo>
                  <a:pt x="59" y="60"/>
                  <a:pt x="59" y="60"/>
                  <a:pt x="59" y="60"/>
                </a:cubicBezTo>
                <a:cubicBezTo>
                  <a:pt x="61" y="61"/>
                  <a:pt x="63" y="62"/>
                  <a:pt x="66" y="62"/>
                </a:cubicBezTo>
                <a:cubicBezTo>
                  <a:pt x="68" y="62"/>
                  <a:pt x="71" y="61"/>
                  <a:pt x="73" y="60"/>
                </a:cubicBezTo>
                <a:cubicBezTo>
                  <a:pt x="92" y="99"/>
                  <a:pt x="92" y="99"/>
                  <a:pt x="92" y="99"/>
                </a:cubicBezTo>
                <a:lnTo>
                  <a:pt x="74" y="9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3" name="Freeform 64">
            <a:extLst>
              <a:ext uri="{FF2B5EF4-FFF2-40B4-BE49-F238E27FC236}">
                <a16:creationId xmlns:a16="http://schemas.microsoft.com/office/drawing/2014/main" id="{EDBD4251-7A55-460F-ACDC-0EF54B9A7057}"/>
              </a:ext>
            </a:extLst>
          </p:cNvPr>
          <p:cNvSpPr>
            <a:spLocks noEditPoints="1"/>
          </p:cNvSpPr>
          <p:nvPr/>
        </p:nvSpPr>
        <p:spPr bwMode="auto">
          <a:xfrm>
            <a:off x="10868586" y="1294322"/>
            <a:ext cx="420131" cy="417570"/>
          </a:xfrm>
          <a:custGeom>
            <a:avLst/>
            <a:gdLst>
              <a:gd name="T0" fmla="*/ 107 w 124"/>
              <a:gd name="T1" fmla="*/ 8 h 123"/>
              <a:gd name="T2" fmla="*/ 70 w 124"/>
              <a:gd name="T3" fmla="*/ 25 h 123"/>
              <a:gd name="T4" fmla="*/ 64 w 124"/>
              <a:gd name="T5" fmla="*/ 16 h 123"/>
              <a:gd name="T6" fmla="*/ 58 w 124"/>
              <a:gd name="T7" fmla="*/ 25 h 123"/>
              <a:gd name="T8" fmla="*/ 54 w 124"/>
              <a:gd name="T9" fmla="*/ 23 h 123"/>
              <a:gd name="T10" fmla="*/ 41 w 124"/>
              <a:gd name="T11" fmla="*/ 23 h 123"/>
              <a:gd name="T12" fmla="*/ 37 w 124"/>
              <a:gd name="T13" fmla="*/ 25 h 123"/>
              <a:gd name="T14" fmla="*/ 31 w 124"/>
              <a:gd name="T15" fmla="*/ 16 h 123"/>
              <a:gd name="T16" fmla="*/ 25 w 124"/>
              <a:gd name="T17" fmla="*/ 25 h 123"/>
              <a:gd name="T18" fmla="*/ 17 w 124"/>
              <a:gd name="T19" fmla="*/ 8 h 123"/>
              <a:gd name="T20" fmla="*/ 0 w 124"/>
              <a:gd name="T21" fmla="*/ 8 h 123"/>
              <a:gd name="T22" fmla="*/ 8 w 124"/>
              <a:gd name="T23" fmla="*/ 123 h 123"/>
              <a:gd name="T24" fmla="*/ 17 w 124"/>
              <a:gd name="T25" fmla="*/ 99 h 123"/>
              <a:gd name="T26" fmla="*/ 54 w 124"/>
              <a:gd name="T27" fmla="*/ 101 h 123"/>
              <a:gd name="T28" fmla="*/ 66 w 124"/>
              <a:gd name="T29" fmla="*/ 101 h 123"/>
              <a:gd name="T30" fmla="*/ 107 w 124"/>
              <a:gd name="T31" fmla="*/ 99 h 123"/>
              <a:gd name="T32" fmla="*/ 115 w 124"/>
              <a:gd name="T33" fmla="*/ 123 h 123"/>
              <a:gd name="T34" fmla="*/ 124 w 124"/>
              <a:gd name="T35" fmla="*/ 8 h 123"/>
              <a:gd name="T36" fmla="*/ 107 w 124"/>
              <a:gd name="T37" fmla="*/ 91 h 123"/>
              <a:gd name="T38" fmla="*/ 66 w 124"/>
              <a:gd name="T39" fmla="*/ 88 h 123"/>
              <a:gd name="T40" fmla="*/ 54 w 124"/>
              <a:gd name="T41" fmla="*/ 88 h 123"/>
              <a:gd name="T42" fmla="*/ 17 w 124"/>
              <a:gd name="T43" fmla="*/ 91 h 123"/>
              <a:gd name="T44" fmla="*/ 74 w 124"/>
              <a:gd name="T45" fmla="*/ 66 h 123"/>
              <a:gd name="T46" fmla="*/ 80 w 124"/>
              <a:gd name="T47" fmla="*/ 74 h 123"/>
              <a:gd name="T48" fmla="*/ 87 w 124"/>
              <a:gd name="T49" fmla="*/ 66 h 123"/>
              <a:gd name="T50" fmla="*/ 91 w 124"/>
              <a:gd name="T51" fmla="*/ 68 h 123"/>
              <a:gd name="T52" fmla="*/ 103 w 124"/>
              <a:gd name="T53" fmla="*/ 68 h 123"/>
              <a:gd name="T54" fmla="*/ 107 w 124"/>
              <a:gd name="T55" fmla="*/ 66 h 123"/>
              <a:gd name="T56" fmla="*/ 107 w 124"/>
              <a:gd name="T57" fmla="*/ 58 h 123"/>
              <a:gd name="T58" fmla="*/ 103 w 124"/>
              <a:gd name="T59" fmla="*/ 56 h 123"/>
              <a:gd name="T60" fmla="*/ 91 w 124"/>
              <a:gd name="T61" fmla="*/ 56 h 123"/>
              <a:gd name="T62" fmla="*/ 87 w 124"/>
              <a:gd name="T63" fmla="*/ 58 h 123"/>
              <a:gd name="T64" fmla="*/ 80 w 124"/>
              <a:gd name="T65" fmla="*/ 49 h 123"/>
              <a:gd name="T66" fmla="*/ 74 w 124"/>
              <a:gd name="T67" fmla="*/ 58 h 123"/>
              <a:gd name="T68" fmla="*/ 17 w 124"/>
              <a:gd name="T69" fmla="*/ 33 h 123"/>
              <a:gd name="T70" fmla="*/ 25 w 124"/>
              <a:gd name="T71" fmla="*/ 35 h 123"/>
              <a:gd name="T72" fmla="*/ 37 w 124"/>
              <a:gd name="T73" fmla="*/ 35 h 123"/>
              <a:gd name="T74" fmla="*/ 41 w 124"/>
              <a:gd name="T75" fmla="*/ 33 h 123"/>
              <a:gd name="T76" fmla="*/ 47 w 124"/>
              <a:gd name="T77" fmla="*/ 41 h 123"/>
              <a:gd name="T78" fmla="*/ 54 w 124"/>
              <a:gd name="T79" fmla="*/ 33 h 123"/>
              <a:gd name="T80" fmla="*/ 58 w 124"/>
              <a:gd name="T81" fmla="*/ 35 h 123"/>
              <a:gd name="T82" fmla="*/ 70 w 124"/>
              <a:gd name="T83" fmla="*/ 35 h 123"/>
              <a:gd name="T84" fmla="*/ 107 w 124"/>
              <a:gd name="T85" fmla="*/ 3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123">
                <a:moveTo>
                  <a:pt x="115" y="0"/>
                </a:moveTo>
                <a:cubicBezTo>
                  <a:pt x="111" y="0"/>
                  <a:pt x="107" y="4"/>
                  <a:pt x="107" y="8"/>
                </a:cubicBezTo>
                <a:cubicBezTo>
                  <a:pt x="107" y="25"/>
                  <a:pt x="107" y="25"/>
                  <a:pt x="107" y="25"/>
                </a:cubicBezTo>
                <a:cubicBezTo>
                  <a:pt x="70" y="25"/>
                  <a:pt x="70" y="25"/>
                  <a:pt x="70" y="25"/>
                </a:cubicBezTo>
                <a:cubicBezTo>
                  <a:pt x="70" y="23"/>
                  <a:pt x="70" y="23"/>
                  <a:pt x="70" y="23"/>
                </a:cubicBezTo>
                <a:cubicBezTo>
                  <a:pt x="70" y="19"/>
                  <a:pt x="67" y="16"/>
                  <a:pt x="64" y="16"/>
                </a:cubicBezTo>
                <a:cubicBezTo>
                  <a:pt x="61" y="16"/>
                  <a:pt x="58" y="19"/>
                  <a:pt x="58" y="23"/>
                </a:cubicBezTo>
                <a:cubicBezTo>
                  <a:pt x="58" y="25"/>
                  <a:pt x="58" y="25"/>
                  <a:pt x="58" y="25"/>
                </a:cubicBezTo>
                <a:cubicBezTo>
                  <a:pt x="54" y="25"/>
                  <a:pt x="54" y="25"/>
                  <a:pt x="54" y="25"/>
                </a:cubicBezTo>
                <a:cubicBezTo>
                  <a:pt x="54" y="23"/>
                  <a:pt x="54" y="23"/>
                  <a:pt x="54" y="23"/>
                </a:cubicBezTo>
                <a:cubicBezTo>
                  <a:pt x="54" y="19"/>
                  <a:pt x="51" y="16"/>
                  <a:pt x="47" y="16"/>
                </a:cubicBezTo>
                <a:cubicBezTo>
                  <a:pt x="44" y="16"/>
                  <a:pt x="41" y="19"/>
                  <a:pt x="41" y="23"/>
                </a:cubicBezTo>
                <a:cubicBezTo>
                  <a:pt x="41" y="25"/>
                  <a:pt x="41" y="25"/>
                  <a:pt x="41" y="25"/>
                </a:cubicBezTo>
                <a:cubicBezTo>
                  <a:pt x="37" y="25"/>
                  <a:pt x="37" y="25"/>
                  <a:pt x="37" y="25"/>
                </a:cubicBezTo>
                <a:cubicBezTo>
                  <a:pt x="37" y="23"/>
                  <a:pt x="37" y="23"/>
                  <a:pt x="37" y="23"/>
                </a:cubicBezTo>
                <a:cubicBezTo>
                  <a:pt x="37" y="19"/>
                  <a:pt x="34" y="16"/>
                  <a:pt x="31" y="16"/>
                </a:cubicBezTo>
                <a:cubicBezTo>
                  <a:pt x="28" y="16"/>
                  <a:pt x="25" y="19"/>
                  <a:pt x="25" y="23"/>
                </a:cubicBezTo>
                <a:cubicBezTo>
                  <a:pt x="25" y="25"/>
                  <a:pt x="25" y="25"/>
                  <a:pt x="25" y="25"/>
                </a:cubicBezTo>
                <a:cubicBezTo>
                  <a:pt x="17" y="25"/>
                  <a:pt x="17" y="25"/>
                  <a:pt x="17" y="25"/>
                </a:cubicBezTo>
                <a:cubicBezTo>
                  <a:pt x="17" y="8"/>
                  <a:pt x="17" y="8"/>
                  <a:pt x="17" y="8"/>
                </a:cubicBezTo>
                <a:cubicBezTo>
                  <a:pt x="17" y="4"/>
                  <a:pt x="13" y="0"/>
                  <a:pt x="8" y="0"/>
                </a:cubicBezTo>
                <a:cubicBezTo>
                  <a:pt x="4" y="0"/>
                  <a:pt x="0" y="4"/>
                  <a:pt x="0" y="8"/>
                </a:cubicBezTo>
                <a:cubicBezTo>
                  <a:pt x="0" y="115"/>
                  <a:pt x="0" y="115"/>
                  <a:pt x="0" y="115"/>
                </a:cubicBezTo>
                <a:cubicBezTo>
                  <a:pt x="0" y="120"/>
                  <a:pt x="4" y="123"/>
                  <a:pt x="8" y="123"/>
                </a:cubicBezTo>
                <a:cubicBezTo>
                  <a:pt x="13" y="123"/>
                  <a:pt x="17" y="120"/>
                  <a:pt x="17" y="115"/>
                </a:cubicBezTo>
                <a:cubicBezTo>
                  <a:pt x="17" y="99"/>
                  <a:pt x="17" y="99"/>
                  <a:pt x="17" y="99"/>
                </a:cubicBezTo>
                <a:cubicBezTo>
                  <a:pt x="54" y="99"/>
                  <a:pt x="54" y="99"/>
                  <a:pt x="54" y="99"/>
                </a:cubicBezTo>
                <a:cubicBezTo>
                  <a:pt x="54" y="101"/>
                  <a:pt x="54" y="101"/>
                  <a:pt x="54" y="101"/>
                </a:cubicBezTo>
                <a:cubicBezTo>
                  <a:pt x="54" y="104"/>
                  <a:pt x="56" y="107"/>
                  <a:pt x="60" y="107"/>
                </a:cubicBezTo>
                <a:cubicBezTo>
                  <a:pt x="63" y="107"/>
                  <a:pt x="66" y="104"/>
                  <a:pt x="66" y="101"/>
                </a:cubicBezTo>
                <a:cubicBezTo>
                  <a:pt x="66" y="99"/>
                  <a:pt x="66" y="99"/>
                  <a:pt x="66" y="99"/>
                </a:cubicBezTo>
                <a:cubicBezTo>
                  <a:pt x="107" y="99"/>
                  <a:pt x="107" y="99"/>
                  <a:pt x="107" y="99"/>
                </a:cubicBezTo>
                <a:cubicBezTo>
                  <a:pt x="107" y="115"/>
                  <a:pt x="107" y="115"/>
                  <a:pt x="107" y="115"/>
                </a:cubicBezTo>
                <a:cubicBezTo>
                  <a:pt x="107" y="120"/>
                  <a:pt x="111" y="123"/>
                  <a:pt x="115" y="123"/>
                </a:cubicBezTo>
                <a:cubicBezTo>
                  <a:pt x="120" y="123"/>
                  <a:pt x="124" y="120"/>
                  <a:pt x="124" y="115"/>
                </a:cubicBezTo>
                <a:cubicBezTo>
                  <a:pt x="124" y="8"/>
                  <a:pt x="124" y="8"/>
                  <a:pt x="124" y="8"/>
                </a:cubicBezTo>
                <a:cubicBezTo>
                  <a:pt x="124" y="4"/>
                  <a:pt x="120" y="0"/>
                  <a:pt x="115" y="0"/>
                </a:cubicBezTo>
                <a:close/>
                <a:moveTo>
                  <a:pt x="107" y="91"/>
                </a:moveTo>
                <a:cubicBezTo>
                  <a:pt x="66" y="91"/>
                  <a:pt x="66" y="91"/>
                  <a:pt x="66" y="91"/>
                </a:cubicBezTo>
                <a:cubicBezTo>
                  <a:pt x="66" y="88"/>
                  <a:pt x="66" y="88"/>
                  <a:pt x="66" y="88"/>
                </a:cubicBezTo>
                <a:cubicBezTo>
                  <a:pt x="66" y="85"/>
                  <a:pt x="63" y="82"/>
                  <a:pt x="60" y="82"/>
                </a:cubicBezTo>
                <a:cubicBezTo>
                  <a:pt x="56" y="82"/>
                  <a:pt x="54" y="85"/>
                  <a:pt x="54" y="88"/>
                </a:cubicBezTo>
                <a:cubicBezTo>
                  <a:pt x="54" y="91"/>
                  <a:pt x="54" y="91"/>
                  <a:pt x="54" y="91"/>
                </a:cubicBezTo>
                <a:cubicBezTo>
                  <a:pt x="17" y="91"/>
                  <a:pt x="17" y="91"/>
                  <a:pt x="17" y="91"/>
                </a:cubicBezTo>
                <a:cubicBezTo>
                  <a:pt x="17" y="66"/>
                  <a:pt x="17" y="66"/>
                  <a:pt x="17" y="66"/>
                </a:cubicBezTo>
                <a:cubicBezTo>
                  <a:pt x="74" y="66"/>
                  <a:pt x="74" y="66"/>
                  <a:pt x="74" y="66"/>
                </a:cubicBezTo>
                <a:cubicBezTo>
                  <a:pt x="74" y="68"/>
                  <a:pt x="74" y="68"/>
                  <a:pt x="74" y="68"/>
                </a:cubicBezTo>
                <a:cubicBezTo>
                  <a:pt x="74" y="71"/>
                  <a:pt x="77" y="74"/>
                  <a:pt x="80" y="74"/>
                </a:cubicBezTo>
                <a:cubicBezTo>
                  <a:pt x="84" y="74"/>
                  <a:pt x="87" y="71"/>
                  <a:pt x="87" y="68"/>
                </a:cubicBezTo>
                <a:cubicBezTo>
                  <a:pt x="87" y="66"/>
                  <a:pt x="87" y="66"/>
                  <a:pt x="87" y="66"/>
                </a:cubicBezTo>
                <a:cubicBezTo>
                  <a:pt x="91" y="66"/>
                  <a:pt x="91" y="66"/>
                  <a:pt x="91" y="66"/>
                </a:cubicBezTo>
                <a:cubicBezTo>
                  <a:pt x="91" y="68"/>
                  <a:pt x="91" y="68"/>
                  <a:pt x="91" y="68"/>
                </a:cubicBezTo>
                <a:cubicBezTo>
                  <a:pt x="91" y="71"/>
                  <a:pt x="93" y="74"/>
                  <a:pt x="97" y="74"/>
                </a:cubicBezTo>
                <a:cubicBezTo>
                  <a:pt x="100" y="74"/>
                  <a:pt x="103" y="71"/>
                  <a:pt x="103" y="68"/>
                </a:cubicBezTo>
                <a:cubicBezTo>
                  <a:pt x="103" y="66"/>
                  <a:pt x="103" y="66"/>
                  <a:pt x="103" y="66"/>
                </a:cubicBezTo>
                <a:cubicBezTo>
                  <a:pt x="107" y="66"/>
                  <a:pt x="107" y="66"/>
                  <a:pt x="107" y="66"/>
                </a:cubicBezTo>
                <a:lnTo>
                  <a:pt x="107" y="91"/>
                </a:lnTo>
                <a:close/>
                <a:moveTo>
                  <a:pt x="107" y="58"/>
                </a:moveTo>
                <a:cubicBezTo>
                  <a:pt x="103" y="58"/>
                  <a:pt x="103" y="58"/>
                  <a:pt x="103" y="58"/>
                </a:cubicBezTo>
                <a:cubicBezTo>
                  <a:pt x="103" y="56"/>
                  <a:pt x="103" y="56"/>
                  <a:pt x="103" y="56"/>
                </a:cubicBezTo>
                <a:cubicBezTo>
                  <a:pt x="103" y="52"/>
                  <a:pt x="100" y="49"/>
                  <a:pt x="97" y="49"/>
                </a:cubicBezTo>
                <a:cubicBezTo>
                  <a:pt x="93" y="49"/>
                  <a:pt x="91" y="52"/>
                  <a:pt x="91" y="56"/>
                </a:cubicBezTo>
                <a:cubicBezTo>
                  <a:pt x="91" y="58"/>
                  <a:pt x="91" y="58"/>
                  <a:pt x="91" y="58"/>
                </a:cubicBezTo>
                <a:cubicBezTo>
                  <a:pt x="87" y="58"/>
                  <a:pt x="87" y="58"/>
                  <a:pt x="87" y="58"/>
                </a:cubicBezTo>
                <a:cubicBezTo>
                  <a:pt x="87" y="56"/>
                  <a:pt x="87" y="56"/>
                  <a:pt x="87" y="56"/>
                </a:cubicBezTo>
                <a:cubicBezTo>
                  <a:pt x="87" y="52"/>
                  <a:pt x="84" y="49"/>
                  <a:pt x="80" y="49"/>
                </a:cubicBezTo>
                <a:cubicBezTo>
                  <a:pt x="77" y="49"/>
                  <a:pt x="74" y="52"/>
                  <a:pt x="74" y="56"/>
                </a:cubicBezTo>
                <a:cubicBezTo>
                  <a:pt x="74" y="58"/>
                  <a:pt x="74" y="58"/>
                  <a:pt x="74" y="58"/>
                </a:cubicBezTo>
                <a:cubicBezTo>
                  <a:pt x="17" y="58"/>
                  <a:pt x="17" y="58"/>
                  <a:pt x="17" y="58"/>
                </a:cubicBezTo>
                <a:cubicBezTo>
                  <a:pt x="17" y="33"/>
                  <a:pt x="17" y="33"/>
                  <a:pt x="17" y="33"/>
                </a:cubicBezTo>
                <a:cubicBezTo>
                  <a:pt x="25" y="33"/>
                  <a:pt x="25" y="33"/>
                  <a:pt x="25" y="33"/>
                </a:cubicBezTo>
                <a:cubicBezTo>
                  <a:pt x="25" y="35"/>
                  <a:pt x="25" y="35"/>
                  <a:pt x="25" y="35"/>
                </a:cubicBezTo>
                <a:cubicBezTo>
                  <a:pt x="25" y="38"/>
                  <a:pt x="28" y="41"/>
                  <a:pt x="31" y="41"/>
                </a:cubicBezTo>
                <a:cubicBezTo>
                  <a:pt x="34" y="41"/>
                  <a:pt x="37" y="38"/>
                  <a:pt x="37" y="35"/>
                </a:cubicBezTo>
                <a:cubicBezTo>
                  <a:pt x="37" y="33"/>
                  <a:pt x="37" y="33"/>
                  <a:pt x="37" y="33"/>
                </a:cubicBezTo>
                <a:cubicBezTo>
                  <a:pt x="41" y="33"/>
                  <a:pt x="41" y="33"/>
                  <a:pt x="41" y="33"/>
                </a:cubicBezTo>
                <a:cubicBezTo>
                  <a:pt x="41" y="35"/>
                  <a:pt x="41" y="35"/>
                  <a:pt x="41" y="35"/>
                </a:cubicBezTo>
                <a:cubicBezTo>
                  <a:pt x="41" y="38"/>
                  <a:pt x="44" y="41"/>
                  <a:pt x="47" y="41"/>
                </a:cubicBezTo>
                <a:cubicBezTo>
                  <a:pt x="51" y="41"/>
                  <a:pt x="54" y="38"/>
                  <a:pt x="54" y="35"/>
                </a:cubicBezTo>
                <a:cubicBezTo>
                  <a:pt x="54" y="33"/>
                  <a:pt x="54" y="33"/>
                  <a:pt x="54" y="33"/>
                </a:cubicBezTo>
                <a:cubicBezTo>
                  <a:pt x="58" y="33"/>
                  <a:pt x="58" y="33"/>
                  <a:pt x="58" y="33"/>
                </a:cubicBezTo>
                <a:cubicBezTo>
                  <a:pt x="58" y="35"/>
                  <a:pt x="58" y="35"/>
                  <a:pt x="58" y="35"/>
                </a:cubicBezTo>
                <a:cubicBezTo>
                  <a:pt x="58" y="38"/>
                  <a:pt x="61" y="41"/>
                  <a:pt x="64" y="41"/>
                </a:cubicBezTo>
                <a:cubicBezTo>
                  <a:pt x="67" y="41"/>
                  <a:pt x="70" y="38"/>
                  <a:pt x="70" y="35"/>
                </a:cubicBezTo>
                <a:cubicBezTo>
                  <a:pt x="70" y="33"/>
                  <a:pt x="70" y="33"/>
                  <a:pt x="70" y="33"/>
                </a:cubicBezTo>
                <a:cubicBezTo>
                  <a:pt x="107" y="33"/>
                  <a:pt x="107" y="33"/>
                  <a:pt x="107" y="33"/>
                </a:cubicBezTo>
                <a:lnTo>
                  <a:pt x="107" y="5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4" name="Freeform 65">
            <a:extLst>
              <a:ext uri="{FF2B5EF4-FFF2-40B4-BE49-F238E27FC236}">
                <a16:creationId xmlns:a16="http://schemas.microsoft.com/office/drawing/2014/main" id="{6BFAEC18-88C1-48DD-83F1-CB2174182CE4}"/>
              </a:ext>
            </a:extLst>
          </p:cNvPr>
          <p:cNvSpPr>
            <a:spLocks noEditPoints="1"/>
          </p:cNvSpPr>
          <p:nvPr/>
        </p:nvSpPr>
        <p:spPr bwMode="auto">
          <a:xfrm>
            <a:off x="941710" y="2235003"/>
            <a:ext cx="192134" cy="568714"/>
          </a:xfrm>
          <a:custGeom>
            <a:avLst/>
            <a:gdLst>
              <a:gd name="T0" fmla="*/ 20 w 57"/>
              <a:gd name="T1" fmla="*/ 78 h 168"/>
              <a:gd name="T2" fmla="*/ 20 w 57"/>
              <a:gd name="T3" fmla="*/ 148 h 168"/>
              <a:gd name="T4" fmla="*/ 29 w 57"/>
              <a:gd name="T5" fmla="*/ 156 h 168"/>
              <a:gd name="T6" fmla="*/ 37 w 57"/>
              <a:gd name="T7" fmla="*/ 148 h 168"/>
              <a:gd name="T8" fmla="*/ 37 w 57"/>
              <a:gd name="T9" fmla="*/ 78 h 168"/>
              <a:gd name="T10" fmla="*/ 20 w 57"/>
              <a:gd name="T11" fmla="*/ 78 h 168"/>
              <a:gd name="T12" fmla="*/ 29 w 57"/>
              <a:gd name="T13" fmla="*/ 0 h 168"/>
              <a:gd name="T14" fmla="*/ 0 w 57"/>
              <a:gd name="T15" fmla="*/ 11 h 168"/>
              <a:gd name="T16" fmla="*/ 0 w 57"/>
              <a:gd name="T17" fmla="*/ 22 h 168"/>
              <a:gd name="T18" fmla="*/ 8 w 57"/>
              <a:gd name="T19" fmla="*/ 29 h 168"/>
              <a:gd name="T20" fmla="*/ 8 w 57"/>
              <a:gd name="T21" fmla="*/ 148 h 168"/>
              <a:gd name="T22" fmla="*/ 29 w 57"/>
              <a:gd name="T23" fmla="*/ 168 h 168"/>
              <a:gd name="T24" fmla="*/ 49 w 57"/>
              <a:gd name="T25" fmla="*/ 148 h 168"/>
              <a:gd name="T26" fmla="*/ 49 w 57"/>
              <a:gd name="T27" fmla="*/ 29 h 168"/>
              <a:gd name="T28" fmla="*/ 57 w 57"/>
              <a:gd name="T29" fmla="*/ 22 h 168"/>
              <a:gd name="T30" fmla="*/ 57 w 57"/>
              <a:gd name="T31" fmla="*/ 11 h 168"/>
              <a:gd name="T32" fmla="*/ 29 w 57"/>
              <a:gd name="T33" fmla="*/ 0 h 168"/>
              <a:gd name="T34" fmla="*/ 41 w 57"/>
              <a:gd name="T35" fmla="*/ 148 h 168"/>
              <a:gd name="T36" fmla="*/ 29 w 57"/>
              <a:gd name="T37" fmla="*/ 160 h 168"/>
              <a:gd name="T38" fmla="*/ 16 w 57"/>
              <a:gd name="T39" fmla="*/ 148 h 168"/>
              <a:gd name="T40" fmla="*/ 16 w 57"/>
              <a:gd name="T41" fmla="*/ 31 h 168"/>
              <a:gd name="T42" fmla="*/ 29 w 57"/>
              <a:gd name="T43" fmla="*/ 33 h 168"/>
              <a:gd name="T44" fmla="*/ 41 w 57"/>
              <a:gd name="T45" fmla="*/ 31 h 168"/>
              <a:gd name="T46" fmla="*/ 41 w 57"/>
              <a:gd name="T47" fmla="*/ 148 h 168"/>
              <a:gd name="T48" fmla="*/ 29 w 57"/>
              <a:gd name="T49" fmla="*/ 21 h 168"/>
              <a:gd name="T50" fmla="*/ 4 w 57"/>
              <a:gd name="T51" fmla="*/ 14 h 168"/>
              <a:gd name="T52" fmla="*/ 29 w 57"/>
              <a:gd name="T53" fmla="*/ 7 h 168"/>
              <a:gd name="T54" fmla="*/ 53 w 57"/>
              <a:gd name="T55" fmla="*/ 14 h 168"/>
              <a:gd name="T56" fmla="*/ 29 w 57"/>
              <a:gd name="T57" fmla="*/ 2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68">
                <a:moveTo>
                  <a:pt x="20" y="78"/>
                </a:moveTo>
                <a:cubicBezTo>
                  <a:pt x="20" y="148"/>
                  <a:pt x="20" y="148"/>
                  <a:pt x="20" y="148"/>
                </a:cubicBezTo>
                <a:cubicBezTo>
                  <a:pt x="20" y="152"/>
                  <a:pt x="24" y="156"/>
                  <a:pt x="29" y="156"/>
                </a:cubicBezTo>
                <a:cubicBezTo>
                  <a:pt x="33" y="156"/>
                  <a:pt x="37" y="152"/>
                  <a:pt x="37" y="148"/>
                </a:cubicBezTo>
                <a:cubicBezTo>
                  <a:pt x="37" y="78"/>
                  <a:pt x="37" y="78"/>
                  <a:pt x="37" y="78"/>
                </a:cubicBezTo>
                <a:cubicBezTo>
                  <a:pt x="37" y="68"/>
                  <a:pt x="20" y="68"/>
                  <a:pt x="20" y="78"/>
                </a:cubicBezTo>
                <a:close/>
                <a:moveTo>
                  <a:pt x="29" y="0"/>
                </a:moveTo>
                <a:cubicBezTo>
                  <a:pt x="13" y="0"/>
                  <a:pt x="0" y="5"/>
                  <a:pt x="0" y="11"/>
                </a:cubicBezTo>
                <a:cubicBezTo>
                  <a:pt x="0" y="22"/>
                  <a:pt x="0" y="22"/>
                  <a:pt x="0" y="22"/>
                </a:cubicBezTo>
                <a:cubicBezTo>
                  <a:pt x="0" y="25"/>
                  <a:pt x="3" y="27"/>
                  <a:pt x="8" y="29"/>
                </a:cubicBezTo>
                <a:cubicBezTo>
                  <a:pt x="8" y="148"/>
                  <a:pt x="8" y="148"/>
                  <a:pt x="8" y="148"/>
                </a:cubicBezTo>
                <a:cubicBezTo>
                  <a:pt x="8" y="159"/>
                  <a:pt x="17" y="168"/>
                  <a:pt x="29" y="168"/>
                </a:cubicBezTo>
                <a:cubicBezTo>
                  <a:pt x="40" y="168"/>
                  <a:pt x="49" y="159"/>
                  <a:pt x="49" y="148"/>
                </a:cubicBezTo>
                <a:cubicBezTo>
                  <a:pt x="49" y="29"/>
                  <a:pt x="49" y="29"/>
                  <a:pt x="49" y="29"/>
                </a:cubicBezTo>
                <a:cubicBezTo>
                  <a:pt x="54" y="27"/>
                  <a:pt x="57" y="25"/>
                  <a:pt x="57" y="22"/>
                </a:cubicBezTo>
                <a:cubicBezTo>
                  <a:pt x="57" y="11"/>
                  <a:pt x="57" y="11"/>
                  <a:pt x="57" y="11"/>
                </a:cubicBezTo>
                <a:cubicBezTo>
                  <a:pt x="57" y="5"/>
                  <a:pt x="44" y="0"/>
                  <a:pt x="29" y="0"/>
                </a:cubicBezTo>
                <a:close/>
                <a:moveTo>
                  <a:pt x="41" y="148"/>
                </a:moveTo>
                <a:cubicBezTo>
                  <a:pt x="41" y="155"/>
                  <a:pt x="35" y="160"/>
                  <a:pt x="29" y="160"/>
                </a:cubicBezTo>
                <a:cubicBezTo>
                  <a:pt x="22" y="160"/>
                  <a:pt x="16" y="155"/>
                  <a:pt x="16" y="148"/>
                </a:cubicBezTo>
                <a:cubicBezTo>
                  <a:pt x="16" y="31"/>
                  <a:pt x="16" y="31"/>
                  <a:pt x="16" y="31"/>
                </a:cubicBezTo>
                <a:cubicBezTo>
                  <a:pt x="20" y="32"/>
                  <a:pt x="24" y="33"/>
                  <a:pt x="29" y="33"/>
                </a:cubicBezTo>
                <a:cubicBezTo>
                  <a:pt x="33" y="33"/>
                  <a:pt x="37" y="32"/>
                  <a:pt x="41" y="31"/>
                </a:cubicBezTo>
                <a:lnTo>
                  <a:pt x="41" y="148"/>
                </a:lnTo>
                <a:close/>
                <a:moveTo>
                  <a:pt x="29" y="21"/>
                </a:moveTo>
                <a:cubicBezTo>
                  <a:pt x="15" y="21"/>
                  <a:pt x="4" y="17"/>
                  <a:pt x="4" y="14"/>
                </a:cubicBezTo>
                <a:cubicBezTo>
                  <a:pt x="4" y="10"/>
                  <a:pt x="15" y="7"/>
                  <a:pt x="29" y="7"/>
                </a:cubicBezTo>
                <a:cubicBezTo>
                  <a:pt x="42" y="7"/>
                  <a:pt x="53" y="10"/>
                  <a:pt x="53" y="14"/>
                </a:cubicBezTo>
                <a:cubicBezTo>
                  <a:pt x="53" y="17"/>
                  <a:pt x="42" y="21"/>
                  <a:pt x="29" y="2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 name="Freeform 66">
            <a:extLst>
              <a:ext uri="{FF2B5EF4-FFF2-40B4-BE49-F238E27FC236}">
                <a16:creationId xmlns:a16="http://schemas.microsoft.com/office/drawing/2014/main" id="{11C890A1-8CCE-405F-A9D1-51D687353009}"/>
              </a:ext>
            </a:extLst>
          </p:cNvPr>
          <p:cNvSpPr>
            <a:spLocks noEditPoints="1"/>
          </p:cNvSpPr>
          <p:nvPr/>
        </p:nvSpPr>
        <p:spPr bwMode="auto">
          <a:xfrm>
            <a:off x="1953610" y="2219632"/>
            <a:ext cx="397076" cy="584085"/>
          </a:xfrm>
          <a:custGeom>
            <a:avLst/>
            <a:gdLst>
              <a:gd name="T0" fmla="*/ 94 w 117"/>
              <a:gd name="T1" fmla="*/ 142 h 173"/>
              <a:gd name="T2" fmla="*/ 93 w 117"/>
              <a:gd name="T3" fmla="*/ 141 h 173"/>
              <a:gd name="T4" fmla="*/ 71 w 117"/>
              <a:gd name="T5" fmla="*/ 90 h 173"/>
              <a:gd name="T6" fmla="*/ 59 w 117"/>
              <a:gd name="T7" fmla="*/ 87 h 173"/>
              <a:gd name="T8" fmla="*/ 46 w 117"/>
              <a:gd name="T9" fmla="*/ 90 h 173"/>
              <a:gd name="T10" fmla="*/ 24 w 117"/>
              <a:gd name="T11" fmla="*/ 141 h 173"/>
              <a:gd name="T12" fmla="*/ 24 w 117"/>
              <a:gd name="T13" fmla="*/ 142 h 173"/>
              <a:gd name="T14" fmla="*/ 23 w 117"/>
              <a:gd name="T15" fmla="*/ 144 h 173"/>
              <a:gd name="T16" fmla="*/ 23 w 117"/>
              <a:gd name="T17" fmla="*/ 144 h 173"/>
              <a:gd name="T18" fmla="*/ 23 w 117"/>
              <a:gd name="T19" fmla="*/ 144 h 173"/>
              <a:gd name="T20" fmla="*/ 59 w 117"/>
              <a:gd name="T21" fmla="*/ 157 h 173"/>
              <a:gd name="T22" fmla="*/ 95 w 117"/>
              <a:gd name="T23" fmla="*/ 144 h 173"/>
              <a:gd name="T24" fmla="*/ 95 w 117"/>
              <a:gd name="T25" fmla="*/ 144 h 173"/>
              <a:gd name="T26" fmla="*/ 95 w 117"/>
              <a:gd name="T27" fmla="*/ 144 h 173"/>
              <a:gd name="T28" fmla="*/ 94 w 117"/>
              <a:gd name="T29" fmla="*/ 142 h 173"/>
              <a:gd name="T30" fmla="*/ 116 w 117"/>
              <a:gd name="T31" fmla="*/ 152 h 173"/>
              <a:gd name="T32" fmla="*/ 115 w 117"/>
              <a:gd name="T33" fmla="*/ 149 h 173"/>
              <a:gd name="T34" fmla="*/ 114 w 117"/>
              <a:gd name="T35" fmla="*/ 147 h 173"/>
              <a:gd name="T36" fmla="*/ 78 w 117"/>
              <a:gd name="T37" fmla="*/ 66 h 173"/>
              <a:gd name="T38" fmla="*/ 79 w 117"/>
              <a:gd name="T39" fmla="*/ 66 h 173"/>
              <a:gd name="T40" fmla="*/ 79 w 117"/>
              <a:gd name="T41" fmla="*/ 30 h 173"/>
              <a:gd name="T42" fmla="*/ 87 w 117"/>
              <a:gd name="T43" fmla="*/ 22 h 173"/>
              <a:gd name="T44" fmla="*/ 87 w 117"/>
              <a:gd name="T45" fmla="*/ 11 h 173"/>
              <a:gd name="T46" fmla="*/ 59 w 117"/>
              <a:gd name="T47" fmla="*/ 0 h 173"/>
              <a:gd name="T48" fmla="*/ 30 w 117"/>
              <a:gd name="T49" fmla="*/ 11 h 173"/>
              <a:gd name="T50" fmla="*/ 30 w 117"/>
              <a:gd name="T51" fmla="*/ 22 h 173"/>
              <a:gd name="T52" fmla="*/ 38 w 117"/>
              <a:gd name="T53" fmla="*/ 30 h 173"/>
              <a:gd name="T54" fmla="*/ 38 w 117"/>
              <a:gd name="T55" fmla="*/ 66 h 173"/>
              <a:gd name="T56" fmla="*/ 39 w 117"/>
              <a:gd name="T57" fmla="*/ 66 h 173"/>
              <a:gd name="T58" fmla="*/ 4 w 117"/>
              <a:gd name="T59" fmla="*/ 147 h 173"/>
              <a:gd name="T60" fmla="*/ 2 w 117"/>
              <a:gd name="T61" fmla="*/ 149 h 173"/>
              <a:gd name="T62" fmla="*/ 1 w 117"/>
              <a:gd name="T63" fmla="*/ 152 h 173"/>
              <a:gd name="T64" fmla="*/ 1 w 117"/>
              <a:gd name="T65" fmla="*/ 153 h 173"/>
              <a:gd name="T66" fmla="*/ 1 w 117"/>
              <a:gd name="T67" fmla="*/ 153 h 173"/>
              <a:gd name="T68" fmla="*/ 59 w 117"/>
              <a:gd name="T69" fmla="*/ 173 h 173"/>
              <a:gd name="T70" fmla="*/ 116 w 117"/>
              <a:gd name="T71" fmla="*/ 153 h 173"/>
              <a:gd name="T72" fmla="*/ 116 w 117"/>
              <a:gd name="T73" fmla="*/ 153 h 173"/>
              <a:gd name="T74" fmla="*/ 116 w 117"/>
              <a:gd name="T75" fmla="*/ 152 h 173"/>
              <a:gd name="T76" fmla="*/ 34 w 117"/>
              <a:gd name="T77" fmla="*/ 15 h 173"/>
              <a:gd name="T78" fmla="*/ 59 w 117"/>
              <a:gd name="T79" fmla="*/ 8 h 173"/>
              <a:gd name="T80" fmla="*/ 83 w 117"/>
              <a:gd name="T81" fmla="*/ 15 h 173"/>
              <a:gd name="T82" fmla="*/ 59 w 117"/>
              <a:gd name="T83" fmla="*/ 21 h 173"/>
              <a:gd name="T84" fmla="*/ 34 w 117"/>
              <a:gd name="T85" fmla="*/ 15 h 173"/>
              <a:gd name="T86" fmla="*/ 104 w 117"/>
              <a:gd name="T87" fmla="*/ 149 h 173"/>
              <a:gd name="T88" fmla="*/ 59 w 117"/>
              <a:gd name="T89" fmla="*/ 165 h 173"/>
              <a:gd name="T90" fmla="*/ 13 w 117"/>
              <a:gd name="T91" fmla="*/ 149 h 173"/>
              <a:gd name="T92" fmla="*/ 13 w 117"/>
              <a:gd name="T93" fmla="*/ 149 h 173"/>
              <a:gd name="T94" fmla="*/ 13 w 117"/>
              <a:gd name="T95" fmla="*/ 149 h 173"/>
              <a:gd name="T96" fmla="*/ 14 w 117"/>
              <a:gd name="T97" fmla="*/ 146 h 173"/>
              <a:gd name="T98" fmla="*/ 15 w 117"/>
              <a:gd name="T99" fmla="*/ 144 h 173"/>
              <a:gd name="T100" fmla="*/ 46 w 117"/>
              <a:gd name="T101" fmla="*/ 71 h 173"/>
              <a:gd name="T102" fmla="*/ 46 w 117"/>
              <a:gd name="T103" fmla="*/ 32 h 173"/>
              <a:gd name="T104" fmla="*/ 59 w 117"/>
              <a:gd name="T105" fmla="*/ 33 h 173"/>
              <a:gd name="T106" fmla="*/ 71 w 117"/>
              <a:gd name="T107" fmla="*/ 32 h 173"/>
              <a:gd name="T108" fmla="*/ 71 w 117"/>
              <a:gd name="T109" fmla="*/ 71 h 173"/>
              <a:gd name="T110" fmla="*/ 102 w 117"/>
              <a:gd name="T111" fmla="*/ 144 h 173"/>
              <a:gd name="T112" fmla="*/ 103 w 117"/>
              <a:gd name="T113" fmla="*/ 146 h 173"/>
              <a:gd name="T114" fmla="*/ 104 w 117"/>
              <a:gd name="T115" fmla="*/ 149 h 173"/>
              <a:gd name="T116" fmla="*/ 104 w 117"/>
              <a:gd name="T117" fmla="*/ 14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7" h="173">
                <a:moveTo>
                  <a:pt x="94" y="142"/>
                </a:moveTo>
                <a:cubicBezTo>
                  <a:pt x="94" y="141"/>
                  <a:pt x="93" y="141"/>
                  <a:pt x="93" y="141"/>
                </a:cubicBezTo>
                <a:cubicBezTo>
                  <a:pt x="71" y="90"/>
                  <a:pt x="71" y="90"/>
                  <a:pt x="71" y="90"/>
                </a:cubicBezTo>
                <a:cubicBezTo>
                  <a:pt x="71" y="90"/>
                  <a:pt x="65" y="87"/>
                  <a:pt x="59" y="87"/>
                </a:cubicBezTo>
                <a:cubicBezTo>
                  <a:pt x="53" y="87"/>
                  <a:pt x="46" y="90"/>
                  <a:pt x="46" y="90"/>
                </a:cubicBezTo>
                <a:cubicBezTo>
                  <a:pt x="24" y="141"/>
                  <a:pt x="24" y="141"/>
                  <a:pt x="24" y="141"/>
                </a:cubicBezTo>
                <a:cubicBezTo>
                  <a:pt x="24" y="141"/>
                  <a:pt x="24" y="141"/>
                  <a:pt x="24" y="142"/>
                </a:cubicBezTo>
                <a:cubicBezTo>
                  <a:pt x="23" y="142"/>
                  <a:pt x="23" y="143"/>
                  <a:pt x="23" y="144"/>
                </a:cubicBezTo>
                <a:cubicBezTo>
                  <a:pt x="23" y="144"/>
                  <a:pt x="23" y="144"/>
                  <a:pt x="23" y="144"/>
                </a:cubicBezTo>
                <a:cubicBezTo>
                  <a:pt x="23" y="144"/>
                  <a:pt x="23" y="144"/>
                  <a:pt x="23" y="144"/>
                </a:cubicBezTo>
                <a:cubicBezTo>
                  <a:pt x="22" y="151"/>
                  <a:pt x="37" y="157"/>
                  <a:pt x="59" y="157"/>
                </a:cubicBezTo>
                <a:cubicBezTo>
                  <a:pt x="80" y="157"/>
                  <a:pt x="95" y="151"/>
                  <a:pt x="95" y="144"/>
                </a:cubicBezTo>
                <a:cubicBezTo>
                  <a:pt x="95" y="144"/>
                  <a:pt x="95" y="144"/>
                  <a:pt x="95" y="144"/>
                </a:cubicBezTo>
                <a:cubicBezTo>
                  <a:pt x="95" y="144"/>
                  <a:pt x="95" y="144"/>
                  <a:pt x="95" y="144"/>
                </a:cubicBezTo>
                <a:cubicBezTo>
                  <a:pt x="94" y="143"/>
                  <a:pt x="94" y="142"/>
                  <a:pt x="94" y="142"/>
                </a:cubicBezTo>
                <a:close/>
                <a:moveTo>
                  <a:pt x="116" y="152"/>
                </a:moveTo>
                <a:cubicBezTo>
                  <a:pt x="116" y="151"/>
                  <a:pt x="116" y="150"/>
                  <a:pt x="115" y="149"/>
                </a:cubicBezTo>
                <a:cubicBezTo>
                  <a:pt x="115" y="148"/>
                  <a:pt x="114" y="148"/>
                  <a:pt x="114" y="147"/>
                </a:cubicBezTo>
                <a:cubicBezTo>
                  <a:pt x="78" y="66"/>
                  <a:pt x="78" y="66"/>
                  <a:pt x="78" y="66"/>
                </a:cubicBezTo>
                <a:cubicBezTo>
                  <a:pt x="79" y="66"/>
                  <a:pt x="79" y="66"/>
                  <a:pt x="79" y="66"/>
                </a:cubicBezTo>
                <a:cubicBezTo>
                  <a:pt x="79" y="30"/>
                  <a:pt x="79" y="30"/>
                  <a:pt x="79" y="30"/>
                </a:cubicBezTo>
                <a:cubicBezTo>
                  <a:pt x="84" y="28"/>
                  <a:pt x="87" y="25"/>
                  <a:pt x="87" y="22"/>
                </a:cubicBezTo>
                <a:cubicBezTo>
                  <a:pt x="87" y="11"/>
                  <a:pt x="87" y="11"/>
                  <a:pt x="87" y="11"/>
                </a:cubicBezTo>
                <a:cubicBezTo>
                  <a:pt x="87" y="5"/>
                  <a:pt x="75" y="0"/>
                  <a:pt x="59" y="0"/>
                </a:cubicBezTo>
                <a:cubicBezTo>
                  <a:pt x="43" y="0"/>
                  <a:pt x="30" y="5"/>
                  <a:pt x="30" y="11"/>
                </a:cubicBezTo>
                <a:cubicBezTo>
                  <a:pt x="30" y="22"/>
                  <a:pt x="30" y="22"/>
                  <a:pt x="30" y="22"/>
                </a:cubicBezTo>
                <a:cubicBezTo>
                  <a:pt x="30" y="25"/>
                  <a:pt x="33" y="28"/>
                  <a:pt x="38" y="30"/>
                </a:cubicBezTo>
                <a:cubicBezTo>
                  <a:pt x="38" y="66"/>
                  <a:pt x="38" y="66"/>
                  <a:pt x="38" y="66"/>
                </a:cubicBezTo>
                <a:cubicBezTo>
                  <a:pt x="39" y="66"/>
                  <a:pt x="39" y="66"/>
                  <a:pt x="39" y="66"/>
                </a:cubicBezTo>
                <a:cubicBezTo>
                  <a:pt x="4" y="147"/>
                  <a:pt x="4" y="147"/>
                  <a:pt x="4" y="147"/>
                </a:cubicBezTo>
                <a:cubicBezTo>
                  <a:pt x="3" y="148"/>
                  <a:pt x="3" y="148"/>
                  <a:pt x="2" y="149"/>
                </a:cubicBezTo>
                <a:cubicBezTo>
                  <a:pt x="2" y="150"/>
                  <a:pt x="1" y="151"/>
                  <a:pt x="1" y="152"/>
                </a:cubicBezTo>
                <a:cubicBezTo>
                  <a:pt x="1" y="153"/>
                  <a:pt x="1" y="153"/>
                  <a:pt x="1" y="153"/>
                </a:cubicBezTo>
                <a:cubicBezTo>
                  <a:pt x="1" y="153"/>
                  <a:pt x="1" y="153"/>
                  <a:pt x="1" y="153"/>
                </a:cubicBezTo>
                <a:cubicBezTo>
                  <a:pt x="0" y="164"/>
                  <a:pt x="24" y="173"/>
                  <a:pt x="59" y="173"/>
                </a:cubicBezTo>
                <a:cubicBezTo>
                  <a:pt x="94" y="173"/>
                  <a:pt x="117" y="164"/>
                  <a:pt x="116" y="153"/>
                </a:cubicBezTo>
                <a:cubicBezTo>
                  <a:pt x="116" y="153"/>
                  <a:pt x="116" y="153"/>
                  <a:pt x="116" y="153"/>
                </a:cubicBezTo>
                <a:lnTo>
                  <a:pt x="116" y="152"/>
                </a:lnTo>
                <a:close/>
                <a:moveTo>
                  <a:pt x="34" y="15"/>
                </a:moveTo>
                <a:cubicBezTo>
                  <a:pt x="34" y="11"/>
                  <a:pt x="45" y="8"/>
                  <a:pt x="59" y="8"/>
                </a:cubicBezTo>
                <a:cubicBezTo>
                  <a:pt x="72" y="8"/>
                  <a:pt x="83" y="11"/>
                  <a:pt x="83" y="15"/>
                </a:cubicBezTo>
                <a:cubicBezTo>
                  <a:pt x="83" y="18"/>
                  <a:pt x="72" y="21"/>
                  <a:pt x="59" y="21"/>
                </a:cubicBezTo>
                <a:cubicBezTo>
                  <a:pt x="45" y="21"/>
                  <a:pt x="34" y="18"/>
                  <a:pt x="34" y="15"/>
                </a:cubicBezTo>
                <a:close/>
                <a:moveTo>
                  <a:pt x="104" y="149"/>
                </a:moveTo>
                <a:cubicBezTo>
                  <a:pt x="105" y="158"/>
                  <a:pt x="86" y="165"/>
                  <a:pt x="59" y="165"/>
                </a:cubicBezTo>
                <a:cubicBezTo>
                  <a:pt x="31" y="165"/>
                  <a:pt x="13" y="158"/>
                  <a:pt x="13" y="149"/>
                </a:cubicBezTo>
                <a:cubicBezTo>
                  <a:pt x="13" y="149"/>
                  <a:pt x="13" y="149"/>
                  <a:pt x="13" y="149"/>
                </a:cubicBezTo>
                <a:cubicBezTo>
                  <a:pt x="13" y="149"/>
                  <a:pt x="13" y="149"/>
                  <a:pt x="13" y="149"/>
                </a:cubicBezTo>
                <a:cubicBezTo>
                  <a:pt x="13" y="148"/>
                  <a:pt x="14" y="147"/>
                  <a:pt x="14" y="146"/>
                </a:cubicBezTo>
                <a:cubicBezTo>
                  <a:pt x="14" y="145"/>
                  <a:pt x="15" y="145"/>
                  <a:pt x="15" y="144"/>
                </a:cubicBezTo>
                <a:cubicBezTo>
                  <a:pt x="46" y="71"/>
                  <a:pt x="46" y="71"/>
                  <a:pt x="46" y="71"/>
                </a:cubicBezTo>
                <a:cubicBezTo>
                  <a:pt x="46" y="32"/>
                  <a:pt x="46" y="32"/>
                  <a:pt x="46" y="32"/>
                </a:cubicBezTo>
                <a:cubicBezTo>
                  <a:pt x="50" y="33"/>
                  <a:pt x="54" y="33"/>
                  <a:pt x="59" y="33"/>
                </a:cubicBezTo>
                <a:cubicBezTo>
                  <a:pt x="63" y="33"/>
                  <a:pt x="67" y="33"/>
                  <a:pt x="71" y="32"/>
                </a:cubicBezTo>
                <a:cubicBezTo>
                  <a:pt x="71" y="71"/>
                  <a:pt x="71" y="71"/>
                  <a:pt x="71" y="71"/>
                </a:cubicBezTo>
                <a:cubicBezTo>
                  <a:pt x="102" y="144"/>
                  <a:pt x="102" y="144"/>
                  <a:pt x="102" y="144"/>
                </a:cubicBezTo>
                <a:cubicBezTo>
                  <a:pt x="103" y="145"/>
                  <a:pt x="103" y="145"/>
                  <a:pt x="103" y="146"/>
                </a:cubicBezTo>
                <a:cubicBezTo>
                  <a:pt x="104" y="147"/>
                  <a:pt x="104" y="148"/>
                  <a:pt x="104" y="149"/>
                </a:cubicBezTo>
                <a:cubicBezTo>
                  <a:pt x="104" y="149"/>
                  <a:pt x="104" y="149"/>
                  <a:pt x="104" y="149"/>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6" name="Freeform 67">
            <a:extLst>
              <a:ext uri="{FF2B5EF4-FFF2-40B4-BE49-F238E27FC236}">
                <a16:creationId xmlns:a16="http://schemas.microsoft.com/office/drawing/2014/main" id="{FF8DD6E9-048E-4ACE-AFF8-5858F120D155}"/>
              </a:ext>
            </a:extLst>
          </p:cNvPr>
          <p:cNvSpPr>
            <a:spLocks noEditPoints="1"/>
          </p:cNvSpPr>
          <p:nvPr/>
        </p:nvSpPr>
        <p:spPr bwMode="auto">
          <a:xfrm>
            <a:off x="3039802" y="2275991"/>
            <a:ext cx="455996" cy="489300"/>
          </a:xfrm>
          <a:custGeom>
            <a:avLst/>
            <a:gdLst>
              <a:gd name="T0" fmla="*/ 55 w 135"/>
              <a:gd name="T1" fmla="*/ 70 h 144"/>
              <a:gd name="T2" fmla="*/ 80 w 135"/>
              <a:gd name="T3" fmla="*/ 70 h 144"/>
              <a:gd name="T4" fmla="*/ 119 w 135"/>
              <a:gd name="T5" fmla="*/ 72 h 144"/>
              <a:gd name="T6" fmla="*/ 94 w 135"/>
              <a:gd name="T7" fmla="*/ 27 h 144"/>
              <a:gd name="T8" fmla="*/ 42 w 135"/>
              <a:gd name="T9" fmla="*/ 27 h 144"/>
              <a:gd name="T10" fmla="*/ 16 w 135"/>
              <a:gd name="T11" fmla="*/ 72 h 144"/>
              <a:gd name="T12" fmla="*/ 42 w 135"/>
              <a:gd name="T13" fmla="*/ 116 h 144"/>
              <a:gd name="T14" fmla="*/ 93 w 135"/>
              <a:gd name="T15" fmla="*/ 116 h 144"/>
              <a:gd name="T16" fmla="*/ 119 w 135"/>
              <a:gd name="T17" fmla="*/ 72 h 144"/>
              <a:gd name="T18" fmla="*/ 115 w 135"/>
              <a:gd name="T19" fmla="*/ 67 h 144"/>
              <a:gd name="T20" fmla="*/ 96 w 135"/>
              <a:gd name="T21" fmla="*/ 34 h 144"/>
              <a:gd name="T22" fmla="*/ 100 w 135"/>
              <a:gd name="T23" fmla="*/ 60 h 144"/>
              <a:gd name="T24" fmla="*/ 100 w 135"/>
              <a:gd name="T25" fmla="*/ 84 h 144"/>
              <a:gd name="T26" fmla="*/ 100 w 135"/>
              <a:gd name="T27" fmla="*/ 60 h 144"/>
              <a:gd name="T28" fmla="*/ 84 w 135"/>
              <a:gd name="T29" fmla="*/ 43 h 144"/>
              <a:gd name="T30" fmla="*/ 90 w 135"/>
              <a:gd name="T31" fmla="*/ 34 h 144"/>
              <a:gd name="T32" fmla="*/ 68 w 135"/>
              <a:gd name="T33" fmla="*/ 12 h 144"/>
              <a:gd name="T34" fmla="*/ 68 w 135"/>
              <a:gd name="T35" fmla="*/ 35 h 144"/>
              <a:gd name="T36" fmla="*/ 68 w 135"/>
              <a:gd name="T37" fmla="*/ 12 h 144"/>
              <a:gd name="T38" fmla="*/ 62 w 135"/>
              <a:gd name="T39" fmla="*/ 38 h 144"/>
              <a:gd name="T40" fmla="*/ 41 w 135"/>
              <a:gd name="T41" fmla="*/ 50 h 144"/>
              <a:gd name="T42" fmla="*/ 16 w 135"/>
              <a:gd name="T43" fmla="*/ 42 h 144"/>
              <a:gd name="T44" fmla="*/ 36 w 135"/>
              <a:gd name="T45" fmla="*/ 54 h 144"/>
              <a:gd name="T46" fmla="*/ 16 w 135"/>
              <a:gd name="T47" fmla="*/ 42 h 144"/>
              <a:gd name="T48" fmla="*/ 24 w 135"/>
              <a:gd name="T49" fmla="*/ 72 h 144"/>
              <a:gd name="T50" fmla="*/ 35 w 135"/>
              <a:gd name="T51" fmla="*/ 72 h 144"/>
              <a:gd name="T52" fmla="*/ 16 w 135"/>
              <a:gd name="T53" fmla="*/ 102 h 144"/>
              <a:gd name="T54" fmla="*/ 36 w 135"/>
              <a:gd name="T55" fmla="*/ 90 h 144"/>
              <a:gd name="T56" fmla="*/ 16 w 135"/>
              <a:gd name="T57" fmla="*/ 102 h 144"/>
              <a:gd name="T58" fmla="*/ 51 w 135"/>
              <a:gd name="T59" fmla="*/ 100 h 144"/>
              <a:gd name="T60" fmla="*/ 46 w 135"/>
              <a:gd name="T61" fmla="*/ 110 h 144"/>
              <a:gd name="T62" fmla="*/ 68 w 135"/>
              <a:gd name="T63" fmla="*/ 131 h 144"/>
              <a:gd name="T64" fmla="*/ 68 w 135"/>
              <a:gd name="T65" fmla="*/ 109 h 144"/>
              <a:gd name="T66" fmla="*/ 68 w 135"/>
              <a:gd name="T67" fmla="*/ 131 h 144"/>
              <a:gd name="T68" fmla="*/ 74 w 135"/>
              <a:gd name="T69" fmla="*/ 106 h 144"/>
              <a:gd name="T70" fmla="*/ 94 w 135"/>
              <a:gd name="T71" fmla="*/ 94 h 144"/>
              <a:gd name="T72" fmla="*/ 82 w 135"/>
              <a:gd name="T73" fmla="*/ 97 h 144"/>
              <a:gd name="T74" fmla="*/ 54 w 135"/>
              <a:gd name="T75" fmla="*/ 97 h 144"/>
              <a:gd name="T76" fmla="*/ 39 w 135"/>
              <a:gd name="T77" fmla="*/ 72 h 144"/>
              <a:gd name="T78" fmla="*/ 54 w 135"/>
              <a:gd name="T79" fmla="*/ 47 h 144"/>
              <a:gd name="T80" fmla="*/ 82 w 135"/>
              <a:gd name="T81" fmla="*/ 47 h 144"/>
              <a:gd name="T82" fmla="*/ 96 w 135"/>
              <a:gd name="T83" fmla="*/ 72 h 144"/>
              <a:gd name="T84" fmla="*/ 82 w 135"/>
              <a:gd name="T85" fmla="*/ 97 h 144"/>
              <a:gd name="T86" fmla="*/ 95 w 135"/>
              <a:gd name="T87" fmla="*/ 110 h 144"/>
              <a:gd name="T88" fmla="*/ 115 w 135"/>
              <a:gd name="T89" fmla="*/ 7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 h="144">
                <a:moveTo>
                  <a:pt x="68" y="58"/>
                </a:moveTo>
                <a:cubicBezTo>
                  <a:pt x="61" y="58"/>
                  <a:pt x="55" y="63"/>
                  <a:pt x="55" y="70"/>
                </a:cubicBezTo>
                <a:cubicBezTo>
                  <a:pt x="55" y="77"/>
                  <a:pt x="61" y="82"/>
                  <a:pt x="68" y="82"/>
                </a:cubicBezTo>
                <a:cubicBezTo>
                  <a:pt x="75" y="82"/>
                  <a:pt x="80" y="77"/>
                  <a:pt x="80" y="70"/>
                </a:cubicBezTo>
                <a:cubicBezTo>
                  <a:pt x="80" y="63"/>
                  <a:pt x="75" y="58"/>
                  <a:pt x="68" y="58"/>
                </a:cubicBezTo>
                <a:close/>
                <a:moveTo>
                  <a:pt x="119" y="72"/>
                </a:moveTo>
                <a:cubicBezTo>
                  <a:pt x="131" y="58"/>
                  <a:pt x="135" y="45"/>
                  <a:pt x="130" y="36"/>
                </a:cubicBezTo>
                <a:cubicBezTo>
                  <a:pt x="125" y="27"/>
                  <a:pt x="111" y="24"/>
                  <a:pt x="94" y="27"/>
                </a:cubicBezTo>
                <a:cubicBezTo>
                  <a:pt x="87" y="11"/>
                  <a:pt x="78" y="0"/>
                  <a:pt x="68" y="0"/>
                </a:cubicBezTo>
                <a:cubicBezTo>
                  <a:pt x="57" y="0"/>
                  <a:pt x="48" y="11"/>
                  <a:pt x="42" y="27"/>
                </a:cubicBezTo>
                <a:cubicBezTo>
                  <a:pt x="25" y="24"/>
                  <a:pt x="11" y="27"/>
                  <a:pt x="5" y="36"/>
                </a:cubicBezTo>
                <a:cubicBezTo>
                  <a:pt x="0" y="45"/>
                  <a:pt x="5" y="58"/>
                  <a:pt x="16" y="72"/>
                </a:cubicBezTo>
                <a:cubicBezTo>
                  <a:pt x="5" y="86"/>
                  <a:pt x="0" y="99"/>
                  <a:pt x="5" y="108"/>
                </a:cubicBezTo>
                <a:cubicBezTo>
                  <a:pt x="11" y="117"/>
                  <a:pt x="25" y="120"/>
                  <a:pt x="42" y="116"/>
                </a:cubicBezTo>
                <a:cubicBezTo>
                  <a:pt x="48" y="133"/>
                  <a:pt x="57" y="144"/>
                  <a:pt x="68" y="144"/>
                </a:cubicBezTo>
                <a:cubicBezTo>
                  <a:pt x="78" y="144"/>
                  <a:pt x="87" y="133"/>
                  <a:pt x="93" y="116"/>
                </a:cubicBezTo>
                <a:cubicBezTo>
                  <a:pt x="111" y="120"/>
                  <a:pt x="125" y="117"/>
                  <a:pt x="130" y="108"/>
                </a:cubicBezTo>
                <a:cubicBezTo>
                  <a:pt x="135" y="99"/>
                  <a:pt x="131" y="85"/>
                  <a:pt x="119" y="72"/>
                </a:cubicBezTo>
                <a:close/>
                <a:moveTo>
                  <a:pt x="119" y="42"/>
                </a:moveTo>
                <a:cubicBezTo>
                  <a:pt x="123" y="49"/>
                  <a:pt x="121" y="58"/>
                  <a:pt x="115" y="67"/>
                </a:cubicBezTo>
                <a:cubicBezTo>
                  <a:pt x="111" y="63"/>
                  <a:pt x="105" y="58"/>
                  <a:pt x="99" y="54"/>
                </a:cubicBezTo>
                <a:cubicBezTo>
                  <a:pt x="99" y="46"/>
                  <a:pt x="97" y="40"/>
                  <a:pt x="96" y="34"/>
                </a:cubicBezTo>
                <a:cubicBezTo>
                  <a:pt x="107" y="33"/>
                  <a:pt x="116" y="36"/>
                  <a:pt x="119" y="42"/>
                </a:cubicBezTo>
                <a:close/>
                <a:moveTo>
                  <a:pt x="100" y="60"/>
                </a:moveTo>
                <a:cubicBezTo>
                  <a:pt x="104" y="64"/>
                  <a:pt x="108" y="68"/>
                  <a:pt x="111" y="72"/>
                </a:cubicBezTo>
                <a:cubicBezTo>
                  <a:pt x="108" y="76"/>
                  <a:pt x="105" y="80"/>
                  <a:pt x="100" y="84"/>
                </a:cubicBezTo>
                <a:cubicBezTo>
                  <a:pt x="100" y="80"/>
                  <a:pt x="101" y="76"/>
                  <a:pt x="101" y="72"/>
                </a:cubicBezTo>
                <a:cubicBezTo>
                  <a:pt x="101" y="68"/>
                  <a:pt x="100" y="64"/>
                  <a:pt x="100" y="60"/>
                </a:cubicBezTo>
                <a:close/>
                <a:moveTo>
                  <a:pt x="94" y="50"/>
                </a:moveTo>
                <a:cubicBezTo>
                  <a:pt x="91" y="48"/>
                  <a:pt x="88" y="45"/>
                  <a:pt x="84" y="43"/>
                </a:cubicBezTo>
                <a:cubicBezTo>
                  <a:pt x="81" y="41"/>
                  <a:pt x="77" y="40"/>
                  <a:pt x="74" y="38"/>
                </a:cubicBezTo>
                <a:cubicBezTo>
                  <a:pt x="79" y="36"/>
                  <a:pt x="85" y="35"/>
                  <a:pt x="90" y="34"/>
                </a:cubicBezTo>
                <a:cubicBezTo>
                  <a:pt x="91" y="39"/>
                  <a:pt x="93" y="44"/>
                  <a:pt x="94" y="50"/>
                </a:cubicBezTo>
                <a:close/>
                <a:moveTo>
                  <a:pt x="68" y="12"/>
                </a:moveTo>
                <a:cubicBezTo>
                  <a:pt x="75" y="12"/>
                  <a:pt x="82" y="19"/>
                  <a:pt x="87" y="29"/>
                </a:cubicBezTo>
                <a:cubicBezTo>
                  <a:pt x="81" y="30"/>
                  <a:pt x="74" y="33"/>
                  <a:pt x="68" y="35"/>
                </a:cubicBezTo>
                <a:cubicBezTo>
                  <a:pt x="61" y="32"/>
                  <a:pt x="55" y="30"/>
                  <a:pt x="48" y="29"/>
                </a:cubicBezTo>
                <a:cubicBezTo>
                  <a:pt x="53" y="19"/>
                  <a:pt x="60" y="12"/>
                  <a:pt x="68" y="12"/>
                </a:cubicBezTo>
                <a:close/>
                <a:moveTo>
                  <a:pt x="46" y="34"/>
                </a:moveTo>
                <a:cubicBezTo>
                  <a:pt x="51" y="35"/>
                  <a:pt x="56" y="36"/>
                  <a:pt x="62" y="38"/>
                </a:cubicBezTo>
                <a:cubicBezTo>
                  <a:pt x="59" y="40"/>
                  <a:pt x="55" y="41"/>
                  <a:pt x="51" y="43"/>
                </a:cubicBezTo>
                <a:cubicBezTo>
                  <a:pt x="48" y="45"/>
                  <a:pt x="45" y="48"/>
                  <a:pt x="41" y="50"/>
                </a:cubicBezTo>
                <a:cubicBezTo>
                  <a:pt x="43" y="44"/>
                  <a:pt x="44" y="39"/>
                  <a:pt x="46" y="34"/>
                </a:cubicBezTo>
                <a:close/>
                <a:moveTo>
                  <a:pt x="16" y="42"/>
                </a:moveTo>
                <a:cubicBezTo>
                  <a:pt x="20" y="36"/>
                  <a:pt x="29" y="33"/>
                  <a:pt x="40" y="34"/>
                </a:cubicBezTo>
                <a:cubicBezTo>
                  <a:pt x="38" y="40"/>
                  <a:pt x="37" y="46"/>
                  <a:pt x="36" y="54"/>
                </a:cubicBezTo>
                <a:cubicBezTo>
                  <a:pt x="30" y="58"/>
                  <a:pt x="25" y="63"/>
                  <a:pt x="21" y="67"/>
                </a:cubicBezTo>
                <a:cubicBezTo>
                  <a:pt x="15" y="58"/>
                  <a:pt x="13" y="49"/>
                  <a:pt x="16" y="42"/>
                </a:cubicBezTo>
                <a:close/>
                <a:moveTo>
                  <a:pt x="36" y="84"/>
                </a:moveTo>
                <a:cubicBezTo>
                  <a:pt x="31" y="80"/>
                  <a:pt x="27" y="76"/>
                  <a:pt x="24" y="72"/>
                </a:cubicBezTo>
                <a:cubicBezTo>
                  <a:pt x="27" y="68"/>
                  <a:pt x="31" y="64"/>
                  <a:pt x="35" y="60"/>
                </a:cubicBezTo>
                <a:cubicBezTo>
                  <a:pt x="35" y="64"/>
                  <a:pt x="35" y="68"/>
                  <a:pt x="35" y="72"/>
                </a:cubicBezTo>
                <a:cubicBezTo>
                  <a:pt x="35" y="76"/>
                  <a:pt x="35" y="80"/>
                  <a:pt x="36" y="84"/>
                </a:cubicBezTo>
                <a:close/>
                <a:moveTo>
                  <a:pt x="16" y="102"/>
                </a:moveTo>
                <a:cubicBezTo>
                  <a:pt x="13" y="95"/>
                  <a:pt x="15" y="86"/>
                  <a:pt x="21" y="77"/>
                </a:cubicBezTo>
                <a:cubicBezTo>
                  <a:pt x="25" y="81"/>
                  <a:pt x="30" y="86"/>
                  <a:pt x="36" y="90"/>
                </a:cubicBezTo>
                <a:cubicBezTo>
                  <a:pt x="37" y="97"/>
                  <a:pt x="38" y="104"/>
                  <a:pt x="40" y="110"/>
                </a:cubicBezTo>
                <a:cubicBezTo>
                  <a:pt x="29" y="111"/>
                  <a:pt x="20" y="108"/>
                  <a:pt x="16" y="102"/>
                </a:cubicBezTo>
                <a:close/>
                <a:moveTo>
                  <a:pt x="42" y="94"/>
                </a:moveTo>
                <a:cubicBezTo>
                  <a:pt x="45" y="96"/>
                  <a:pt x="48" y="98"/>
                  <a:pt x="51" y="100"/>
                </a:cubicBezTo>
                <a:cubicBezTo>
                  <a:pt x="55" y="102"/>
                  <a:pt x="58" y="104"/>
                  <a:pt x="62" y="106"/>
                </a:cubicBezTo>
                <a:cubicBezTo>
                  <a:pt x="56" y="108"/>
                  <a:pt x="51" y="109"/>
                  <a:pt x="46" y="110"/>
                </a:cubicBezTo>
                <a:cubicBezTo>
                  <a:pt x="44" y="105"/>
                  <a:pt x="43" y="100"/>
                  <a:pt x="42" y="94"/>
                </a:cubicBezTo>
                <a:close/>
                <a:moveTo>
                  <a:pt x="68" y="131"/>
                </a:moveTo>
                <a:cubicBezTo>
                  <a:pt x="60" y="131"/>
                  <a:pt x="54" y="125"/>
                  <a:pt x="48" y="115"/>
                </a:cubicBezTo>
                <a:cubicBezTo>
                  <a:pt x="55" y="114"/>
                  <a:pt x="61" y="111"/>
                  <a:pt x="68" y="109"/>
                </a:cubicBezTo>
                <a:cubicBezTo>
                  <a:pt x="74" y="111"/>
                  <a:pt x="81" y="114"/>
                  <a:pt x="87" y="115"/>
                </a:cubicBezTo>
                <a:cubicBezTo>
                  <a:pt x="82" y="125"/>
                  <a:pt x="75" y="131"/>
                  <a:pt x="68" y="131"/>
                </a:cubicBezTo>
                <a:close/>
                <a:moveTo>
                  <a:pt x="90" y="110"/>
                </a:moveTo>
                <a:cubicBezTo>
                  <a:pt x="85" y="109"/>
                  <a:pt x="79" y="108"/>
                  <a:pt x="74" y="106"/>
                </a:cubicBezTo>
                <a:cubicBezTo>
                  <a:pt x="77" y="104"/>
                  <a:pt x="81" y="103"/>
                  <a:pt x="84" y="100"/>
                </a:cubicBezTo>
                <a:cubicBezTo>
                  <a:pt x="88" y="98"/>
                  <a:pt x="91" y="96"/>
                  <a:pt x="94" y="94"/>
                </a:cubicBezTo>
                <a:cubicBezTo>
                  <a:pt x="93" y="100"/>
                  <a:pt x="92" y="105"/>
                  <a:pt x="90" y="110"/>
                </a:cubicBezTo>
                <a:close/>
                <a:moveTo>
                  <a:pt x="82" y="97"/>
                </a:moveTo>
                <a:cubicBezTo>
                  <a:pt x="77" y="99"/>
                  <a:pt x="72" y="101"/>
                  <a:pt x="68" y="103"/>
                </a:cubicBezTo>
                <a:cubicBezTo>
                  <a:pt x="63" y="101"/>
                  <a:pt x="58" y="99"/>
                  <a:pt x="54" y="97"/>
                </a:cubicBezTo>
                <a:cubicBezTo>
                  <a:pt x="49" y="94"/>
                  <a:pt x="45" y="91"/>
                  <a:pt x="41" y="88"/>
                </a:cubicBezTo>
                <a:cubicBezTo>
                  <a:pt x="40" y="83"/>
                  <a:pt x="39" y="77"/>
                  <a:pt x="39" y="72"/>
                </a:cubicBezTo>
                <a:cubicBezTo>
                  <a:pt x="39" y="66"/>
                  <a:pt x="40" y="61"/>
                  <a:pt x="41" y="56"/>
                </a:cubicBezTo>
                <a:cubicBezTo>
                  <a:pt x="45" y="53"/>
                  <a:pt x="49" y="50"/>
                  <a:pt x="54" y="47"/>
                </a:cubicBezTo>
                <a:cubicBezTo>
                  <a:pt x="58" y="45"/>
                  <a:pt x="63" y="42"/>
                  <a:pt x="68" y="40"/>
                </a:cubicBezTo>
                <a:cubicBezTo>
                  <a:pt x="73" y="42"/>
                  <a:pt x="77" y="45"/>
                  <a:pt x="82" y="47"/>
                </a:cubicBezTo>
                <a:cubicBezTo>
                  <a:pt x="87" y="50"/>
                  <a:pt x="91" y="53"/>
                  <a:pt x="95" y="56"/>
                </a:cubicBezTo>
                <a:cubicBezTo>
                  <a:pt x="96" y="61"/>
                  <a:pt x="96" y="66"/>
                  <a:pt x="96" y="72"/>
                </a:cubicBezTo>
                <a:cubicBezTo>
                  <a:pt x="96" y="77"/>
                  <a:pt x="96" y="83"/>
                  <a:pt x="95" y="88"/>
                </a:cubicBezTo>
                <a:cubicBezTo>
                  <a:pt x="91" y="91"/>
                  <a:pt x="87" y="94"/>
                  <a:pt x="82" y="97"/>
                </a:cubicBezTo>
                <a:close/>
                <a:moveTo>
                  <a:pt x="119" y="102"/>
                </a:moveTo>
                <a:cubicBezTo>
                  <a:pt x="116" y="108"/>
                  <a:pt x="107" y="111"/>
                  <a:pt x="95" y="110"/>
                </a:cubicBezTo>
                <a:cubicBezTo>
                  <a:pt x="97" y="104"/>
                  <a:pt x="99" y="97"/>
                  <a:pt x="100" y="90"/>
                </a:cubicBezTo>
                <a:cubicBezTo>
                  <a:pt x="105" y="86"/>
                  <a:pt x="110" y="81"/>
                  <a:pt x="115" y="77"/>
                </a:cubicBezTo>
                <a:cubicBezTo>
                  <a:pt x="121" y="86"/>
                  <a:pt x="123" y="95"/>
                  <a:pt x="119" y="10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7" name="Freeform 68">
            <a:extLst>
              <a:ext uri="{FF2B5EF4-FFF2-40B4-BE49-F238E27FC236}">
                <a16:creationId xmlns:a16="http://schemas.microsoft.com/office/drawing/2014/main" id="{ED5E8C18-A782-4ACD-A088-3A4F3E4FDD6A}"/>
              </a:ext>
            </a:extLst>
          </p:cNvPr>
          <p:cNvSpPr>
            <a:spLocks noEditPoints="1"/>
          </p:cNvSpPr>
          <p:nvPr/>
        </p:nvSpPr>
        <p:spPr bwMode="auto">
          <a:xfrm>
            <a:off x="4105500" y="2235003"/>
            <a:ext cx="555906" cy="555906"/>
          </a:xfrm>
          <a:custGeom>
            <a:avLst/>
            <a:gdLst>
              <a:gd name="T0" fmla="*/ 126 w 164"/>
              <a:gd name="T1" fmla="*/ 96 h 164"/>
              <a:gd name="T2" fmla="*/ 124 w 164"/>
              <a:gd name="T3" fmla="*/ 111 h 164"/>
              <a:gd name="T4" fmla="*/ 113 w 164"/>
              <a:gd name="T5" fmla="*/ 113 h 164"/>
              <a:gd name="T6" fmla="*/ 118 w 164"/>
              <a:gd name="T7" fmla="*/ 96 h 164"/>
              <a:gd name="T8" fmla="*/ 105 w 164"/>
              <a:gd name="T9" fmla="*/ 59 h 164"/>
              <a:gd name="T10" fmla="*/ 74 w 164"/>
              <a:gd name="T11" fmla="*/ 57 h 164"/>
              <a:gd name="T12" fmla="*/ 64 w 164"/>
              <a:gd name="T13" fmla="*/ 64 h 164"/>
              <a:gd name="T14" fmla="*/ 68 w 164"/>
              <a:gd name="T15" fmla="*/ 47 h 164"/>
              <a:gd name="T16" fmla="*/ 56 w 164"/>
              <a:gd name="T17" fmla="*/ 9 h 164"/>
              <a:gd name="T18" fmla="*/ 30 w 164"/>
              <a:gd name="T19" fmla="*/ 12 h 164"/>
              <a:gd name="T20" fmla="*/ 14 w 164"/>
              <a:gd name="T21" fmla="*/ 40 h 164"/>
              <a:gd name="T22" fmla="*/ 0 w 164"/>
              <a:gd name="T23" fmla="*/ 41 h 164"/>
              <a:gd name="T24" fmla="*/ 38 w 164"/>
              <a:gd name="T25" fmla="*/ 68 h 164"/>
              <a:gd name="T26" fmla="*/ 40 w 164"/>
              <a:gd name="T27" fmla="*/ 53 h 164"/>
              <a:gd name="T28" fmla="*/ 51 w 164"/>
              <a:gd name="T29" fmla="*/ 50 h 164"/>
              <a:gd name="T30" fmla="*/ 47 w 164"/>
              <a:gd name="T31" fmla="*/ 68 h 164"/>
              <a:gd name="T32" fmla="*/ 87 w 164"/>
              <a:gd name="T33" fmla="*/ 117 h 164"/>
              <a:gd name="T34" fmla="*/ 102 w 164"/>
              <a:gd name="T35" fmla="*/ 94 h 164"/>
              <a:gd name="T36" fmla="*/ 100 w 164"/>
              <a:gd name="T37" fmla="*/ 100 h 164"/>
              <a:gd name="T38" fmla="*/ 96 w 164"/>
              <a:gd name="T39" fmla="*/ 117 h 164"/>
              <a:gd name="T40" fmla="*/ 122 w 164"/>
              <a:gd name="T41" fmla="*/ 164 h 164"/>
              <a:gd name="T42" fmla="*/ 124 w 164"/>
              <a:gd name="T43" fmla="*/ 150 h 164"/>
              <a:gd name="T44" fmla="*/ 152 w 164"/>
              <a:gd name="T45" fmla="*/ 134 h 164"/>
              <a:gd name="T46" fmla="*/ 155 w 164"/>
              <a:gd name="T47" fmla="*/ 108 h 164"/>
              <a:gd name="T48" fmla="*/ 20 w 164"/>
              <a:gd name="T49" fmla="*/ 48 h 164"/>
              <a:gd name="T50" fmla="*/ 52 w 164"/>
              <a:gd name="T51" fmla="*/ 28 h 164"/>
              <a:gd name="T52" fmla="*/ 62 w 164"/>
              <a:gd name="T53" fmla="*/ 83 h 164"/>
              <a:gd name="T54" fmla="*/ 92 w 164"/>
              <a:gd name="T55" fmla="*/ 65 h 164"/>
              <a:gd name="T56" fmla="*/ 62 w 164"/>
              <a:gd name="T57" fmla="*/ 83 h 164"/>
              <a:gd name="T58" fmla="*/ 72 w 164"/>
              <a:gd name="T59" fmla="*/ 99 h 164"/>
              <a:gd name="T60" fmla="*/ 102 w 164"/>
              <a:gd name="T61" fmla="*/ 81 h 164"/>
              <a:gd name="T62" fmla="*/ 116 w 164"/>
              <a:gd name="T63" fmla="*/ 144 h 164"/>
              <a:gd name="T64" fmla="*/ 136 w 164"/>
              <a:gd name="T65" fmla="*/ 112 h 164"/>
              <a:gd name="T66" fmla="*/ 116 w 164"/>
              <a:gd name="T67" fmla="*/ 14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4" h="164">
                <a:moveTo>
                  <a:pt x="155" y="108"/>
                </a:moveTo>
                <a:cubicBezTo>
                  <a:pt x="147" y="100"/>
                  <a:pt x="137" y="97"/>
                  <a:pt x="126" y="96"/>
                </a:cubicBezTo>
                <a:cubicBezTo>
                  <a:pt x="123" y="111"/>
                  <a:pt x="123" y="111"/>
                  <a:pt x="123" y="111"/>
                </a:cubicBezTo>
                <a:cubicBezTo>
                  <a:pt x="123" y="111"/>
                  <a:pt x="124" y="111"/>
                  <a:pt x="124" y="111"/>
                </a:cubicBezTo>
                <a:cubicBezTo>
                  <a:pt x="111" y="124"/>
                  <a:pt x="111" y="124"/>
                  <a:pt x="111" y="124"/>
                </a:cubicBezTo>
                <a:cubicBezTo>
                  <a:pt x="111" y="120"/>
                  <a:pt x="112" y="117"/>
                  <a:pt x="113" y="113"/>
                </a:cubicBezTo>
                <a:cubicBezTo>
                  <a:pt x="113" y="113"/>
                  <a:pt x="114" y="113"/>
                  <a:pt x="114" y="113"/>
                </a:cubicBezTo>
                <a:cubicBezTo>
                  <a:pt x="118" y="96"/>
                  <a:pt x="118" y="96"/>
                  <a:pt x="118" y="96"/>
                </a:cubicBezTo>
                <a:cubicBezTo>
                  <a:pt x="117" y="96"/>
                  <a:pt x="117" y="96"/>
                  <a:pt x="117" y="96"/>
                </a:cubicBezTo>
                <a:cubicBezTo>
                  <a:pt x="119" y="82"/>
                  <a:pt x="115" y="68"/>
                  <a:pt x="105" y="59"/>
                </a:cubicBezTo>
                <a:cubicBezTo>
                  <a:pt x="98" y="51"/>
                  <a:pt x="88" y="47"/>
                  <a:pt x="77" y="47"/>
                </a:cubicBezTo>
                <a:cubicBezTo>
                  <a:pt x="74" y="57"/>
                  <a:pt x="74" y="57"/>
                  <a:pt x="74" y="57"/>
                </a:cubicBezTo>
                <a:cubicBezTo>
                  <a:pt x="62" y="69"/>
                  <a:pt x="62" y="69"/>
                  <a:pt x="62" y="69"/>
                </a:cubicBezTo>
                <a:cubicBezTo>
                  <a:pt x="63" y="68"/>
                  <a:pt x="63" y="66"/>
                  <a:pt x="64" y="64"/>
                </a:cubicBezTo>
                <a:cubicBezTo>
                  <a:pt x="64" y="64"/>
                  <a:pt x="64" y="64"/>
                  <a:pt x="64" y="64"/>
                </a:cubicBezTo>
                <a:cubicBezTo>
                  <a:pt x="68" y="47"/>
                  <a:pt x="68" y="47"/>
                  <a:pt x="68" y="47"/>
                </a:cubicBezTo>
                <a:cubicBezTo>
                  <a:pt x="68" y="47"/>
                  <a:pt x="68" y="47"/>
                  <a:pt x="68" y="47"/>
                </a:cubicBezTo>
                <a:cubicBezTo>
                  <a:pt x="69" y="32"/>
                  <a:pt x="65" y="19"/>
                  <a:pt x="56" y="9"/>
                </a:cubicBezTo>
                <a:cubicBezTo>
                  <a:pt x="52" y="5"/>
                  <a:pt x="47" y="2"/>
                  <a:pt x="42" y="0"/>
                </a:cubicBezTo>
                <a:cubicBezTo>
                  <a:pt x="30" y="12"/>
                  <a:pt x="30" y="12"/>
                  <a:pt x="30" y="12"/>
                </a:cubicBezTo>
                <a:cubicBezTo>
                  <a:pt x="34" y="12"/>
                  <a:pt x="37" y="13"/>
                  <a:pt x="40" y="14"/>
                </a:cubicBezTo>
                <a:cubicBezTo>
                  <a:pt x="14" y="40"/>
                  <a:pt x="14" y="40"/>
                  <a:pt x="14" y="40"/>
                </a:cubicBezTo>
                <a:cubicBezTo>
                  <a:pt x="13" y="37"/>
                  <a:pt x="12" y="34"/>
                  <a:pt x="12" y="30"/>
                </a:cubicBezTo>
                <a:cubicBezTo>
                  <a:pt x="0" y="41"/>
                  <a:pt x="0" y="41"/>
                  <a:pt x="0" y="41"/>
                </a:cubicBezTo>
                <a:cubicBezTo>
                  <a:pt x="2" y="47"/>
                  <a:pt x="5" y="52"/>
                  <a:pt x="9" y="56"/>
                </a:cubicBezTo>
                <a:cubicBezTo>
                  <a:pt x="17" y="63"/>
                  <a:pt x="27" y="67"/>
                  <a:pt x="38" y="68"/>
                </a:cubicBezTo>
                <a:cubicBezTo>
                  <a:pt x="41" y="53"/>
                  <a:pt x="41" y="53"/>
                  <a:pt x="41" y="53"/>
                </a:cubicBezTo>
                <a:cubicBezTo>
                  <a:pt x="41" y="53"/>
                  <a:pt x="40" y="53"/>
                  <a:pt x="40" y="53"/>
                </a:cubicBezTo>
                <a:cubicBezTo>
                  <a:pt x="53" y="40"/>
                  <a:pt x="53" y="40"/>
                  <a:pt x="53" y="40"/>
                </a:cubicBezTo>
                <a:cubicBezTo>
                  <a:pt x="53" y="43"/>
                  <a:pt x="52" y="47"/>
                  <a:pt x="51" y="50"/>
                </a:cubicBezTo>
                <a:cubicBezTo>
                  <a:pt x="47" y="68"/>
                  <a:pt x="47" y="68"/>
                  <a:pt x="47" y="68"/>
                </a:cubicBezTo>
                <a:cubicBezTo>
                  <a:pt x="47" y="68"/>
                  <a:pt x="47" y="68"/>
                  <a:pt x="47" y="68"/>
                </a:cubicBezTo>
                <a:cubicBezTo>
                  <a:pt x="45" y="82"/>
                  <a:pt x="49" y="96"/>
                  <a:pt x="59" y="105"/>
                </a:cubicBezTo>
                <a:cubicBezTo>
                  <a:pt x="66" y="113"/>
                  <a:pt x="76" y="117"/>
                  <a:pt x="87" y="117"/>
                </a:cubicBezTo>
                <a:cubicBezTo>
                  <a:pt x="90" y="106"/>
                  <a:pt x="90" y="106"/>
                  <a:pt x="90" y="106"/>
                </a:cubicBezTo>
                <a:cubicBezTo>
                  <a:pt x="102" y="94"/>
                  <a:pt x="102" y="94"/>
                  <a:pt x="102" y="94"/>
                </a:cubicBezTo>
                <a:cubicBezTo>
                  <a:pt x="101" y="96"/>
                  <a:pt x="101" y="98"/>
                  <a:pt x="100" y="100"/>
                </a:cubicBezTo>
                <a:cubicBezTo>
                  <a:pt x="100" y="100"/>
                  <a:pt x="100" y="100"/>
                  <a:pt x="100" y="100"/>
                </a:cubicBezTo>
                <a:cubicBezTo>
                  <a:pt x="96" y="117"/>
                  <a:pt x="96" y="117"/>
                  <a:pt x="96" y="117"/>
                </a:cubicBezTo>
                <a:cubicBezTo>
                  <a:pt x="96" y="117"/>
                  <a:pt x="96" y="117"/>
                  <a:pt x="96" y="117"/>
                </a:cubicBezTo>
                <a:cubicBezTo>
                  <a:pt x="95" y="131"/>
                  <a:pt x="98" y="145"/>
                  <a:pt x="108" y="154"/>
                </a:cubicBezTo>
                <a:cubicBezTo>
                  <a:pt x="112" y="159"/>
                  <a:pt x="117" y="162"/>
                  <a:pt x="122" y="164"/>
                </a:cubicBezTo>
                <a:cubicBezTo>
                  <a:pt x="134" y="152"/>
                  <a:pt x="134" y="152"/>
                  <a:pt x="134" y="152"/>
                </a:cubicBezTo>
                <a:cubicBezTo>
                  <a:pt x="130" y="152"/>
                  <a:pt x="127" y="151"/>
                  <a:pt x="124" y="150"/>
                </a:cubicBezTo>
                <a:cubicBezTo>
                  <a:pt x="150" y="124"/>
                  <a:pt x="150" y="124"/>
                  <a:pt x="150" y="124"/>
                </a:cubicBezTo>
                <a:cubicBezTo>
                  <a:pt x="151" y="127"/>
                  <a:pt x="152" y="130"/>
                  <a:pt x="152" y="134"/>
                </a:cubicBezTo>
                <a:cubicBezTo>
                  <a:pt x="164" y="122"/>
                  <a:pt x="164" y="122"/>
                  <a:pt x="164" y="122"/>
                </a:cubicBezTo>
                <a:cubicBezTo>
                  <a:pt x="162" y="117"/>
                  <a:pt x="159" y="112"/>
                  <a:pt x="155" y="108"/>
                </a:cubicBezTo>
                <a:close/>
                <a:moveTo>
                  <a:pt x="28" y="52"/>
                </a:moveTo>
                <a:cubicBezTo>
                  <a:pt x="25" y="51"/>
                  <a:pt x="22" y="50"/>
                  <a:pt x="20" y="48"/>
                </a:cubicBezTo>
                <a:cubicBezTo>
                  <a:pt x="48" y="20"/>
                  <a:pt x="48" y="20"/>
                  <a:pt x="48" y="20"/>
                </a:cubicBezTo>
                <a:cubicBezTo>
                  <a:pt x="50" y="22"/>
                  <a:pt x="51" y="25"/>
                  <a:pt x="52" y="28"/>
                </a:cubicBezTo>
                <a:lnTo>
                  <a:pt x="28" y="52"/>
                </a:lnTo>
                <a:close/>
                <a:moveTo>
                  <a:pt x="62" y="83"/>
                </a:moveTo>
                <a:cubicBezTo>
                  <a:pt x="83" y="61"/>
                  <a:pt x="83" y="61"/>
                  <a:pt x="83" y="61"/>
                </a:cubicBezTo>
                <a:cubicBezTo>
                  <a:pt x="86" y="62"/>
                  <a:pt x="90" y="63"/>
                  <a:pt x="92" y="65"/>
                </a:cubicBezTo>
                <a:cubicBezTo>
                  <a:pt x="65" y="92"/>
                  <a:pt x="65" y="92"/>
                  <a:pt x="65" y="92"/>
                </a:cubicBezTo>
                <a:cubicBezTo>
                  <a:pt x="63" y="89"/>
                  <a:pt x="62" y="86"/>
                  <a:pt x="62" y="83"/>
                </a:cubicBezTo>
                <a:close/>
                <a:moveTo>
                  <a:pt x="81" y="102"/>
                </a:moveTo>
                <a:cubicBezTo>
                  <a:pt x="77" y="102"/>
                  <a:pt x="74" y="101"/>
                  <a:pt x="72" y="99"/>
                </a:cubicBezTo>
                <a:cubicBezTo>
                  <a:pt x="99" y="71"/>
                  <a:pt x="99" y="71"/>
                  <a:pt x="99" y="71"/>
                </a:cubicBezTo>
                <a:cubicBezTo>
                  <a:pt x="101" y="74"/>
                  <a:pt x="102" y="77"/>
                  <a:pt x="102" y="81"/>
                </a:cubicBezTo>
                <a:lnTo>
                  <a:pt x="81" y="102"/>
                </a:lnTo>
                <a:close/>
                <a:moveTo>
                  <a:pt x="116" y="144"/>
                </a:moveTo>
                <a:cubicBezTo>
                  <a:pt x="114" y="142"/>
                  <a:pt x="113" y="139"/>
                  <a:pt x="112" y="136"/>
                </a:cubicBezTo>
                <a:cubicBezTo>
                  <a:pt x="136" y="112"/>
                  <a:pt x="136" y="112"/>
                  <a:pt x="136" y="112"/>
                </a:cubicBezTo>
                <a:cubicBezTo>
                  <a:pt x="139" y="113"/>
                  <a:pt x="142" y="114"/>
                  <a:pt x="144" y="116"/>
                </a:cubicBezTo>
                <a:lnTo>
                  <a:pt x="116" y="144"/>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8" name="Freeform 69">
            <a:extLst>
              <a:ext uri="{FF2B5EF4-FFF2-40B4-BE49-F238E27FC236}">
                <a16:creationId xmlns:a16="http://schemas.microsoft.com/office/drawing/2014/main" id="{CBF10898-0B84-43E3-8689-D29960BB63B4}"/>
              </a:ext>
            </a:extLst>
          </p:cNvPr>
          <p:cNvSpPr>
            <a:spLocks/>
          </p:cNvSpPr>
          <p:nvPr/>
        </p:nvSpPr>
        <p:spPr bwMode="auto">
          <a:xfrm>
            <a:off x="5350522" y="2237565"/>
            <a:ext cx="322784" cy="512355"/>
          </a:xfrm>
          <a:custGeom>
            <a:avLst/>
            <a:gdLst>
              <a:gd name="T0" fmla="*/ 20 w 95"/>
              <a:gd name="T1" fmla="*/ 58 h 151"/>
              <a:gd name="T2" fmla="*/ 3 w 95"/>
              <a:gd name="T3" fmla="*/ 106 h 151"/>
              <a:gd name="T4" fmla="*/ 48 w 95"/>
              <a:gd name="T5" fmla="*/ 151 h 151"/>
              <a:gd name="T6" fmla="*/ 93 w 95"/>
              <a:gd name="T7" fmla="*/ 106 h 151"/>
              <a:gd name="T8" fmla="*/ 60 w 95"/>
              <a:gd name="T9" fmla="*/ 47 h 151"/>
              <a:gd name="T10" fmla="*/ 37 w 95"/>
              <a:gd name="T11" fmla="*/ 35 h 151"/>
              <a:gd name="T12" fmla="*/ 35 w 95"/>
              <a:gd name="T13" fmla="*/ 36 h 151"/>
              <a:gd name="T14" fmla="*/ 35 w 95"/>
              <a:gd name="T15" fmla="*/ 33 h 151"/>
              <a:gd name="T16" fmla="*/ 31 w 95"/>
              <a:gd name="T17" fmla="*/ 3 h 151"/>
              <a:gd name="T18" fmla="*/ 21 w 95"/>
              <a:gd name="T19" fmla="*/ 4 h 151"/>
              <a:gd name="T20" fmla="*/ 31 w 95"/>
              <a:gd name="T21" fmla="*/ 38 h 151"/>
              <a:gd name="T22" fmla="*/ 20 w 95"/>
              <a:gd name="T2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151">
                <a:moveTo>
                  <a:pt x="20" y="58"/>
                </a:moveTo>
                <a:cubicBezTo>
                  <a:pt x="17" y="85"/>
                  <a:pt x="6" y="81"/>
                  <a:pt x="3" y="106"/>
                </a:cubicBezTo>
                <a:cubicBezTo>
                  <a:pt x="0" y="130"/>
                  <a:pt x="22" y="151"/>
                  <a:pt x="48" y="151"/>
                </a:cubicBezTo>
                <a:cubicBezTo>
                  <a:pt x="74" y="151"/>
                  <a:pt x="95" y="130"/>
                  <a:pt x="93" y="106"/>
                </a:cubicBezTo>
                <a:cubicBezTo>
                  <a:pt x="92" y="83"/>
                  <a:pt x="82" y="86"/>
                  <a:pt x="60" y="47"/>
                </a:cubicBezTo>
                <a:cubicBezTo>
                  <a:pt x="51" y="32"/>
                  <a:pt x="45" y="31"/>
                  <a:pt x="37" y="35"/>
                </a:cubicBezTo>
                <a:cubicBezTo>
                  <a:pt x="36" y="35"/>
                  <a:pt x="36" y="35"/>
                  <a:pt x="35" y="36"/>
                </a:cubicBezTo>
                <a:cubicBezTo>
                  <a:pt x="35" y="35"/>
                  <a:pt x="35" y="34"/>
                  <a:pt x="35" y="33"/>
                </a:cubicBezTo>
                <a:cubicBezTo>
                  <a:pt x="29" y="19"/>
                  <a:pt x="31" y="3"/>
                  <a:pt x="31" y="3"/>
                </a:cubicBezTo>
                <a:cubicBezTo>
                  <a:pt x="31" y="3"/>
                  <a:pt x="27" y="0"/>
                  <a:pt x="21" y="4"/>
                </a:cubicBezTo>
                <a:cubicBezTo>
                  <a:pt x="19" y="12"/>
                  <a:pt x="26" y="27"/>
                  <a:pt x="31" y="38"/>
                </a:cubicBezTo>
                <a:cubicBezTo>
                  <a:pt x="25" y="40"/>
                  <a:pt x="21" y="44"/>
                  <a:pt x="20" y="5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9" name="Freeform 70">
            <a:extLst>
              <a:ext uri="{FF2B5EF4-FFF2-40B4-BE49-F238E27FC236}">
                <a16:creationId xmlns:a16="http://schemas.microsoft.com/office/drawing/2014/main" id="{BC7A4EDE-5CDB-4277-8EBF-C05891828627}"/>
              </a:ext>
            </a:extLst>
          </p:cNvPr>
          <p:cNvSpPr>
            <a:spLocks noEditPoints="1"/>
          </p:cNvSpPr>
          <p:nvPr/>
        </p:nvSpPr>
        <p:spPr bwMode="auto">
          <a:xfrm>
            <a:off x="6408537" y="2224755"/>
            <a:ext cx="417570" cy="484176"/>
          </a:xfrm>
          <a:custGeom>
            <a:avLst/>
            <a:gdLst>
              <a:gd name="T0" fmla="*/ 85 w 123"/>
              <a:gd name="T1" fmla="*/ 53 h 143"/>
              <a:gd name="T2" fmla="*/ 62 w 123"/>
              <a:gd name="T3" fmla="*/ 58 h 143"/>
              <a:gd name="T4" fmla="*/ 59 w 123"/>
              <a:gd name="T5" fmla="*/ 59 h 143"/>
              <a:gd name="T6" fmla="*/ 56 w 123"/>
              <a:gd name="T7" fmla="*/ 50 h 143"/>
              <a:gd name="T8" fmla="*/ 52 w 123"/>
              <a:gd name="T9" fmla="*/ 20 h 143"/>
              <a:gd name="T10" fmla="*/ 42 w 123"/>
              <a:gd name="T11" fmla="*/ 21 h 143"/>
              <a:gd name="T12" fmla="*/ 54 w 123"/>
              <a:gd name="T13" fmla="*/ 59 h 143"/>
              <a:gd name="T14" fmla="*/ 45 w 123"/>
              <a:gd name="T15" fmla="*/ 52 h 143"/>
              <a:gd name="T16" fmla="*/ 12 w 123"/>
              <a:gd name="T17" fmla="*/ 112 h 143"/>
              <a:gd name="T18" fmla="*/ 49 w 123"/>
              <a:gd name="T19" fmla="*/ 142 h 143"/>
              <a:gd name="T20" fmla="*/ 60 w 123"/>
              <a:gd name="T21" fmla="*/ 139 h 143"/>
              <a:gd name="T22" fmla="*/ 71 w 123"/>
              <a:gd name="T23" fmla="*/ 142 h 143"/>
              <a:gd name="T24" fmla="*/ 107 w 123"/>
              <a:gd name="T25" fmla="*/ 118 h 143"/>
              <a:gd name="T26" fmla="*/ 85 w 123"/>
              <a:gd name="T27" fmla="*/ 53 h 143"/>
              <a:gd name="T28" fmla="*/ 99 w 123"/>
              <a:gd name="T29" fmla="*/ 0 h 143"/>
              <a:gd name="T30" fmla="*/ 73 w 123"/>
              <a:gd name="T31" fmla="*/ 12 h 143"/>
              <a:gd name="T32" fmla="*/ 61 w 123"/>
              <a:gd name="T33" fmla="*/ 38 h 143"/>
              <a:gd name="T34" fmla="*/ 88 w 123"/>
              <a:gd name="T35" fmla="*/ 26 h 143"/>
              <a:gd name="T36" fmla="*/ 99 w 123"/>
              <a:gd name="T3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43">
                <a:moveTo>
                  <a:pt x="85" y="53"/>
                </a:moveTo>
                <a:cubicBezTo>
                  <a:pt x="77" y="52"/>
                  <a:pt x="75" y="54"/>
                  <a:pt x="62" y="58"/>
                </a:cubicBezTo>
                <a:cubicBezTo>
                  <a:pt x="61" y="59"/>
                  <a:pt x="60" y="59"/>
                  <a:pt x="59" y="59"/>
                </a:cubicBezTo>
                <a:cubicBezTo>
                  <a:pt x="58" y="57"/>
                  <a:pt x="57" y="54"/>
                  <a:pt x="56" y="50"/>
                </a:cubicBezTo>
                <a:cubicBezTo>
                  <a:pt x="51" y="35"/>
                  <a:pt x="52" y="20"/>
                  <a:pt x="52" y="20"/>
                </a:cubicBezTo>
                <a:cubicBezTo>
                  <a:pt x="52" y="20"/>
                  <a:pt x="48" y="16"/>
                  <a:pt x="42" y="21"/>
                </a:cubicBezTo>
                <a:cubicBezTo>
                  <a:pt x="40" y="29"/>
                  <a:pt x="49" y="49"/>
                  <a:pt x="54" y="59"/>
                </a:cubicBezTo>
                <a:cubicBezTo>
                  <a:pt x="50" y="57"/>
                  <a:pt x="49" y="52"/>
                  <a:pt x="45" y="52"/>
                </a:cubicBezTo>
                <a:cubicBezTo>
                  <a:pt x="15" y="50"/>
                  <a:pt x="0" y="84"/>
                  <a:pt x="12" y="112"/>
                </a:cubicBezTo>
                <a:cubicBezTo>
                  <a:pt x="19" y="130"/>
                  <a:pt x="35" y="141"/>
                  <a:pt x="49" y="142"/>
                </a:cubicBezTo>
                <a:cubicBezTo>
                  <a:pt x="53" y="143"/>
                  <a:pt x="56" y="139"/>
                  <a:pt x="60" y="139"/>
                </a:cubicBezTo>
                <a:cubicBezTo>
                  <a:pt x="64" y="139"/>
                  <a:pt x="69" y="142"/>
                  <a:pt x="71" y="142"/>
                </a:cubicBezTo>
                <a:cubicBezTo>
                  <a:pt x="85" y="143"/>
                  <a:pt x="97" y="134"/>
                  <a:pt x="107" y="118"/>
                </a:cubicBezTo>
                <a:cubicBezTo>
                  <a:pt x="123" y="91"/>
                  <a:pt x="114" y="55"/>
                  <a:pt x="85" y="53"/>
                </a:cubicBezTo>
                <a:close/>
                <a:moveTo>
                  <a:pt x="99" y="0"/>
                </a:moveTo>
                <a:cubicBezTo>
                  <a:pt x="99" y="0"/>
                  <a:pt x="84" y="1"/>
                  <a:pt x="73" y="12"/>
                </a:cubicBezTo>
                <a:cubicBezTo>
                  <a:pt x="63" y="22"/>
                  <a:pt x="61" y="38"/>
                  <a:pt x="61" y="38"/>
                </a:cubicBezTo>
                <a:cubicBezTo>
                  <a:pt x="61" y="38"/>
                  <a:pt x="77" y="37"/>
                  <a:pt x="88" y="26"/>
                </a:cubicBezTo>
                <a:cubicBezTo>
                  <a:pt x="98" y="16"/>
                  <a:pt x="99" y="0"/>
                  <a:pt x="99"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0" name="Freeform 71">
            <a:extLst>
              <a:ext uri="{FF2B5EF4-FFF2-40B4-BE49-F238E27FC236}">
                <a16:creationId xmlns:a16="http://schemas.microsoft.com/office/drawing/2014/main" id="{C5337BC5-194A-404B-9A3D-89A072CDF169}"/>
              </a:ext>
            </a:extLst>
          </p:cNvPr>
          <p:cNvSpPr>
            <a:spLocks noEditPoints="1"/>
          </p:cNvSpPr>
          <p:nvPr/>
        </p:nvSpPr>
        <p:spPr bwMode="auto">
          <a:xfrm>
            <a:off x="7451178" y="2275991"/>
            <a:ext cx="545659" cy="502108"/>
          </a:xfrm>
          <a:custGeom>
            <a:avLst/>
            <a:gdLst>
              <a:gd name="T0" fmla="*/ 39 w 213"/>
              <a:gd name="T1" fmla="*/ 157 h 196"/>
              <a:gd name="T2" fmla="*/ 39 w 213"/>
              <a:gd name="T3" fmla="*/ 16 h 196"/>
              <a:gd name="T4" fmla="*/ 28 w 213"/>
              <a:gd name="T5" fmla="*/ 16 h 196"/>
              <a:gd name="T6" fmla="*/ 28 w 213"/>
              <a:gd name="T7" fmla="*/ 157 h 196"/>
              <a:gd name="T8" fmla="*/ 0 w 213"/>
              <a:gd name="T9" fmla="*/ 157 h 196"/>
              <a:gd name="T10" fmla="*/ 0 w 213"/>
              <a:gd name="T11" fmla="*/ 168 h 196"/>
              <a:gd name="T12" fmla="*/ 28 w 213"/>
              <a:gd name="T13" fmla="*/ 168 h 196"/>
              <a:gd name="T14" fmla="*/ 28 w 213"/>
              <a:gd name="T15" fmla="*/ 196 h 196"/>
              <a:gd name="T16" fmla="*/ 39 w 213"/>
              <a:gd name="T17" fmla="*/ 196 h 196"/>
              <a:gd name="T18" fmla="*/ 39 w 213"/>
              <a:gd name="T19" fmla="*/ 168 h 196"/>
              <a:gd name="T20" fmla="*/ 213 w 213"/>
              <a:gd name="T21" fmla="*/ 168 h 196"/>
              <a:gd name="T22" fmla="*/ 213 w 213"/>
              <a:gd name="T23" fmla="*/ 157 h 196"/>
              <a:gd name="T24" fmla="*/ 39 w 213"/>
              <a:gd name="T25" fmla="*/ 157 h 196"/>
              <a:gd name="T26" fmla="*/ 180 w 213"/>
              <a:gd name="T27" fmla="*/ 0 h 196"/>
              <a:gd name="T28" fmla="*/ 147 w 213"/>
              <a:gd name="T29" fmla="*/ 65 h 196"/>
              <a:gd name="T30" fmla="*/ 121 w 213"/>
              <a:gd name="T31" fmla="*/ 33 h 196"/>
              <a:gd name="T32" fmla="*/ 93 w 213"/>
              <a:gd name="T33" fmla="*/ 65 h 196"/>
              <a:gd name="T34" fmla="*/ 77 w 213"/>
              <a:gd name="T35" fmla="*/ 54 h 196"/>
              <a:gd name="T36" fmla="*/ 49 w 213"/>
              <a:gd name="T37" fmla="*/ 82 h 196"/>
              <a:gd name="T38" fmla="*/ 49 w 213"/>
              <a:gd name="T39" fmla="*/ 147 h 196"/>
              <a:gd name="T40" fmla="*/ 180 w 213"/>
              <a:gd name="T41" fmla="*/ 147 h 196"/>
              <a:gd name="T42" fmla="*/ 180 w 213"/>
              <a:gd name="T4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96">
                <a:moveTo>
                  <a:pt x="39" y="157"/>
                </a:moveTo>
                <a:lnTo>
                  <a:pt x="39" y="16"/>
                </a:lnTo>
                <a:lnTo>
                  <a:pt x="28" y="16"/>
                </a:lnTo>
                <a:lnTo>
                  <a:pt x="28" y="157"/>
                </a:lnTo>
                <a:lnTo>
                  <a:pt x="0" y="157"/>
                </a:lnTo>
                <a:lnTo>
                  <a:pt x="0" y="168"/>
                </a:lnTo>
                <a:lnTo>
                  <a:pt x="28" y="168"/>
                </a:lnTo>
                <a:lnTo>
                  <a:pt x="28" y="196"/>
                </a:lnTo>
                <a:lnTo>
                  <a:pt x="39" y="196"/>
                </a:lnTo>
                <a:lnTo>
                  <a:pt x="39" y="168"/>
                </a:lnTo>
                <a:lnTo>
                  <a:pt x="213" y="168"/>
                </a:lnTo>
                <a:lnTo>
                  <a:pt x="213" y="157"/>
                </a:lnTo>
                <a:lnTo>
                  <a:pt x="39" y="157"/>
                </a:lnTo>
                <a:close/>
                <a:moveTo>
                  <a:pt x="180" y="0"/>
                </a:moveTo>
                <a:lnTo>
                  <a:pt x="147" y="65"/>
                </a:lnTo>
                <a:lnTo>
                  <a:pt x="121" y="33"/>
                </a:lnTo>
                <a:lnTo>
                  <a:pt x="93" y="65"/>
                </a:lnTo>
                <a:lnTo>
                  <a:pt x="77" y="54"/>
                </a:lnTo>
                <a:lnTo>
                  <a:pt x="49" y="82"/>
                </a:lnTo>
                <a:lnTo>
                  <a:pt x="49" y="147"/>
                </a:lnTo>
                <a:lnTo>
                  <a:pt x="180" y="147"/>
                </a:lnTo>
                <a:lnTo>
                  <a:pt x="180"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1" name="Freeform 72">
            <a:extLst>
              <a:ext uri="{FF2B5EF4-FFF2-40B4-BE49-F238E27FC236}">
                <a16:creationId xmlns:a16="http://schemas.microsoft.com/office/drawing/2014/main" id="{292A09D8-ECBA-4A01-93E7-006E6605548C}"/>
              </a:ext>
            </a:extLst>
          </p:cNvPr>
          <p:cNvSpPr>
            <a:spLocks noEditPoints="1"/>
          </p:cNvSpPr>
          <p:nvPr/>
        </p:nvSpPr>
        <p:spPr bwMode="auto">
          <a:xfrm>
            <a:off x="8568112" y="2304171"/>
            <a:ext cx="545659" cy="473929"/>
          </a:xfrm>
          <a:custGeom>
            <a:avLst/>
            <a:gdLst>
              <a:gd name="T0" fmla="*/ 180 w 213"/>
              <a:gd name="T1" fmla="*/ 0 h 185"/>
              <a:gd name="T2" fmla="*/ 158 w 213"/>
              <a:gd name="T3" fmla="*/ 0 h 185"/>
              <a:gd name="T4" fmla="*/ 158 w 213"/>
              <a:gd name="T5" fmla="*/ 136 h 185"/>
              <a:gd name="T6" fmla="*/ 180 w 213"/>
              <a:gd name="T7" fmla="*/ 136 h 185"/>
              <a:gd name="T8" fmla="*/ 180 w 213"/>
              <a:gd name="T9" fmla="*/ 0 h 185"/>
              <a:gd name="T10" fmla="*/ 153 w 213"/>
              <a:gd name="T11" fmla="*/ 54 h 185"/>
              <a:gd name="T12" fmla="*/ 131 w 213"/>
              <a:gd name="T13" fmla="*/ 54 h 185"/>
              <a:gd name="T14" fmla="*/ 131 w 213"/>
              <a:gd name="T15" fmla="*/ 136 h 185"/>
              <a:gd name="T16" fmla="*/ 153 w 213"/>
              <a:gd name="T17" fmla="*/ 136 h 185"/>
              <a:gd name="T18" fmla="*/ 153 w 213"/>
              <a:gd name="T19" fmla="*/ 54 h 185"/>
              <a:gd name="T20" fmla="*/ 98 w 213"/>
              <a:gd name="T21" fmla="*/ 87 h 185"/>
              <a:gd name="T22" fmla="*/ 76 w 213"/>
              <a:gd name="T23" fmla="*/ 87 h 185"/>
              <a:gd name="T24" fmla="*/ 76 w 213"/>
              <a:gd name="T25" fmla="*/ 136 h 185"/>
              <a:gd name="T26" fmla="*/ 98 w 213"/>
              <a:gd name="T27" fmla="*/ 136 h 185"/>
              <a:gd name="T28" fmla="*/ 98 w 213"/>
              <a:gd name="T29" fmla="*/ 87 h 185"/>
              <a:gd name="T30" fmla="*/ 125 w 213"/>
              <a:gd name="T31" fmla="*/ 33 h 185"/>
              <a:gd name="T32" fmla="*/ 103 w 213"/>
              <a:gd name="T33" fmla="*/ 33 h 185"/>
              <a:gd name="T34" fmla="*/ 103 w 213"/>
              <a:gd name="T35" fmla="*/ 136 h 185"/>
              <a:gd name="T36" fmla="*/ 125 w 213"/>
              <a:gd name="T37" fmla="*/ 136 h 185"/>
              <a:gd name="T38" fmla="*/ 125 w 213"/>
              <a:gd name="T39" fmla="*/ 33 h 185"/>
              <a:gd name="T40" fmla="*/ 71 w 213"/>
              <a:gd name="T41" fmla="*/ 71 h 185"/>
              <a:gd name="T42" fmla="*/ 49 w 213"/>
              <a:gd name="T43" fmla="*/ 71 h 185"/>
              <a:gd name="T44" fmla="*/ 49 w 213"/>
              <a:gd name="T45" fmla="*/ 136 h 185"/>
              <a:gd name="T46" fmla="*/ 71 w 213"/>
              <a:gd name="T47" fmla="*/ 136 h 185"/>
              <a:gd name="T48" fmla="*/ 71 w 213"/>
              <a:gd name="T49" fmla="*/ 71 h 185"/>
              <a:gd name="T50" fmla="*/ 38 w 213"/>
              <a:gd name="T51" fmla="*/ 146 h 185"/>
              <a:gd name="T52" fmla="*/ 38 w 213"/>
              <a:gd name="T53" fmla="*/ 5 h 185"/>
              <a:gd name="T54" fmla="*/ 27 w 213"/>
              <a:gd name="T55" fmla="*/ 5 h 185"/>
              <a:gd name="T56" fmla="*/ 27 w 213"/>
              <a:gd name="T57" fmla="*/ 146 h 185"/>
              <a:gd name="T58" fmla="*/ 0 w 213"/>
              <a:gd name="T59" fmla="*/ 146 h 185"/>
              <a:gd name="T60" fmla="*/ 0 w 213"/>
              <a:gd name="T61" fmla="*/ 157 h 185"/>
              <a:gd name="T62" fmla="*/ 27 w 213"/>
              <a:gd name="T63" fmla="*/ 157 h 185"/>
              <a:gd name="T64" fmla="*/ 27 w 213"/>
              <a:gd name="T65" fmla="*/ 185 h 185"/>
              <a:gd name="T66" fmla="*/ 38 w 213"/>
              <a:gd name="T67" fmla="*/ 185 h 185"/>
              <a:gd name="T68" fmla="*/ 38 w 213"/>
              <a:gd name="T69" fmla="*/ 157 h 185"/>
              <a:gd name="T70" fmla="*/ 213 w 213"/>
              <a:gd name="T71" fmla="*/ 157 h 185"/>
              <a:gd name="T72" fmla="*/ 213 w 213"/>
              <a:gd name="T73" fmla="*/ 146 h 185"/>
              <a:gd name="T74" fmla="*/ 38 w 213"/>
              <a:gd name="T75" fmla="*/ 14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185">
                <a:moveTo>
                  <a:pt x="180" y="0"/>
                </a:moveTo>
                <a:lnTo>
                  <a:pt x="158" y="0"/>
                </a:lnTo>
                <a:lnTo>
                  <a:pt x="158" y="136"/>
                </a:lnTo>
                <a:lnTo>
                  <a:pt x="180" y="136"/>
                </a:lnTo>
                <a:lnTo>
                  <a:pt x="180" y="0"/>
                </a:lnTo>
                <a:close/>
                <a:moveTo>
                  <a:pt x="153" y="54"/>
                </a:moveTo>
                <a:lnTo>
                  <a:pt x="131" y="54"/>
                </a:lnTo>
                <a:lnTo>
                  <a:pt x="131" y="136"/>
                </a:lnTo>
                <a:lnTo>
                  <a:pt x="153" y="136"/>
                </a:lnTo>
                <a:lnTo>
                  <a:pt x="153" y="54"/>
                </a:lnTo>
                <a:close/>
                <a:moveTo>
                  <a:pt x="98" y="87"/>
                </a:moveTo>
                <a:lnTo>
                  <a:pt x="76" y="87"/>
                </a:lnTo>
                <a:lnTo>
                  <a:pt x="76" y="136"/>
                </a:lnTo>
                <a:lnTo>
                  <a:pt x="98" y="136"/>
                </a:lnTo>
                <a:lnTo>
                  <a:pt x="98" y="87"/>
                </a:lnTo>
                <a:close/>
                <a:moveTo>
                  <a:pt x="125" y="33"/>
                </a:moveTo>
                <a:lnTo>
                  <a:pt x="103" y="33"/>
                </a:lnTo>
                <a:lnTo>
                  <a:pt x="103" y="136"/>
                </a:lnTo>
                <a:lnTo>
                  <a:pt x="125" y="136"/>
                </a:lnTo>
                <a:lnTo>
                  <a:pt x="125" y="33"/>
                </a:lnTo>
                <a:close/>
                <a:moveTo>
                  <a:pt x="71" y="71"/>
                </a:moveTo>
                <a:lnTo>
                  <a:pt x="49" y="71"/>
                </a:lnTo>
                <a:lnTo>
                  <a:pt x="49" y="136"/>
                </a:lnTo>
                <a:lnTo>
                  <a:pt x="71" y="136"/>
                </a:lnTo>
                <a:lnTo>
                  <a:pt x="71" y="71"/>
                </a:lnTo>
                <a:close/>
                <a:moveTo>
                  <a:pt x="38" y="146"/>
                </a:moveTo>
                <a:lnTo>
                  <a:pt x="38" y="5"/>
                </a:lnTo>
                <a:lnTo>
                  <a:pt x="27" y="5"/>
                </a:lnTo>
                <a:lnTo>
                  <a:pt x="27" y="146"/>
                </a:lnTo>
                <a:lnTo>
                  <a:pt x="0" y="146"/>
                </a:lnTo>
                <a:lnTo>
                  <a:pt x="0" y="157"/>
                </a:lnTo>
                <a:lnTo>
                  <a:pt x="27" y="157"/>
                </a:lnTo>
                <a:lnTo>
                  <a:pt x="27" y="185"/>
                </a:lnTo>
                <a:lnTo>
                  <a:pt x="38" y="185"/>
                </a:lnTo>
                <a:lnTo>
                  <a:pt x="38" y="157"/>
                </a:lnTo>
                <a:lnTo>
                  <a:pt x="213" y="157"/>
                </a:lnTo>
                <a:lnTo>
                  <a:pt x="213" y="146"/>
                </a:lnTo>
                <a:lnTo>
                  <a:pt x="38" y="14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2" name="Freeform 73">
            <a:extLst>
              <a:ext uri="{FF2B5EF4-FFF2-40B4-BE49-F238E27FC236}">
                <a16:creationId xmlns:a16="http://schemas.microsoft.com/office/drawing/2014/main" id="{5E43672D-919F-484F-8BDC-B67F2C489781}"/>
              </a:ext>
            </a:extLst>
          </p:cNvPr>
          <p:cNvSpPr>
            <a:spLocks noEditPoints="1"/>
          </p:cNvSpPr>
          <p:nvPr/>
        </p:nvSpPr>
        <p:spPr bwMode="auto">
          <a:xfrm>
            <a:off x="9682485" y="2263183"/>
            <a:ext cx="545659" cy="514918"/>
          </a:xfrm>
          <a:custGeom>
            <a:avLst/>
            <a:gdLst>
              <a:gd name="T0" fmla="*/ 136 w 161"/>
              <a:gd name="T1" fmla="*/ 115 h 152"/>
              <a:gd name="T2" fmla="*/ 132 w 161"/>
              <a:gd name="T3" fmla="*/ 107 h 152"/>
              <a:gd name="T4" fmla="*/ 136 w 161"/>
              <a:gd name="T5" fmla="*/ 90 h 152"/>
              <a:gd name="T6" fmla="*/ 132 w 161"/>
              <a:gd name="T7" fmla="*/ 99 h 152"/>
              <a:gd name="T8" fmla="*/ 136 w 161"/>
              <a:gd name="T9" fmla="*/ 90 h 152"/>
              <a:gd name="T10" fmla="*/ 99 w 161"/>
              <a:gd name="T11" fmla="*/ 115 h 152"/>
              <a:gd name="T12" fmla="*/ 95 w 161"/>
              <a:gd name="T13" fmla="*/ 107 h 152"/>
              <a:gd name="T14" fmla="*/ 136 w 161"/>
              <a:gd name="T15" fmla="*/ 74 h 152"/>
              <a:gd name="T16" fmla="*/ 132 w 161"/>
              <a:gd name="T17" fmla="*/ 82 h 152"/>
              <a:gd name="T18" fmla="*/ 136 w 161"/>
              <a:gd name="T19" fmla="*/ 74 h 152"/>
              <a:gd name="T20" fmla="*/ 95 w 161"/>
              <a:gd name="T21" fmla="*/ 82 h 152"/>
              <a:gd name="T22" fmla="*/ 99 w 161"/>
              <a:gd name="T23" fmla="*/ 78 h 152"/>
              <a:gd name="T24" fmla="*/ 97 w 161"/>
              <a:gd name="T25" fmla="*/ 66 h 152"/>
              <a:gd name="T26" fmla="*/ 95 w 161"/>
              <a:gd name="T27" fmla="*/ 78 h 152"/>
              <a:gd name="T28" fmla="*/ 132 w 161"/>
              <a:gd name="T29" fmla="*/ 41 h 152"/>
              <a:gd name="T30" fmla="*/ 136 w 161"/>
              <a:gd name="T31" fmla="*/ 49 h 152"/>
              <a:gd name="T32" fmla="*/ 136 w 161"/>
              <a:gd name="T33" fmla="*/ 57 h 152"/>
              <a:gd name="T34" fmla="*/ 132 w 161"/>
              <a:gd name="T35" fmla="*/ 66 h 152"/>
              <a:gd name="T36" fmla="*/ 136 w 161"/>
              <a:gd name="T37" fmla="*/ 57 h 152"/>
              <a:gd name="T38" fmla="*/ 153 w 161"/>
              <a:gd name="T39" fmla="*/ 18 h 152"/>
              <a:gd name="T40" fmla="*/ 116 w 161"/>
              <a:gd name="T41" fmla="*/ 18 h 152"/>
              <a:gd name="T42" fmla="*/ 99 w 161"/>
              <a:gd name="T43" fmla="*/ 90 h 152"/>
              <a:gd name="T44" fmla="*/ 95 w 161"/>
              <a:gd name="T45" fmla="*/ 99 h 152"/>
              <a:gd name="T46" fmla="*/ 99 w 161"/>
              <a:gd name="T47" fmla="*/ 90 h 152"/>
              <a:gd name="T48" fmla="*/ 58 w 161"/>
              <a:gd name="T49" fmla="*/ 90 h 152"/>
              <a:gd name="T50" fmla="*/ 62 w 161"/>
              <a:gd name="T51" fmla="*/ 99 h 152"/>
              <a:gd name="T52" fmla="*/ 58 w 161"/>
              <a:gd name="T53" fmla="*/ 115 h 152"/>
              <a:gd name="T54" fmla="*/ 62 w 161"/>
              <a:gd name="T55" fmla="*/ 107 h 152"/>
              <a:gd name="T56" fmla="*/ 58 w 161"/>
              <a:gd name="T57" fmla="*/ 115 h 152"/>
              <a:gd name="T58" fmla="*/ 29 w 161"/>
              <a:gd name="T59" fmla="*/ 16 h 152"/>
              <a:gd name="T60" fmla="*/ 21 w 161"/>
              <a:gd name="T61" fmla="*/ 123 h 152"/>
              <a:gd name="T62" fmla="*/ 0 w 161"/>
              <a:gd name="T63" fmla="*/ 131 h 152"/>
              <a:gd name="T64" fmla="*/ 21 w 161"/>
              <a:gd name="T65" fmla="*/ 152 h 152"/>
              <a:gd name="T66" fmla="*/ 29 w 161"/>
              <a:gd name="T67" fmla="*/ 131 h 152"/>
              <a:gd name="T68" fmla="*/ 161 w 161"/>
              <a:gd name="T69" fmla="*/ 123 h 152"/>
              <a:gd name="T70" fmla="*/ 62 w 161"/>
              <a:gd name="T71" fmla="*/ 74 h 152"/>
              <a:gd name="T72" fmla="*/ 58 w 161"/>
              <a:gd name="T73" fmla="*/ 82 h 152"/>
              <a:gd name="T74" fmla="*/ 62 w 161"/>
              <a:gd name="T75" fmla="*/ 74 h 152"/>
              <a:gd name="T76" fmla="*/ 58 w 161"/>
              <a:gd name="T77" fmla="*/ 66 h 152"/>
              <a:gd name="T78" fmla="*/ 62 w 161"/>
              <a:gd name="T79" fmla="*/ 65 h 152"/>
              <a:gd name="T80" fmla="*/ 60 w 161"/>
              <a:gd name="T81" fmla="*/ 37 h 152"/>
              <a:gd name="T82" fmla="*/ 58 w 161"/>
              <a:gd name="T83" fmla="*/ 6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1" h="152">
                <a:moveTo>
                  <a:pt x="132" y="115"/>
                </a:moveTo>
                <a:cubicBezTo>
                  <a:pt x="136" y="115"/>
                  <a:pt x="136" y="115"/>
                  <a:pt x="136" y="115"/>
                </a:cubicBezTo>
                <a:cubicBezTo>
                  <a:pt x="136" y="107"/>
                  <a:pt x="136" y="107"/>
                  <a:pt x="136" y="107"/>
                </a:cubicBezTo>
                <a:cubicBezTo>
                  <a:pt x="132" y="107"/>
                  <a:pt x="132" y="107"/>
                  <a:pt x="132" y="107"/>
                </a:cubicBezTo>
                <a:lnTo>
                  <a:pt x="132" y="115"/>
                </a:lnTo>
                <a:close/>
                <a:moveTo>
                  <a:pt x="136" y="90"/>
                </a:moveTo>
                <a:cubicBezTo>
                  <a:pt x="132" y="90"/>
                  <a:pt x="132" y="90"/>
                  <a:pt x="132" y="90"/>
                </a:cubicBezTo>
                <a:cubicBezTo>
                  <a:pt x="132" y="99"/>
                  <a:pt x="132" y="99"/>
                  <a:pt x="132" y="99"/>
                </a:cubicBezTo>
                <a:cubicBezTo>
                  <a:pt x="136" y="99"/>
                  <a:pt x="136" y="99"/>
                  <a:pt x="136" y="99"/>
                </a:cubicBezTo>
                <a:lnTo>
                  <a:pt x="136" y="90"/>
                </a:lnTo>
                <a:close/>
                <a:moveTo>
                  <a:pt x="95" y="115"/>
                </a:moveTo>
                <a:cubicBezTo>
                  <a:pt x="99" y="115"/>
                  <a:pt x="99" y="115"/>
                  <a:pt x="99" y="115"/>
                </a:cubicBezTo>
                <a:cubicBezTo>
                  <a:pt x="99" y="107"/>
                  <a:pt x="99" y="107"/>
                  <a:pt x="99" y="107"/>
                </a:cubicBezTo>
                <a:cubicBezTo>
                  <a:pt x="95" y="107"/>
                  <a:pt x="95" y="107"/>
                  <a:pt x="95" y="107"/>
                </a:cubicBezTo>
                <a:lnTo>
                  <a:pt x="95" y="115"/>
                </a:lnTo>
                <a:close/>
                <a:moveTo>
                  <a:pt x="136" y="74"/>
                </a:moveTo>
                <a:cubicBezTo>
                  <a:pt x="132" y="74"/>
                  <a:pt x="132" y="74"/>
                  <a:pt x="132" y="74"/>
                </a:cubicBezTo>
                <a:cubicBezTo>
                  <a:pt x="132" y="82"/>
                  <a:pt x="132" y="82"/>
                  <a:pt x="132" y="82"/>
                </a:cubicBezTo>
                <a:cubicBezTo>
                  <a:pt x="136" y="82"/>
                  <a:pt x="136" y="82"/>
                  <a:pt x="136" y="82"/>
                </a:cubicBezTo>
                <a:lnTo>
                  <a:pt x="136" y="74"/>
                </a:lnTo>
                <a:close/>
                <a:moveTo>
                  <a:pt x="95" y="78"/>
                </a:moveTo>
                <a:cubicBezTo>
                  <a:pt x="95" y="82"/>
                  <a:pt x="95" y="82"/>
                  <a:pt x="95" y="82"/>
                </a:cubicBezTo>
                <a:cubicBezTo>
                  <a:pt x="99" y="82"/>
                  <a:pt x="99" y="82"/>
                  <a:pt x="99" y="82"/>
                </a:cubicBezTo>
                <a:cubicBezTo>
                  <a:pt x="99" y="78"/>
                  <a:pt x="99" y="78"/>
                  <a:pt x="99" y="78"/>
                </a:cubicBezTo>
                <a:cubicBezTo>
                  <a:pt x="102" y="77"/>
                  <a:pt x="103" y="74"/>
                  <a:pt x="103" y="72"/>
                </a:cubicBezTo>
                <a:cubicBezTo>
                  <a:pt x="103" y="68"/>
                  <a:pt x="101" y="66"/>
                  <a:pt x="97" y="66"/>
                </a:cubicBezTo>
                <a:cubicBezTo>
                  <a:pt x="94" y="66"/>
                  <a:pt x="91" y="68"/>
                  <a:pt x="91" y="72"/>
                </a:cubicBezTo>
                <a:cubicBezTo>
                  <a:pt x="91" y="74"/>
                  <a:pt x="93" y="77"/>
                  <a:pt x="95" y="78"/>
                </a:cubicBezTo>
                <a:close/>
                <a:moveTo>
                  <a:pt x="136" y="41"/>
                </a:moveTo>
                <a:cubicBezTo>
                  <a:pt x="132" y="41"/>
                  <a:pt x="132" y="41"/>
                  <a:pt x="132" y="41"/>
                </a:cubicBezTo>
                <a:cubicBezTo>
                  <a:pt x="132" y="49"/>
                  <a:pt x="132" y="49"/>
                  <a:pt x="132" y="49"/>
                </a:cubicBezTo>
                <a:cubicBezTo>
                  <a:pt x="136" y="49"/>
                  <a:pt x="136" y="49"/>
                  <a:pt x="136" y="49"/>
                </a:cubicBezTo>
                <a:lnTo>
                  <a:pt x="136" y="41"/>
                </a:lnTo>
                <a:close/>
                <a:moveTo>
                  <a:pt x="136" y="57"/>
                </a:moveTo>
                <a:cubicBezTo>
                  <a:pt x="132" y="57"/>
                  <a:pt x="132" y="57"/>
                  <a:pt x="132" y="57"/>
                </a:cubicBezTo>
                <a:cubicBezTo>
                  <a:pt x="132" y="66"/>
                  <a:pt x="132" y="66"/>
                  <a:pt x="132" y="66"/>
                </a:cubicBezTo>
                <a:cubicBezTo>
                  <a:pt x="136" y="66"/>
                  <a:pt x="136" y="66"/>
                  <a:pt x="136" y="66"/>
                </a:cubicBezTo>
                <a:lnTo>
                  <a:pt x="136" y="57"/>
                </a:lnTo>
                <a:close/>
                <a:moveTo>
                  <a:pt x="134" y="37"/>
                </a:moveTo>
                <a:cubicBezTo>
                  <a:pt x="144" y="37"/>
                  <a:pt x="153" y="29"/>
                  <a:pt x="153" y="18"/>
                </a:cubicBezTo>
                <a:cubicBezTo>
                  <a:pt x="153" y="8"/>
                  <a:pt x="144" y="0"/>
                  <a:pt x="134" y="0"/>
                </a:cubicBezTo>
                <a:cubicBezTo>
                  <a:pt x="124" y="0"/>
                  <a:pt x="116" y="8"/>
                  <a:pt x="116" y="18"/>
                </a:cubicBezTo>
                <a:cubicBezTo>
                  <a:pt x="116" y="29"/>
                  <a:pt x="124" y="37"/>
                  <a:pt x="134" y="37"/>
                </a:cubicBezTo>
                <a:close/>
                <a:moveTo>
                  <a:pt x="99" y="90"/>
                </a:moveTo>
                <a:cubicBezTo>
                  <a:pt x="95" y="90"/>
                  <a:pt x="95" y="90"/>
                  <a:pt x="95" y="90"/>
                </a:cubicBezTo>
                <a:cubicBezTo>
                  <a:pt x="95" y="99"/>
                  <a:pt x="95" y="99"/>
                  <a:pt x="95" y="99"/>
                </a:cubicBezTo>
                <a:cubicBezTo>
                  <a:pt x="99" y="99"/>
                  <a:pt x="99" y="99"/>
                  <a:pt x="99" y="99"/>
                </a:cubicBezTo>
                <a:lnTo>
                  <a:pt x="99" y="90"/>
                </a:lnTo>
                <a:close/>
                <a:moveTo>
                  <a:pt x="62" y="90"/>
                </a:moveTo>
                <a:cubicBezTo>
                  <a:pt x="58" y="90"/>
                  <a:pt x="58" y="90"/>
                  <a:pt x="58" y="90"/>
                </a:cubicBezTo>
                <a:cubicBezTo>
                  <a:pt x="58" y="99"/>
                  <a:pt x="58" y="99"/>
                  <a:pt x="58" y="99"/>
                </a:cubicBezTo>
                <a:cubicBezTo>
                  <a:pt x="62" y="99"/>
                  <a:pt x="62" y="99"/>
                  <a:pt x="62" y="99"/>
                </a:cubicBezTo>
                <a:lnTo>
                  <a:pt x="62" y="90"/>
                </a:lnTo>
                <a:close/>
                <a:moveTo>
                  <a:pt x="58" y="115"/>
                </a:moveTo>
                <a:cubicBezTo>
                  <a:pt x="62" y="115"/>
                  <a:pt x="62" y="115"/>
                  <a:pt x="62" y="115"/>
                </a:cubicBezTo>
                <a:cubicBezTo>
                  <a:pt x="62" y="107"/>
                  <a:pt x="62" y="107"/>
                  <a:pt x="62" y="107"/>
                </a:cubicBezTo>
                <a:cubicBezTo>
                  <a:pt x="58" y="107"/>
                  <a:pt x="58" y="107"/>
                  <a:pt x="58" y="107"/>
                </a:cubicBezTo>
                <a:lnTo>
                  <a:pt x="58" y="115"/>
                </a:lnTo>
                <a:close/>
                <a:moveTo>
                  <a:pt x="29" y="123"/>
                </a:moveTo>
                <a:cubicBezTo>
                  <a:pt x="29" y="16"/>
                  <a:pt x="29" y="16"/>
                  <a:pt x="29" y="16"/>
                </a:cubicBezTo>
                <a:cubicBezTo>
                  <a:pt x="21" y="16"/>
                  <a:pt x="21" y="16"/>
                  <a:pt x="21" y="16"/>
                </a:cubicBezTo>
                <a:cubicBezTo>
                  <a:pt x="21" y="123"/>
                  <a:pt x="21" y="123"/>
                  <a:pt x="21" y="123"/>
                </a:cubicBezTo>
                <a:cubicBezTo>
                  <a:pt x="0" y="123"/>
                  <a:pt x="0" y="123"/>
                  <a:pt x="0" y="123"/>
                </a:cubicBezTo>
                <a:cubicBezTo>
                  <a:pt x="0" y="131"/>
                  <a:pt x="0" y="131"/>
                  <a:pt x="0" y="131"/>
                </a:cubicBezTo>
                <a:cubicBezTo>
                  <a:pt x="21" y="131"/>
                  <a:pt x="21" y="131"/>
                  <a:pt x="21" y="131"/>
                </a:cubicBezTo>
                <a:cubicBezTo>
                  <a:pt x="21" y="152"/>
                  <a:pt x="21" y="152"/>
                  <a:pt x="21" y="152"/>
                </a:cubicBezTo>
                <a:cubicBezTo>
                  <a:pt x="29" y="152"/>
                  <a:pt x="29" y="152"/>
                  <a:pt x="29" y="152"/>
                </a:cubicBezTo>
                <a:cubicBezTo>
                  <a:pt x="29" y="131"/>
                  <a:pt x="29" y="131"/>
                  <a:pt x="29" y="131"/>
                </a:cubicBezTo>
                <a:cubicBezTo>
                  <a:pt x="161" y="131"/>
                  <a:pt x="161" y="131"/>
                  <a:pt x="161" y="131"/>
                </a:cubicBezTo>
                <a:cubicBezTo>
                  <a:pt x="161" y="123"/>
                  <a:pt x="161" y="123"/>
                  <a:pt x="161" y="123"/>
                </a:cubicBezTo>
                <a:lnTo>
                  <a:pt x="29" y="123"/>
                </a:lnTo>
                <a:close/>
                <a:moveTo>
                  <a:pt x="62" y="74"/>
                </a:moveTo>
                <a:cubicBezTo>
                  <a:pt x="58" y="74"/>
                  <a:pt x="58" y="74"/>
                  <a:pt x="58" y="74"/>
                </a:cubicBezTo>
                <a:cubicBezTo>
                  <a:pt x="58" y="82"/>
                  <a:pt x="58" y="82"/>
                  <a:pt x="58" y="82"/>
                </a:cubicBezTo>
                <a:cubicBezTo>
                  <a:pt x="62" y="82"/>
                  <a:pt x="62" y="82"/>
                  <a:pt x="62" y="82"/>
                </a:cubicBezTo>
                <a:lnTo>
                  <a:pt x="62" y="74"/>
                </a:lnTo>
                <a:close/>
                <a:moveTo>
                  <a:pt x="58" y="65"/>
                </a:moveTo>
                <a:cubicBezTo>
                  <a:pt x="58" y="66"/>
                  <a:pt x="58" y="66"/>
                  <a:pt x="58" y="66"/>
                </a:cubicBezTo>
                <a:cubicBezTo>
                  <a:pt x="62" y="66"/>
                  <a:pt x="62" y="66"/>
                  <a:pt x="62" y="66"/>
                </a:cubicBezTo>
                <a:cubicBezTo>
                  <a:pt x="62" y="65"/>
                  <a:pt x="62" y="65"/>
                  <a:pt x="62" y="65"/>
                </a:cubicBezTo>
                <a:cubicBezTo>
                  <a:pt x="69" y="64"/>
                  <a:pt x="75" y="58"/>
                  <a:pt x="75" y="51"/>
                </a:cubicBezTo>
                <a:cubicBezTo>
                  <a:pt x="75" y="43"/>
                  <a:pt x="68" y="37"/>
                  <a:pt x="60" y="37"/>
                </a:cubicBezTo>
                <a:cubicBezTo>
                  <a:pt x="52" y="37"/>
                  <a:pt x="46" y="43"/>
                  <a:pt x="46" y="51"/>
                </a:cubicBezTo>
                <a:cubicBezTo>
                  <a:pt x="46" y="58"/>
                  <a:pt x="51" y="64"/>
                  <a:pt x="58" y="6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3" name="Freeform 74">
            <a:extLst>
              <a:ext uri="{FF2B5EF4-FFF2-40B4-BE49-F238E27FC236}">
                <a16:creationId xmlns:a16="http://schemas.microsoft.com/office/drawing/2014/main" id="{EC1F97B3-7E19-44FF-9244-5A5DB626A413}"/>
              </a:ext>
            </a:extLst>
          </p:cNvPr>
          <p:cNvSpPr>
            <a:spLocks noEditPoints="1"/>
          </p:cNvSpPr>
          <p:nvPr/>
        </p:nvSpPr>
        <p:spPr bwMode="auto">
          <a:xfrm>
            <a:off x="10827597" y="2263183"/>
            <a:ext cx="566153" cy="502108"/>
          </a:xfrm>
          <a:custGeom>
            <a:avLst/>
            <a:gdLst>
              <a:gd name="T0" fmla="*/ 127 w 167"/>
              <a:gd name="T1" fmla="*/ 22 h 148"/>
              <a:gd name="T2" fmla="*/ 74 w 167"/>
              <a:gd name="T3" fmla="*/ 0 h 148"/>
              <a:gd name="T4" fmla="*/ 0 w 167"/>
              <a:gd name="T5" fmla="*/ 74 h 148"/>
              <a:gd name="T6" fmla="*/ 74 w 167"/>
              <a:gd name="T7" fmla="*/ 148 h 148"/>
              <a:gd name="T8" fmla="*/ 143 w 167"/>
              <a:gd name="T9" fmla="*/ 99 h 148"/>
              <a:gd name="T10" fmla="*/ 70 w 167"/>
              <a:gd name="T11" fmla="*/ 79 h 148"/>
              <a:gd name="T12" fmla="*/ 127 w 167"/>
              <a:gd name="T13" fmla="*/ 22 h 148"/>
              <a:gd name="T14" fmla="*/ 147 w 167"/>
              <a:gd name="T15" fmla="*/ 19 h 148"/>
              <a:gd name="T16" fmla="*/ 93 w 167"/>
              <a:gd name="T17" fmla="*/ 73 h 148"/>
              <a:gd name="T18" fmla="*/ 164 w 167"/>
              <a:gd name="T19" fmla="*/ 92 h 148"/>
              <a:gd name="T20" fmla="*/ 167 w 167"/>
              <a:gd name="T21" fmla="*/ 69 h 148"/>
              <a:gd name="T22" fmla="*/ 147 w 167"/>
              <a:gd name="T23" fmla="*/ 1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7" h="148">
                <a:moveTo>
                  <a:pt x="127" y="22"/>
                </a:moveTo>
                <a:cubicBezTo>
                  <a:pt x="113" y="8"/>
                  <a:pt x="95" y="0"/>
                  <a:pt x="74" y="0"/>
                </a:cubicBezTo>
                <a:cubicBezTo>
                  <a:pt x="33" y="0"/>
                  <a:pt x="0" y="33"/>
                  <a:pt x="0" y="74"/>
                </a:cubicBezTo>
                <a:cubicBezTo>
                  <a:pt x="0" y="115"/>
                  <a:pt x="33" y="148"/>
                  <a:pt x="74" y="148"/>
                </a:cubicBezTo>
                <a:cubicBezTo>
                  <a:pt x="106" y="148"/>
                  <a:pt x="133" y="127"/>
                  <a:pt x="143" y="99"/>
                </a:cubicBezTo>
                <a:cubicBezTo>
                  <a:pt x="70" y="79"/>
                  <a:pt x="70" y="79"/>
                  <a:pt x="70" y="79"/>
                </a:cubicBezTo>
                <a:lnTo>
                  <a:pt x="127" y="22"/>
                </a:lnTo>
                <a:close/>
                <a:moveTo>
                  <a:pt x="147" y="19"/>
                </a:moveTo>
                <a:cubicBezTo>
                  <a:pt x="93" y="73"/>
                  <a:pt x="93" y="73"/>
                  <a:pt x="93" y="73"/>
                </a:cubicBezTo>
                <a:cubicBezTo>
                  <a:pt x="164" y="92"/>
                  <a:pt x="164" y="92"/>
                  <a:pt x="164" y="92"/>
                </a:cubicBezTo>
                <a:cubicBezTo>
                  <a:pt x="166" y="85"/>
                  <a:pt x="167" y="77"/>
                  <a:pt x="167" y="69"/>
                </a:cubicBezTo>
                <a:cubicBezTo>
                  <a:pt x="167" y="50"/>
                  <a:pt x="160" y="32"/>
                  <a:pt x="147" y="19"/>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 name="Freeform 75">
            <a:extLst>
              <a:ext uri="{FF2B5EF4-FFF2-40B4-BE49-F238E27FC236}">
                <a16:creationId xmlns:a16="http://schemas.microsoft.com/office/drawing/2014/main" id="{2F270093-68F0-4BE2-9B4E-5B8AE1AD374C}"/>
              </a:ext>
            </a:extLst>
          </p:cNvPr>
          <p:cNvSpPr>
            <a:spLocks noEditPoints="1"/>
          </p:cNvSpPr>
          <p:nvPr/>
        </p:nvSpPr>
        <p:spPr bwMode="auto">
          <a:xfrm>
            <a:off x="852046" y="3374993"/>
            <a:ext cx="420131" cy="517479"/>
          </a:xfrm>
          <a:custGeom>
            <a:avLst/>
            <a:gdLst>
              <a:gd name="T0" fmla="*/ 96 w 124"/>
              <a:gd name="T1" fmla="*/ 4 h 153"/>
              <a:gd name="T2" fmla="*/ 83 w 124"/>
              <a:gd name="T3" fmla="*/ 10 h 153"/>
              <a:gd name="T4" fmla="*/ 77 w 124"/>
              <a:gd name="T5" fmla="*/ 20 h 153"/>
              <a:gd name="T6" fmla="*/ 97 w 124"/>
              <a:gd name="T7" fmla="*/ 94 h 153"/>
              <a:gd name="T8" fmla="*/ 23 w 124"/>
              <a:gd name="T9" fmla="*/ 113 h 153"/>
              <a:gd name="T10" fmla="*/ 17 w 124"/>
              <a:gd name="T11" fmla="*/ 124 h 153"/>
              <a:gd name="T12" fmla="*/ 19 w 124"/>
              <a:gd name="T13" fmla="*/ 138 h 153"/>
              <a:gd name="T14" fmla="*/ 42 w 124"/>
              <a:gd name="T15" fmla="*/ 132 h 153"/>
              <a:gd name="T16" fmla="*/ 17 w 124"/>
              <a:gd name="T17" fmla="*/ 145 h 153"/>
              <a:gd name="T18" fmla="*/ 17 w 124"/>
              <a:gd name="T19" fmla="*/ 153 h 153"/>
              <a:gd name="T20" fmla="*/ 87 w 124"/>
              <a:gd name="T21" fmla="*/ 149 h 153"/>
              <a:gd name="T22" fmla="*/ 59 w 124"/>
              <a:gd name="T23" fmla="*/ 145 h 153"/>
              <a:gd name="T24" fmla="*/ 107 w 124"/>
              <a:gd name="T25" fmla="*/ 100 h 153"/>
              <a:gd name="T26" fmla="*/ 25 w 124"/>
              <a:gd name="T27" fmla="*/ 104 h 153"/>
              <a:gd name="T28" fmla="*/ 28 w 124"/>
              <a:gd name="T29" fmla="*/ 106 h 153"/>
              <a:gd name="T30" fmla="*/ 31 w 124"/>
              <a:gd name="T31" fmla="*/ 107 h 153"/>
              <a:gd name="T32" fmla="*/ 88 w 124"/>
              <a:gd name="T33" fmla="*/ 92 h 153"/>
              <a:gd name="T34" fmla="*/ 91 w 124"/>
              <a:gd name="T35" fmla="*/ 86 h 153"/>
              <a:gd name="T36" fmla="*/ 76 w 124"/>
              <a:gd name="T37" fmla="*/ 29 h 153"/>
              <a:gd name="T38" fmla="*/ 70 w 124"/>
              <a:gd name="T39" fmla="*/ 26 h 153"/>
              <a:gd name="T40" fmla="*/ 13 w 124"/>
              <a:gd name="T41" fmla="*/ 41 h 153"/>
              <a:gd name="T42" fmla="*/ 10 w 124"/>
              <a:gd name="T43" fmla="*/ 47 h 153"/>
              <a:gd name="T44" fmla="*/ 17 w 124"/>
              <a:gd name="T45" fmla="*/ 85 h 153"/>
              <a:gd name="T46" fmla="*/ 18 w 124"/>
              <a:gd name="T47" fmla="*/ 76 h 153"/>
              <a:gd name="T48" fmla="*/ 28 w 124"/>
              <a:gd name="T49" fmla="*/ 98 h 153"/>
              <a:gd name="T50" fmla="*/ 25 w 124"/>
              <a:gd name="T51" fmla="*/ 78 h 153"/>
              <a:gd name="T52" fmla="*/ 28 w 124"/>
              <a:gd name="T53" fmla="*/ 98 h 153"/>
              <a:gd name="T54" fmla="*/ 58 w 124"/>
              <a:gd name="T55" fmla="*/ 89 h 153"/>
              <a:gd name="T56" fmla="*/ 52 w 124"/>
              <a:gd name="T57" fmla="*/ 72 h 153"/>
              <a:gd name="T58" fmla="*/ 55 w 124"/>
              <a:gd name="T59" fmla="*/ 66 h 153"/>
              <a:gd name="T60" fmla="*/ 74 w 124"/>
              <a:gd name="T61" fmla="*/ 62 h 153"/>
              <a:gd name="T62" fmla="*/ 55 w 124"/>
              <a:gd name="T63" fmla="*/ 66 h 153"/>
              <a:gd name="T64" fmla="*/ 35 w 124"/>
              <a:gd name="T65" fmla="*/ 54 h 153"/>
              <a:gd name="T66" fmla="*/ 55 w 124"/>
              <a:gd name="T67" fmla="*/ 53 h 153"/>
              <a:gd name="T68" fmla="*/ 46 w 124"/>
              <a:gd name="T69" fmla="*/ 68 h 153"/>
              <a:gd name="T70" fmla="*/ 27 w 124"/>
              <a:gd name="T71" fmla="*/ 71 h 153"/>
              <a:gd name="T72" fmla="*/ 46 w 124"/>
              <a:gd name="T73" fmla="*/ 68 h 153"/>
              <a:gd name="T74" fmla="*/ 34 w 124"/>
              <a:gd name="T75" fmla="*/ 101 h 153"/>
              <a:gd name="T76" fmla="*/ 53 w 124"/>
              <a:gd name="T77" fmla="*/ 94 h 153"/>
              <a:gd name="T78" fmla="*/ 52 w 124"/>
              <a:gd name="T79" fmla="*/ 105 h 153"/>
              <a:gd name="T80" fmla="*/ 62 w 124"/>
              <a:gd name="T81" fmla="*/ 103 h 153"/>
              <a:gd name="T82" fmla="*/ 68 w 124"/>
              <a:gd name="T83" fmla="*/ 100 h 153"/>
              <a:gd name="T84" fmla="*/ 73 w 124"/>
              <a:gd name="T85" fmla="*/ 84 h 153"/>
              <a:gd name="T86" fmla="*/ 68 w 124"/>
              <a:gd name="T87" fmla="*/ 100 h 153"/>
              <a:gd name="T88" fmla="*/ 88 w 124"/>
              <a:gd name="T89" fmla="*/ 59 h 153"/>
              <a:gd name="T90" fmla="*/ 84 w 124"/>
              <a:gd name="T91" fmla="*/ 49 h 153"/>
              <a:gd name="T92" fmla="*/ 85 w 124"/>
              <a:gd name="T93" fmla="*/ 83 h 153"/>
              <a:gd name="T94" fmla="*/ 81 w 124"/>
              <a:gd name="T95" fmla="*/ 64 h 153"/>
              <a:gd name="T96" fmla="*/ 72 w 124"/>
              <a:gd name="T97" fmla="*/ 36 h 153"/>
              <a:gd name="T98" fmla="*/ 76 w 124"/>
              <a:gd name="T99" fmla="*/ 56 h 153"/>
              <a:gd name="T100" fmla="*/ 72 w 124"/>
              <a:gd name="T101" fmla="*/ 36 h 153"/>
              <a:gd name="T102" fmla="*/ 66 w 124"/>
              <a:gd name="T103" fmla="*/ 32 h 153"/>
              <a:gd name="T104" fmla="*/ 47 w 124"/>
              <a:gd name="T105" fmla="*/ 39 h 153"/>
              <a:gd name="T106" fmla="*/ 49 w 124"/>
              <a:gd name="T107" fmla="*/ 29 h 153"/>
              <a:gd name="T108" fmla="*/ 39 w 124"/>
              <a:gd name="T109" fmla="*/ 31 h 153"/>
              <a:gd name="T110" fmla="*/ 33 w 124"/>
              <a:gd name="T111" fmla="*/ 33 h 153"/>
              <a:gd name="T112" fmla="*/ 28 w 124"/>
              <a:gd name="T113" fmla="*/ 50 h 153"/>
              <a:gd name="T114" fmla="*/ 33 w 124"/>
              <a:gd name="T115" fmla="*/ 33 h 153"/>
              <a:gd name="T116" fmla="*/ 25 w 124"/>
              <a:gd name="T117" fmla="*/ 56 h 153"/>
              <a:gd name="T118" fmla="*/ 12 w 124"/>
              <a:gd name="T119" fmla="*/ 6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4" h="153">
                <a:moveTo>
                  <a:pt x="90" y="14"/>
                </a:moveTo>
                <a:cubicBezTo>
                  <a:pt x="96" y="4"/>
                  <a:pt x="96" y="4"/>
                  <a:pt x="96" y="4"/>
                </a:cubicBezTo>
                <a:cubicBezTo>
                  <a:pt x="89" y="0"/>
                  <a:pt x="89" y="0"/>
                  <a:pt x="89" y="0"/>
                </a:cubicBezTo>
                <a:cubicBezTo>
                  <a:pt x="83" y="10"/>
                  <a:pt x="83" y="10"/>
                  <a:pt x="83" y="10"/>
                </a:cubicBezTo>
                <a:cubicBezTo>
                  <a:pt x="83" y="10"/>
                  <a:pt x="83" y="10"/>
                  <a:pt x="83" y="10"/>
                </a:cubicBezTo>
                <a:cubicBezTo>
                  <a:pt x="77" y="20"/>
                  <a:pt x="77" y="20"/>
                  <a:pt x="77" y="20"/>
                </a:cubicBezTo>
                <a:cubicBezTo>
                  <a:pt x="77" y="20"/>
                  <a:pt x="77" y="20"/>
                  <a:pt x="77" y="20"/>
                </a:cubicBezTo>
                <a:cubicBezTo>
                  <a:pt x="103" y="35"/>
                  <a:pt x="111" y="68"/>
                  <a:pt x="97" y="94"/>
                </a:cubicBezTo>
                <a:cubicBezTo>
                  <a:pt x="82" y="119"/>
                  <a:pt x="49" y="128"/>
                  <a:pt x="24" y="113"/>
                </a:cubicBezTo>
                <a:cubicBezTo>
                  <a:pt x="24" y="113"/>
                  <a:pt x="24" y="113"/>
                  <a:pt x="23" y="113"/>
                </a:cubicBezTo>
                <a:cubicBezTo>
                  <a:pt x="17" y="124"/>
                  <a:pt x="17" y="124"/>
                  <a:pt x="17" y="124"/>
                </a:cubicBezTo>
                <a:cubicBezTo>
                  <a:pt x="17" y="124"/>
                  <a:pt x="17" y="124"/>
                  <a:pt x="17" y="124"/>
                </a:cubicBezTo>
                <a:cubicBezTo>
                  <a:pt x="12" y="133"/>
                  <a:pt x="12" y="133"/>
                  <a:pt x="12" y="133"/>
                </a:cubicBezTo>
                <a:cubicBezTo>
                  <a:pt x="19" y="138"/>
                  <a:pt x="19" y="138"/>
                  <a:pt x="19" y="138"/>
                </a:cubicBezTo>
                <a:cubicBezTo>
                  <a:pt x="25" y="127"/>
                  <a:pt x="25" y="127"/>
                  <a:pt x="25" y="127"/>
                </a:cubicBezTo>
                <a:cubicBezTo>
                  <a:pt x="30" y="130"/>
                  <a:pt x="36" y="131"/>
                  <a:pt x="42" y="132"/>
                </a:cubicBezTo>
                <a:cubicBezTo>
                  <a:pt x="42" y="145"/>
                  <a:pt x="42" y="145"/>
                  <a:pt x="42" y="145"/>
                </a:cubicBezTo>
                <a:cubicBezTo>
                  <a:pt x="17" y="145"/>
                  <a:pt x="17" y="145"/>
                  <a:pt x="17" y="145"/>
                </a:cubicBezTo>
                <a:cubicBezTo>
                  <a:pt x="15" y="145"/>
                  <a:pt x="13" y="147"/>
                  <a:pt x="13" y="149"/>
                </a:cubicBezTo>
                <a:cubicBezTo>
                  <a:pt x="13" y="151"/>
                  <a:pt x="15" y="153"/>
                  <a:pt x="17" y="153"/>
                </a:cubicBezTo>
                <a:cubicBezTo>
                  <a:pt x="83" y="153"/>
                  <a:pt x="83" y="153"/>
                  <a:pt x="83" y="153"/>
                </a:cubicBezTo>
                <a:cubicBezTo>
                  <a:pt x="86" y="153"/>
                  <a:pt x="87" y="151"/>
                  <a:pt x="87" y="149"/>
                </a:cubicBezTo>
                <a:cubicBezTo>
                  <a:pt x="87" y="147"/>
                  <a:pt x="86" y="145"/>
                  <a:pt x="83" y="145"/>
                </a:cubicBezTo>
                <a:cubicBezTo>
                  <a:pt x="59" y="145"/>
                  <a:pt x="59" y="145"/>
                  <a:pt x="59" y="145"/>
                </a:cubicBezTo>
                <a:cubicBezTo>
                  <a:pt x="59" y="132"/>
                  <a:pt x="59" y="132"/>
                  <a:pt x="59" y="132"/>
                </a:cubicBezTo>
                <a:cubicBezTo>
                  <a:pt x="78" y="130"/>
                  <a:pt x="97" y="118"/>
                  <a:pt x="107" y="100"/>
                </a:cubicBezTo>
                <a:cubicBezTo>
                  <a:pt x="124" y="71"/>
                  <a:pt x="116" y="34"/>
                  <a:pt x="90" y="14"/>
                </a:cubicBezTo>
                <a:close/>
                <a:moveTo>
                  <a:pt x="25" y="104"/>
                </a:moveTo>
                <a:cubicBezTo>
                  <a:pt x="25" y="104"/>
                  <a:pt x="25" y="104"/>
                  <a:pt x="25" y="104"/>
                </a:cubicBezTo>
                <a:cubicBezTo>
                  <a:pt x="28" y="106"/>
                  <a:pt x="28" y="106"/>
                  <a:pt x="28" y="106"/>
                </a:cubicBezTo>
                <a:cubicBezTo>
                  <a:pt x="31" y="108"/>
                  <a:pt x="31" y="108"/>
                  <a:pt x="31" y="108"/>
                </a:cubicBezTo>
                <a:cubicBezTo>
                  <a:pt x="31" y="107"/>
                  <a:pt x="31" y="107"/>
                  <a:pt x="31" y="107"/>
                </a:cubicBezTo>
                <a:cubicBezTo>
                  <a:pt x="51" y="117"/>
                  <a:pt x="75" y="111"/>
                  <a:pt x="88" y="92"/>
                </a:cubicBezTo>
                <a:cubicBezTo>
                  <a:pt x="88" y="92"/>
                  <a:pt x="88" y="92"/>
                  <a:pt x="88" y="92"/>
                </a:cubicBezTo>
                <a:cubicBezTo>
                  <a:pt x="91" y="86"/>
                  <a:pt x="91" y="86"/>
                  <a:pt x="91" y="86"/>
                </a:cubicBezTo>
                <a:cubicBezTo>
                  <a:pt x="91" y="86"/>
                  <a:pt x="91" y="86"/>
                  <a:pt x="91" y="86"/>
                </a:cubicBezTo>
                <a:cubicBezTo>
                  <a:pt x="101" y="66"/>
                  <a:pt x="94" y="42"/>
                  <a:pt x="76" y="30"/>
                </a:cubicBezTo>
                <a:cubicBezTo>
                  <a:pt x="76" y="29"/>
                  <a:pt x="76" y="29"/>
                  <a:pt x="76" y="29"/>
                </a:cubicBezTo>
                <a:cubicBezTo>
                  <a:pt x="70" y="26"/>
                  <a:pt x="70" y="26"/>
                  <a:pt x="70" y="26"/>
                </a:cubicBezTo>
                <a:cubicBezTo>
                  <a:pt x="70" y="26"/>
                  <a:pt x="70" y="26"/>
                  <a:pt x="70" y="26"/>
                </a:cubicBezTo>
                <a:cubicBezTo>
                  <a:pt x="50" y="17"/>
                  <a:pt x="26" y="23"/>
                  <a:pt x="13" y="41"/>
                </a:cubicBezTo>
                <a:cubicBezTo>
                  <a:pt x="13" y="41"/>
                  <a:pt x="13" y="41"/>
                  <a:pt x="13" y="41"/>
                </a:cubicBezTo>
                <a:cubicBezTo>
                  <a:pt x="9" y="47"/>
                  <a:pt x="9" y="47"/>
                  <a:pt x="9" y="47"/>
                </a:cubicBezTo>
                <a:cubicBezTo>
                  <a:pt x="10" y="47"/>
                  <a:pt x="10" y="47"/>
                  <a:pt x="10" y="47"/>
                </a:cubicBezTo>
                <a:cubicBezTo>
                  <a:pt x="0" y="67"/>
                  <a:pt x="7" y="91"/>
                  <a:pt x="25" y="104"/>
                </a:cubicBezTo>
                <a:close/>
                <a:moveTo>
                  <a:pt x="17" y="85"/>
                </a:moveTo>
                <a:cubicBezTo>
                  <a:pt x="15" y="82"/>
                  <a:pt x="14" y="78"/>
                  <a:pt x="13" y="75"/>
                </a:cubicBezTo>
                <a:cubicBezTo>
                  <a:pt x="15" y="75"/>
                  <a:pt x="17" y="76"/>
                  <a:pt x="18" y="76"/>
                </a:cubicBezTo>
                <a:cubicBezTo>
                  <a:pt x="18" y="79"/>
                  <a:pt x="17" y="82"/>
                  <a:pt x="17" y="85"/>
                </a:cubicBezTo>
                <a:close/>
                <a:moveTo>
                  <a:pt x="28" y="98"/>
                </a:moveTo>
                <a:cubicBezTo>
                  <a:pt x="27" y="96"/>
                  <a:pt x="25" y="95"/>
                  <a:pt x="23" y="94"/>
                </a:cubicBezTo>
                <a:cubicBezTo>
                  <a:pt x="23" y="88"/>
                  <a:pt x="24" y="83"/>
                  <a:pt x="25" y="78"/>
                </a:cubicBezTo>
                <a:cubicBezTo>
                  <a:pt x="29" y="79"/>
                  <a:pt x="33" y="81"/>
                  <a:pt x="37" y="83"/>
                </a:cubicBezTo>
                <a:lnTo>
                  <a:pt x="28" y="98"/>
                </a:lnTo>
                <a:close/>
                <a:moveTo>
                  <a:pt x="66" y="80"/>
                </a:moveTo>
                <a:cubicBezTo>
                  <a:pt x="64" y="83"/>
                  <a:pt x="61" y="86"/>
                  <a:pt x="58" y="89"/>
                </a:cubicBezTo>
                <a:cubicBezTo>
                  <a:pt x="54" y="86"/>
                  <a:pt x="50" y="83"/>
                  <a:pt x="46" y="81"/>
                </a:cubicBezTo>
                <a:cubicBezTo>
                  <a:pt x="52" y="72"/>
                  <a:pt x="52" y="72"/>
                  <a:pt x="52" y="72"/>
                </a:cubicBezTo>
                <a:lnTo>
                  <a:pt x="66" y="80"/>
                </a:lnTo>
                <a:close/>
                <a:moveTo>
                  <a:pt x="55" y="66"/>
                </a:moveTo>
                <a:cubicBezTo>
                  <a:pt x="61" y="56"/>
                  <a:pt x="61" y="56"/>
                  <a:pt x="61" y="56"/>
                </a:cubicBezTo>
                <a:cubicBezTo>
                  <a:pt x="65" y="58"/>
                  <a:pt x="70" y="60"/>
                  <a:pt x="74" y="62"/>
                </a:cubicBezTo>
                <a:cubicBezTo>
                  <a:pt x="73" y="66"/>
                  <a:pt x="71" y="70"/>
                  <a:pt x="69" y="74"/>
                </a:cubicBezTo>
                <a:lnTo>
                  <a:pt x="55" y="66"/>
                </a:lnTo>
                <a:close/>
                <a:moveTo>
                  <a:pt x="49" y="62"/>
                </a:moveTo>
                <a:cubicBezTo>
                  <a:pt x="35" y="54"/>
                  <a:pt x="35" y="54"/>
                  <a:pt x="35" y="54"/>
                </a:cubicBezTo>
                <a:cubicBezTo>
                  <a:pt x="37" y="50"/>
                  <a:pt x="40" y="47"/>
                  <a:pt x="43" y="44"/>
                </a:cubicBezTo>
                <a:cubicBezTo>
                  <a:pt x="46" y="47"/>
                  <a:pt x="50" y="50"/>
                  <a:pt x="55" y="53"/>
                </a:cubicBezTo>
                <a:lnTo>
                  <a:pt x="49" y="62"/>
                </a:lnTo>
                <a:close/>
                <a:moveTo>
                  <a:pt x="46" y="68"/>
                </a:moveTo>
                <a:cubicBezTo>
                  <a:pt x="40" y="77"/>
                  <a:pt x="40" y="77"/>
                  <a:pt x="40" y="77"/>
                </a:cubicBezTo>
                <a:cubicBezTo>
                  <a:pt x="36" y="75"/>
                  <a:pt x="32" y="73"/>
                  <a:pt x="27" y="71"/>
                </a:cubicBezTo>
                <a:cubicBezTo>
                  <a:pt x="28" y="67"/>
                  <a:pt x="29" y="63"/>
                  <a:pt x="31" y="60"/>
                </a:cubicBezTo>
                <a:lnTo>
                  <a:pt x="46" y="68"/>
                </a:lnTo>
                <a:close/>
                <a:moveTo>
                  <a:pt x="41" y="104"/>
                </a:moveTo>
                <a:cubicBezTo>
                  <a:pt x="38" y="103"/>
                  <a:pt x="36" y="102"/>
                  <a:pt x="34" y="101"/>
                </a:cubicBezTo>
                <a:cubicBezTo>
                  <a:pt x="43" y="87"/>
                  <a:pt x="43" y="87"/>
                  <a:pt x="43" y="87"/>
                </a:cubicBezTo>
                <a:cubicBezTo>
                  <a:pt x="47" y="89"/>
                  <a:pt x="50" y="91"/>
                  <a:pt x="53" y="94"/>
                </a:cubicBezTo>
                <a:cubicBezTo>
                  <a:pt x="50" y="98"/>
                  <a:pt x="45" y="101"/>
                  <a:pt x="41" y="104"/>
                </a:cubicBezTo>
                <a:close/>
                <a:moveTo>
                  <a:pt x="52" y="105"/>
                </a:moveTo>
                <a:cubicBezTo>
                  <a:pt x="54" y="103"/>
                  <a:pt x="56" y="101"/>
                  <a:pt x="58" y="99"/>
                </a:cubicBezTo>
                <a:cubicBezTo>
                  <a:pt x="60" y="100"/>
                  <a:pt x="61" y="102"/>
                  <a:pt x="62" y="103"/>
                </a:cubicBezTo>
                <a:cubicBezTo>
                  <a:pt x="59" y="104"/>
                  <a:pt x="55" y="105"/>
                  <a:pt x="52" y="105"/>
                </a:cubicBezTo>
                <a:close/>
                <a:moveTo>
                  <a:pt x="68" y="100"/>
                </a:moveTo>
                <a:cubicBezTo>
                  <a:pt x="67" y="98"/>
                  <a:pt x="65" y="97"/>
                  <a:pt x="63" y="95"/>
                </a:cubicBezTo>
                <a:cubicBezTo>
                  <a:pt x="67" y="91"/>
                  <a:pt x="70" y="88"/>
                  <a:pt x="73" y="84"/>
                </a:cubicBezTo>
                <a:cubicBezTo>
                  <a:pt x="82" y="89"/>
                  <a:pt x="82" y="89"/>
                  <a:pt x="82" y="89"/>
                </a:cubicBezTo>
                <a:cubicBezTo>
                  <a:pt x="78" y="94"/>
                  <a:pt x="73" y="98"/>
                  <a:pt x="68" y="100"/>
                </a:cubicBezTo>
                <a:close/>
                <a:moveTo>
                  <a:pt x="84" y="49"/>
                </a:moveTo>
                <a:cubicBezTo>
                  <a:pt x="86" y="52"/>
                  <a:pt x="87" y="55"/>
                  <a:pt x="88" y="59"/>
                </a:cubicBezTo>
                <a:cubicBezTo>
                  <a:pt x="86" y="59"/>
                  <a:pt x="84" y="58"/>
                  <a:pt x="83" y="57"/>
                </a:cubicBezTo>
                <a:cubicBezTo>
                  <a:pt x="83" y="55"/>
                  <a:pt x="84" y="52"/>
                  <a:pt x="84" y="49"/>
                </a:cubicBezTo>
                <a:close/>
                <a:moveTo>
                  <a:pt x="88" y="66"/>
                </a:moveTo>
                <a:cubicBezTo>
                  <a:pt x="89" y="71"/>
                  <a:pt x="88" y="77"/>
                  <a:pt x="85" y="83"/>
                </a:cubicBezTo>
                <a:cubicBezTo>
                  <a:pt x="76" y="78"/>
                  <a:pt x="76" y="78"/>
                  <a:pt x="76" y="78"/>
                </a:cubicBezTo>
                <a:cubicBezTo>
                  <a:pt x="78" y="73"/>
                  <a:pt x="80" y="69"/>
                  <a:pt x="81" y="64"/>
                </a:cubicBezTo>
                <a:cubicBezTo>
                  <a:pt x="84" y="64"/>
                  <a:pt x="86" y="65"/>
                  <a:pt x="88" y="66"/>
                </a:cubicBezTo>
                <a:close/>
                <a:moveTo>
                  <a:pt x="72" y="36"/>
                </a:moveTo>
                <a:cubicBezTo>
                  <a:pt x="74" y="37"/>
                  <a:pt x="76" y="38"/>
                  <a:pt x="77" y="40"/>
                </a:cubicBezTo>
                <a:cubicBezTo>
                  <a:pt x="77" y="45"/>
                  <a:pt x="77" y="51"/>
                  <a:pt x="76" y="56"/>
                </a:cubicBezTo>
                <a:cubicBezTo>
                  <a:pt x="72" y="54"/>
                  <a:pt x="68" y="52"/>
                  <a:pt x="64" y="50"/>
                </a:cubicBezTo>
                <a:lnTo>
                  <a:pt x="72" y="36"/>
                </a:lnTo>
                <a:close/>
                <a:moveTo>
                  <a:pt x="60" y="30"/>
                </a:moveTo>
                <a:cubicBezTo>
                  <a:pt x="62" y="31"/>
                  <a:pt x="64" y="31"/>
                  <a:pt x="66" y="32"/>
                </a:cubicBezTo>
                <a:cubicBezTo>
                  <a:pt x="58" y="47"/>
                  <a:pt x="58" y="47"/>
                  <a:pt x="58" y="47"/>
                </a:cubicBezTo>
                <a:cubicBezTo>
                  <a:pt x="54" y="44"/>
                  <a:pt x="51" y="42"/>
                  <a:pt x="47" y="39"/>
                </a:cubicBezTo>
                <a:cubicBezTo>
                  <a:pt x="51" y="36"/>
                  <a:pt x="56" y="33"/>
                  <a:pt x="60" y="30"/>
                </a:cubicBezTo>
                <a:close/>
                <a:moveTo>
                  <a:pt x="49" y="29"/>
                </a:moveTo>
                <a:cubicBezTo>
                  <a:pt x="47" y="30"/>
                  <a:pt x="44" y="32"/>
                  <a:pt x="42" y="34"/>
                </a:cubicBezTo>
                <a:cubicBezTo>
                  <a:pt x="41" y="33"/>
                  <a:pt x="40" y="32"/>
                  <a:pt x="39" y="31"/>
                </a:cubicBezTo>
                <a:cubicBezTo>
                  <a:pt x="42" y="30"/>
                  <a:pt x="46" y="29"/>
                  <a:pt x="49" y="29"/>
                </a:cubicBezTo>
                <a:close/>
                <a:moveTo>
                  <a:pt x="33" y="33"/>
                </a:moveTo>
                <a:cubicBezTo>
                  <a:pt x="34" y="35"/>
                  <a:pt x="36" y="37"/>
                  <a:pt x="38" y="38"/>
                </a:cubicBezTo>
                <a:cubicBezTo>
                  <a:pt x="34" y="42"/>
                  <a:pt x="31" y="46"/>
                  <a:pt x="28" y="50"/>
                </a:cubicBezTo>
                <a:cubicBezTo>
                  <a:pt x="19" y="45"/>
                  <a:pt x="19" y="45"/>
                  <a:pt x="19" y="45"/>
                </a:cubicBezTo>
                <a:cubicBezTo>
                  <a:pt x="23" y="40"/>
                  <a:pt x="27" y="36"/>
                  <a:pt x="33" y="33"/>
                </a:cubicBezTo>
                <a:close/>
                <a:moveTo>
                  <a:pt x="16" y="51"/>
                </a:moveTo>
                <a:cubicBezTo>
                  <a:pt x="25" y="56"/>
                  <a:pt x="25" y="56"/>
                  <a:pt x="25" y="56"/>
                </a:cubicBezTo>
                <a:cubicBezTo>
                  <a:pt x="23" y="60"/>
                  <a:pt x="21" y="65"/>
                  <a:pt x="20" y="70"/>
                </a:cubicBezTo>
                <a:cubicBezTo>
                  <a:pt x="17" y="69"/>
                  <a:pt x="15" y="68"/>
                  <a:pt x="12" y="68"/>
                </a:cubicBezTo>
                <a:cubicBezTo>
                  <a:pt x="12" y="62"/>
                  <a:pt x="13" y="56"/>
                  <a:pt x="16" y="5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5" name="Freeform 76">
            <a:extLst>
              <a:ext uri="{FF2B5EF4-FFF2-40B4-BE49-F238E27FC236}">
                <a16:creationId xmlns:a16="http://schemas.microsoft.com/office/drawing/2014/main" id="{F60CD2CF-99B5-4BF6-BC37-E8B2D6AE7D57}"/>
              </a:ext>
            </a:extLst>
          </p:cNvPr>
          <p:cNvSpPr>
            <a:spLocks noEditPoints="1"/>
          </p:cNvSpPr>
          <p:nvPr/>
        </p:nvSpPr>
        <p:spPr bwMode="auto">
          <a:xfrm>
            <a:off x="1943363" y="3426228"/>
            <a:ext cx="417570" cy="420131"/>
          </a:xfrm>
          <a:custGeom>
            <a:avLst/>
            <a:gdLst>
              <a:gd name="T0" fmla="*/ 29 w 163"/>
              <a:gd name="T1" fmla="*/ 88 h 164"/>
              <a:gd name="T2" fmla="*/ 78 w 163"/>
              <a:gd name="T3" fmla="*/ 67 h 164"/>
              <a:gd name="T4" fmla="*/ 77 w 163"/>
              <a:gd name="T5" fmla="*/ 60 h 164"/>
              <a:gd name="T6" fmla="*/ 91 w 163"/>
              <a:gd name="T7" fmla="*/ 86 h 164"/>
              <a:gd name="T8" fmla="*/ 73 w 163"/>
              <a:gd name="T9" fmla="*/ 63 h 164"/>
              <a:gd name="T10" fmla="*/ 23 w 163"/>
              <a:gd name="T11" fmla="*/ 86 h 164"/>
              <a:gd name="T12" fmla="*/ 72 w 163"/>
              <a:gd name="T13" fmla="*/ 47 h 164"/>
              <a:gd name="T14" fmla="*/ 0 w 163"/>
              <a:gd name="T15" fmla="*/ 150 h 164"/>
              <a:gd name="T16" fmla="*/ 109 w 163"/>
              <a:gd name="T17" fmla="*/ 27 h 164"/>
              <a:gd name="T18" fmla="*/ 19 w 163"/>
              <a:gd name="T19" fmla="*/ 96 h 164"/>
              <a:gd name="T20" fmla="*/ 28 w 163"/>
              <a:gd name="T21" fmla="*/ 115 h 164"/>
              <a:gd name="T22" fmla="*/ 49 w 163"/>
              <a:gd name="T23" fmla="*/ 117 h 164"/>
              <a:gd name="T24" fmla="*/ 33 w 163"/>
              <a:gd name="T25" fmla="*/ 33 h 164"/>
              <a:gd name="T26" fmla="*/ 49 w 163"/>
              <a:gd name="T27" fmla="*/ 49 h 164"/>
              <a:gd name="T28" fmla="*/ 40 w 163"/>
              <a:gd name="T29" fmla="*/ 96 h 164"/>
              <a:gd name="T30" fmla="*/ 23 w 163"/>
              <a:gd name="T31" fmla="*/ 96 h 164"/>
              <a:gd name="T32" fmla="*/ 16 w 163"/>
              <a:gd name="T33" fmla="*/ 91 h 164"/>
              <a:gd name="T34" fmla="*/ 23 w 163"/>
              <a:gd name="T35" fmla="*/ 84 h 164"/>
              <a:gd name="T36" fmla="*/ 31 w 163"/>
              <a:gd name="T37" fmla="*/ 71 h 164"/>
              <a:gd name="T38" fmla="*/ 25 w 163"/>
              <a:gd name="T39" fmla="*/ 51 h 164"/>
              <a:gd name="T40" fmla="*/ 16 w 163"/>
              <a:gd name="T41" fmla="*/ 58 h 164"/>
              <a:gd name="T42" fmla="*/ 24 w 163"/>
              <a:gd name="T43" fmla="*/ 45 h 164"/>
              <a:gd name="T44" fmla="*/ 24 w 163"/>
              <a:gd name="T45" fmla="*/ 34 h 164"/>
              <a:gd name="T46" fmla="*/ 49 w 163"/>
              <a:gd name="T47" fmla="*/ 11 h 164"/>
              <a:gd name="T48" fmla="*/ 103 w 163"/>
              <a:gd name="T49" fmla="*/ 84 h 164"/>
              <a:gd name="T50" fmla="*/ 86 w 163"/>
              <a:gd name="T51" fmla="*/ 60 h 164"/>
              <a:gd name="T52" fmla="*/ 95 w 163"/>
              <a:gd name="T53" fmla="*/ 66 h 164"/>
              <a:gd name="T54" fmla="*/ 98 w 163"/>
              <a:gd name="T55" fmla="*/ 67 h 164"/>
              <a:gd name="T56" fmla="*/ 90 w 163"/>
              <a:gd name="T57" fmla="*/ 68 h 164"/>
              <a:gd name="T58" fmla="*/ 82 w 163"/>
              <a:gd name="T59" fmla="*/ 70 h 164"/>
              <a:gd name="T60" fmla="*/ 77 w 163"/>
              <a:gd name="T61" fmla="*/ 82 h 164"/>
              <a:gd name="T62" fmla="*/ 93 w 163"/>
              <a:gd name="T63" fmla="*/ 87 h 164"/>
              <a:gd name="T64" fmla="*/ 97 w 163"/>
              <a:gd name="T65" fmla="*/ 88 h 164"/>
              <a:gd name="T66" fmla="*/ 98 w 163"/>
              <a:gd name="T67" fmla="*/ 92 h 164"/>
              <a:gd name="T68" fmla="*/ 88 w 163"/>
              <a:gd name="T69" fmla="*/ 83 h 164"/>
              <a:gd name="T70" fmla="*/ 85 w 163"/>
              <a:gd name="T71" fmla="*/ 107 h 164"/>
              <a:gd name="T72" fmla="*/ 90 w 163"/>
              <a:gd name="T73" fmla="*/ 124 h 164"/>
              <a:gd name="T74" fmla="*/ 60 w 163"/>
              <a:gd name="T75" fmla="*/ 128 h 164"/>
              <a:gd name="T76" fmla="*/ 73 w 163"/>
              <a:gd name="T77" fmla="*/ 27 h 164"/>
              <a:gd name="T78" fmla="*/ 103 w 163"/>
              <a:gd name="T79" fmla="*/ 56 h 164"/>
              <a:gd name="T80" fmla="*/ 114 w 163"/>
              <a:gd name="T81" fmla="*/ 150 h 164"/>
              <a:gd name="T82" fmla="*/ 114 w 163"/>
              <a:gd name="T83" fmla="*/ 137 h 164"/>
              <a:gd name="T84" fmla="*/ 114 w 163"/>
              <a:gd name="T85" fmla="*/ 115 h 164"/>
              <a:gd name="T86" fmla="*/ 119 w 163"/>
              <a:gd name="T87" fmla="*/ 107 h 164"/>
              <a:gd name="T88" fmla="*/ 136 w 163"/>
              <a:gd name="T89" fmla="*/ 109 h 164"/>
              <a:gd name="T90" fmla="*/ 148 w 163"/>
              <a:gd name="T91" fmla="*/ 94 h 164"/>
              <a:gd name="T92" fmla="*/ 119 w 163"/>
              <a:gd name="T93" fmla="*/ 96 h 164"/>
              <a:gd name="T94" fmla="*/ 122 w 163"/>
              <a:gd name="T95" fmla="*/ 95 h 164"/>
              <a:gd name="T96" fmla="*/ 126 w 163"/>
              <a:gd name="T97" fmla="*/ 87 h 164"/>
              <a:gd name="T98" fmla="*/ 129 w 163"/>
              <a:gd name="T99" fmla="*/ 58 h 164"/>
              <a:gd name="T100" fmla="*/ 131 w 163"/>
              <a:gd name="T101" fmla="*/ 46 h 164"/>
              <a:gd name="T102" fmla="*/ 114 w 163"/>
              <a:gd name="T103" fmla="*/ 6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 h="164">
                <a:moveTo>
                  <a:pt x="27" y="82"/>
                </a:moveTo>
                <a:lnTo>
                  <a:pt x="27" y="84"/>
                </a:lnTo>
                <a:lnTo>
                  <a:pt x="29" y="84"/>
                </a:lnTo>
                <a:lnTo>
                  <a:pt x="27" y="82"/>
                </a:lnTo>
                <a:close/>
                <a:moveTo>
                  <a:pt x="29" y="88"/>
                </a:moveTo>
                <a:lnTo>
                  <a:pt x="37" y="90"/>
                </a:lnTo>
                <a:lnTo>
                  <a:pt x="39" y="88"/>
                </a:lnTo>
                <a:lnTo>
                  <a:pt x="31" y="87"/>
                </a:lnTo>
                <a:lnTo>
                  <a:pt x="29" y="88"/>
                </a:lnTo>
                <a:close/>
                <a:moveTo>
                  <a:pt x="78" y="67"/>
                </a:moveTo>
                <a:lnTo>
                  <a:pt x="82" y="70"/>
                </a:lnTo>
                <a:lnTo>
                  <a:pt x="82" y="67"/>
                </a:lnTo>
                <a:lnTo>
                  <a:pt x="80" y="63"/>
                </a:lnTo>
                <a:lnTo>
                  <a:pt x="78" y="59"/>
                </a:lnTo>
                <a:lnTo>
                  <a:pt x="77" y="60"/>
                </a:lnTo>
                <a:lnTo>
                  <a:pt x="80" y="66"/>
                </a:lnTo>
                <a:lnTo>
                  <a:pt x="78" y="67"/>
                </a:lnTo>
                <a:close/>
                <a:moveTo>
                  <a:pt x="91" y="83"/>
                </a:moveTo>
                <a:lnTo>
                  <a:pt x="90" y="84"/>
                </a:lnTo>
                <a:lnTo>
                  <a:pt x="91" y="86"/>
                </a:lnTo>
                <a:lnTo>
                  <a:pt x="91" y="83"/>
                </a:lnTo>
                <a:close/>
                <a:moveTo>
                  <a:pt x="76" y="67"/>
                </a:moveTo>
                <a:lnTo>
                  <a:pt x="77" y="66"/>
                </a:lnTo>
                <a:lnTo>
                  <a:pt x="74" y="62"/>
                </a:lnTo>
                <a:lnTo>
                  <a:pt x="73" y="63"/>
                </a:lnTo>
                <a:lnTo>
                  <a:pt x="76" y="67"/>
                </a:lnTo>
                <a:close/>
                <a:moveTo>
                  <a:pt x="23" y="88"/>
                </a:moveTo>
                <a:lnTo>
                  <a:pt x="27" y="88"/>
                </a:lnTo>
                <a:lnTo>
                  <a:pt x="28" y="87"/>
                </a:lnTo>
                <a:lnTo>
                  <a:pt x="23" y="86"/>
                </a:lnTo>
                <a:lnTo>
                  <a:pt x="23" y="88"/>
                </a:lnTo>
                <a:close/>
                <a:moveTo>
                  <a:pt x="65" y="46"/>
                </a:moveTo>
                <a:lnTo>
                  <a:pt x="69" y="53"/>
                </a:lnTo>
                <a:lnTo>
                  <a:pt x="74" y="51"/>
                </a:lnTo>
                <a:lnTo>
                  <a:pt x="72" y="47"/>
                </a:lnTo>
                <a:lnTo>
                  <a:pt x="65" y="46"/>
                </a:lnTo>
                <a:close/>
                <a:moveTo>
                  <a:pt x="109" y="27"/>
                </a:moveTo>
                <a:lnTo>
                  <a:pt x="54" y="0"/>
                </a:lnTo>
                <a:lnTo>
                  <a:pt x="0" y="14"/>
                </a:lnTo>
                <a:lnTo>
                  <a:pt x="0" y="150"/>
                </a:lnTo>
                <a:lnTo>
                  <a:pt x="54" y="136"/>
                </a:lnTo>
                <a:lnTo>
                  <a:pt x="109" y="164"/>
                </a:lnTo>
                <a:lnTo>
                  <a:pt x="163" y="149"/>
                </a:lnTo>
                <a:lnTo>
                  <a:pt x="163" y="13"/>
                </a:lnTo>
                <a:lnTo>
                  <a:pt x="109" y="27"/>
                </a:lnTo>
                <a:close/>
                <a:moveTo>
                  <a:pt x="29" y="132"/>
                </a:moveTo>
                <a:lnTo>
                  <a:pt x="11" y="137"/>
                </a:lnTo>
                <a:lnTo>
                  <a:pt x="11" y="95"/>
                </a:lnTo>
                <a:lnTo>
                  <a:pt x="16" y="96"/>
                </a:lnTo>
                <a:lnTo>
                  <a:pt x="19" y="96"/>
                </a:lnTo>
                <a:lnTo>
                  <a:pt x="20" y="99"/>
                </a:lnTo>
                <a:lnTo>
                  <a:pt x="25" y="99"/>
                </a:lnTo>
                <a:lnTo>
                  <a:pt x="25" y="101"/>
                </a:lnTo>
                <a:lnTo>
                  <a:pt x="23" y="104"/>
                </a:lnTo>
                <a:lnTo>
                  <a:pt x="28" y="115"/>
                </a:lnTo>
                <a:lnTo>
                  <a:pt x="32" y="116"/>
                </a:lnTo>
                <a:lnTo>
                  <a:pt x="29" y="132"/>
                </a:lnTo>
                <a:close/>
                <a:moveTo>
                  <a:pt x="49" y="127"/>
                </a:moveTo>
                <a:lnTo>
                  <a:pt x="41" y="128"/>
                </a:lnTo>
                <a:lnTo>
                  <a:pt x="49" y="117"/>
                </a:lnTo>
                <a:lnTo>
                  <a:pt x="49" y="127"/>
                </a:lnTo>
                <a:close/>
                <a:moveTo>
                  <a:pt x="49" y="17"/>
                </a:moveTo>
                <a:lnTo>
                  <a:pt x="37" y="21"/>
                </a:lnTo>
                <a:lnTo>
                  <a:pt x="31" y="30"/>
                </a:lnTo>
                <a:lnTo>
                  <a:pt x="33" y="33"/>
                </a:lnTo>
                <a:lnTo>
                  <a:pt x="37" y="31"/>
                </a:lnTo>
                <a:lnTo>
                  <a:pt x="41" y="33"/>
                </a:lnTo>
                <a:lnTo>
                  <a:pt x="43" y="42"/>
                </a:lnTo>
                <a:lnTo>
                  <a:pt x="48" y="49"/>
                </a:lnTo>
                <a:lnTo>
                  <a:pt x="49" y="49"/>
                </a:lnTo>
                <a:lnTo>
                  <a:pt x="49" y="99"/>
                </a:lnTo>
                <a:lnTo>
                  <a:pt x="49" y="99"/>
                </a:lnTo>
                <a:lnTo>
                  <a:pt x="45" y="99"/>
                </a:lnTo>
                <a:lnTo>
                  <a:pt x="45" y="95"/>
                </a:lnTo>
                <a:lnTo>
                  <a:pt x="40" y="96"/>
                </a:lnTo>
                <a:lnTo>
                  <a:pt x="40" y="92"/>
                </a:lnTo>
                <a:lnTo>
                  <a:pt x="35" y="94"/>
                </a:lnTo>
                <a:lnTo>
                  <a:pt x="31" y="92"/>
                </a:lnTo>
                <a:lnTo>
                  <a:pt x="27" y="95"/>
                </a:lnTo>
                <a:lnTo>
                  <a:pt x="23" y="96"/>
                </a:lnTo>
                <a:lnTo>
                  <a:pt x="21" y="92"/>
                </a:lnTo>
                <a:lnTo>
                  <a:pt x="19" y="94"/>
                </a:lnTo>
                <a:lnTo>
                  <a:pt x="20" y="90"/>
                </a:lnTo>
                <a:lnTo>
                  <a:pt x="19" y="88"/>
                </a:lnTo>
                <a:lnTo>
                  <a:pt x="16" y="91"/>
                </a:lnTo>
                <a:lnTo>
                  <a:pt x="15" y="91"/>
                </a:lnTo>
                <a:lnTo>
                  <a:pt x="12" y="90"/>
                </a:lnTo>
                <a:lnTo>
                  <a:pt x="15" y="84"/>
                </a:lnTo>
                <a:lnTo>
                  <a:pt x="21" y="83"/>
                </a:lnTo>
                <a:lnTo>
                  <a:pt x="23" y="84"/>
                </a:lnTo>
                <a:lnTo>
                  <a:pt x="25" y="84"/>
                </a:lnTo>
                <a:lnTo>
                  <a:pt x="24" y="80"/>
                </a:lnTo>
                <a:lnTo>
                  <a:pt x="28" y="76"/>
                </a:lnTo>
                <a:lnTo>
                  <a:pt x="28" y="74"/>
                </a:lnTo>
                <a:lnTo>
                  <a:pt x="31" y="71"/>
                </a:lnTo>
                <a:lnTo>
                  <a:pt x="32" y="71"/>
                </a:lnTo>
                <a:lnTo>
                  <a:pt x="32" y="67"/>
                </a:lnTo>
                <a:lnTo>
                  <a:pt x="43" y="59"/>
                </a:lnTo>
                <a:lnTo>
                  <a:pt x="35" y="51"/>
                </a:lnTo>
                <a:lnTo>
                  <a:pt x="25" y="51"/>
                </a:lnTo>
                <a:lnTo>
                  <a:pt x="25" y="56"/>
                </a:lnTo>
                <a:lnTo>
                  <a:pt x="27" y="56"/>
                </a:lnTo>
                <a:lnTo>
                  <a:pt x="25" y="62"/>
                </a:lnTo>
                <a:lnTo>
                  <a:pt x="20" y="58"/>
                </a:lnTo>
                <a:lnTo>
                  <a:pt x="16" y="58"/>
                </a:lnTo>
                <a:lnTo>
                  <a:pt x="13" y="56"/>
                </a:lnTo>
                <a:lnTo>
                  <a:pt x="17" y="51"/>
                </a:lnTo>
                <a:lnTo>
                  <a:pt x="24" y="51"/>
                </a:lnTo>
                <a:lnTo>
                  <a:pt x="23" y="47"/>
                </a:lnTo>
                <a:lnTo>
                  <a:pt x="24" y="45"/>
                </a:lnTo>
                <a:lnTo>
                  <a:pt x="27" y="43"/>
                </a:lnTo>
                <a:lnTo>
                  <a:pt x="25" y="49"/>
                </a:lnTo>
                <a:lnTo>
                  <a:pt x="33" y="49"/>
                </a:lnTo>
                <a:lnTo>
                  <a:pt x="39" y="43"/>
                </a:lnTo>
                <a:lnTo>
                  <a:pt x="24" y="34"/>
                </a:lnTo>
                <a:lnTo>
                  <a:pt x="35" y="21"/>
                </a:lnTo>
                <a:lnTo>
                  <a:pt x="23" y="22"/>
                </a:lnTo>
                <a:lnTo>
                  <a:pt x="11" y="30"/>
                </a:lnTo>
                <a:lnTo>
                  <a:pt x="11" y="22"/>
                </a:lnTo>
                <a:lnTo>
                  <a:pt x="49" y="11"/>
                </a:lnTo>
                <a:lnTo>
                  <a:pt x="49" y="17"/>
                </a:lnTo>
                <a:close/>
                <a:moveTo>
                  <a:pt x="103" y="87"/>
                </a:moveTo>
                <a:lnTo>
                  <a:pt x="102" y="88"/>
                </a:lnTo>
                <a:lnTo>
                  <a:pt x="102" y="86"/>
                </a:lnTo>
                <a:lnTo>
                  <a:pt x="103" y="84"/>
                </a:lnTo>
                <a:lnTo>
                  <a:pt x="103" y="87"/>
                </a:lnTo>
                <a:close/>
                <a:moveTo>
                  <a:pt x="103" y="56"/>
                </a:moveTo>
                <a:lnTo>
                  <a:pt x="101" y="55"/>
                </a:lnTo>
                <a:lnTo>
                  <a:pt x="93" y="54"/>
                </a:lnTo>
                <a:lnTo>
                  <a:pt x="86" y="60"/>
                </a:lnTo>
                <a:lnTo>
                  <a:pt x="85" y="63"/>
                </a:lnTo>
                <a:lnTo>
                  <a:pt x="90" y="64"/>
                </a:lnTo>
                <a:lnTo>
                  <a:pt x="90" y="68"/>
                </a:lnTo>
                <a:lnTo>
                  <a:pt x="94" y="68"/>
                </a:lnTo>
                <a:lnTo>
                  <a:pt x="95" y="66"/>
                </a:lnTo>
                <a:lnTo>
                  <a:pt x="94" y="63"/>
                </a:lnTo>
                <a:lnTo>
                  <a:pt x="98" y="60"/>
                </a:lnTo>
                <a:lnTo>
                  <a:pt x="99" y="63"/>
                </a:lnTo>
                <a:lnTo>
                  <a:pt x="97" y="64"/>
                </a:lnTo>
                <a:lnTo>
                  <a:pt x="98" y="67"/>
                </a:lnTo>
                <a:lnTo>
                  <a:pt x="102" y="67"/>
                </a:lnTo>
                <a:lnTo>
                  <a:pt x="103" y="70"/>
                </a:lnTo>
                <a:lnTo>
                  <a:pt x="97" y="70"/>
                </a:lnTo>
                <a:lnTo>
                  <a:pt x="95" y="71"/>
                </a:lnTo>
                <a:lnTo>
                  <a:pt x="90" y="68"/>
                </a:lnTo>
                <a:lnTo>
                  <a:pt x="89" y="66"/>
                </a:lnTo>
                <a:lnTo>
                  <a:pt x="86" y="66"/>
                </a:lnTo>
                <a:lnTo>
                  <a:pt x="88" y="68"/>
                </a:lnTo>
                <a:lnTo>
                  <a:pt x="84" y="71"/>
                </a:lnTo>
                <a:lnTo>
                  <a:pt x="82" y="70"/>
                </a:lnTo>
                <a:lnTo>
                  <a:pt x="80" y="71"/>
                </a:lnTo>
                <a:lnTo>
                  <a:pt x="81" y="74"/>
                </a:lnTo>
                <a:lnTo>
                  <a:pt x="80" y="75"/>
                </a:lnTo>
                <a:lnTo>
                  <a:pt x="74" y="72"/>
                </a:lnTo>
                <a:lnTo>
                  <a:pt x="77" y="82"/>
                </a:lnTo>
                <a:lnTo>
                  <a:pt x="85" y="78"/>
                </a:lnTo>
                <a:lnTo>
                  <a:pt x="86" y="79"/>
                </a:lnTo>
                <a:lnTo>
                  <a:pt x="88" y="78"/>
                </a:lnTo>
                <a:lnTo>
                  <a:pt x="91" y="83"/>
                </a:lnTo>
                <a:lnTo>
                  <a:pt x="93" y="87"/>
                </a:lnTo>
                <a:lnTo>
                  <a:pt x="95" y="84"/>
                </a:lnTo>
                <a:lnTo>
                  <a:pt x="91" y="78"/>
                </a:lnTo>
                <a:lnTo>
                  <a:pt x="93" y="78"/>
                </a:lnTo>
                <a:lnTo>
                  <a:pt x="97" y="84"/>
                </a:lnTo>
                <a:lnTo>
                  <a:pt x="97" y="88"/>
                </a:lnTo>
                <a:lnTo>
                  <a:pt x="101" y="92"/>
                </a:lnTo>
                <a:lnTo>
                  <a:pt x="101" y="87"/>
                </a:lnTo>
                <a:lnTo>
                  <a:pt x="103" y="94"/>
                </a:lnTo>
                <a:lnTo>
                  <a:pt x="103" y="95"/>
                </a:lnTo>
                <a:lnTo>
                  <a:pt x="98" y="92"/>
                </a:lnTo>
                <a:lnTo>
                  <a:pt x="97" y="91"/>
                </a:lnTo>
                <a:lnTo>
                  <a:pt x="94" y="91"/>
                </a:lnTo>
                <a:lnTo>
                  <a:pt x="89" y="87"/>
                </a:lnTo>
                <a:lnTo>
                  <a:pt x="89" y="86"/>
                </a:lnTo>
                <a:lnTo>
                  <a:pt x="88" y="83"/>
                </a:lnTo>
                <a:lnTo>
                  <a:pt x="82" y="82"/>
                </a:lnTo>
                <a:lnTo>
                  <a:pt x="70" y="86"/>
                </a:lnTo>
                <a:lnTo>
                  <a:pt x="70" y="96"/>
                </a:lnTo>
                <a:lnTo>
                  <a:pt x="76" y="103"/>
                </a:lnTo>
                <a:lnTo>
                  <a:pt x="85" y="107"/>
                </a:lnTo>
                <a:lnTo>
                  <a:pt x="89" y="112"/>
                </a:lnTo>
                <a:lnTo>
                  <a:pt x="88" y="112"/>
                </a:lnTo>
                <a:lnTo>
                  <a:pt x="91" y="119"/>
                </a:lnTo>
                <a:lnTo>
                  <a:pt x="91" y="123"/>
                </a:lnTo>
                <a:lnTo>
                  <a:pt x="90" y="124"/>
                </a:lnTo>
                <a:lnTo>
                  <a:pt x="95" y="141"/>
                </a:lnTo>
                <a:lnTo>
                  <a:pt x="101" y="144"/>
                </a:lnTo>
                <a:lnTo>
                  <a:pt x="103" y="142"/>
                </a:lnTo>
                <a:lnTo>
                  <a:pt x="103" y="150"/>
                </a:lnTo>
                <a:lnTo>
                  <a:pt x="60" y="128"/>
                </a:lnTo>
                <a:lnTo>
                  <a:pt x="60" y="42"/>
                </a:lnTo>
                <a:lnTo>
                  <a:pt x="62" y="42"/>
                </a:lnTo>
                <a:lnTo>
                  <a:pt x="69" y="37"/>
                </a:lnTo>
                <a:lnTo>
                  <a:pt x="69" y="29"/>
                </a:lnTo>
                <a:lnTo>
                  <a:pt x="73" y="27"/>
                </a:lnTo>
                <a:lnTo>
                  <a:pt x="66" y="18"/>
                </a:lnTo>
                <a:lnTo>
                  <a:pt x="60" y="17"/>
                </a:lnTo>
                <a:lnTo>
                  <a:pt x="60" y="13"/>
                </a:lnTo>
                <a:lnTo>
                  <a:pt x="103" y="37"/>
                </a:lnTo>
                <a:lnTo>
                  <a:pt x="103" y="56"/>
                </a:lnTo>
                <a:close/>
                <a:moveTo>
                  <a:pt x="152" y="105"/>
                </a:moveTo>
                <a:lnTo>
                  <a:pt x="150" y="107"/>
                </a:lnTo>
                <a:lnTo>
                  <a:pt x="152" y="109"/>
                </a:lnTo>
                <a:lnTo>
                  <a:pt x="152" y="140"/>
                </a:lnTo>
                <a:lnTo>
                  <a:pt x="114" y="150"/>
                </a:lnTo>
                <a:lnTo>
                  <a:pt x="114" y="144"/>
                </a:lnTo>
                <a:lnTo>
                  <a:pt x="117" y="144"/>
                </a:lnTo>
                <a:lnTo>
                  <a:pt x="119" y="133"/>
                </a:lnTo>
                <a:lnTo>
                  <a:pt x="118" y="133"/>
                </a:lnTo>
                <a:lnTo>
                  <a:pt x="114" y="137"/>
                </a:lnTo>
                <a:lnTo>
                  <a:pt x="114" y="125"/>
                </a:lnTo>
                <a:lnTo>
                  <a:pt x="119" y="115"/>
                </a:lnTo>
                <a:lnTo>
                  <a:pt x="114" y="117"/>
                </a:lnTo>
                <a:lnTo>
                  <a:pt x="114" y="117"/>
                </a:lnTo>
                <a:lnTo>
                  <a:pt x="114" y="115"/>
                </a:lnTo>
                <a:lnTo>
                  <a:pt x="115" y="116"/>
                </a:lnTo>
                <a:lnTo>
                  <a:pt x="122" y="111"/>
                </a:lnTo>
                <a:lnTo>
                  <a:pt x="125" y="105"/>
                </a:lnTo>
                <a:lnTo>
                  <a:pt x="122" y="104"/>
                </a:lnTo>
                <a:lnTo>
                  <a:pt x="119" y="107"/>
                </a:lnTo>
                <a:lnTo>
                  <a:pt x="117" y="103"/>
                </a:lnTo>
                <a:lnTo>
                  <a:pt x="133" y="100"/>
                </a:lnTo>
                <a:lnTo>
                  <a:pt x="133" y="104"/>
                </a:lnTo>
                <a:lnTo>
                  <a:pt x="134" y="104"/>
                </a:lnTo>
                <a:lnTo>
                  <a:pt x="136" y="109"/>
                </a:lnTo>
                <a:lnTo>
                  <a:pt x="140" y="107"/>
                </a:lnTo>
                <a:lnTo>
                  <a:pt x="140" y="103"/>
                </a:lnTo>
                <a:lnTo>
                  <a:pt x="146" y="97"/>
                </a:lnTo>
                <a:lnTo>
                  <a:pt x="146" y="94"/>
                </a:lnTo>
                <a:lnTo>
                  <a:pt x="148" y="94"/>
                </a:lnTo>
                <a:lnTo>
                  <a:pt x="148" y="96"/>
                </a:lnTo>
                <a:lnTo>
                  <a:pt x="152" y="104"/>
                </a:lnTo>
                <a:lnTo>
                  <a:pt x="152" y="105"/>
                </a:lnTo>
                <a:close/>
                <a:moveTo>
                  <a:pt x="122" y="95"/>
                </a:moveTo>
                <a:lnTo>
                  <a:pt x="119" y="96"/>
                </a:lnTo>
                <a:lnTo>
                  <a:pt x="119" y="90"/>
                </a:lnTo>
                <a:lnTo>
                  <a:pt x="121" y="87"/>
                </a:lnTo>
                <a:lnTo>
                  <a:pt x="122" y="88"/>
                </a:lnTo>
                <a:lnTo>
                  <a:pt x="119" y="91"/>
                </a:lnTo>
                <a:lnTo>
                  <a:pt x="122" y="95"/>
                </a:lnTo>
                <a:close/>
                <a:moveTo>
                  <a:pt x="126" y="87"/>
                </a:moveTo>
                <a:lnTo>
                  <a:pt x="127" y="86"/>
                </a:lnTo>
                <a:lnTo>
                  <a:pt x="127" y="88"/>
                </a:lnTo>
                <a:lnTo>
                  <a:pt x="126" y="88"/>
                </a:lnTo>
                <a:lnTo>
                  <a:pt x="126" y="87"/>
                </a:lnTo>
                <a:close/>
                <a:moveTo>
                  <a:pt x="152" y="39"/>
                </a:moveTo>
                <a:lnTo>
                  <a:pt x="142" y="47"/>
                </a:lnTo>
                <a:lnTo>
                  <a:pt x="140" y="51"/>
                </a:lnTo>
                <a:lnTo>
                  <a:pt x="133" y="53"/>
                </a:lnTo>
                <a:lnTo>
                  <a:pt x="129" y="58"/>
                </a:lnTo>
                <a:lnTo>
                  <a:pt x="130" y="59"/>
                </a:lnTo>
                <a:lnTo>
                  <a:pt x="122" y="58"/>
                </a:lnTo>
                <a:lnTo>
                  <a:pt x="126" y="53"/>
                </a:lnTo>
                <a:lnTo>
                  <a:pt x="133" y="49"/>
                </a:lnTo>
                <a:lnTo>
                  <a:pt x="131" y="46"/>
                </a:lnTo>
                <a:lnTo>
                  <a:pt x="125" y="53"/>
                </a:lnTo>
                <a:lnTo>
                  <a:pt x="119" y="59"/>
                </a:lnTo>
                <a:lnTo>
                  <a:pt x="125" y="62"/>
                </a:lnTo>
                <a:lnTo>
                  <a:pt x="118" y="64"/>
                </a:lnTo>
                <a:lnTo>
                  <a:pt x="114" y="68"/>
                </a:lnTo>
                <a:lnTo>
                  <a:pt x="114" y="35"/>
                </a:lnTo>
                <a:lnTo>
                  <a:pt x="152" y="25"/>
                </a:lnTo>
                <a:lnTo>
                  <a:pt x="152" y="3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6" name="Freeform 77">
            <a:extLst>
              <a:ext uri="{FF2B5EF4-FFF2-40B4-BE49-F238E27FC236}">
                <a16:creationId xmlns:a16="http://schemas.microsoft.com/office/drawing/2014/main" id="{82A4458A-5B5A-454A-8FB9-9138F97C24DD}"/>
              </a:ext>
            </a:extLst>
          </p:cNvPr>
          <p:cNvSpPr>
            <a:spLocks noEditPoints="1"/>
          </p:cNvSpPr>
          <p:nvPr/>
        </p:nvSpPr>
        <p:spPr bwMode="auto">
          <a:xfrm>
            <a:off x="3019308" y="3377554"/>
            <a:ext cx="499546" cy="502108"/>
          </a:xfrm>
          <a:custGeom>
            <a:avLst/>
            <a:gdLst>
              <a:gd name="T0" fmla="*/ 70 w 148"/>
              <a:gd name="T1" fmla="*/ 71 h 148"/>
              <a:gd name="T2" fmla="*/ 70 w 148"/>
              <a:gd name="T3" fmla="*/ 78 h 148"/>
              <a:gd name="T4" fmla="*/ 77 w 148"/>
              <a:gd name="T5" fmla="*/ 78 h 148"/>
              <a:gd name="T6" fmla="*/ 77 w 148"/>
              <a:gd name="T7" fmla="*/ 71 h 148"/>
              <a:gd name="T8" fmla="*/ 70 w 148"/>
              <a:gd name="T9" fmla="*/ 71 h 148"/>
              <a:gd name="T10" fmla="*/ 74 w 148"/>
              <a:gd name="T11" fmla="*/ 25 h 148"/>
              <a:gd name="T12" fmla="*/ 78 w 148"/>
              <a:gd name="T13" fmla="*/ 21 h 148"/>
              <a:gd name="T14" fmla="*/ 78 w 148"/>
              <a:gd name="T15" fmla="*/ 16 h 148"/>
              <a:gd name="T16" fmla="*/ 74 w 148"/>
              <a:gd name="T17" fmla="*/ 12 h 148"/>
              <a:gd name="T18" fmla="*/ 70 w 148"/>
              <a:gd name="T19" fmla="*/ 16 h 148"/>
              <a:gd name="T20" fmla="*/ 70 w 148"/>
              <a:gd name="T21" fmla="*/ 21 h 148"/>
              <a:gd name="T22" fmla="*/ 74 w 148"/>
              <a:gd name="T23" fmla="*/ 25 h 148"/>
              <a:gd name="T24" fmla="*/ 74 w 148"/>
              <a:gd name="T25" fmla="*/ 123 h 148"/>
              <a:gd name="T26" fmla="*/ 70 w 148"/>
              <a:gd name="T27" fmla="*/ 128 h 148"/>
              <a:gd name="T28" fmla="*/ 70 w 148"/>
              <a:gd name="T29" fmla="*/ 132 h 148"/>
              <a:gd name="T30" fmla="*/ 74 w 148"/>
              <a:gd name="T31" fmla="*/ 136 h 148"/>
              <a:gd name="T32" fmla="*/ 78 w 148"/>
              <a:gd name="T33" fmla="*/ 132 h 148"/>
              <a:gd name="T34" fmla="*/ 78 w 148"/>
              <a:gd name="T35" fmla="*/ 128 h 148"/>
              <a:gd name="T36" fmla="*/ 74 w 148"/>
              <a:gd name="T37" fmla="*/ 123 h 148"/>
              <a:gd name="T38" fmla="*/ 31 w 148"/>
              <a:gd name="T39" fmla="*/ 30 h 148"/>
              <a:gd name="T40" fmla="*/ 30 w 148"/>
              <a:gd name="T41" fmla="*/ 31 h 148"/>
              <a:gd name="T42" fmla="*/ 62 w 148"/>
              <a:gd name="T43" fmla="*/ 86 h 148"/>
              <a:gd name="T44" fmla="*/ 117 w 148"/>
              <a:gd name="T45" fmla="*/ 118 h 148"/>
              <a:gd name="T46" fmla="*/ 118 w 148"/>
              <a:gd name="T47" fmla="*/ 117 h 148"/>
              <a:gd name="T48" fmla="*/ 85 w 148"/>
              <a:gd name="T49" fmla="*/ 62 h 148"/>
              <a:gd name="T50" fmla="*/ 31 w 148"/>
              <a:gd name="T51" fmla="*/ 30 h 148"/>
              <a:gd name="T52" fmla="*/ 99 w 148"/>
              <a:gd name="T53" fmla="*/ 100 h 148"/>
              <a:gd name="T54" fmla="*/ 67 w 148"/>
              <a:gd name="T55" fmla="*/ 81 h 148"/>
              <a:gd name="T56" fmla="*/ 67 w 148"/>
              <a:gd name="T57" fmla="*/ 81 h 148"/>
              <a:gd name="T58" fmla="*/ 67 w 148"/>
              <a:gd name="T59" fmla="*/ 67 h 148"/>
              <a:gd name="T60" fmla="*/ 80 w 148"/>
              <a:gd name="T61" fmla="*/ 67 h 148"/>
              <a:gd name="T62" fmla="*/ 81 w 148"/>
              <a:gd name="T63" fmla="*/ 67 h 148"/>
              <a:gd name="T64" fmla="*/ 100 w 148"/>
              <a:gd name="T65" fmla="*/ 100 h 148"/>
              <a:gd name="T66" fmla="*/ 99 w 148"/>
              <a:gd name="T67" fmla="*/ 100 h 148"/>
              <a:gd name="T68" fmla="*/ 20 w 148"/>
              <a:gd name="T69" fmla="*/ 70 h 148"/>
              <a:gd name="T70" fmla="*/ 16 w 148"/>
              <a:gd name="T71" fmla="*/ 70 h 148"/>
              <a:gd name="T72" fmla="*/ 12 w 148"/>
              <a:gd name="T73" fmla="*/ 74 h 148"/>
              <a:gd name="T74" fmla="*/ 16 w 148"/>
              <a:gd name="T75" fmla="*/ 78 h 148"/>
              <a:gd name="T76" fmla="*/ 20 w 148"/>
              <a:gd name="T77" fmla="*/ 78 h 148"/>
              <a:gd name="T78" fmla="*/ 24 w 148"/>
              <a:gd name="T79" fmla="*/ 74 h 148"/>
              <a:gd name="T80" fmla="*/ 20 w 148"/>
              <a:gd name="T81" fmla="*/ 70 h 148"/>
              <a:gd name="T82" fmla="*/ 131 w 148"/>
              <a:gd name="T83" fmla="*/ 70 h 148"/>
              <a:gd name="T84" fmla="*/ 127 w 148"/>
              <a:gd name="T85" fmla="*/ 70 h 148"/>
              <a:gd name="T86" fmla="*/ 123 w 148"/>
              <a:gd name="T87" fmla="*/ 74 h 148"/>
              <a:gd name="T88" fmla="*/ 127 w 148"/>
              <a:gd name="T89" fmla="*/ 78 h 148"/>
              <a:gd name="T90" fmla="*/ 131 w 148"/>
              <a:gd name="T91" fmla="*/ 78 h 148"/>
              <a:gd name="T92" fmla="*/ 136 w 148"/>
              <a:gd name="T93" fmla="*/ 74 h 148"/>
              <a:gd name="T94" fmla="*/ 131 w 148"/>
              <a:gd name="T95" fmla="*/ 70 h 148"/>
              <a:gd name="T96" fmla="*/ 74 w 148"/>
              <a:gd name="T97" fmla="*/ 0 h 148"/>
              <a:gd name="T98" fmla="*/ 0 w 148"/>
              <a:gd name="T99" fmla="*/ 74 h 148"/>
              <a:gd name="T100" fmla="*/ 74 w 148"/>
              <a:gd name="T101" fmla="*/ 148 h 148"/>
              <a:gd name="T102" fmla="*/ 148 w 148"/>
              <a:gd name="T103" fmla="*/ 74 h 148"/>
              <a:gd name="T104" fmla="*/ 74 w 148"/>
              <a:gd name="T105" fmla="*/ 0 h 148"/>
              <a:gd name="T106" fmla="*/ 74 w 148"/>
              <a:gd name="T107" fmla="*/ 140 h 148"/>
              <a:gd name="T108" fmla="*/ 8 w 148"/>
              <a:gd name="T109" fmla="*/ 74 h 148"/>
              <a:gd name="T110" fmla="*/ 74 w 148"/>
              <a:gd name="T111" fmla="*/ 8 h 148"/>
              <a:gd name="T112" fmla="*/ 140 w 148"/>
              <a:gd name="T113" fmla="*/ 74 h 148"/>
              <a:gd name="T114" fmla="*/ 74 w 148"/>
              <a:gd name="T115"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148">
                <a:moveTo>
                  <a:pt x="70" y="71"/>
                </a:moveTo>
                <a:cubicBezTo>
                  <a:pt x="68" y="72"/>
                  <a:pt x="68" y="76"/>
                  <a:pt x="70" y="78"/>
                </a:cubicBezTo>
                <a:cubicBezTo>
                  <a:pt x="72" y="79"/>
                  <a:pt x="75" y="79"/>
                  <a:pt x="77" y="78"/>
                </a:cubicBezTo>
                <a:cubicBezTo>
                  <a:pt x="79" y="76"/>
                  <a:pt x="79" y="72"/>
                  <a:pt x="77" y="71"/>
                </a:cubicBezTo>
                <a:cubicBezTo>
                  <a:pt x="75" y="69"/>
                  <a:pt x="72" y="69"/>
                  <a:pt x="70" y="71"/>
                </a:cubicBezTo>
                <a:close/>
                <a:moveTo>
                  <a:pt x="74" y="25"/>
                </a:moveTo>
                <a:cubicBezTo>
                  <a:pt x="76" y="25"/>
                  <a:pt x="78" y="23"/>
                  <a:pt x="78" y="21"/>
                </a:cubicBezTo>
                <a:cubicBezTo>
                  <a:pt x="78" y="16"/>
                  <a:pt x="78" y="16"/>
                  <a:pt x="78" y="16"/>
                </a:cubicBezTo>
                <a:cubicBezTo>
                  <a:pt x="78" y="14"/>
                  <a:pt x="76" y="12"/>
                  <a:pt x="74" y="12"/>
                </a:cubicBezTo>
                <a:cubicBezTo>
                  <a:pt x="72" y="12"/>
                  <a:pt x="70" y="14"/>
                  <a:pt x="70" y="16"/>
                </a:cubicBezTo>
                <a:cubicBezTo>
                  <a:pt x="70" y="21"/>
                  <a:pt x="70" y="21"/>
                  <a:pt x="70" y="21"/>
                </a:cubicBezTo>
                <a:cubicBezTo>
                  <a:pt x="70" y="23"/>
                  <a:pt x="72" y="25"/>
                  <a:pt x="74" y="25"/>
                </a:cubicBezTo>
                <a:close/>
                <a:moveTo>
                  <a:pt x="74" y="123"/>
                </a:moveTo>
                <a:cubicBezTo>
                  <a:pt x="72" y="123"/>
                  <a:pt x="70" y="125"/>
                  <a:pt x="70" y="128"/>
                </a:cubicBezTo>
                <a:cubicBezTo>
                  <a:pt x="70" y="132"/>
                  <a:pt x="70" y="132"/>
                  <a:pt x="70" y="132"/>
                </a:cubicBezTo>
                <a:cubicBezTo>
                  <a:pt x="70" y="134"/>
                  <a:pt x="72" y="136"/>
                  <a:pt x="74" y="136"/>
                </a:cubicBezTo>
                <a:cubicBezTo>
                  <a:pt x="76" y="136"/>
                  <a:pt x="78" y="134"/>
                  <a:pt x="78" y="132"/>
                </a:cubicBezTo>
                <a:cubicBezTo>
                  <a:pt x="78" y="128"/>
                  <a:pt x="78" y="128"/>
                  <a:pt x="78" y="128"/>
                </a:cubicBezTo>
                <a:cubicBezTo>
                  <a:pt x="78" y="125"/>
                  <a:pt x="76" y="123"/>
                  <a:pt x="74" y="123"/>
                </a:cubicBezTo>
                <a:close/>
                <a:moveTo>
                  <a:pt x="31" y="30"/>
                </a:moveTo>
                <a:cubicBezTo>
                  <a:pt x="30" y="31"/>
                  <a:pt x="30" y="31"/>
                  <a:pt x="30" y="31"/>
                </a:cubicBezTo>
                <a:cubicBezTo>
                  <a:pt x="62" y="86"/>
                  <a:pt x="62" y="86"/>
                  <a:pt x="62" y="86"/>
                </a:cubicBezTo>
                <a:cubicBezTo>
                  <a:pt x="117" y="118"/>
                  <a:pt x="117" y="118"/>
                  <a:pt x="117" y="118"/>
                </a:cubicBezTo>
                <a:cubicBezTo>
                  <a:pt x="118" y="117"/>
                  <a:pt x="118" y="117"/>
                  <a:pt x="118" y="117"/>
                </a:cubicBezTo>
                <a:cubicBezTo>
                  <a:pt x="85" y="62"/>
                  <a:pt x="85" y="62"/>
                  <a:pt x="85" y="62"/>
                </a:cubicBezTo>
                <a:lnTo>
                  <a:pt x="31" y="30"/>
                </a:lnTo>
                <a:close/>
                <a:moveTo>
                  <a:pt x="99" y="100"/>
                </a:moveTo>
                <a:cubicBezTo>
                  <a:pt x="67" y="81"/>
                  <a:pt x="67" y="81"/>
                  <a:pt x="67" y="81"/>
                </a:cubicBezTo>
                <a:cubicBezTo>
                  <a:pt x="67" y="81"/>
                  <a:pt x="67" y="81"/>
                  <a:pt x="67" y="81"/>
                </a:cubicBezTo>
                <a:cubicBezTo>
                  <a:pt x="64" y="77"/>
                  <a:pt x="64" y="71"/>
                  <a:pt x="67" y="67"/>
                </a:cubicBezTo>
                <a:cubicBezTo>
                  <a:pt x="71" y="64"/>
                  <a:pt x="77" y="64"/>
                  <a:pt x="80" y="67"/>
                </a:cubicBezTo>
                <a:cubicBezTo>
                  <a:pt x="81" y="67"/>
                  <a:pt x="81" y="67"/>
                  <a:pt x="81" y="67"/>
                </a:cubicBezTo>
                <a:cubicBezTo>
                  <a:pt x="100" y="100"/>
                  <a:pt x="100" y="100"/>
                  <a:pt x="100" y="100"/>
                </a:cubicBezTo>
                <a:lnTo>
                  <a:pt x="99" y="100"/>
                </a:lnTo>
                <a:close/>
                <a:moveTo>
                  <a:pt x="20" y="70"/>
                </a:moveTo>
                <a:cubicBezTo>
                  <a:pt x="16" y="70"/>
                  <a:pt x="16" y="70"/>
                  <a:pt x="16" y="70"/>
                </a:cubicBezTo>
                <a:cubicBezTo>
                  <a:pt x="14" y="70"/>
                  <a:pt x="12" y="72"/>
                  <a:pt x="12" y="74"/>
                </a:cubicBezTo>
                <a:cubicBezTo>
                  <a:pt x="12" y="76"/>
                  <a:pt x="14" y="78"/>
                  <a:pt x="16" y="78"/>
                </a:cubicBezTo>
                <a:cubicBezTo>
                  <a:pt x="20" y="78"/>
                  <a:pt x="20" y="78"/>
                  <a:pt x="20" y="78"/>
                </a:cubicBezTo>
                <a:cubicBezTo>
                  <a:pt x="23" y="78"/>
                  <a:pt x="24" y="76"/>
                  <a:pt x="24" y="74"/>
                </a:cubicBezTo>
                <a:cubicBezTo>
                  <a:pt x="24" y="72"/>
                  <a:pt x="23" y="70"/>
                  <a:pt x="20" y="70"/>
                </a:cubicBezTo>
                <a:close/>
                <a:moveTo>
                  <a:pt x="131" y="70"/>
                </a:moveTo>
                <a:cubicBezTo>
                  <a:pt x="127" y="70"/>
                  <a:pt x="127" y="70"/>
                  <a:pt x="127" y="70"/>
                </a:cubicBezTo>
                <a:cubicBezTo>
                  <a:pt x="125" y="70"/>
                  <a:pt x="123" y="72"/>
                  <a:pt x="123" y="74"/>
                </a:cubicBezTo>
                <a:cubicBezTo>
                  <a:pt x="123" y="76"/>
                  <a:pt x="125" y="78"/>
                  <a:pt x="127" y="78"/>
                </a:cubicBezTo>
                <a:cubicBezTo>
                  <a:pt x="131" y="78"/>
                  <a:pt x="131" y="78"/>
                  <a:pt x="131" y="78"/>
                </a:cubicBezTo>
                <a:cubicBezTo>
                  <a:pt x="134" y="78"/>
                  <a:pt x="136" y="76"/>
                  <a:pt x="136" y="74"/>
                </a:cubicBezTo>
                <a:cubicBezTo>
                  <a:pt x="136" y="72"/>
                  <a:pt x="134" y="70"/>
                  <a:pt x="131" y="70"/>
                </a:cubicBezTo>
                <a:close/>
                <a:moveTo>
                  <a:pt x="74" y="0"/>
                </a:moveTo>
                <a:cubicBezTo>
                  <a:pt x="33" y="0"/>
                  <a:pt x="0" y="33"/>
                  <a:pt x="0" y="74"/>
                </a:cubicBezTo>
                <a:cubicBezTo>
                  <a:pt x="0" y="115"/>
                  <a:pt x="33" y="148"/>
                  <a:pt x="74" y="148"/>
                </a:cubicBezTo>
                <a:cubicBezTo>
                  <a:pt x="115" y="148"/>
                  <a:pt x="148" y="115"/>
                  <a:pt x="148" y="74"/>
                </a:cubicBezTo>
                <a:cubicBezTo>
                  <a:pt x="148" y="33"/>
                  <a:pt x="115" y="0"/>
                  <a:pt x="74" y="0"/>
                </a:cubicBezTo>
                <a:close/>
                <a:moveTo>
                  <a:pt x="74" y="140"/>
                </a:moveTo>
                <a:cubicBezTo>
                  <a:pt x="37" y="140"/>
                  <a:pt x="8" y="110"/>
                  <a:pt x="8" y="74"/>
                </a:cubicBezTo>
                <a:cubicBezTo>
                  <a:pt x="8" y="38"/>
                  <a:pt x="37" y="8"/>
                  <a:pt x="74" y="8"/>
                </a:cubicBezTo>
                <a:cubicBezTo>
                  <a:pt x="110" y="8"/>
                  <a:pt x="140" y="38"/>
                  <a:pt x="140" y="74"/>
                </a:cubicBezTo>
                <a:cubicBezTo>
                  <a:pt x="140" y="110"/>
                  <a:pt x="110" y="140"/>
                  <a:pt x="74" y="14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7" name="Freeform 78">
            <a:extLst>
              <a:ext uri="{FF2B5EF4-FFF2-40B4-BE49-F238E27FC236}">
                <a16:creationId xmlns:a16="http://schemas.microsoft.com/office/drawing/2014/main" id="{9BAFF690-C3D4-4984-8FDD-2B0DD05960E5}"/>
              </a:ext>
            </a:extLst>
          </p:cNvPr>
          <p:cNvSpPr>
            <a:spLocks noEditPoints="1"/>
          </p:cNvSpPr>
          <p:nvPr/>
        </p:nvSpPr>
        <p:spPr bwMode="auto">
          <a:xfrm>
            <a:off x="4120871" y="3344252"/>
            <a:ext cx="461120" cy="535412"/>
          </a:xfrm>
          <a:custGeom>
            <a:avLst/>
            <a:gdLst>
              <a:gd name="T0" fmla="*/ 37 w 136"/>
              <a:gd name="T1" fmla="*/ 51 h 158"/>
              <a:gd name="T2" fmla="*/ 49 w 136"/>
              <a:gd name="T3" fmla="*/ 63 h 158"/>
              <a:gd name="T4" fmla="*/ 62 w 136"/>
              <a:gd name="T5" fmla="*/ 51 h 158"/>
              <a:gd name="T6" fmla="*/ 49 w 136"/>
              <a:gd name="T7" fmla="*/ 39 h 158"/>
              <a:gd name="T8" fmla="*/ 37 w 136"/>
              <a:gd name="T9" fmla="*/ 51 h 158"/>
              <a:gd name="T10" fmla="*/ 28 w 136"/>
              <a:gd name="T11" fmla="*/ 158 h 158"/>
              <a:gd name="T12" fmla="*/ 136 w 136"/>
              <a:gd name="T13" fmla="*/ 158 h 158"/>
              <a:gd name="T14" fmla="*/ 127 w 136"/>
              <a:gd name="T15" fmla="*/ 146 h 158"/>
              <a:gd name="T16" fmla="*/ 107 w 136"/>
              <a:gd name="T17" fmla="*/ 146 h 158"/>
              <a:gd name="T18" fmla="*/ 107 w 136"/>
              <a:gd name="T19" fmla="*/ 103 h 158"/>
              <a:gd name="T20" fmla="*/ 121 w 136"/>
              <a:gd name="T21" fmla="*/ 95 h 158"/>
              <a:gd name="T22" fmla="*/ 117 w 136"/>
              <a:gd name="T23" fmla="*/ 89 h 158"/>
              <a:gd name="T24" fmla="*/ 77 w 136"/>
              <a:gd name="T25" fmla="*/ 112 h 158"/>
              <a:gd name="T26" fmla="*/ 81 w 136"/>
              <a:gd name="T27" fmla="*/ 118 h 158"/>
              <a:gd name="T28" fmla="*/ 86 w 136"/>
              <a:gd name="T29" fmla="*/ 115 h 158"/>
              <a:gd name="T30" fmla="*/ 86 w 136"/>
              <a:gd name="T31" fmla="*/ 129 h 158"/>
              <a:gd name="T32" fmla="*/ 36 w 136"/>
              <a:gd name="T33" fmla="*/ 64 h 158"/>
              <a:gd name="T34" fmla="*/ 30 w 136"/>
              <a:gd name="T35" fmla="*/ 51 h 158"/>
              <a:gd name="T36" fmla="*/ 30 w 136"/>
              <a:gd name="T37" fmla="*/ 51 h 158"/>
              <a:gd name="T38" fmla="*/ 68 w 136"/>
              <a:gd name="T39" fmla="*/ 146 h 158"/>
              <a:gd name="T40" fmla="*/ 37 w 136"/>
              <a:gd name="T41" fmla="*/ 146 h 158"/>
              <a:gd name="T42" fmla="*/ 28 w 136"/>
              <a:gd name="T43" fmla="*/ 158 h 158"/>
              <a:gd name="T44" fmla="*/ 36 w 136"/>
              <a:gd name="T45" fmla="*/ 16 h 158"/>
              <a:gd name="T46" fmla="*/ 45 w 136"/>
              <a:gd name="T47" fmla="*/ 33 h 158"/>
              <a:gd name="T48" fmla="*/ 49 w 136"/>
              <a:gd name="T49" fmla="*/ 32 h 158"/>
              <a:gd name="T50" fmla="*/ 68 w 136"/>
              <a:gd name="T51" fmla="*/ 51 h 158"/>
              <a:gd name="T52" fmla="*/ 63 w 136"/>
              <a:gd name="T53" fmla="*/ 64 h 158"/>
              <a:gd name="T54" fmla="*/ 75 w 136"/>
              <a:gd name="T55" fmla="*/ 84 h 158"/>
              <a:gd name="T56" fmla="*/ 75 w 136"/>
              <a:gd name="T57" fmla="*/ 84 h 158"/>
              <a:gd name="T58" fmla="*/ 74 w 136"/>
              <a:gd name="T59" fmla="*/ 89 h 158"/>
              <a:gd name="T60" fmla="*/ 78 w 136"/>
              <a:gd name="T61" fmla="*/ 90 h 158"/>
              <a:gd name="T62" fmla="*/ 95 w 136"/>
              <a:gd name="T63" fmla="*/ 80 h 158"/>
              <a:gd name="T64" fmla="*/ 96 w 136"/>
              <a:gd name="T65" fmla="*/ 76 h 158"/>
              <a:gd name="T66" fmla="*/ 92 w 136"/>
              <a:gd name="T67" fmla="*/ 74 h 158"/>
              <a:gd name="T68" fmla="*/ 77 w 136"/>
              <a:gd name="T69" fmla="*/ 49 h 158"/>
              <a:gd name="T70" fmla="*/ 77 w 136"/>
              <a:gd name="T71" fmla="*/ 42 h 158"/>
              <a:gd name="T72" fmla="*/ 71 w 136"/>
              <a:gd name="T73" fmla="*/ 30 h 158"/>
              <a:gd name="T74" fmla="*/ 65 w 136"/>
              <a:gd name="T75" fmla="*/ 27 h 158"/>
              <a:gd name="T76" fmla="*/ 53 w 136"/>
              <a:gd name="T77" fmla="*/ 6 h 158"/>
              <a:gd name="T78" fmla="*/ 53 w 136"/>
              <a:gd name="T79" fmla="*/ 6 h 158"/>
              <a:gd name="T80" fmla="*/ 54 w 136"/>
              <a:gd name="T81" fmla="*/ 2 h 158"/>
              <a:gd name="T82" fmla="*/ 50 w 136"/>
              <a:gd name="T83" fmla="*/ 1 h 158"/>
              <a:gd name="T84" fmla="*/ 33 w 136"/>
              <a:gd name="T85" fmla="*/ 11 h 158"/>
              <a:gd name="T86" fmla="*/ 32 w 136"/>
              <a:gd name="T87" fmla="*/ 15 h 158"/>
              <a:gd name="T88" fmla="*/ 36 w 136"/>
              <a:gd name="T89" fmla="*/ 1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 h="158">
                <a:moveTo>
                  <a:pt x="37" y="51"/>
                </a:moveTo>
                <a:cubicBezTo>
                  <a:pt x="37" y="58"/>
                  <a:pt x="42" y="63"/>
                  <a:pt x="49" y="63"/>
                </a:cubicBezTo>
                <a:cubicBezTo>
                  <a:pt x="56" y="63"/>
                  <a:pt x="62" y="58"/>
                  <a:pt x="62" y="51"/>
                </a:cubicBezTo>
                <a:cubicBezTo>
                  <a:pt x="62" y="44"/>
                  <a:pt x="56" y="39"/>
                  <a:pt x="49" y="39"/>
                </a:cubicBezTo>
                <a:cubicBezTo>
                  <a:pt x="42" y="39"/>
                  <a:pt x="37" y="44"/>
                  <a:pt x="37" y="51"/>
                </a:cubicBezTo>
                <a:close/>
                <a:moveTo>
                  <a:pt x="28" y="158"/>
                </a:moveTo>
                <a:cubicBezTo>
                  <a:pt x="136" y="158"/>
                  <a:pt x="136" y="158"/>
                  <a:pt x="136" y="158"/>
                </a:cubicBezTo>
                <a:cubicBezTo>
                  <a:pt x="127" y="146"/>
                  <a:pt x="127" y="146"/>
                  <a:pt x="127" y="146"/>
                </a:cubicBezTo>
                <a:cubicBezTo>
                  <a:pt x="107" y="146"/>
                  <a:pt x="107" y="146"/>
                  <a:pt x="107" y="146"/>
                </a:cubicBezTo>
                <a:cubicBezTo>
                  <a:pt x="107" y="103"/>
                  <a:pt x="107" y="103"/>
                  <a:pt x="107" y="103"/>
                </a:cubicBezTo>
                <a:cubicBezTo>
                  <a:pt x="121" y="95"/>
                  <a:pt x="121" y="95"/>
                  <a:pt x="121" y="95"/>
                </a:cubicBezTo>
                <a:cubicBezTo>
                  <a:pt x="117" y="89"/>
                  <a:pt x="117" y="89"/>
                  <a:pt x="117" y="89"/>
                </a:cubicBezTo>
                <a:cubicBezTo>
                  <a:pt x="77" y="112"/>
                  <a:pt x="77" y="112"/>
                  <a:pt x="77" y="112"/>
                </a:cubicBezTo>
                <a:cubicBezTo>
                  <a:pt x="81" y="118"/>
                  <a:pt x="81" y="118"/>
                  <a:pt x="81" y="118"/>
                </a:cubicBezTo>
                <a:cubicBezTo>
                  <a:pt x="86" y="115"/>
                  <a:pt x="86" y="115"/>
                  <a:pt x="86" y="115"/>
                </a:cubicBezTo>
                <a:cubicBezTo>
                  <a:pt x="86" y="129"/>
                  <a:pt x="86" y="129"/>
                  <a:pt x="86" y="129"/>
                </a:cubicBezTo>
                <a:cubicBezTo>
                  <a:pt x="38" y="128"/>
                  <a:pt x="18" y="86"/>
                  <a:pt x="36" y="64"/>
                </a:cubicBezTo>
                <a:cubicBezTo>
                  <a:pt x="32" y="61"/>
                  <a:pt x="30" y="56"/>
                  <a:pt x="30" y="51"/>
                </a:cubicBezTo>
                <a:cubicBezTo>
                  <a:pt x="30" y="51"/>
                  <a:pt x="30" y="51"/>
                  <a:pt x="30" y="51"/>
                </a:cubicBezTo>
                <a:cubicBezTo>
                  <a:pt x="0" y="74"/>
                  <a:pt x="14" y="129"/>
                  <a:pt x="68" y="146"/>
                </a:cubicBezTo>
                <a:cubicBezTo>
                  <a:pt x="37" y="146"/>
                  <a:pt x="37" y="146"/>
                  <a:pt x="37" y="146"/>
                </a:cubicBezTo>
                <a:lnTo>
                  <a:pt x="28" y="158"/>
                </a:lnTo>
                <a:close/>
                <a:moveTo>
                  <a:pt x="36" y="16"/>
                </a:moveTo>
                <a:cubicBezTo>
                  <a:pt x="45" y="33"/>
                  <a:pt x="45" y="33"/>
                  <a:pt x="45" y="33"/>
                </a:cubicBezTo>
                <a:cubicBezTo>
                  <a:pt x="47" y="33"/>
                  <a:pt x="48" y="32"/>
                  <a:pt x="49" y="32"/>
                </a:cubicBezTo>
                <a:cubicBezTo>
                  <a:pt x="60" y="32"/>
                  <a:pt x="68" y="41"/>
                  <a:pt x="68" y="51"/>
                </a:cubicBezTo>
                <a:cubicBezTo>
                  <a:pt x="68" y="56"/>
                  <a:pt x="66" y="60"/>
                  <a:pt x="63" y="64"/>
                </a:cubicBezTo>
                <a:cubicBezTo>
                  <a:pt x="75" y="84"/>
                  <a:pt x="75" y="84"/>
                  <a:pt x="75" y="84"/>
                </a:cubicBezTo>
                <a:cubicBezTo>
                  <a:pt x="75" y="84"/>
                  <a:pt x="75" y="84"/>
                  <a:pt x="75" y="84"/>
                </a:cubicBezTo>
                <a:cubicBezTo>
                  <a:pt x="73" y="85"/>
                  <a:pt x="73" y="87"/>
                  <a:pt x="74" y="89"/>
                </a:cubicBezTo>
                <a:cubicBezTo>
                  <a:pt x="74" y="90"/>
                  <a:pt x="76" y="91"/>
                  <a:pt x="78" y="90"/>
                </a:cubicBezTo>
                <a:cubicBezTo>
                  <a:pt x="95" y="80"/>
                  <a:pt x="95" y="80"/>
                  <a:pt x="95" y="80"/>
                </a:cubicBezTo>
                <a:cubicBezTo>
                  <a:pt x="97" y="79"/>
                  <a:pt x="97" y="77"/>
                  <a:pt x="96" y="76"/>
                </a:cubicBezTo>
                <a:cubicBezTo>
                  <a:pt x="95" y="74"/>
                  <a:pt x="93" y="74"/>
                  <a:pt x="92" y="74"/>
                </a:cubicBezTo>
                <a:cubicBezTo>
                  <a:pt x="77" y="49"/>
                  <a:pt x="77" y="49"/>
                  <a:pt x="77" y="49"/>
                </a:cubicBezTo>
                <a:cubicBezTo>
                  <a:pt x="78" y="47"/>
                  <a:pt x="79" y="44"/>
                  <a:pt x="77" y="42"/>
                </a:cubicBezTo>
                <a:cubicBezTo>
                  <a:pt x="71" y="30"/>
                  <a:pt x="71" y="30"/>
                  <a:pt x="71" y="30"/>
                </a:cubicBezTo>
                <a:cubicBezTo>
                  <a:pt x="70" y="28"/>
                  <a:pt x="67" y="27"/>
                  <a:pt x="65" y="27"/>
                </a:cubicBezTo>
                <a:cubicBezTo>
                  <a:pt x="53" y="6"/>
                  <a:pt x="53" y="6"/>
                  <a:pt x="53" y="6"/>
                </a:cubicBezTo>
                <a:cubicBezTo>
                  <a:pt x="53" y="6"/>
                  <a:pt x="53" y="6"/>
                  <a:pt x="53" y="6"/>
                </a:cubicBezTo>
                <a:cubicBezTo>
                  <a:pt x="55" y="5"/>
                  <a:pt x="55" y="3"/>
                  <a:pt x="54" y="2"/>
                </a:cubicBezTo>
                <a:cubicBezTo>
                  <a:pt x="53" y="0"/>
                  <a:pt x="51" y="0"/>
                  <a:pt x="50" y="1"/>
                </a:cubicBezTo>
                <a:cubicBezTo>
                  <a:pt x="33" y="11"/>
                  <a:pt x="33" y="11"/>
                  <a:pt x="33" y="11"/>
                </a:cubicBezTo>
                <a:cubicBezTo>
                  <a:pt x="31" y="11"/>
                  <a:pt x="31" y="14"/>
                  <a:pt x="32" y="15"/>
                </a:cubicBezTo>
                <a:cubicBezTo>
                  <a:pt x="32" y="17"/>
                  <a:pt x="34" y="17"/>
                  <a:pt x="36" y="1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8" name="Freeform 79">
            <a:extLst>
              <a:ext uri="{FF2B5EF4-FFF2-40B4-BE49-F238E27FC236}">
                <a16:creationId xmlns:a16="http://schemas.microsoft.com/office/drawing/2014/main" id="{4FCD6623-4140-48BB-A907-160864A96298}"/>
              </a:ext>
            </a:extLst>
          </p:cNvPr>
          <p:cNvSpPr>
            <a:spLocks noEditPoints="1"/>
          </p:cNvSpPr>
          <p:nvPr/>
        </p:nvSpPr>
        <p:spPr bwMode="auto">
          <a:xfrm>
            <a:off x="5235244" y="3418543"/>
            <a:ext cx="504671" cy="458558"/>
          </a:xfrm>
          <a:custGeom>
            <a:avLst/>
            <a:gdLst>
              <a:gd name="T0" fmla="*/ 68 w 149"/>
              <a:gd name="T1" fmla="*/ 53 h 135"/>
              <a:gd name="T2" fmla="*/ 75 w 149"/>
              <a:gd name="T3" fmla="*/ 67 h 135"/>
              <a:gd name="T4" fmla="*/ 83 w 149"/>
              <a:gd name="T5" fmla="*/ 72 h 135"/>
              <a:gd name="T6" fmla="*/ 53 w 149"/>
              <a:gd name="T7" fmla="*/ 71 h 135"/>
              <a:gd name="T8" fmla="*/ 51 w 149"/>
              <a:gd name="T9" fmla="*/ 56 h 135"/>
              <a:gd name="T10" fmla="*/ 33 w 149"/>
              <a:gd name="T11" fmla="*/ 71 h 135"/>
              <a:gd name="T12" fmla="*/ 44 w 149"/>
              <a:gd name="T13" fmla="*/ 83 h 135"/>
              <a:gd name="T14" fmla="*/ 62 w 149"/>
              <a:gd name="T15" fmla="*/ 78 h 135"/>
              <a:gd name="T16" fmla="*/ 131 w 149"/>
              <a:gd name="T17" fmla="*/ 54 h 135"/>
              <a:gd name="T18" fmla="*/ 106 w 149"/>
              <a:gd name="T19" fmla="*/ 68 h 135"/>
              <a:gd name="T20" fmla="*/ 108 w 149"/>
              <a:gd name="T21" fmla="*/ 76 h 135"/>
              <a:gd name="T22" fmla="*/ 127 w 149"/>
              <a:gd name="T23" fmla="*/ 64 h 135"/>
              <a:gd name="T24" fmla="*/ 75 w 149"/>
              <a:gd name="T25" fmla="*/ 88 h 135"/>
              <a:gd name="T26" fmla="*/ 96 w 149"/>
              <a:gd name="T27" fmla="*/ 78 h 135"/>
              <a:gd name="T28" fmla="*/ 109 w 149"/>
              <a:gd name="T29" fmla="*/ 64 h 135"/>
              <a:gd name="T30" fmla="*/ 88 w 149"/>
              <a:gd name="T31" fmla="*/ 81 h 135"/>
              <a:gd name="T32" fmla="*/ 65 w 149"/>
              <a:gd name="T33" fmla="*/ 85 h 135"/>
              <a:gd name="T34" fmla="*/ 57 w 149"/>
              <a:gd name="T35" fmla="*/ 24 h 135"/>
              <a:gd name="T36" fmla="*/ 71 w 149"/>
              <a:gd name="T37" fmla="*/ 18 h 135"/>
              <a:gd name="T38" fmla="*/ 59 w 149"/>
              <a:gd name="T39" fmla="*/ 9 h 135"/>
              <a:gd name="T40" fmla="*/ 90 w 149"/>
              <a:gd name="T41" fmla="*/ 18 h 135"/>
              <a:gd name="T42" fmla="*/ 115 w 149"/>
              <a:gd name="T43" fmla="*/ 15 h 135"/>
              <a:gd name="T44" fmla="*/ 98 w 149"/>
              <a:gd name="T45" fmla="*/ 3 h 135"/>
              <a:gd name="T46" fmla="*/ 60 w 149"/>
              <a:gd name="T47" fmla="*/ 4 h 135"/>
              <a:gd name="T48" fmla="*/ 23 w 149"/>
              <a:gd name="T49" fmla="*/ 48 h 135"/>
              <a:gd name="T50" fmla="*/ 16 w 149"/>
              <a:gd name="T51" fmla="*/ 41 h 135"/>
              <a:gd name="T52" fmla="*/ 29 w 149"/>
              <a:gd name="T53" fmla="*/ 22 h 135"/>
              <a:gd name="T54" fmla="*/ 23 w 149"/>
              <a:gd name="T55" fmla="*/ 33 h 135"/>
              <a:gd name="T56" fmla="*/ 125 w 149"/>
              <a:gd name="T57" fmla="*/ 21 h 135"/>
              <a:gd name="T58" fmla="*/ 124 w 149"/>
              <a:gd name="T59" fmla="*/ 44 h 135"/>
              <a:gd name="T60" fmla="*/ 140 w 149"/>
              <a:gd name="T61" fmla="*/ 28 h 135"/>
              <a:gd name="T62" fmla="*/ 129 w 149"/>
              <a:gd name="T63" fmla="*/ 15 h 135"/>
              <a:gd name="T64" fmla="*/ 125 w 149"/>
              <a:gd name="T65" fmla="*/ 21 h 135"/>
              <a:gd name="T66" fmla="*/ 36 w 149"/>
              <a:gd name="T67" fmla="*/ 55 h 135"/>
              <a:gd name="T68" fmla="*/ 8 w 149"/>
              <a:gd name="T69" fmla="*/ 48 h 135"/>
              <a:gd name="T70" fmla="*/ 15 w 149"/>
              <a:gd name="T71" fmla="*/ 58 h 135"/>
              <a:gd name="T72" fmla="*/ 28 w 149"/>
              <a:gd name="T73" fmla="*/ 55 h 135"/>
              <a:gd name="T74" fmla="*/ 70 w 149"/>
              <a:gd name="T75" fmla="*/ 99 h 135"/>
              <a:gd name="T76" fmla="*/ 110 w 149"/>
              <a:gd name="T77" fmla="*/ 131 h 135"/>
              <a:gd name="T78" fmla="*/ 125 w 149"/>
              <a:gd name="T79" fmla="*/ 80 h 135"/>
              <a:gd name="T80" fmla="*/ 88 w 149"/>
              <a:gd name="T81" fmla="*/ 94 h 135"/>
              <a:gd name="T82" fmla="*/ 130 w 149"/>
              <a:gd name="T83" fmla="*/ 87 h 135"/>
              <a:gd name="T84" fmla="*/ 54 w 149"/>
              <a:gd name="T85" fmla="*/ 45 h 135"/>
              <a:gd name="T86" fmla="*/ 66 w 149"/>
              <a:gd name="T87" fmla="*/ 37 h 135"/>
              <a:gd name="T88" fmla="*/ 42 w 149"/>
              <a:gd name="T89" fmla="*/ 43 h 135"/>
              <a:gd name="T90" fmla="*/ 42 w 149"/>
              <a:gd name="T91" fmla="*/ 31 h 135"/>
              <a:gd name="T92" fmla="*/ 30 w 149"/>
              <a:gd name="T93" fmla="*/ 34 h 135"/>
              <a:gd name="T94" fmla="*/ 102 w 149"/>
              <a:gd name="T95" fmla="*/ 46 h 135"/>
              <a:gd name="T96" fmla="*/ 83 w 149"/>
              <a:gd name="T97" fmla="*/ 51 h 135"/>
              <a:gd name="T98" fmla="*/ 94 w 149"/>
              <a:gd name="T99" fmla="*/ 51 h 135"/>
              <a:gd name="T100" fmla="*/ 117 w 149"/>
              <a:gd name="T101" fmla="*/ 36 h 135"/>
              <a:gd name="T102" fmla="*/ 96 w 149"/>
              <a:gd name="T103" fmla="*/ 29 h 135"/>
              <a:gd name="T104" fmla="*/ 70 w 149"/>
              <a:gd name="T105" fmla="*/ 39 h 135"/>
              <a:gd name="T106" fmla="*/ 89 w 149"/>
              <a:gd name="T107" fmla="*/ 38 h 135"/>
              <a:gd name="T108" fmla="*/ 109 w 149"/>
              <a:gd name="T109" fmla="*/ 34 h 135"/>
              <a:gd name="T110" fmla="*/ 139 w 149"/>
              <a:gd name="T111" fmla="*/ 55 h 135"/>
              <a:gd name="T112" fmla="*/ 131 w 149"/>
              <a:gd name="T113" fmla="*/ 66 h 135"/>
              <a:gd name="T114" fmla="*/ 146 w 149"/>
              <a:gd name="T115" fmla="*/ 6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 h="135">
                <a:moveTo>
                  <a:pt x="83" y="72"/>
                </a:moveTo>
                <a:cubicBezTo>
                  <a:pt x="86" y="68"/>
                  <a:pt x="78" y="66"/>
                  <a:pt x="76" y="59"/>
                </a:cubicBezTo>
                <a:cubicBezTo>
                  <a:pt x="74" y="52"/>
                  <a:pt x="70" y="48"/>
                  <a:pt x="68" y="53"/>
                </a:cubicBezTo>
                <a:cubicBezTo>
                  <a:pt x="67" y="58"/>
                  <a:pt x="67" y="65"/>
                  <a:pt x="67" y="65"/>
                </a:cubicBezTo>
                <a:cubicBezTo>
                  <a:pt x="67" y="65"/>
                  <a:pt x="69" y="65"/>
                  <a:pt x="71" y="65"/>
                </a:cubicBezTo>
                <a:cubicBezTo>
                  <a:pt x="74" y="65"/>
                  <a:pt x="75" y="66"/>
                  <a:pt x="75" y="67"/>
                </a:cubicBezTo>
                <a:cubicBezTo>
                  <a:pt x="75" y="68"/>
                  <a:pt x="73" y="69"/>
                  <a:pt x="67" y="68"/>
                </a:cubicBezTo>
                <a:cubicBezTo>
                  <a:pt x="60" y="68"/>
                  <a:pt x="61" y="74"/>
                  <a:pt x="67" y="75"/>
                </a:cubicBezTo>
                <a:cubicBezTo>
                  <a:pt x="73" y="77"/>
                  <a:pt x="80" y="75"/>
                  <a:pt x="83" y="72"/>
                </a:cubicBezTo>
                <a:close/>
                <a:moveTo>
                  <a:pt x="47" y="72"/>
                </a:moveTo>
                <a:cubicBezTo>
                  <a:pt x="43" y="70"/>
                  <a:pt x="44" y="68"/>
                  <a:pt x="44" y="68"/>
                </a:cubicBezTo>
                <a:cubicBezTo>
                  <a:pt x="44" y="68"/>
                  <a:pt x="45" y="68"/>
                  <a:pt x="53" y="71"/>
                </a:cubicBezTo>
                <a:cubicBezTo>
                  <a:pt x="60" y="73"/>
                  <a:pt x="62" y="67"/>
                  <a:pt x="64" y="62"/>
                </a:cubicBezTo>
                <a:cubicBezTo>
                  <a:pt x="66" y="57"/>
                  <a:pt x="65" y="53"/>
                  <a:pt x="61" y="52"/>
                </a:cubicBezTo>
                <a:cubicBezTo>
                  <a:pt x="57" y="50"/>
                  <a:pt x="51" y="52"/>
                  <a:pt x="51" y="56"/>
                </a:cubicBezTo>
                <a:cubicBezTo>
                  <a:pt x="51" y="60"/>
                  <a:pt x="54" y="60"/>
                  <a:pt x="55" y="62"/>
                </a:cubicBezTo>
                <a:cubicBezTo>
                  <a:pt x="51" y="63"/>
                  <a:pt x="47" y="57"/>
                  <a:pt x="42" y="59"/>
                </a:cubicBezTo>
                <a:cubicBezTo>
                  <a:pt x="37" y="60"/>
                  <a:pt x="35" y="64"/>
                  <a:pt x="33" y="71"/>
                </a:cubicBezTo>
                <a:cubicBezTo>
                  <a:pt x="32" y="79"/>
                  <a:pt x="36" y="79"/>
                  <a:pt x="42" y="79"/>
                </a:cubicBezTo>
                <a:cubicBezTo>
                  <a:pt x="47" y="79"/>
                  <a:pt x="49" y="81"/>
                  <a:pt x="53" y="83"/>
                </a:cubicBezTo>
                <a:cubicBezTo>
                  <a:pt x="51" y="84"/>
                  <a:pt x="46" y="83"/>
                  <a:pt x="44" y="83"/>
                </a:cubicBezTo>
                <a:cubicBezTo>
                  <a:pt x="43" y="82"/>
                  <a:pt x="35" y="78"/>
                  <a:pt x="39" y="85"/>
                </a:cubicBezTo>
                <a:cubicBezTo>
                  <a:pt x="43" y="91"/>
                  <a:pt x="52" y="94"/>
                  <a:pt x="57" y="93"/>
                </a:cubicBezTo>
                <a:cubicBezTo>
                  <a:pt x="61" y="92"/>
                  <a:pt x="65" y="83"/>
                  <a:pt x="62" y="78"/>
                </a:cubicBezTo>
                <a:cubicBezTo>
                  <a:pt x="59" y="72"/>
                  <a:pt x="51" y="74"/>
                  <a:pt x="47" y="72"/>
                </a:cubicBezTo>
                <a:close/>
                <a:moveTo>
                  <a:pt x="126" y="59"/>
                </a:moveTo>
                <a:cubicBezTo>
                  <a:pt x="131" y="61"/>
                  <a:pt x="137" y="57"/>
                  <a:pt x="131" y="54"/>
                </a:cubicBezTo>
                <a:cubicBezTo>
                  <a:pt x="125" y="50"/>
                  <a:pt x="117" y="51"/>
                  <a:pt x="114" y="55"/>
                </a:cubicBezTo>
                <a:cubicBezTo>
                  <a:pt x="111" y="58"/>
                  <a:pt x="113" y="64"/>
                  <a:pt x="120" y="68"/>
                </a:cubicBezTo>
                <a:cubicBezTo>
                  <a:pt x="117" y="67"/>
                  <a:pt x="111" y="67"/>
                  <a:pt x="106" y="68"/>
                </a:cubicBezTo>
                <a:cubicBezTo>
                  <a:pt x="101" y="69"/>
                  <a:pt x="100" y="71"/>
                  <a:pt x="100" y="77"/>
                </a:cubicBezTo>
                <a:cubicBezTo>
                  <a:pt x="99" y="82"/>
                  <a:pt x="98" y="83"/>
                  <a:pt x="102" y="83"/>
                </a:cubicBezTo>
                <a:cubicBezTo>
                  <a:pt x="106" y="84"/>
                  <a:pt x="108" y="80"/>
                  <a:pt x="108" y="76"/>
                </a:cubicBezTo>
                <a:cubicBezTo>
                  <a:pt x="107" y="73"/>
                  <a:pt x="107" y="70"/>
                  <a:pt x="110" y="75"/>
                </a:cubicBezTo>
                <a:cubicBezTo>
                  <a:pt x="113" y="80"/>
                  <a:pt x="116" y="80"/>
                  <a:pt x="121" y="79"/>
                </a:cubicBezTo>
                <a:cubicBezTo>
                  <a:pt x="126" y="77"/>
                  <a:pt x="128" y="70"/>
                  <a:pt x="127" y="64"/>
                </a:cubicBezTo>
                <a:cubicBezTo>
                  <a:pt x="126" y="59"/>
                  <a:pt x="119" y="58"/>
                  <a:pt x="119" y="58"/>
                </a:cubicBezTo>
                <a:cubicBezTo>
                  <a:pt x="119" y="58"/>
                  <a:pt x="121" y="57"/>
                  <a:pt x="126" y="59"/>
                </a:cubicBezTo>
                <a:close/>
                <a:moveTo>
                  <a:pt x="75" y="88"/>
                </a:moveTo>
                <a:cubicBezTo>
                  <a:pt x="75" y="84"/>
                  <a:pt x="76" y="81"/>
                  <a:pt x="76" y="83"/>
                </a:cubicBezTo>
                <a:cubicBezTo>
                  <a:pt x="77" y="86"/>
                  <a:pt x="78" y="92"/>
                  <a:pt x="86" y="90"/>
                </a:cubicBezTo>
                <a:cubicBezTo>
                  <a:pt x="95" y="88"/>
                  <a:pt x="98" y="85"/>
                  <a:pt x="96" y="78"/>
                </a:cubicBezTo>
                <a:cubicBezTo>
                  <a:pt x="95" y="70"/>
                  <a:pt x="91" y="68"/>
                  <a:pt x="89" y="67"/>
                </a:cubicBezTo>
                <a:cubicBezTo>
                  <a:pt x="88" y="65"/>
                  <a:pt x="91" y="65"/>
                  <a:pt x="95" y="66"/>
                </a:cubicBezTo>
                <a:cubicBezTo>
                  <a:pt x="99" y="67"/>
                  <a:pt x="106" y="67"/>
                  <a:pt x="109" y="64"/>
                </a:cubicBezTo>
                <a:cubicBezTo>
                  <a:pt x="112" y="61"/>
                  <a:pt x="110" y="56"/>
                  <a:pt x="101" y="58"/>
                </a:cubicBezTo>
                <a:cubicBezTo>
                  <a:pt x="91" y="60"/>
                  <a:pt x="84" y="63"/>
                  <a:pt x="84" y="66"/>
                </a:cubicBezTo>
                <a:cubicBezTo>
                  <a:pt x="84" y="69"/>
                  <a:pt x="87" y="77"/>
                  <a:pt x="88" y="81"/>
                </a:cubicBezTo>
                <a:cubicBezTo>
                  <a:pt x="89" y="85"/>
                  <a:pt x="87" y="82"/>
                  <a:pt x="85" y="79"/>
                </a:cubicBezTo>
                <a:cubicBezTo>
                  <a:pt x="84" y="76"/>
                  <a:pt x="78" y="76"/>
                  <a:pt x="74" y="78"/>
                </a:cubicBezTo>
                <a:cubicBezTo>
                  <a:pt x="69" y="79"/>
                  <a:pt x="67" y="81"/>
                  <a:pt x="65" y="85"/>
                </a:cubicBezTo>
                <a:cubicBezTo>
                  <a:pt x="64" y="90"/>
                  <a:pt x="61" y="96"/>
                  <a:pt x="68" y="96"/>
                </a:cubicBezTo>
                <a:cubicBezTo>
                  <a:pt x="75" y="97"/>
                  <a:pt x="75" y="92"/>
                  <a:pt x="75" y="88"/>
                </a:cubicBezTo>
                <a:close/>
                <a:moveTo>
                  <a:pt x="57" y="24"/>
                </a:moveTo>
                <a:cubicBezTo>
                  <a:pt x="62" y="25"/>
                  <a:pt x="66" y="27"/>
                  <a:pt x="68" y="30"/>
                </a:cubicBezTo>
                <a:cubicBezTo>
                  <a:pt x="71" y="32"/>
                  <a:pt x="75" y="32"/>
                  <a:pt x="77" y="27"/>
                </a:cubicBezTo>
                <a:cubicBezTo>
                  <a:pt x="79" y="22"/>
                  <a:pt x="77" y="19"/>
                  <a:pt x="71" y="18"/>
                </a:cubicBezTo>
                <a:cubicBezTo>
                  <a:pt x="65" y="18"/>
                  <a:pt x="61" y="20"/>
                  <a:pt x="59" y="21"/>
                </a:cubicBezTo>
                <a:cubicBezTo>
                  <a:pt x="57" y="22"/>
                  <a:pt x="60" y="20"/>
                  <a:pt x="60" y="16"/>
                </a:cubicBezTo>
                <a:cubicBezTo>
                  <a:pt x="60" y="12"/>
                  <a:pt x="59" y="11"/>
                  <a:pt x="59" y="9"/>
                </a:cubicBezTo>
                <a:cubicBezTo>
                  <a:pt x="58" y="6"/>
                  <a:pt x="61" y="13"/>
                  <a:pt x="66" y="15"/>
                </a:cubicBezTo>
                <a:cubicBezTo>
                  <a:pt x="71" y="16"/>
                  <a:pt x="72" y="15"/>
                  <a:pt x="75" y="17"/>
                </a:cubicBezTo>
                <a:cubicBezTo>
                  <a:pt x="79" y="19"/>
                  <a:pt x="85" y="24"/>
                  <a:pt x="90" y="18"/>
                </a:cubicBezTo>
                <a:cubicBezTo>
                  <a:pt x="94" y="11"/>
                  <a:pt x="94" y="9"/>
                  <a:pt x="94" y="13"/>
                </a:cubicBezTo>
                <a:cubicBezTo>
                  <a:pt x="94" y="17"/>
                  <a:pt x="92" y="20"/>
                  <a:pt x="101" y="20"/>
                </a:cubicBezTo>
                <a:cubicBezTo>
                  <a:pt x="109" y="20"/>
                  <a:pt x="113" y="20"/>
                  <a:pt x="115" y="15"/>
                </a:cubicBezTo>
                <a:cubicBezTo>
                  <a:pt x="118" y="10"/>
                  <a:pt x="111" y="7"/>
                  <a:pt x="108" y="11"/>
                </a:cubicBezTo>
                <a:cubicBezTo>
                  <a:pt x="104" y="14"/>
                  <a:pt x="103" y="14"/>
                  <a:pt x="105" y="11"/>
                </a:cubicBezTo>
                <a:cubicBezTo>
                  <a:pt x="107" y="7"/>
                  <a:pt x="106" y="4"/>
                  <a:pt x="98" y="3"/>
                </a:cubicBezTo>
                <a:cubicBezTo>
                  <a:pt x="89" y="3"/>
                  <a:pt x="83" y="3"/>
                  <a:pt x="84" y="11"/>
                </a:cubicBezTo>
                <a:cubicBezTo>
                  <a:pt x="84" y="19"/>
                  <a:pt x="82" y="13"/>
                  <a:pt x="81" y="8"/>
                </a:cubicBezTo>
                <a:cubicBezTo>
                  <a:pt x="79" y="3"/>
                  <a:pt x="71" y="0"/>
                  <a:pt x="60" y="4"/>
                </a:cubicBezTo>
                <a:cubicBezTo>
                  <a:pt x="49" y="8"/>
                  <a:pt x="46" y="11"/>
                  <a:pt x="48" y="18"/>
                </a:cubicBezTo>
                <a:cubicBezTo>
                  <a:pt x="50" y="25"/>
                  <a:pt x="52" y="24"/>
                  <a:pt x="57" y="24"/>
                </a:cubicBezTo>
                <a:close/>
                <a:moveTo>
                  <a:pt x="23" y="48"/>
                </a:moveTo>
                <a:cubicBezTo>
                  <a:pt x="25" y="48"/>
                  <a:pt x="29" y="46"/>
                  <a:pt x="28" y="42"/>
                </a:cubicBezTo>
                <a:cubicBezTo>
                  <a:pt x="27" y="38"/>
                  <a:pt x="23" y="42"/>
                  <a:pt x="20" y="42"/>
                </a:cubicBezTo>
                <a:cubicBezTo>
                  <a:pt x="18" y="43"/>
                  <a:pt x="16" y="41"/>
                  <a:pt x="16" y="41"/>
                </a:cubicBezTo>
                <a:cubicBezTo>
                  <a:pt x="16" y="41"/>
                  <a:pt x="24" y="41"/>
                  <a:pt x="27" y="35"/>
                </a:cubicBezTo>
                <a:cubicBezTo>
                  <a:pt x="31" y="28"/>
                  <a:pt x="22" y="24"/>
                  <a:pt x="22" y="24"/>
                </a:cubicBezTo>
                <a:cubicBezTo>
                  <a:pt x="22" y="24"/>
                  <a:pt x="26" y="25"/>
                  <a:pt x="29" y="22"/>
                </a:cubicBezTo>
                <a:cubicBezTo>
                  <a:pt x="32" y="19"/>
                  <a:pt x="28" y="15"/>
                  <a:pt x="21" y="19"/>
                </a:cubicBezTo>
                <a:cubicBezTo>
                  <a:pt x="14" y="24"/>
                  <a:pt x="15" y="28"/>
                  <a:pt x="19" y="30"/>
                </a:cubicBezTo>
                <a:cubicBezTo>
                  <a:pt x="22" y="32"/>
                  <a:pt x="23" y="33"/>
                  <a:pt x="23" y="33"/>
                </a:cubicBezTo>
                <a:cubicBezTo>
                  <a:pt x="23" y="33"/>
                  <a:pt x="10" y="27"/>
                  <a:pt x="9" y="38"/>
                </a:cubicBezTo>
                <a:cubicBezTo>
                  <a:pt x="8" y="48"/>
                  <a:pt x="21" y="49"/>
                  <a:pt x="23" y="48"/>
                </a:cubicBezTo>
                <a:close/>
                <a:moveTo>
                  <a:pt x="125" y="21"/>
                </a:moveTo>
                <a:cubicBezTo>
                  <a:pt x="123" y="24"/>
                  <a:pt x="120" y="33"/>
                  <a:pt x="123" y="37"/>
                </a:cubicBezTo>
                <a:cubicBezTo>
                  <a:pt x="125" y="40"/>
                  <a:pt x="133" y="41"/>
                  <a:pt x="135" y="42"/>
                </a:cubicBezTo>
                <a:cubicBezTo>
                  <a:pt x="137" y="43"/>
                  <a:pt x="128" y="43"/>
                  <a:pt x="124" y="44"/>
                </a:cubicBezTo>
                <a:cubicBezTo>
                  <a:pt x="120" y="45"/>
                  <a:pt x="119" y="48"/>
                  <a:pt x="126" y="49"/>
                </a:cubicBezTo>
                <a:cubicBezTo>
                  <a:pt x="134" y="51"/>
                  <a:pt x="141" y="54"/>
                  <a:pt x="144" y="48"/>
                </a:cubicBezTo>
                <a:cubicBezTo>
                  <a:pt x="148" y="41"/>
                  <a:pt x="143" y="32"/>
                  <a:pt x="140" y="28"/>
                </a:cubicBezTo>
                <a:cubicBezTo>
                  <a:pt x="137" y="24"/>
                  <a:pt x="133" y="29"/>
                  <a:pt x="132" y="33"/>
                </a:cubicBezTo>
                <a:cubicBezTo>
                  <a:pt x="131" y="30"/>
                  <a:pt x="132" y="29"/>
                  <a:pt x="134" y="25"/>
                </a:cubicBezTo>
                <a:cubicBezTo>
                  <a:pt x="136" y="20"/>
                  <a:pt x="134" y="19"/>
                  <a:pt x="129" y="15"/>
                </a:cubicBezTo>
                <a:cubicBezTo>
                  <a:pt x="124" y="12"/>
                  <a:pt x="121" y="14"/>
                  <a:pt x="120" y="14"/>
                </a:cubicBezTo>
                <a:cubicBezTo>
                  <a:pt x="116" y="16"/>
                  <a:pt x="115" y="22"/>
                  <a:pt x="118" y="24"/>
                </a:cubicBezTo>
                <a:cubicBezTo>
                  <a:pt x="121" y="26"/>
                  <a:pt x="123" y="21"/>
                  <a:pt x="125" y="21"/>
                </a:cubicBezTo>
                <a:close/>
                <a:moveTo>
                  <a:pt x="28" y="55"/>
                </a:moveTo>
                <a:cubicBezTo>
                  <a:pt x="28" y="55"/>
                  <a:pt x="29" y="54"/>
                  <a:pt x="32" y="56"/>
                </a:cubicBezTo>
                <a:cubicBezTo>
                  <a:pt x="34" y="59"/>
                  <a:pt x="37" y="61"/>
                  <a:pt x="36" y="55"/>
                </a:cubicBezTo>
                <a:cubicBezTo>
                  <a:pt x="36" y="50"/>
                  <a:pt x="30" y="48"/>
                  <a:pt x="26" y="49"/>
                </a:cubicBezTo>
                <a:cubicBezTo>
                  <a:pt x="22" y="50"/>
                  <a:pt x="21" y="54"/>
                  <a:pt x="23" y="61"/>
                </a:cubicBezTo>
                <a:cubicBezTo>
                  <a:pt x="21" y="57"/>
                  <a:pt x="16" y="46"/>
                  <a:pt x="8" y="48"/>
                </a:cubicBezTo>
                <a:cubicBezTo>
                  <a:pt x="0" y="49"/>
                  <a:pt x="4" y="62"/>
                  <a:pt x="8" y="64"/>
                </a:cubicBezTo>
                <a:cubicBezTo>
                  <a:pt x="12" y="65"/>
                  <a:pt x="11" y="63"/>
                  <a:pt x="13" y="59"/>
                </a:cubicBezTo>
                <a:cubicBezTo>
                  <a:pt x="14" y="56"/>
                  <a:pt x="15" y="58"/>
                  <a:pt x="15" y="58"/>
                </a:cubicBezTo>
                <a:cubicBezTo>
                  <a:pt x="15" y="58"/>
                  <a:pt x="12" y="62"/>
                  <a:pt x="15" y="66"/>
                </a:cubicBezTo>
                <a:cubicBezTo>
                  <a:pt x="19" y="70"/>
                  <a:pt x="28" y="71"/>
                  <a:pt x="31" y="65"/>
                </a:cubicBezTo>
                <a:cubicBezTo>
                  <a:pt x="35" y="59"/>
                  <a:pt x="28" y="55"/>
                  <a:pt x="28" y="55"/>
                </a:cubicBezTo>
                <a:close/>
                <a:moveTo>
                  <a:pt x="83" y="103"/>
                </a:moveTo>
                <a:cubicBezTo>
                  <a:pt x="80" y="100"/>
                  <a:pt x="79" y="97"/>
                  <a:pt x="77" y="98"/>
                </a:cubicBezTo>
                <a:cubicBezTo>
                  <a:pt x="75" y="99"/>
                  <a:pt x="70" y="99"/>
                  <a:pt x="70" y="99"/>
                </a:cubicBezTo>
                <a:cubicBezTo>
                  <a:pt x="70" y="99"/>
                  <a:pt x="81" y="108"/>
                  <a:pt x="85" y="113"/>
                </a:cubicBezTo>
                <a:cubicBezTo>
                  <a:pt x="88" y="118"/>
                  <a:pt x="94" y="134"/>
                  <a:pt x="94" y="134"/>
                </a:cubicBezTo>
                <a:cubicBezTo>
                  <a:pt x="94" y="134"/>
                  <a:pt x="107" y="135"/>
                  <a:pt x="110" y="131"/>
                </a:cubicBezTo>
                <a:cubicBezTo>
                  <a:pt x="103" y="125"/>
                  <a:pt x="101" y="113"/>
                  <a:pt x="98" y="109"/>
                </a:cubicBezTo>
                <a:cubicBezTo>
                  <a:pt x="94" y="109"/>
                  <a:pt x="86" y="106"/>
                  <a:pt x="83" y="103"/>
                </a:cubicBezTo>
                <a:close/>
                <a:moveTo>
                  <a:pt x="125" y="80"/>
                </a:moveTo>
                <a:cubicBezTo>
                  <a:pt x="121" y="82"/>
                  <a:pt x="115" y="86"/>
                  <a:pt x="109" y="87"/>
                </a:cubicBezTo>
                <a:cubicBezTo>
                  <a:pt x="104" y="87"/>
                  <a:pt x="102" y="87"/>
                  <a:pt x="100" y="89"/>
                </a:cubicBezTo>
                <a:cubicBezTo>
                  <a:pt x="98" y="90"/>
                  <a:pt x="95" y="93"/>
                  <a:pt x="88" y="94"/>
                </a:cubicBezTo>
                <a:cubicBezTo>
                  <a:pt x="82" y="95"/>
                  <a:pt x="80" y="96"/>
                  <a:pt x="83" y="99"/>
                </a:cubicBezTo>
                <a:cubicBezTo>
                  <a:pt x="86" y="102"/>
                  <a:pt x="91" y="106"/>
                  <a:pt x="102" y="106"/>
                </a:cubicBezTo>
                <a:cubicBezTo>
                  <a:pt x="112" y="106"/>
                  <a:pt x="125" y="96"/>
                  <a:pt x="130" y="87"/>
                </a:cubicBezTo>
                <a:cubicBezTo>
                  <a:pt x="136" y="79"/>
                  <a:pt x="129" y="79"/>
                  <a:pt x="125" y="80"/>
                </a:cubicBezTo>
                <a:close/>
                <a:moveTo>
                  <a:pt x="43" y="52"/>
                </a:moveTo>
                <a:cubicBezTo>
                  <a:pt x="50" y="53"/>
                  <a:pt x="54" y="49"/>
                  <a:pt x="54" y="45"/>
                </a:cubicBezTo>
                <a:cubicBezTo>
                  <a:pt x="54" y="41"/>
                  <a:pt x="51" y="36"/>
                  <a:pt x="51" y="36"/>
                </a:cubicBezTo>
                <a:cubicBezTo>
                  <a:pt x="51" y="36"/>
                  <a:pt x="58" y="47"/>
                  <a:pt x="61" y="47"/>
                </a:cubicBezTo>
                <a:cubicBezTo>
                  <a:pt x="65" y="48"/>
                  <a:pt x="68" y="45"/>
                  <a:pt x="66" y="37"/>
                </a:cubicBezTo>
                <a:cubicBezTo>
                  <a:pt x="65" y="29"/>
                  <a:pt x="60" y="25"/>
                  <a:pt x="52" y="28"/>
                </a:cubicBezTo>
                <a:cubicBezTo>
                  <a:pt x="44" y="31"/>
                  <a:pt x="39" y="35"/>
                  <a:pt x="40" y="38"/>
                </a:cubicBezTo>
                <a:cubicBezTo>
                  <a:pt x="41" y="40"/>
                  <a:pt x="42" y="43"/>
                  <a:pt x="42" y="43"/>
                </a:cubicBezTo>
                <a:cubicBezTo>
                  <a:pt x="42" y="43"/>
                  <a:pt x="39" y="43"/>
                  <a:pt x="37" y="39"/>
                </a:cubicBezTo>
                <a:cubicBezTo>
                  <a:pt x="35" y="34"/>
                  <a:pt x="37" y="25"/>
                  <a:pt x="37" y="25"/>
                </a:cubicBezTo>
                <a:cubicBezTo>
                  <a:pt x="37" y="25"/>
                  <a:pt x="37" y="32"/>
                  <a:pt x="42" y="31"/>
                </a:cubicBezTo>
                <a:cubicBezTo>
                  <a:pt x="47" y="31"/>
                  <a:pt x="47" y="23"/>
                  <a:pt x="45" y="17"/>
                </a:cubicBezTo>
                <a:cubicBezTo>
                  <a:pt x="44" y="10"/>
                  <a:pt x="42" y="8"/>
                  <a:pt x="38" y="11"/>
                </a:cubicBezTo>
                <a:cubicBezTo>
                  <a:pt x="34" y="14"/>
                  <a:pt x="29" y="21"/>
                  <a:pt x="30" y="34"/>
                </a:cubicBezTo>
                <a:cubicBezTo>
                  <a:pt x="30" y="47"/>
                  <a:pt x="35" y="52"/>
                  <a:pt x="43" y="52"/>
                </a:cubicBezTo>
                <a:close/>
                <a:moveTo>
                  <a:pt x="108" y="40"/>
                </a:moveTo>
                <a:cubicBezTo>
                  <a:pt x="104" y="40"/>
                  <a:pt x="102" y="42"/>
                  <a:pt x="102" y="46"/>
                </a:cubicBezTo>
                <a:cubicBezTo>
                  <a:pt x="102" y="51"/>
                  <a:pt x="102" y="45"/>
                  <a:pt x="98" y="44"/>
                </a:cubicBezTo>
                <a:cubicBezTo>
                  <a:pt x="94" y="43"/>
                  <a:pt x="88" y="44"/>
                  <a:pt x="87" y="48"/>
                </a:cubicBezTo>
                <a:cubicBezTo>
                  <a:pt x="86" y="53"/>
                  <a:pt x="86" y="56"/>
                  <a:pt x="83" y="51"/>
                </a:cubicBezTo>
                <a:cubicBezTo>
                  <a:pt x="81" y="45"/>
                  <a:pt x="75" y="46"/>
                  <a:pt x="76" y="52"/>
                </a:cubicBezTo>
                <a:cubicBezTo>
                  <a:pt x="78" y="58"/>
                  <a:pt x="79" y="63"/>
                  <a:pt x="84" y="61"/>
                </a:cubicBezTo>
                <a:cubicBezTo>
                  <a:pt x="90" y="60"/>
                  <a:pt x="93" y="58"/>
                  <a:pt x="94" y="51"/>
                </a:cubicBezTo>
                <a:cubicBezTo>
                  <a:pt x="95" y="44"/>
                  <a:pt x="95" y="54"/>
                  <a:pt x="99" y="54"/>
                </a:cubicBezTo>
                <a:cubicBezTo>
                  <a:pt x="104" y="54"/>
                  <a:pt x="113" y="55"/>
                  <a:pt x="116" y="48"/>
                </a:cubicBezTo>
                <a:cubicBezTo>
                  <a:pt x="120" y="41"/>
                  <a:pt x="120" y="39"/>
                  <a:pt x="117" y="36"/>
                </a:cubicBezTo>
                <a:cubicBezTo>
                  <a:pt x="114" y="33"/>
                  <a:pt x="118" y="35"/>
                  <a:pt x="119" y="33"/>
                </a:cubicBezTo>
                <a:cubicBezTo>
                  <a:pt x="121" y="31"/>
                  <a:pt x="120" y="26"/>
                  <a:pt x="114" y="23"/>
                </a:cubicBezTo>
                <a:cubicBezTo>
                  <a:pt x="109" y="21"/>
                  <a:pt x="99" y="24"/>
                  <a:pt x="96" y="29"/>
                </a:cubicBezTo>
                <a:cubicBezTo>
                  <a:pt x="93" y="34"/>
                  <a:pt x="98" y="19"/>
                  <a:pt x="88" y="22"/>
                </a:cubicBezTo>
                <a:cubicBezTo>
                  <a:pt x="77" y="26"/>
                  <a:pt x="80" y="31"/>
                  <a:pt x="76" y="33"/>
                </a:cubicBezTo>
                <a:cubicBezTo>
                  <a:pt x="72" y="35"/>
                  <a:pt x="69" y="35"/>
                  <a:pt x="70" y="39"/>
                </a:cubicBezTo>
                <a:cubicBezTo>
                  <a:pt x="71" y="44"/>
                  <a:pt x="74" y="44"/>
                  <a:pt x="78" y="43"/>
                </a:cubicBezTo>
                <a:cubicBezTo>
                  <a:pt x="83" y="42"/>
                  <a:pt x="86" y="40"/>
                  <a:pt x="87" y="34"/>
                </a:cubicBezTo>
                <a:cubicBezTo>
                  <a:pt x="88" y="28"/>
                  <a:pt x="88" y="35"/>
                  <a:pt x="89" y="38"/>
                </a:cubicBezTo>
                <a:cubicBezTo>
                  <a:pt x="91" y="41"/>
                  <a:pt x="98" y="43"/>
                  <a:pt x="102" y="39"/>
                </a:cubicBezTo>
                <a:cubicBezTo>
                  <a:pt x="106" y="35"/>
                  <a:pt x="106" y="31"/>
                  <a:pt x="107" y="30"/>
                </a:cubicBezTo>
                <a:cubicBezTo>
                  <a:pt x="108" y="28"/>
                  <a:pt x="108" y="30"/>
                  <a:pt x="109" y="34"/>
                </a:cubicBezTo>
                <a:cubicBezTo>
                  <a:pt x="109" y="37"/>
                  <a:pt x="110" y="38"/>
                  <a:pt x="112" y="40"/>
                </a:cubicBezTo>
                <a:cubicBezTo>
                  <a:pt x="115" y="41"/>
                  <a:pt x="112" y="40"/>
                  <a:pt x="108" y="40"/>
                </a:cubicBezTo>
                <a:close/>
                <a:moveTo>
                  <a:pt x="139" y="55"/>
                </a:moveTo>
                <a:cubicBezTo>
                  <a:pt x="135" y="56"/>
                  <a:pt x="134" y="58"/>
                  <a:pt x="134" y="61"/>
                </a:cubicBezTo>
                <a:cubicBezTo>
                  <a:pt x="133" y="65"/>
                  <a:pt x="139" y="65"/>
                  <a:pt x="139" y="65"/>
                </a:cubicBezTo>
                <a:cubicBezTo>
                  <a:pt x="139" y="65"/>
                  <a:pt x="133" y="65"/>
                  <a:pt x="131" y="66"/>
                </a:cubicBezTo>
                <a:cubicBezTo>
                  <a:pt x="129" y="67"/>
                  <a:pt x="129" y="71"/>
                  <a:pt x="128" y="74"/>
                </a:cubicBezTo>
                <a:cubicBezTo>
                  <a:pt x="128" y="78"/>
                  <a:pt x="131" y="76"/>
                  <a:pt x="135" y="75"/>
                </a:cubicBezTo>
                <a:cubicBezTo>
                  <a:pt x="139" y="74"/>
                  <a:pt x="142" y="67"/>
                  <a:pt x="146" y="61"/>
                </a:cubicBezTo>
                <a:cubicBezTo>
                  <a:pt x="149" y="55"/>
                  <a:pt x="144" y="53"/>
                  <a:pt x="139" y="5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9" name="Freeform 80">
            <a:extLst>
              <a:ext uri="{FF2B5EF4-FFF2-40B4-BE49-F238E27FC236}">
                <a16:creationId xmlns:a16="http://schemas.microsoft.com/office/drawing/2014/main" id="{14327F16-B7DE-470F-A80D-0EB5AC3E1B5B}"/>
              </a:ext>
            </a:extLst>
          </p:cNvPr>
          <p:cNvSpPr>
            <a:spLocks noEditPoints="1"/>
          </p:cNvSpPr>
          <p:nvPr/>
        </p:nvSpPr>
        <p:spPr bwMode="auto">
          <a:xfrm>
            <a:off x="6475143" y="3405735"/>
            <a:ext cx="279234" cy="445749"/>
          </a:xfrm>
          <a:custGeom>
            <a:avLst/>
            <a:gdLst>
              <a:gd name="T0" fmla="*/ 59 w 82"/>
              <a:gd name="T1" fmla="*/ 72 h 132"/>
              <a:gd name="T2" fmla="*/ 52 w 82"/>
              <a:gd name="T3" fmla="*/ 77 h 132"/>
              <a:gd name="T4" fmla="*/ 48 w 82"/>
              <a:gd name="T5" fmla="*/ 80 h 132"/>
              <a:gd name="T6" fmla="*/ 58 w 82"/>
              <a:gd name="T7" fmla="*/ 99 h 132"/>
              <a:gd name="T8" fmla="*/ 54 w 82"/>
              <a:gd name="T9" fmla="*/ 115 h 132"/>
              <a:gd name="T10" fmla="*/ 66 w 82"/>
              <a:gd name="T11" fmla="*/ 132 h 132"/>
              <a:gd name="T12" fmla="*/ 82 w 82"/>
              <a:gd name="T13" fmla="*/ 111 h 132"/>
              <a:gd name="T14" fmla="*/ 59 w 82"/>
              <a:gd name="T15" fmla="*/ 72 h 132"/>
              <a:gd name="T16" fmla="*/ 82 w 82"/>
              <a:gd name="T17" fmla="*/ 21 h 132"/>
              <a:gd name="T18" fmla="*/ 66 w 82"/>
              <a:gd name="T19" fmla="*/ 0 h 132"/>
              <a:gd name="T20" fmla="*/ 54 w 82"/>
              <a:gd name="T21" fmla="*/ 17 h 132"/>
              <a:gd name="T22" fmla="*/ 58 w 82"/>
              <a:gd name="T23" fmla="*/ 33 h 132"/>
              <a:gd name="T24" fmla="*/ 37 w 82"/>
              <a:gd name="T25" fmla="*/ 62 h 132"/>
              <a:gd name="T26" fmla="*/ 0 w 82"/>
              <a:gd name="T27" fmla="*/ 111 h 132"/>
              <a:gd name="T28" fmla="*/ 17 w 82"/>
              <a:gd name="T29" fmla="*/ 132 h 132"/>
              <a:gd name="T30" fmla="*/ 29 w 82"/>
              <a:gd name="T31" fmla="*/ 115 h 132"/>
              <a:gd name="T32" fmla="*/ 25 w 82"/>
              <a:gd name="T33" fmla="*/ 99 h 132"/>
              <a:gd name="T34" fmla="*/ 45 w 82"/>
              <a:gd name="T35" fmla="*/ 70 h 132"/>
              <a:gd name="T36" fmla="*/ 82 w 82"/>
              <a:gd name="T37" fmla="*/ 21 h 132"/>
              <a:gd name="T38" fmla="*/ 23 w 82"/>
              <a:gd name="T39" fmla="*/ 60 h 132"/>
              <a:gd name="T40" fmla="*/ 31 w 82"/>
              <a:gd name="T41" fmla="*/ 55 h 132"/>
              <a:gd name="T42" fmla="*/ 34 w 82"/>
              <a:gd name="T43" fmla="*/ 52 h 132"/>
              <a:gd name="T44" fmla="*/ 25 w 82"/>
              <a:gd name="T45" fmla="*/ 33 h 132"/>
              <a:gd name="T46" fmla="*/ 29 w 82"/>
              <a:gd name="T47" fmla="*/ 17 h 132"/>
              <a:gd name="T48" fmla="*/ 17 w 82"/>
              <a:gd name="T49" fmla="*/ 0 h 132"/>
              <a:gd name="T50" fmla="*/ 0 w 82"/>
              <a:gd name="T51" fmla="*/ 21 h 132"/>
              <a:gd name="T52" fmla="*/ 23 w 82"/>
              <a:gd name="T53" fmla="*/ 6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32">
                <a:moveTo>
                  <a:pt x="59" y="72"/>
                </a:moveTo>
                <a:cubicBezTo>
                  <a:pt x="57" y="74"/>
                  <a:pt x="54" y="75"/>
                  <a:pt x="52" y="77"/>
                </a:cubicBezTo>
                <a:cubicBezTo>
                  <a:pt x="51" y="78"/>
                  <a:pt x="49" y="79"/>
                  <a:pt x="48" y="80"/>
                </a:cubicBezTo>
                <a:cubicBezTo>
                  <a:pt x="56" y="87"/>
                  <a:pt x="58" y="93"/>
                  <a:pt x="58" y="99"/>
                </a:cubicBezTo>
                <a:cubicBezTo>
                  <a:pt x="58" y="107"/>
                  <a:pt x="54" y="111"/>
                  <a:pt x="54" y="115"/>
                </a:cubicBezTo>
                <a:cubicBezTo>
                  <a:pt x="54" y="120"/>
                  <a:pt x="54" y="132"/>
                  <a:pt x="66" y="132"/>
                </a:cubicBezTo>
                <a:cubicBezTo>
                  <a:pt x="78" y="132"/>
                  <a:pt x="82" y="120"/>
                  <a:pt x="82" y="111"/>
                </a:cubicBezTo>
                <a:cubicBezTo>
                  <a:pt x="82" y="104"/>
                  <a:pt x="79" y="89"/>
                  <a:pt x="59" y="72"/>
                </a:cubicBezTo>
                <a:close/>
                <a:moveTo>
                  <a:pt x="82" y="21"/>
                </a:moveTo>
                <a:cubicBezTo>
                  <a:pt x="82" y="13"/>
                  <a:pt x="78" y="0"/>
                  <a:pt x="66" y="0"/>
                </a:cubicBezTo>
                <a:cubicBezTo>
                  <a:pt x="54" y="0"/>
                  <a:pt x="54" y="13"/>
                  <a:pt x="54" y="17"/>
                </a:cubicBezTo>
                <a:cubicBezTo>
                  <a:pt x="54" y="21"/>
                  <a:pt x="58" y="25"/>
                  <a:pt x="58" y="33"/>
                </a:cubicBezTo>
                <a:cubicBezTo>
                  <a:pt x="58" y="41"/>
                  <a:pt x="54" y="50"/>
                  <a:pt x="37" y="62"/>
                </a:cubicBezTo>
                <a:cubicBezTo>
                  <a:pt x="4" y="82"/>
                  <a:pt x="0" y="103"/>
                  <a:pt x="0" y="111"/>
                </a:cubicBezTo>
                <a:cubicBezTo>
                  <a:pt x="0" y="120"/>
                  <a:pt x="4" y="132"/>
                  <a:pt x="17" y="132"/>
                </a:cubicBezTo>
                <a:cubicBezTo>
                  <a:pt x="29" y="132"/>
                  <a:pt x="29" y="120"/>
                  <a:pt x="29" y="115"/>
                </a:cubicBezTo>
                <a:cubicBezTo>
                  <a:pt x="29" y="111"/>
                  <a:pt x="25" y="107"/>
                  <a:pt x="25" y="99"/>
                </a:cubicBezTo>
                <a:cubicBezTo>
                  <a:pt x="25" y="91"/>
                  <a:pt x="29" y="82"/>
                  <a:pt x="45" y="70"/>
                </a:cubicBezTo>
                <a:cubicBezTo>
                  <a:pt x="78" y="50"/>
                  <a:pt x="82" y="29"/>
                  <a:pt x="82" y="21"/>
                </a:cubicBezTo>
                <a:close/>
                <a:moveTo>
                  <a:pt x="23" y="60"/>
                </a:moveTo>
                <a:cubicBezTo>
                  <a:pt x="26" y="59"/>
                  <a:pt x="28" y="57"/>
                  <a:pt x="31" y="55"/>
                </a:cubicBezTo>
                <a:cubicBezTo>
                  <a:pt x="32" y="54"/>
                  <a:pt x="33" y="53"/>
                  <a:pt x="34" y="52"/>
                </a:cubicBezTo>
                <a:cubicBezTo>
                  <a:pt x="27" y="45"/>
                  <a:pt x="25" y="39"/>
                  <a:pt x="25" y="33"/>
                </a:cubicBezTo>
                <a:cubicBezTo>
                  <a:pt x="25" y="25"/>
                  <a:pt x="29" y="21"/>
                  <a:pt x="29" y="17"/>
                </a:cubicBezTo>
                <a:cubicBezTo>
                  <a:pt x="29" y="13"/>
                  <a:pt x="29" y="0"/>
                  <a:pt x="17" y="0"/>
                </a:cubicBezTo>
                <a:cubicBezTo>
                  <a:pt x="4" y="0"/>
                  <a:pt x="0" y="13"/>
                  <a:pt x="0" y="21"/>
                </a:cubicBezTo>
                <a:cubicBezTo>
                  <a:pt x="0" y="28"/>
                  <a:pt x="3" y="43"/>
                  <a:pt x="23" y="6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0" name="Freeform 81">
            <a:extLst>
              <a:ext uri="{FF2B5EF4-FFF2-40B4-BE49-F238E27FC236}">
                <a16:creationId xmlns:a16="http://schemas.microsoft.com/office/drawing/2014/main" id="{CAF7B796-9805-4743-8041-56EE9F1B7768}"/>
              </a:ext>
            </a:extLst>
          </p:cNvPr>
          <p:cNvSpPr>
            <a:spLocks/>
          </p:cNvSpPr>
          <p:nvPr/>
        </p:nvSpPr>
        <p:spPr bwMode="auto">
          <a:xfrm>
            <a:off x="7545964" y="3490272"/>
            <a:ext cx="363772" cy="309976"/>
          </a:xfrm>
          <a:custGeom>
            <a:avLst/>
            <a:gdLst>
              <a:gd name="T0" fmla="*/ 17 w 107"/>
              <a:gd name="T1" fmla="*/ 78 h 92"/>
              <a:gd name="T2" fmla="*/ 9 w 107"/>
              <a:gd name="T3" fmla="*/ 66 h 92"/>
              <a:gd name="T4" fmla="*/ 0 w 107"/>
              <a:gd name="T5" fmla="*/ 66 h 92"/>
              <a:gd name="T6" fmla="*/ 1 w 107"/>
              <a:gd name="T7" fmla="*/ 74 h 92"/>
              <a:gd name="T8" fmla="*/ 17 w 107"/>
              <a:gd name="T9" fmla="*/ 90 h 92"/>
              <a:gd name="T10" fmla="*/ 38 w 107"/>
              <a:gd name="T11" fmla="*/ 56 h 92"/>
              <a:gd name="T12" fmla="*/ 38 w 107"/>
              <a:gd name="T13" fmla="*/ 16 h 92"/>
              <a:gd name="T14" fmla="*/ 63 w 107"/>
              <a:gd name="T15" fmla="*/ 16 h 92"/>
              <a:gd name="T16" fmla="*/ 63 w 107"/>
              <a:gd name="T17" fmla="*/ 66 h 92"/>
              <a:gd name="T18" fmla="*/ 83 w 107"/>
              <a:gd name="T19" fmla="*/ 90 h 92"/>
              <a:gd name="T20" fmla="*/ 104 w 107"/>
              <a:gd name="T21" fmla="*/ 62 h 92"/>
              <a:gd name="T22" fmla="*/ 96 w 107"/>
              <a:gd name="T23" fmla="*/ 62 h 92"/>
              <a:gd name="T24" fmla="*/ 95 w 107"/>
              <a:gd name="T25" fmla="*/ 74 h 92"/>
              <a:gd name="T26" fmla="*/ 79 w 107"/>
              <a:gd name="T27" fmla="*/ 63 h 92"/>
              <a:gd name="T28" fmla="*/ 79 w 107"/>
              <a:gd name="T29" fmla="*/ 16 h 92"/>
              <a:gd name="T30" fmla="*/ 90 w 107"/>
              <a:gd name="T31" fmla="*/ 16 h 92"/>
              <a:gd name="T32" fmla="*/ 97 w 107"/>
              <a:gd name="T33" fmla="*/ 15 h 92"/>
              <a:gd name="T34" fmla="*/ 101 w 107"/>
              <a:gd name="T35" fmla="*/ 11 h 92"/>
              <a:gd name="T36" fmla="*/ 104 w 107"/>
              <a:gd name="T37" fmla="*/ 6 h 92"/>
              <a:gd name="T38" fmla="*/ 105 w 107"/>
              <a:gd name="T39" fmla="*/ 0 h 92"/>
              <a:gd name="T40" fmla="*/ 100 w 107"/>
              <a:gd name="T41" fmla="*/ 0 h 92"/>
              <a:gd name="T42" fmla="*/ 97 w 107"/>
              <a:gd name="T43" fmla="*/ 2 h 92"/>
              <a:gd name="T44" fmla="*/ 91 w 107"/>
              <a:gd name="T45" fmla="*/ 4 h 92"/>
              <a:gd name="T46" fmla="*/ 23 w 107"/>
              <a:gd name="T47" fmla="*/ 4 h 92"/>
              <a:gd name="T48" fmla="*/ 13 w 107"/>
              <a:gd name="T49" fmla="*/ 6 h 92"/>
              <a:gd name="T50" fmla="*/ 6 w 107"/>
              <a:gd name="T51" fmla="*/ 12 h 92"/>
              <a:gd name="T52" fmla="*/ 2 w 107"/>
              <a:gd name="T53" fmla="*/ 19 h 92"/>
              <a:gd name="T54" fmla="*/ 1 w 107"/>
              <a:gd name="T55" fmla="*/ 25 h 92"/>
              <a:gd name="T56" fmla="*/ 7 w 107"/>
              <a:gd name="T57" fmla="*/ 25 h 92"/>
              <a:gd name="T58" fmla="*/ 8 w 107"/>
              <a:gd name="T59" fmla="*/ 24 h 92"/>
              <a:gd name="T60" fmla="*/ 10 w 107"/>
              <a:gd name="T61" fmla="*/ 20 h 92"/>
              <a:gd name="T62" fmla="*/ 14 w 107"/>
              <a:gd name="T63" fmla="*/ 18 h 92"/>
              <a:gd name="T64" fmla="*/ 21 w 107"/>
              <a:gd name="T65" fmla="*/ 16 h 92"/>
              <a:gd name="T66" fmla="*/ 30 w 107"/>
              <a:gd name="T67" fmla="*/ 16 h 92"/>
              <a:gd name="T68" fmla="*/ 30 w 107"/>
              <a:gd name="T69" fmla="*/ 37 h 92"/>
              <a:gd name="T70" fmla="*/ 17 w 107"/>
              <a:gd name="T71" fmla="*/ 7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 h="92">
                <a:moveTo>
                  <a:pt x="17" y="78"/>
                </a:moveTo>
                <a:cubicBezTo>
                  <a:pt x="13" y="78"/>
                  <a:pt x="9" y="75"/>
                  <a:pt x="9" y="66"/>
                </a:cubicBezTo>
                <a:cubicBezTo>
                  <a:pt x="0" y="66"/>
                  <a:pt x="0" y="66"/>
                  <a:pt x="0" y="66"/>
                </a:cubicBezTo>
                <a:cubicBezTo>
                  <a:pt x="0" y="69"/>
                  <a:pt x="0" y="71"/>
                  <a:pt x="1" y="74"/>
                </a:cubicBezTo>
                <a:cubicBezTo>
                  <a:pt x="1" y="74"/>
                  <a:pt x="1" y="90"/>
                  <a:pt x="17" y="90"/>
                </a:cubicBezTo>
                <a:cubicBezTo>
                  <a:pt x="41" y="90"/>
                  <a:pt x="38" y="47"/>
                  <a:pt x="38" y="56"/>
                </a:cubicBezTo>
                <a:cubicBezTo>
                  <a:pt x="38" y="16"/>
                  <a:pt x="38" y="16"/>
                  <a:pt x="38" y="16"/>
                </a:cubicBezTo>
                <a:cubicBezTo>
                  <a:pt x="63" y="16"/>
                  <a:pt x="63" y="16"/>
                  <a:pt x="63" y="16"/>
                </a:cubicBezTo>
                <a:cubicBezTo>
                  <a:pt x="63" y="66"/>
                  <a:pt x="63" y="66"/>
                  <a:pt x="63" y="66"/>
                </a:cubicBezTo>
                <a:cubicBezTo>
                  <a:pt x="63" y="92"/>
                  <a:pt x="81" y="90"/>
                  <a:pt x="83" y="90"/>
                </a:cubicBezTo>
                <a:cubicBezTo>
                  <a:pt x="107" y="90"/>
                  <a:pt x="104" y="59"/>
                  <a:pt x="104" y="62"/>
                </a:cubicBezTo>
                <a:cubicBezTo>
                  <a:pt x="96" y="62"/>
                  <a:pt x="96" y="62"/>
                  <a:pt x="96" y="62"/>
                </a:cubicBezTo>
                <a:cubicBezTo>
                  <a:pt x="96" y="66"/>
                  <a:pt x="96" y="71"/>
                  <a:pt x="95" y="74"/>
                </a:cubicBezTo>
                <a:cubicBezTo>
                  <a:pt x="93" y="84"/>
                  <a:pt x="79" y="82"/>
                  <a:pt x="79" y="63"/>
                </a:cubicBezTo>
                <a:cubicBezTo>
                  <a:pt x="79" y="16"/>
                  <a:pt x="79" y="16"/>
                  <a:pt x="79" y="16"/>
                </a:cubicBezTo>
                <a:cubicBezTo>
                  <a:pt x="90" y="16"/>
                  <a:pt x="90" y="16"/>
                  <a:pt x="90" y="16"/>
                </a:cubicBezTo>
                <a:cubicBezTo>
                  <a:pt x="93" y="16"/>
                  <a:pt x="95" y="16"/>
                  <a:pt x="97" y="15"/>
                </a:cubicBezTo>
                <a:cubicBezTo>
                  <a:pt x="99" y="14"/>
                  <a:pt x="100" y="13"/>
                  <a:pt x="101" y="11"/>
                </a:cubicBezTo>
                <a:cubicBezTo>
                  <a:pt x="103" y="10"/>
                  <a:pt x="103" y="8"/>
                  <a:pt x="104" y="6"/>
                </a:cubicBezTo>
                <a:cubicBezTo>
                  <a:pt x="104" y="4"/>
                  <a:pt x="105" y="2"/>
                  <a:pt x="105" y="0"/>
                </a:cubicBezTo>
                <a:cubicBezTo>
                  <a:pt x="100" y="0"/>
                  <a:pt x="100" y="0"/>
                  <a:pt x="100" y="0"/>
                </a:cubicBezTo>
                <a:cubicBezTo>
                  <a:pt x="99" y="1"/>
                  <a:pt x="98" y="1"/>
                  <a:pt x="97" y="2"/>
                </a:cubicBezTo>
                <a:cubicBezTo>
                  <a:pt x="95" y="3"/>
                  <a:pt x="93" y="4"/>
                  <a:pt x="91" y="4"/>
                </a:cubicBezTo>
                <a:cubicBezTo>
                  <a:pt x="23" y="4"/>
                  <a:pt x="23" y="4"/>
                  <a:pt x="23" y="4"/>
                </a:cubicBezTo>
                <a:cubicBezTo>
                  <a:pt x="19" y="4"/>
                  <a:pt x="16" y="5"/>
                  <a:pt x="13" y="6"/>
                </a:cubicBezTo>
                <a:cubicBezTo>
                  <a:pt x="10" y="8"/>
                  <a:pt x="8" y="10"/>
                  <a:pt x="6" y="12"/>
                </a:cubicBezTo>
                <a:cubicBezTo>
                  <a:pt x="4" y="14"/>
                  <a:pt x="3" y="17"/>
                  <a:pt x="2" y="19"/>
                </a:cubicBezTo>
                <a:cubicBezTo>
                  <a:pt x="2" y="21"/>
                  <a:pt x="2" y="23"/>
                  <a:pt x="1" y="25"/>
                </a:cubicBezTo>
                <a:cubicBezTo>
                  <a:pt x="7" y="25"/>
                  <a:pt x="7" y="25"/>
                  <a:pt x="7" y="25"/>
                </a:cubicBezTo>
                <a:cubicBezTo>
                  <a:pt x="7" y="24"/>
                  <a:pt x="7" y="24"/>
                  <a:pt x="8" y="24"/>
                </a:cubicBezTo>
                <a:cubicBezTo>
                  <a:pt x="8" y="23"/>
                  <a:pt x="9" y="21"/>
                  <a:pt x="10" y="20"/>
                </a:cubicBezTo>
                <a:cubicBezTo>
                  <a:pt x="10" y="19"/>
                  <a:pt x="12" y="18"/>
                  <a:pt x="14" y="18"/>
                </a:cubicBezTo>
                <a:cubicBezTo>
                  <a:pt x="15" y="17"/>
                  <a:pt x="18" y="16"/>
                  <a:pt x="21" y="16"/>
                </a:cubicBezTo>
                <a:cubicBezTo>
                  <a:pt x="30" y="16"/>
                  <a:pt x="30" y="16"/>
                  <a:pt x="30" y="16"/>
                </a:cubicBezTo>
                <a:cubicBezTo>
                  <a:pt x="30" y="37"/>
                  <a:pt x="30" y="37"/>
                  <a:pt x="30" y="37"/>
                </a:cubicBezTo>
                <a:cubicBezTo>
                  <a:pt x="30" y="66"/>
                  <a:pt x="25" y="78"/>
                  <a:pt x="17" y="7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1" name="Freeform 82">
            <a:extLst>
              <a:ext uri="{FF2B5EF4-FFF2-40B4-BE49-F238E27FC236}">
                <a16:creationId xmlns:a16="http://schemas.microsoft.com/office/drawing/2014/main" id="{C520DA90-1396-41C8-BE94-5E53B2A98D89}"/>
              </a:ext>
            </a:extLst>
          </p:cNvPr>
          <p:cNvSpPr>
            <a:spLocks/>
          </p:cNvSpPr>
          <p:nvPr/>
        </p:nvSpPr>
        <p:spPr bwMode="auto">
          <a:xfrm>
            <a:off x="8678269" y="3418543"/>
            <a:ext cx="335593" cy="420131"/>
          </a:xfrm>
          <a:custGeom>
            <a:avLst/>
            <a:gdLst>
              <a:gd name="T0" fmla="*/ 95 w 99"/>
              <a:gd name="T1" fmla="*/ 124 h 124"/>
              <a:gd name="T2" fmla="*/ 99 w 99"/>
              <a:gd name="T3" fmla="*/ 91 h 124"/>
              <a:gd name="T4" fmla="*/ 95 w 99"/>
              <a:gd name="T5" fmla="*/ 91 h 124"/>
              <a:gd name="T6" fmla="*/ 90 w 99"/>
              <a:gd name="T7" fmla="*/ 104 h 124"/>
              <a:gd name="T8" fmla="*/ 81 w 99"/>
              <a:gd name="T9" fmla="*/ 107 h 124"/>
              <a:gd name="T10" fmla="*/ 27 w 99"/>
              <a:gd name="T11" fmla="*/ 107 h 124"/>
              <a:gd name="T12" fmla="*/ 70 w 99"/>
              <a:gd name="T13" fmla="*/ 62 h 124"/>
              <a:gd name="T14" fmla="*/ 26 w 99"/>
              <a:gd name="T15" fmla="*/ 14 h 124"/>
              <a:gd name="T16" fmla="*/ 25 w 99"/>
              <a:gd name="T17" fmla="*/ 12 h 124"/>
              <a:gd name="T18" fmla="*/ 25 w 99"/>
              <a:gd name="T19" fmla="*/ 10 h 124"/>
              <a:gd name="T20" fmla="*/ 26 w 99"/>
              <a:gd name="T21" fmla="*/ 9 h 124"/>
              <a:gd name="T22" fmla="*/ 29 w 99"/>
              <a:gd name="T23" fmla="*/ 9 h 124"/>
              <a:gd name="T24" fmla="*/ 63 w 99"/>
              <a:gd name="T25" fmla="*/ 9 h 124"/>
              <a:gd name="T26" fmla="*/ 73 w 99"/>
              <a:gd name="T27" fmla="*/ 11 h 124"/>
              <a:gd name="T28" fmla="*/ 85 w 99"/>
              <a:gd name="T29" fmla="*/ 18 h 124"/>
              <a:gd name="T30" fmla="*/ 91 w 99"/>
              <a:gd name="T31" fmla="*/ 26 h 124"/>
              <a:gd name="T32" fmla="*/ 95 w 99"/>
              <a:gd name="T33" fmla="*/ 37 h 124"/>
              <a:gd name="T34" fmla="*/ 99 w 99"/>
              <a:gd name="T35" fmla="*/ 37 h 124"/>
              <a:gd name="T36" fmla="*/ 95 w 99"/>
              <a:gd name="T37" fmla="*/ 0 h 124"/>
              <a:gd name="T38" fmla="*/ 0 w 99"/>
              <a:gd name="T39" fmla="*/ 0 h 124"/>
              <a:gd name="T40" fmla="*/ 59 w 99"/>
              <a:gd name="T41" fmla="*/ 64 h 124"/>
              <a:gd name="T42" fmla="*/ 0 w 99"/>
              <a:gd name="T43" fmla="*/ 124 h 124"/>
              <a:gd name="T44" fmla="*/ 95 w 99"/>
              <a:gd name="T4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24">
                <a:moveTo>
                  <a:pt x="95" y="124"/>
                </a:moveTo>
                <a:cubicBezTo>
                  <a:pt x="99" y="91"/>
                  <a:pt x="99" y="91"/>
                  <a:pt x="99" y="91"/>
                </a:cubicBezTo>
                <a:cubicBezTo>
                  <a:pt x="95" y="91"/>
                  <a:pt x="95" y="91"/>
                  <a:pt x="95" y="91"/>
                </a:cubicBezTo>
                <a:cubicBezTo>
                  <a:pt x="94" y="96"/>
                  <a:pt x="93" y="101"/>
                  <a:pt x="90" y="104"/>
                </a:cubicBezTo>
                <a:cubicBezTo>
                  <a:pt x="88" y="107"/>
                  <a:pt x="85" y="107"/>
                  <a:pt x="81" y="107"/>
                </a:cubicBezTo>
                <a:cubicBezTo>
                  <a:pt x="27" y="107"/>
                  <a:pt x="27" y="107"/>
                  <a:pt x="27" y="107"/>
                </a:cubicBezTo>
                <a:cubicBezTo>
                  <a:pt x="70" y="62"/>
                  <a:pt x="70" y="62"/>
                  <a:pt x="70" y="62"/>
                </a:cubicBezTo>
                <a:cubicBezTo>
                  <a:pt x="26" y="14"/>
                  <a:pt x="26" y="14"/>
                  <a:pt x="26" y="14"/>
                </a:cubicBezTo>
                <a:cubicBezTo>
                  <a:pt x="25" y="13"/>
                  <a:pt x="25" y="13"/>
                  <a:pt x="25" y="12"/>
                </a:cubicBezTo>
                <a:cubicBezTo>
                  <a:pt x="25" y="11"/>
                  <a:pt x="25" y="11"/>
                  <a:pt x="25" y="10"/>
                </a:cubicBezTo>
                <a:cubicBezTo>
                  <a:pt x="25" y="10"/>
                  <a:pt x="26" y="9"/>
                  <a:pt x="26" y="9"/>
                </a:cubicBezTo>
                <a:cubicBezTo>
                  <a:pt x="27" y="9"/>
                  <a:pt x="28" y="9"/>
                  <a:pt x="29" y="9"/>
                </a:cubicBezTo>
                <a:cubicBezTo>
                  <a:pt x="63" y="9"/>
                  <a:pt x="63" y="9"/>
                  <a:pt x="63" y="9"/>
                </a:cubicBezTo>
                <a:cubicBezTo>
                  <a:pt x="67" y="9"/>
                  <a:pt x="70" y="9"/>
                  <a:pt x="73" y="11"/>
                </a:cubicBezTo>
                <a:cubicBezTo>
                  <a:pt x="77" y="12"/>
                  <a:pt x="82" y="16"/>
                  <a:pt x="85" y="18"/>
                </a:cubicBezTo>
                <a:cubicBezTo>
                  <a:pt x="87" y="21"/>
                  <a:pt x="89" y="23"/>
                  <a:pt x="91" y="26"/>
                </a:cubicBezTo>
                <a:cubicBezTo>
                  <a:pt x="93" y="30"/>
                  <a:pt x="94" y="34"/>
                  <a:pt x="95" y="37"/>
                </a:cubicBezTo>
                <a:cubicBezTo>
                  <a:pt x="99" y="37"/>
                  <a:pt x="99" y="37"/>
                  <a:pt x="99" y="37"/>
                </a:cubicBezTo>
                <a:cubicBezTo>
                  <a:pt x="95" y="0"/>
                  <a:pt x="95" y="0"/>
                  <a:pt x="95" y="0"/>
                </a:cubicBezTo>
                <a:cubicBezTo>
                  <a:pt x="0" y="0"/>
                  <a:pt x="0" y="0"/>
                  <a:pt x="0" y="0"/>
                </a:cubicBezTo>
                <a:cubicBezTo>
                  <a:pt x="59" y="64"/>
                  <a:pt x="59" y="64"/>
                  <a:pt x="59" y="64"/>
                </a:cubicBezTo>
                <a:cubicBezTo>
                  <a:pt x="0" y="124"/>
                  <a:pt x="0" y="124"/>
                  <a:pt x="0" y="124"/>
                </a:cubicBezTo>
                <a:lnTo>
                  <a:pt x="95" y="124"/>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2" name="Freeform 83">
            <a:extLst>
              <a:ext uri="{FF2B5EF4-FFF2-40B4-BE49-F238E27FC236}">
                <a16:creationId xmlns:a16="http://schemas.microsoft.com/office/drawing/2014/main" id="{C2DD8D4D-A5C2-4E49-BB1C-473836662948}"/>
              </a:ext>
            </a:extLst>
          </p:cNvPr>
          <p:cNvSpPr>
            <a:spLocks/>
          </p:cNvSpPr>
          <p:nvPr/>
        </p:nvSpPr>
        <p:spPr bwMode="auto">
          <a:xfrm>
            <a:off x="9733720" y="3398048"/>
            <a:ext cx="461120" cy="438064"/>
          </a:xfrm>
          <a:custGeom>
            <a:avLst/>
            <a:gdLst>
              <a:gd name="T0" fmla="*/ 112 w 180"/>
              <a:gd name="T1" fmla="*/ 64 h 171"/>
              <a:gd name="T2" fmla="*/ 90 w 180"/>
              <a:gd name="T3" fmla="*/ 0 h 171"/>
              <a:gd name="T4" fmla="*/ 67 w 180"/>
              <a:gd name="T5" fmla="*/ 64 h 171"/>
              <a:gd name="T6" fmla="*/ 0 w 180"/>
              <a:gd name="T7" fmla="*/ 64 h 171"/>
              <a:gd name="T8" fmla="*/ 53 w 180"/>
              <a:gd name="T9" fmla="*/ 106 h 171"/>
              <a:gd name="T10" fmla="*/ 34 w 180"/>
              <a:gd name="T11" fmla="*/ 171 h 171"/>
              <a:gd name="T12" fmla="*/ 90 w 180"/>
              <a:gd name="T13" fmla="*/ 132 h 171"/>
              <a:gd name="T14" fmla="*/ 145 w 180"/>
              <a:gd name="T15" fmla="*/ 171 h 171"/>
              <a:gd name="T16" fmla="*/ 125 w 180"/>
              <a:gd name="T17" fmla="*/ 106 h 171"/>
              <a:gd name="T18" fmla="*/ 180 w 180"/>
              <a:gd name="T19" fmla="*/ 64 h 171"/>
              <a:gd name="T20" fmla="*/ 112 w 180"/>
              <a:gd name="T21" fmla="*/ 6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71">
                <a:moveTo>
                  <a:pt x="112" y="64"/>
                </a:moveTo>
                <a:lnTo>
                  <a:pt x="90" y="0"/>
                </a:lnTo>
                <a:lnTo>
                  <a:pt x="67" y="64"/>
                </a:lnTo>
                <a:lnTo>
                  <a:pt x="0" y="64"/>
                </a:lnTo>
                <a:lnTo>
                  <a:pt x="53" y="106"/>
                </a:lnTo>
                <a:lnTo>
                  <a:pt x="34" y="171"/>
                </a:lnTo>
                <a:lnTo>
                  <a:pt x="90" y="132"/>
                </a:lnTo>
                <a:lnTo>
                  <a:pt x="145" y="171"/>
                </a:lnTo>
                <a:lnTo>
                  <a:pt x="125" y="106"/>
                </a:lnTo>
                <a:lnTo>
                  <a:pt x="180" y="64"/>
                </a:lnTo>
                <a:lnTo>
                  <a:pt x="112" y="64"/>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3" name="Freeform 84">
            <a:extLst>
              <a:ext uri="{FF2B5EF4-FFF2-40B4-BE49-F238E27FC236}">
                <a16:creationId xmlns:a16="http://schemas.microsoft.com/office/drawing/2014/main" id="{A9B0E98A-0C23-4F39-A99E-BEF6C147673E}"/>
              </a:ext>
            </a:extLst>
          </p:cNvPr>
          <p:cNvSpPr>
            <a:spLocks noEditPoints="1"/>
          </p:cNvSpPr>
          <p:nvPr/>
        </p:nvSpPr>
        <p:spPr bwMode="auto">
          <a:xfrm>
            <a:off x="10896766" y="3490272"/>
            <a:ext cx="361211" cy="276671"/>
          </a:xfrm>
          <a:custGeom>
            <a:avLst/>
            <a:gdLst>
              <a:gd name="T0" fmla="*/ 99 w 107"/>
              <a:gd name="T1" fmla="*/ 0 h 82"/>
              <a:gd name="T2" fmla="*/ 9 w 107"/>
              <a:gd name="T3" fmla="*/ 0 h 82"/>
              <a:gd name="T4" fmla="*/ 0 w 107"/>
              <a:gd name="T5" fmla="*/ 8 h 82"/>
              <a:gd name="T6" fmla="*/ 0 w 107"/>
              <a:gd name="T7" fmla="*/ 74 h 82"/>
              <a:gd name="T8" fmla="*/ 9 w 107"/>
              <a:gd name="T9" fmla="*/ 82 h 82"/>
              <a:gd name="T10" fmla="*/ 99 w 107"/>
              <a:gd name="T11" fmla="*/ 82 h 82"/>
              <a:gd name="T12" fmla="*/ 107 w 107"/>
              <a:gd name="T13" fmla="*/ 74 h 82"/>
              <a:gd name="T14" fmla="*/ 107 w 107"/>
              <a:gd name="T15" fmla="*/ 8 h 82"/>
              <a:gd name="T16" fmla="*/ 99 w 107"/>
              <a:gd name="T17" fmla="*/ 0 h 82"/>
              <a:gd name="T18" fmla="*/ 33 w 107"/>
              <a:gd name="T19" fmla="*/ 55 h 82"/>
              <a:gd name="T20" fmla="*/ 16 w 107"/>
              <a:gd name="T21" fmla="*/ 73 h 82"/>
              <a:gd name="T22" fmla="*/ 10 w 107"/>
              <a:gd name="T23" fmla="*/ 73 h 82"/>
              <a:gd name="T24" fmla="*/ 10 w 107"/>
              <a:gd name="T25" fmla="*/ 67 h 82"/>
              <a:gd name="T26" fmla="*/ 27 w 107"/>
              <a:gd name="T27" fmla="*/ 50 h 82"/>
              <a:gd name="T28" fmla="*/ 33 w 107"/>
              <a:gd name="T29" fmla="*/ 50 h 82"/>
              <a:gd name="T30" fmla="*/ 33 w 107"/>
              <a:gd name="T31" fmla="*/ 55 h 82"/>
              <a:gd name="T32" fmla="*/ 54 w 107"/>
              <a:gd name="T33" fmla="*/ 57 h 82"/>
              <a:gd name="T34" fmla="*/ 51 w 107"/>
              <a:gd name="T35" fmla="*/ 56 h 82"/>
              <a:gd name="T36" fmla="*/ 10 w 107"/>
              <a:gd name="T37" fmla="*/ 15 h 82"/>
              <a:gd name="T38" fmla="*/ 10 w 107"/>
              <a:gd name="T39" fmla="*/ 9 h 82"/>
              <a:gd name="T40" fmla="*/ 16 w 107"/>
              <a:gd name="T41" fmla="*/ 9 h 82"/>
              <a:gd name="T42" fmla="*/ 54 w 107"/>
              <a:gd name="T43" fmla="*/ 47 h 82"/>
              <a:gd name="T44" fmla="*/ 92 w 107"/>
              <a:gd name="T45" fmla="*/ 9 h 82"/>
              <a:gd name="T46" fmla="*/ 98 w 107"/>
              <a:gd name="T47" fmla="*/ 9 h 82"/>
              <a:gd name="T48" fmla="*/ 98 w 107"/>
              <a:gd name="T49" fmla="*/ 15 h 82"/>
              <a:gd name="T50" fmla="*/ 57 w 107"/>
              <a:gd name="T51" fmla="*/ 56 h 82"/>
              <a:gd name="T52" fmla="*/ 54 w 107"/>
              <a:gd name="T53" fmla="*/ 57 h 82"/>
              <a:gd name="T54" fmla="*/ 98 w 107"/>
              <a:gd name="T55" fmla="*/ 73 h 82"/>
              <a:gd name="T56" fmla="*/ 92 w 107"/>
              <a:gd name="T57" fmla="*/ 73 h 82"/>
              <a:gd name="T58" fmla="*/ 75 w 107"/>
              <a:gd name="T59" fmla="*/ 55 h 82"/>
              <a:gd name="T60" fmla="*/ 75 w 107"/>
              <a:gd name="T61" fmla="*/ 50 h 82"/>
              <a:gd name="T62" fmla="*/ 81 w 107"/>
              <a:gd name="T63" fmla="*/ 50 h 82"/>
              <a:gd name="T64" fmla="*/ 98 w 107"/>
              <a:gd name="T65" fmla="*/ 67 h 82"/>
              <a:gd name="T66" fmla="*/ 98 w 107"/>
              <a:gd name="T67" fmla="*/ 7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82">
                <a:moveTo>
                  <a:pt x="99" y="0"/>
                </a:moveTo>
                <a:cubicBezTo>
                  <a:pt x="9" y="0"/>
                  <a:pt x="9" y="0"/>
                  <a:pt x="9" y="0"/>
                </a:cubicBezTo>
                <a:cubicBezTo>
                  <a:pt x="4" y="0"/>
                  <a:pt x="0" y="4"/>
                  <a:pt x="0" y="8"/>
                </a:cubicBezTo>
                <a:cubicBezTo>
                  <a:pt x="0" y="74"/>
                  <a:pt x="0" y="74"/>
                  <a:pt x="0" y="74"/>
                </a:cubicBezTo>
                <a:cubicBezTo>
                  <a:pt x="0" y="78"/>
                  <a:pt x="4" y="82"/>
                  <a:pt x="9" y="82"/>
                </a:cubicBezTo>
                <a:cubicBezTo>
                  <a:pt x="99" y="82"/>
                  <a:pt x="99" y="82"/>
                  <a:pt x="99" y="82"/>
                </a:cubicBezTo>
                <a:cubicBezTo>
                  <a:pt x="104" y="82"/>
                  <a:pt x="107" y="78"/>
                  <a:pt x="107" y="74"/>
                </a:cubicBezTo>
                <a:cubicBezTo>
                  <a:pt x="107" y="8"/>
                  <a:pt x="107" y="8"/>
                  <a:pt x="107" y="8"/>
                </a:cubicBezTo>
                <a:cubicBezTo>
                  <a:pt x="107" y="4"/>
                  <a:pt x="104" y="0"/>
                  <a:pt x="99" y="0"/>
                </a:cubicBezTo>
                <a:close/>
                <a:moveTo>
                  <a:pt x="33" y="55"/>
                </a:moveTo>
                <a:cubicBezTo>
                  <a:pt x="16" y="73"/>
                  <a:pt x="16" y="73"/>
                  <a:pt x="16" y="73"/>
                </a:cubicBezTo>
                <a:cubicBezTo>
                  <a:pt x="14" y="74"/>
                  <a:pt x="11" y="74"/>
                  <a:pt x="10" y="73"/>
                </a:cubicBezTo>
                <a:cubicBezTo>
                  <a:pt x="8" y="71"/>
                  <a:pt x="8" y="69"/>
                  <a:pt x="10" y="67"/>
                </a:cubicBezTo>
                <a:cubicBezTo>
                  <a:pt x="27" y="50"/>
                  <a:pt x="27" y="50"/>
                  <a:pt x="27" y="50"/>
                </a:cubicBezTo>
                <a:cubicBezTo>
                  <a:pt x="29" y="48"/>
                  <a:pt x="31" y="48"/>
                  <a:pt x="33" y="50"/>
                </a:cubicBezTo>
                <a:cubicBezTo>
                  <a:pt x="35" y="51"/>
                  <a:pt x="35" y="54"/>
                  <a:pt x="33" y="55"/>
                </a:cubicBezTo>
                <a:close/>
                <a:moveTo>
                  <a:pt x="54" y="57"/>
                </a:moveTo>
                <a:cubicBezTo>
                  <a:pt x="53" y="57"/>
                  <a:pt x="52" y="57"/>
                  <a:pt x="51" y="56"/>
                </a:cubicBezTo>
                <a:cubicBezTo>
                  <a:pt x="10" y="15"/>
                  <a:pt x="10" y="15"/>
                  <a:pt x="10" y="15"/>
                </a:cubicBezTo>
                <a:cubicBezTo>
                  <a:pt x="8" y="13"/>
                  <a:pt x="8" y="11"/>
                  <a:pt x="10" y="9"/>
                </a:cubicBezTo>
                <a:cubicBezTo>
                  <a:pt x="12" y="8"/>
                  <a:pt x="14" y="8"/>
                  <a:pt x="16" y="9"/>
                </a:cubicBezTo>
                <a:cubicBezTo>
                  <a:pt x="54" y="47"/>
                  <a:pt x="54" y="47"/>
                  <a:pt x="54" y="47"/>
                </a:cubicBezTo>
                <a:cubicBezTo>
                  <a:pt x="92" y="9"/>
                  <a:pt x="92" y="9"/>
                  <a:pt x="92" y="9"/>
                </a:cubicBezTo>
                <a:cubicBezTo>
                  <a:pt x="94" y="8"/>
                  <a:pt x="96" y="8"/>
                  <a:pt x="98" y="9"/>
                </a:cubicBezTo>
                <a:cubicBezTo>
                  <a:pt x="99" y="11"/>
                  <a:pt x="99" y="13"/>
                  <a:pt x="98" y="15"/>
                </a:cubicBezTo>
                <a:cubicBezTo>
                  <a:pt x="57" y="56"/>
                  <a:pt x="57" y="56"/>
                  <a:pt x="57" y="56"/>
                </a:cubicBezTo>
                <a:cubicBezTo>
                  <a:pt x="56" y="57"/>
                  <a:pt x="55" y="57"/>
                  <a:pt x="54" y="57"/>
                </a:cubicBezTo>
                <a:close/>
                <a:moveTo>
                  <a:pt x="98" y="73"/>
                </a:moveTo>
                <a:cubicBezTo>
                  <a:pt x="96" y="74"/>
                  <a:pt x="94" y="74"/>
                  <a:pt x="92" y="73"/>
                </a:cubicBezTo>
                <a:cubicBezTo>
                  <a:pt x="75" y="55"/>
                  <a:pt x="75" y="55"/>
                  <a:pt x="75" y="55"/>
                </a:cubicBezTo>
                <a:cubicBezTo>
                  <a:pt x="73" y="54"/>
                  <a:pt x="73" y="51"/>
                  <a:pt x="75" y="50"/>
                </a:cubicBezTo>
                <a:cubicBezTo>
                  <a:pt x="76" y="48"/>
                  <a:pt x="79" y="48"/>
                  <a:pt x="81" y="50"/>
                </a:cubicBezTo>
                <a:cubicBezTo>
                  <a:pt x="98" y="67"/>
                  <a:pt x="98" y="67"/>
                  <a:pt x="98" y="67"/>
                </a:cubicBezTo>
                <a:cubicBezTo>
                  <a:pt x="100" y="69"/>
                  <a:pt x="100" y="71"/>
                  <a:pt x="98" y="7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4" name="Freeform 85">
            <a:extLst>
              <a:ext uri="{FF2B5EF4-FFF2-40B4-BE49-F238E27FC236}">
                <a16:creationId xmlns:a16="http://schemas.microsoft.com/office/drawing/2014/main" id="{DE7D41EF-3E6C-4488-A75B-752EE35DAB6A}"/>
              </a:ext>
            </a:extLst>
          </p:cNvPr>
          <p:cNvSpPr>
            <a:spLocks noEditPoints="1"/>
          </p:cNvSpPr>
          <p:nvPr/>
        </p:nvSpPr>
        <p:spPr bwMode="auto">
          <a:xfrm>
            <a:off x="841799" y="4458623"/>
            <a:ext cx="435502" cy="607141"/>
          </a:xfrm>
          <a:custGeom>
            <a:avLst/>
            <a:gdLst>
              <a:gd name="T0" fmla="*/ 76 w 128"/>
              <a:gd name="T1" fmla="*/ 76 h 179"/>
              <a:gd name="T2" fmla="*/ 71 w 128"/>
              <a:gd name="T3" fmla="*/ 89 h 179"/>
              <a:gd name="T4" fmla="*/ 84 w 128"/>
              <a:gd name="T5" fmla="*/ 99 h 179"/>
              <a:gd name="T6" fmla="*/ 84 w 128"/>
              <a:gd name="T7" fmla="*/ 100 h 179"/>
              <a:gd name="T8" fmla="*/ 94 w 128"/>
              <a:gd name="T9" fmla="*/ 94 h 179"/>
              <a:gd name="T10" fmla="*/ 100 w 128"/>
              <a:gd name="T11" fmla="*/ 84 h 179"/>
              <a:gd name="T12" fmla="*/ 99 w 128"/>
              <a:gd name="T13" fmla="*/ 84 h 179"/>
              <a:gd name="T14" fmla="*/ 78 w 128"/>
              <a:gd name="T15" fmla="*/ 58 h 179"/>
              <a:gd name="T16" fmla="*/ 73 w 128"/>
              <a:gd name="T17" fmla="*/ 66 h 179"/>
              <a:gd name="T18" fmla="*/ 76 w 128"/>
              <a:gd name="T19" fmla="*/ 76 h 179"/>
              <a:gd name="T20" fmla="*/ 58 w 128"/>
              <a:gd name="T21" fmla="*/ 57 h 179"/>
              <a:gd name="T22" fmla="*/ 69 w 128"/>
              <a:gd name="T23" fmla="*/ 61 h 179"/>
              <a:gd name="T24" fmla="*/ 74 w 128"/>
              <a:gd name="T25" fmla="*/ 51 h 179"/>
              <a:gd name="T26" fmla="*/ 74 w 128"/>
              <a:gd name="T27" fmla="*/ 51 h 179"/>
              <a:gd name="T28" fmla="*/ 48 w 128"/>
              <a:gd name="T29" fmla="*/ 20 h 179"/>
              <a:gd name="T30" fmla="*/ 36 w 128"/>
              <a:gd name="T31" fmla="*/ 36 h 179"/>
              <a:gd name="T32" fmla="*/ 20 w 128"/>
              <a:gd name="T33" fmla="*/ 48 h 179"/>
              <a:gd name="T34" fmla="*/ 42 w 128"/>
              <a:gd name="T35" fmla="*/ 66 h 179"/>
              <a:gd name="T36" fmla="*/ 58 w 128"/>
              <a:gd name="T37" fmla="*/ 57 h 179"/>
              <a:gd name="T38" fmla="*/ 43 w 128"/>
              <a:gd name="T39" fmla="*/ 9 h 179"/>
              <a:gd name="T40" fmla="*/ 38 w 128"/>
              <a:gd name="T41" fmla="*/ 4 h 179"/>
              <a:gd name="T42" fmla="*/ 14 w 128"/>
              <a:gd name="T43" fmla="*/ 15 h 179"/>
              <a:gd name="T44" fmla="*/ 3 w 128"/>
              <a:gd name="T45" fmla="*/ 38 h 179"/>
              <a:gd name="T46" fmla="*/ 9 w 128"/>
              <a:gd name="T47" fmla="*/ 44 h 179"/>
              <a:gd name="T48" fmla="*/ 32 w 128"/>
              <a:gd name="T49" fmla="*/ 33 h 179"/>
              <a:gd name="T50" fmla="*/ 43 w 128"/>
              <a:gd name="T51" fmla="*/ 9 h 179"/>
              <a:gd name="T52" fmla="*/ 49 w 128"/>
              <a:gd name="T53" fmla="*/ 93 h 179"/>
              <a:gd name="T54" fmla="*/ 49 w 128"/>
              <a:gd name="T55" fmla="*/ 105 h 179"/>
              <a:gd name="T56" fmla="*/ 66 w 128"/>
              <a:gd name="T57" fmla="*/ 105 h 179"/>
              <a:gd name="T58" fmla="*/ 66 w 128"/>
              <a:gd name="T59" fmla="*/ 93 h 179"/>
              <a:gd name="T60" fmla="*/ 58 w 128"/>
              <a:gd name="T61" fmla="*/ 95 h 179"/>
              <a:gd name="T62" fmla="*/ 49 w 128"/>
              <a:gd name="T63" fmla="*/ 93 h 179"/>
              <a:gd name="T64" fmla="*/ 70 w 128"/>
              <a:gd name="T65" fmla="*/ 76 h 179"/>
              <a:gd name="T66" fmla="*/ 58 w 128"/>
              <a:gd name="T67" fmla="*/ 64 h 179"/>
              <a:gd name="T68" fmla="*/ 45 w 128"/>
              <a:gd name="T69" fmla="*/ 76 h 179"/>
              <a:gd name="T70" fmla="*/ 58 w 128"/>
              <a:gd name="T71" fmla="*/ 88 h 179"/>
              <a:gd name="T72" fmla="*/ 70 w 128"/>
              <a:gd name="T73" fmla="*/ 76 h 179"/>
              <a:gd name="T74" fmla="*/ 62 w 128"/>
              <a:gd name="T75" fmla="*/ 113 h 179"/>
              <a:gd name="T76" fmla="*/ 53 w 128"/>
              <a:gd name="T77" fmla="*/ 113 h 179"/>
              <a:gd name="T78" fmla="*/ 53 w 128"/>
              <a:gd name="T79" fmla="*/ 129 h 179"/>
              <a:gd name="T80" fmla="*/ 25 w 128"/>
              <a:gd name="T81" fmla="*/ 171 h 179"/>
              <a:gd name="T82" fmla="*/ 33 w 128"/>
              <a:gd name="T83" fmla="*/ 175 h 179"/>
              <a:gd name="T84" fmla="*/ 53 w 128"/>
              <a:gd name="T85" fmla="*/ 144 h 179"/>
              <a:gd name="T86" fmla="*/ 53 w 128"/>
              <a:gd name="T87" fmla="*/ 179 h 179"/>
              <a:gd name="T88" fmla="*/ 62 w 128"/>
              <a:gd name="T89" fmla="*/ 179 h 179"/>
              <a:gd name="T90" fmla="*/ 62 w 128"/>
              <a:gd name="T91" fmla="*/ 144 h 179"/>
              <a:gd name="T92" fmla="*/ 82 w 128"/>
              <a:gd name="T93" fmla="*/ 175 h 179"/>
              <a:gd name="T94" fmla="*/ 90 w 128"/>
              <a:gd name="T95" fmla="*/ 171 h 179"/>
              <a:gd name="T96" fmla="*/ 62 w 128"/>
              <a:gd name="T97" fmla="*/ 129 h 179"/>
              <a:gd name="T98" fmla="*/ 62 w 128"/>
              <a:gd name="T99" fmla="*/ 113 h 179"/>
              <a:gd name="T100" fmla="*/ 127 w 128"/>
              <a:gd name="T101" fmla="*/ 120 h 179"/>
              <a:gd name="T102" fmla="*/ 102 w 128"/>
              <a:gd name="T103" fmla="*/ 92 h 179"/>
              <a:gd name="T104" fmla="*/ 98 w 128"/>
              <a:gd name="T105" fmla="*/ 98 h 179"/>
              <a:gd name="T106" fmla="*/ 92 w 128"/>
              <a:gd name="T107" fmla="*/ 102 h 179"/>
              <a:gd name="T108" fmla="*/ 120 w 128"/>
              <a:gd name="T109" fmla="*/ 127 h 179"/>
              <a:gd name="T110" fmla="*/ 120 w 128"/>
              <a:gd name="T111" fmla="*/ 128 h 179"/>
              <a:gd name="T112" fmla="*/ 125 w 128"/>
              <a:gd name="T113" fmla="*/ 125 h 179"/>
              <a:gd name="T114" fmla="*/ 128 w 128"/>
              <a:gd name="T115" fmla="*/ 120 h 179"/>
              <a:gd name="T116" fmla="*/ 127 w 128"/>
              <a:gd name="T117" fmla="*/ 12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79">
                <a:moveTo>
                  <a:pt x="76" y="76"/>
                </a:moveTo>
                <a:cubicBezTo>
                  <a:pt x="76" y="81"/>
                  <a:pt x="74" y="85"/>
                  <a:pt x="71" y="89"/>
                </a:cubicBezTo>
                <a:cubicBezTo>
                  <a:pt x="84" y="99"/>
                  <a:pt x="84" y="99"/>
                  <a:pt x="84" y="99"/>
                </a:cubicBezTo>
                <a:cubicBezTo>
                  <a:pt x="84" y="100"/>
                  <a:pt x="84" y="100"/>
                  <a:pt x="84" y="100"/>
                </a:cubicBezTo>
                <a:cubicBezTo>
                  <a:pt x="85" y="101"/>
                  <a:pt x="89" y="98"/>
                  <a:pt x="94" y="94"/>
                </a:cubicBezTo>
                <a:cubicBezTo>
                  <a:pt x="98" y="90"/>
                  <a:pt x="101" y="85"/>
                  <a:pt x="100" y="84"/>
                </a:cubicBezTo>
                <a:cubicBezTo>
                  <a:pt x="100" y="84"/>
                  <a:pt x="100" y="84"/>
                  <a:pt x="99" y="84"/>
                </a:cubicBezTo>
                <a:cubicBezTo>
                  <a:pt x="78" y="58"/>
                  <a:pt x="78" y="58"/>
                  <a:pt x="78" y="58"/>
                </a:cubicBezTo>
                <a:cubicBezTo>
                  <a:pt x="77" y="61"/>
                  <a:pt x="75" y="63"/>
                  <a:pt x="73" y="66"/>
                </a:cubicBezTo>
                <a:cubicBezTo>
                  <a:pt x="75" y="69"/>
                  <a:pt x="76" y="72"/>
                  <a:pt x="76" y="76"/>
                </a:cubicBezTo>
                <a:close/>
                <a:moveTo>
                  <a:pt x="58" y="57"/>
                </a:moveTo>
                <a:cubicBezTo>
                  <a:pt x="62" y="57"/>
                  <a:pt x="66" y="59"/>
                  <a:pt x="69" y="61"/>
                </a:cubicBezTo>
                <a:cubicBezTo>
                  <a:pt x="73" y="56"/>
                  <a:pt x="75" y="52"/>
                  <a:pt x="74" y="51"/>
                </a:cubicBezTo>
                <a:cubicBezTo>
                  <a:pt x="74" y="51"/>
                  <a:pt x="74" y="51"/>
                  <a:pt x="74" y="51"/>
                </a:cubicBezTo>
                <a:cubicBezTo>
                  <a:pt x="48" y="20"/>
                  <a:pt x="48" y="20"/>
                  <a:pt x="48" y="20"/>
                </a:cubicBezTo>
                <a:cubicBezTo>
                  <a:pt x="46" y="25"/>
                  <a:pt x="42" y="31"/>
                  <a:pt x="36" y="36"/>
                </a:cubicBezTo>
                <a:cubicBezTo>
                  <a:pt x="31" y="42"/>
                  <a:pt x="25" y="46"/>
                  <a:pt x="20" y="48"/>
                </a:cubicBezTo>
                <a:cubicBezTo>
                  <a:pt x="42" y="66"/>
                  <a:pt x="42" y="66"/>
                  <a:pt x="42" y="66"/>
                </a:cubicBezTo>
                <a:cubicBezTo>
                  <a:pt x="45" y="61"/>
                  <a:pt x="51" y="57"/>
                  <a:pt x="58" y="57"/>
                </a:cubicBezTo>
                <a:close/>
                <a:moveTo>
                  <a:pt x="43" y="9"/>
                </a:moveTo>
                <a:cubicBezTo>
                  <a:pt x="38" y="4"/>
                  <a:pt x="38" y="4"/>
                  <a:pt x="38" y="4"/>
                </a:cubicBezTo>
                <a:cubicBezTo>
                  <a:pt x="34" y="0"/>
                  <a:pt x="24" y="6"/>
                  <a:pt x="14" y="15"/>
                </a:cubicBezTo>
                <a:cubicBezTo>
                  <a:pt x="5" y="25"/>
                  <a:pt x="0" y="35"/>
                  <a:pt x="3" y="38"/>
                </a:cubicBezTo>
                <a:cubicBezTo>
                  <a:pt x="9" y="44"/>
                  <a:pt x="9" y="44"/>
                  <a:pt x="9" y="44"/>
                </a:cubicBezTo>
                <a:cubicBezTo>
                  <a:pt x="12" y="47"/>
                  <a:pt x="22" y="42"/>
                  <a:pt x="32" y="33"/>
                </a:cubicBezTo>
                <a:cubicBezTo>
                  <a:pt x="42" y="23"/>
                  <a:pt x="47" y="13"/>
                  <a:pt x="43" y="9"/>
                </a:cubicBezTo>
                <a:close/>
                <a:moveTo>
                  <a:pt x="49" y="93"/>
                </a:moveTo>
                <a:cubicBezTo>
                  <a:pt x="49" y="105"/>
                  <a:pt x="49" y="105"/>
                  <a:pt x="49" y="105"/>
                </a:cubicBezTo>
                <a:cubicBezTo>
                  <a:pt x="66" y="105"/>
                  <a:pt x="66" y="105"/>
                  <a:pt x="66" y="105"/>
                </a:cubicBezTo>
                <a:cubicBezTo>
                  <a:pt x="66" y="93"/>
                  <a:pt x="66" y="93"/>
                  <a:pt x="66" y="93"/>
                </a:cubicBezTo>
                <a:cubicBezTo>
                  <a:pt x="63" y="94"/>
                  <a:pt x="61" y="95"/>
                  <a:pt x="58" y="95"/>
                </a:cubicBezTo>
                <a:cubicBezTo>
                  <a:pt x="55" y="95"/>
                  <a:pt x="52" y="94"/>
                  <a:pt x="49" y="93"/>
                </a:cubicBezTo>
                <a:close/>
                <a:moveTo>
                  <a:pt x="70" y="76"/>
                </a:moveTo>
                <a:cubicBezTo>
                  <a:pt x="70" y="69"/>
                  <a:pt x="64" y="64"/>
                  <a:pt x="58" y="64"/>
                </a:cubicBezTo>
                <a:cubicBezTo>
                  <a:pt x="51" y="64"/>
                  <a:pt x="45" y="69"/>
                  <a:pt x="45" y="76"/>
                </a:cubicBezTo>
                <a:cubicBezTo>
                  <a:pt x="45" y="83"/>
                  <a:pt x="51" y="88"/>
                  <a:pt x="58" y="88"/>
                </a:cubicBezTo>
                <a:cubicBezTo>
                  <a:pt x="64" y="88"/>
                  <a:pt x="70" y="83"/>
                  <a:pt x="70" y="76"/>
                </a:cubicBezTo>
                <a:close/>
                <a:moveTo>
                  <a:pt x="62" y="113"/>
                </a:moveTo>
                <a:cubicBezTo>
                  <a:pt x="53" y="113"/>
                  <a:pt x="53" y="113"/>
                  <a:pt x="53" y="113"/>
                </a:cubicBezTo>
                <a:cubicBezTo>
                  <a:pt x="53" y="129"/>
                  <a:pt x="53" y="129"/>
                  <a:pt x="53" y="129"/>
                </a:cubicBezTo>
                <a:cubicBezTo>
                  <a:pt x="25" y="171"/>
                  <a:pt x="25" y="171"/>
                  <a:pt x="25" y="171"/>
                </a:cubicBezTo>
                <a:cubicBezTo>
                  <a:pt x="33" y="175"/>
                  <a:pt x="33" y="175"/>
                  <a:pt x="33" y="175"/>
                </a:cubicBezTo>
                <a:cubicBezTo>
                  <a:pt x="53" y="144"/>
                  <a:pt x="53" y="144"/>
                  <a:pt x="53" y="144"/>
                </a:cubicBezTo>
                <a:cubicBezTo>
                  <a:pt x="53" y="179"/>
                  <a:pt x="53" y="179"/>
                  <a:pt x="53" y="179"/>
                </a:cubicBezTo>
                <a:cubicBezTo>
                  <a:pt x="62" y="179"/>
                  <a:pt x="62" y="179"/>
                  <a:pt x="62" y="179"/>
                </a:cubicBezTo>
                <a:cubicBezTo>
                  <a:pt x="62" y="144"/>
                  <a:pt x="62" y="144"/>
                  <a:pt x="62" y="144"/>
                </a:cubicBezTo>
                <a:cubicBezTo>
                  <a:pt x="82" y="175"/>
                  <a:pt x="82" y="175"/>
                  <a:pt x="82" y="175"/>
                </a:cubicBezTo>
                <a:cubicBezTo>
                  <a:pt x="90" y="171"/>
                  <a:pt x="90" y="171"/>
                  <a:pt x="90" y="171"/>
                </a:cubicBezTo>
                <a:cubicBezTo>
                  <a:pt x="62" y="129"/>
                  <a:pt x="62" y="129"/>
                  <a:pt x="62" y="129"/>
                </a:cubicBezTo>
                <a:lnTo>
                  <a:pt x="62" y="113"/>
                </a:lnTo>
                <a:close/>
                <a:moveTo>
                  <a:pt x="127" y="120"/>
                </a:moveTo>
                <a:cubicBezTo>
                  <a:pt x="102" y="92"/>
                  <a:pt x="102" y="92"/>
                  <a:pt x="102" y="92"/>
                </a:cubicBezTo>
                <a:cubicBezTo>
                  <a:pt x="102" y="94"/>
                  <a:pt x="100" y="96"/>
                  <a:pt x="98" y="98"/>
                </a:cubicBezTo>
                <a:cubicBezTo>
                  <a:pt x="96" y="100"/>
                  <a:pt x="94" y="102"/>
                  <a:pt x="92" y="102"/>
                </a:cubicBezTo>
                <a:cubicBezTo>
                  <a:pt x="120" y="127"/>
                  <a:pt x="120" y="127"/>
                  <a:pt x="120" y="127"/>
                </a:cubicBezTo>
                <a:cubicBezTo>
                  <a:pt x="120" y="128"/>
                  <a:pt x="120" y="128"/>
                  <a:pt x="120" y="128"/>
                </a:cubicBezTo>
                <a:cubicBezTo>
                  <a:pt x="120" y="128"/>
                  <a:pt x="122" y="127"/>
                  <a:pt x="125" y="125"/>
                </a:cubicBezTo>
                <a:cubicBezTo>
                  <a:pt x="127" y="122"/>
                  <a:pt x="128" y="120"/>
                  <a:pt x="128" y="120"/>
                </a:cubicBezTo>
                <a:cubicBezTo>
                  <a:pt x="128" y="120"/>
                  <a:pt x="127" y="120"/>
                  <a:pt x="127" y="12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5" name="Freeform 86">
            <a:extLst>
              <a:ext uri="{FF2B5EF4-FFF2-40B4-BE49-F238E27FC236}">
                <a16:creationId xmlns:a16="http://schemas.microsoft.com/office/drawing/2014/main" id="{F8CFE583-C80E-4EA8-AAA9-9DCE0EA1765E}"/>
              </a:ext>
            </a:extLst>
          </p:cNvPr>
          <p:cNvSpPr>
            <a:spLocks noEditPoints="1"/>
          </p:cNvSpPr>
          <p:nvPr/>
        </p:nvSpPr>
        <p:spPr bwMode="auto">
          <a:xfrm>
            <a:off x="1902374" y="4497051"/>
            <a:ext cx="512355" cy="509794"/>
          </a:xfrm>
          <a:custGeom>
            <a:avLst/>
            <a:gdLst>
              <a:gd name="T0" fmla="*/ 29 w 151"/>
              <a:gd name="T1" fmla="*/ 82 h 151"/>
              <a:gd name="T2" fmla="*/ 42 w 151"/>
              <a:gd name="T3" fmla="*/ 109 h 151"/>
              <a:gd name="T4" fmla="*/ 69 w 151"/>
              <a:gd name="T5" fmla="*/ 122 h 151"/>
              <a:gd name="T6" fmla="*/ 47 w 151"/>
              <a:gd name="T7" fmla="*/ 103 h 151"/>
              <a:gd name="T8" fmla="*/ 29 w 151"/>
              <a:gd name="T9" fmla="*/ 82 h 151"/>
              <a:gd name="T10" fmla="*/ 118 w 151"/>
              <a:gd name="T11" fmla="*/ 72 h 151"/>
              <a:gd name="T12" fmla="*/ 117 w 151"/>
              <a:gd name="T13" fmla="*/ 65 h 151"/>
              <a:gd name="T14" fmla="*/ 117 w 151"/>
              <a:gd name="T15" fmla="*/ 65 h 151"/>
              <a:gd name="T16" fmla="*/ 115 w 151"/>
              <a:gd name="T17" fmla="*/ 58 h 151"/>
              <a:gd name="T18" fmla="*/ 113 w 151"/>
              <a:gd name="T19" fmla="*/ 56 h 151"/>
              <a:gd name="T20" fmla="*/ 111 w 151"/>
              <a:gd name="T21" fmla="*/ 52 h 151"/>
              <a:gd name="T22" fmla="*/ 106 w 151"/>
              <a:gd name="T23" fmla="*/ 45 h 151"/>
              <a:gd name="T24" fmla="*/ 99 w 151"/>
              <a:gd name="T25" fmla="*/ 40 h 151"/>
              <a:gd name="T26" fmla="*/ 95 w 151"/>
              <a:gd name="T27" fmla="*/ 38 h 151"/>
              <a:gd name="T28" fmla="*/ 93 w 151"/>
              <a:gd name="T29" fmla="*/ 36 h 151"/>
              <a:gd name="T30" fmla="*/ 86 w 151"/>
              <a:gd name="T31" fmla="*/ 34 h 151"/>
              <a:gd name="T32" fmla="*/ 86 w 151"/>
              <a:gd name="T33" fmla="*/ 34 h 151"/>
              <a:gd name="T34" fmla="*/ 79 w 151"/>
              <a:gd name="T35" fmla="*/ 33 h 151"/>
              <a:gd name="T36" fmla="*/ 13 w 151"/>
              <a:gd name="T37" fmla="*/ 10 h 151"/>
              <a:gd name="T38" fmla="*/ 53 w 151"/>
              <a:gd name="T39" fmla="*/ 98 h 151"/>
              <a:gd name="T40" fmla="*/ 141 w 151"/>
              <a:gd name="T41" fmla="*/ 138 h 151"/>
              <a:gd name="T42" fmla="*/ 118 w 151"/>
              <a:gd name="T43" fmla="*/ 72 h 151"/>
              <a:gd name="T44" fmla="*/ 42 w 151"/>
              <a:gd name="T45" fmla="*/ 45 h 151"/>
              <a:gd name="T46" fmla="*/ 37 w 151"/>
              <a:gd name="T47" fmla="*/ 51 h 151"/>
              <a:gd name="T48" fmla="*/ 28 w 151"/>
              <a:gd name="T49" fmla="*/ 18 h 151"/>
              <a:gd name="T50" fmla="*/ 69 w 151"/>
              <a:gd name="T51" fmla="*/ 33 h 151"/>
              <a:gd name="T52" fmla="*/ 42 w 151"/>
              <a:gd name="T53" fmla="*/ 45 h 151"/>
              <a:gd name="T54" fmla="*/ 133 w 151"/>
              <a:gd name="T55" fmla="*/ 123 h 151"/>
              <a:gd name="T56" fmla="*/ 100 w 151"/>
              <a:gd name="T57" fmla="*/ 114 h 151"/>
              <a:gd name="T58" fmla="*/ 106 w 151"/>
              <a:gd name="T59" fmla="*/ 109 h 151"/>
              <a:gd name="T60" fmla="*/ 118 w 151"/>
              <a:gd name="T61" fmla="*/ 82 h 151"/>
              <a:gd name="T62" fmla="*/ 133 w 151"/>
              <a:gd name="T63" fmla="*/ 12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1">
                <a:moveTo>
                  <a:pt x="29" y="82"/>
                </a:moveTo>
                <a:cubicBezTo>
                  <a:pt x="30" y="92"/>
                  <a:pt x="34" y="102"/>
                  <a:pt x="42" y="109"/>
                </a:cubicBezTo>
                <a:cubicBezTo>
                  <a:pt x="49" y="117"/>
                  <a:pt x="59" y="121"/>
                  <a:pt x="69" y="122"/>
                </a:cubicBezTo>
                <a:cubicBezTo>
                  <a:pt x="62" y="117"/>
                  <a:pt x="55" y="111"/>
                  <a:pt x="47" y="103"/>
                </a:cubicBezTo>
                <a:cubicBezTo>
                  <a:pt x="40" y="96"/>
                  <a:pt x="34" y="89"/>
                  <a:pt x="29" y="82"/>
                </a:cubicBezTo>
                <a:close/>
                <a:moveTo>
                  <a:pt x="118" y="72"/>
                </a:moveTo>
                <a:cubicBezTo>
                  <a:pt x="118" y="70"/>
                  <a:pt x="118" y="67"/>
                  <a:pt x="117" y="65"/>
                </a:cubicBezTo>
                <a:cubicBezTo>
                  <a:pt x="117" y="65"/>
                  <a:pt x="117" y="65"/>
                  <a:pt x="117" y="65"/>
                </a:cubicBezTo>
                <a:cubicBezTo>
                  <a:pt x="116" y="63"/>
                  <a:pt x="116" y="60"/>
                  <a:pt x="115" y="58"/>
                </a:cubicBezTo>
                <a:cubicBezTo>
                  <a:pt x="114" y="58"/>
                  <a:pt x="114" y="57"/>
                  <a:pt x="113" y="56"/>
                </a:cubicBezTo>
                <a:cubicBezTo>
                  <a:pt x="113" y="55"/>
                  <a:pt x="112" y="53"/>
                  <a:pt x="111" y="52"/>
                </a:cubicBezTo>
                <a:cubicBezTo>
                  <a:pt x="109" y="49"/>
                  <a:pt x="108" y="47"/>
                  <a:pt x="106" y="45"/>
                </a:cubicBezTo>
                <a:cubicBezTo>
                  <a:pt x="104" y="43"/>
                  <a:pt x="101" y="42"/>
                  <a:pt x="99" y="40"/>
                </a:cubicBezTo>
                <a:cubicBezTo>
                  <a:pt x="98" y="39"/>
                  <a:pt x="96" y="38"/>
                  <a:pt x="95" y="38"/>
                </a:cubicBezTo>
                <a:cubicBezTo>
                  <a:pt x="94" y="37"/>
                  <a:pt x="93" y="37"/>
                  <a:pt x="93" y="36"/>
                </a:cubicBezTo>
                <a:cubicBezTo>
                  <a:pt x="91" y="35"/>
                  <a:pt x="88" y="35"/>
                  <a:pt x="86" y="34"/>
                </a:cubicBezTo>
                <a:cubicBezTo>
                  <a:pt x="86" y="34"/>
                  <a:pt x="86" y="34"/>
                  <a:pt x="86" y="34"/>
                </a:cubicBezTo>
                <a:cubicBezTo>
                  <a:pt x="84" y="33"/>
                  <a:pt x="81" y="33"/>
                  <a:pt x="79" y="33"/>
                </a:cubicBezTo>
                <a:cubicBezTo>
                  <a:pt x="50" y="10"/>
                  <a:pt x="23" y="0"/>
                  <a:pt x="13" y="10"/>
                </a:cubicBezTo>
                <a:cubicBezTo>
                  <a:pt x="0" y="23"/>
                  <a:pt x="18" y="62"/>
                  <a:pt x="53" y="98"/>
                </a:cubicBezTo>
                <a:cubicBezTo>
                  <a:pt x="89" y="133"/>
                  <a:pt x="128" y="151"/>
                  <a:pt x="141" y="138"/>
                </a:cubicBezTo>
                <a:cubicBezTo>
                  <a:pt x="151" y="128"/>
                  <a:pt x="141" y="101"/>
                  <a:pt x="118" y="72"/>
                </a:cubicBezTo>
                <a:close/>
                <a:moveTo>
                  <a:pt x="42" y="45"/>
                </a:moveTo>
                <a:cubicBezTo>
                  <a:pt x="40" y="47"/>
                  <a:pt x="38" y="49"/>
                  <a:pt x="37" y="51"/>
                </a:cubicBezTo>
                <a:cubicBezTo>
                  <a:pt x="27" y="36"/>
                  <a:pt x="23" y="23"/>
                  <a:pt x="28" y="18"/>
                </a:cubicBezTo>
                <a:cubicBezTo>
                  <a:pt x="34" y="13"/>
                  <a:pt x="50" y="19"/>
                  <a:pt x="69" y="33"/>
                </a:cubicBezTo>
                <a:cubicBezTo>
                  <a:pt x="59" y="34"/>
                  <a:pt x="49" y="38"/>
                  <a:pt x="42" y="45"/>
                </a:cubicBezTo>
                <a:close/>
                <a:moveTo>
                  <a:pt x="133" y="123"/>
                </a:moveTo>
                <a:cubicBezTo>
                  <a:pt x="128" y="128"/>
                  <a:pt x="115" y="124"/>
                  <a:pt x="100" y="114"/>
                </a:cubicBezTo>
                <a:cubicBezTo>
                  <a:pt x="102" y="113"/>
                  <a:pt x="104" y="111"/>
                  <a:pt x="106" y="109"/>
                </a:cubicBezTo>
                <a:cubicBezTo>
                  <a:pt x="113" y="102"/>
                  <a:pt x="117" y="92"/>
                  <a:pt x="118" y="82"/>
                </a:cubicBezTo>
                <a:cubicBezTo>
                  <a:pt x="132" y="101"/>
                  <a:pt x="138" y="117"/>
                  <a:pt x="133" y="12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6" name="Freeform 87">
            <a:extLst>
              <a:ext uri="{FF2B5EF4-FFF2-40B4-BE49-F238E27FC236}">
                <a16:creationId xmlns:a16="http://schemas.microsoft.com/office/drawing/2014/main" id="{291C0EDF-C378-472C-8922-67DAD6E2EE90}"/>
              </a:ext>
            </a:extLst>
          </p:cNvPr>
          <p:cNvSpPr>
            <a:spLocks noEditPoints="1"/>
          </p:cNvSpPr>
          <p:nvPr/>
        </p:nvSpPr>
        <p:spPr bwMode="auto">
          <a:xfrm>
            <a:off x="2968072" y="4476556"/>
            <a:ext cx="612265" cy="558467"/>
          </a:xfrm>
          <a:custGeom>
            <a:avLst/>
            <a:gdLst>
              <a:gd name="T0" fmla="*/ 163 w 181"/>
              <a:gd name="T1" fmla="*/ 59 h 165"/>
              <a:gd name="T2" fmla="*/ 149 w 181"/>
              <a:gd name="T3" fmla="*/ 57 h 165"/>
              <a:gd name="T4" fmla="*/ 142 w 181"/>
              <a:gd name="T5" fmla="*/ 50 h 165"/>
              <a:gd name="T6" fmla="*/ 153 w 181"/>
              <a:gd name="T7" fmla="*/ 46 h 165"/>
              <a:gd name="T8" fmla="*/ 169 w 181"/>
              <a:gd name="T9" fmla="*/ 38 h 165"/>
              <a:gd name="T10" fmla="*/ 152 w 181"/>
              <a:gd name="T11" fmla="*/ 41 h 165"/>
              <a:gd name="T12" fmla="*/ 135 w 181"/>
              <a:gd name="T13" fmla="*/ 46 h 165"/>
              <a:gd name="T14" fmla="*/ 130 w 181"/>
              <a:gd name="T15" fmla="*/ 40 h 165"/>
              <a:gd name="T16" fmla="*/ 127 w 181"/>
              <a:gd name="T17" fmla="*/ 30 h 165"/>
              <a:gd name="T18" fmla="*/ 133 w 181"/>
              <a:gd name="T19" fmla="*/ 20 h 165"/>
              <a:gd name="T20" fmla="*/ 138 w 181"/>
              <a:gd name="T21" fmla="*/ 10 h 165"/>
              <a:gd name="T22" fmla="*/ 124 w 181"/>
              <a:gd name="T23" fmla="*/ 15 h 165"/>
              <a:gd name="T24" fmla="*/ 115 w 181"/>
              <a:gd name="T25" fmla="*/ 27 h 165"/>
              <a:gd name="T26" fmla="*/ 105 w 181"/>
              <a:gd name="T27" fmla="*/ 30 h 165"/>
              <a:gd name="T28" fmla="*/ 90 w 181"/>
              <a:gd name="T29" fmla="*/ 27 h 165"/>
              <a:gd name="T30" fmla="*/ 75 w 181"/>
              <a:gd name="T31" fmla="*/ 15 h 165"/>
              <a:gd name="T32" fmla="*/ 72 w 181"/>
              <a:gd name="T33" fmla="*/ 26 h 165"/>
              <a:gd name="T34" fmla="*/ 52 w 181"/>
              <a:gd name="T35" fmla="*/ 30 h 165"/>
              <a:gd name="T36" fmla="*/ 45 w 181"/>
              <a:gd name="T37" fmla="*/ 11 h 165"/>
              <a:gd name="T38" fmla="*/ 42 w 181"/>
              <a:gd name="T39" fmla="*/ 25 h 165"/>
              <a:gd name="T40" fmla="*/ 47 w 181"/>
              <a:gd name="T41" fmla="*/ 45 h 165"/>
              <a:gd name="T42" fmla="*/ 29 w 181"/>
              <a:gd name="T43" fmla="*/ 63 h 165"/>
              <a:gd name="T44" fmla="*/ 11 w 181"/>
              <a:gd name="T45" fmla="*/ 75 h 165"/>
              <a:gd name="T46" fmla="*/ 22 w 181"/>
              <a:gd name="T47" fmla="*/ 85 h 165"/>
              <a:gd name="T48" fmla="*/ 17 w 181"/>
              <a:gd name="T49" fmla="*/ 100 h 165"/>
              <a:gd name="T50" fmla="*/ 7 w 181"/>
              <a:gd name="T51" fmla="*/ 116 h 165"/>
              <a:gd name="T52" fmla="*/ 31 w 181"/>
              <a:gd name="T53" fmla="*/ 109 h 165"/>
              <a:gd name="T54" fmla="*/ 31 w 181"/>
              <a:gd name="T55" fmla="*/ 119 h 165"/>
              <a:gd name="T56" fmla="*/ 30 w 181"/>
              <a:gd name="T57" fmla="*/ 136 h 165"/>
              <a:gd name="T58" fmla="*/ 44 w 181"/>
              <a:gd name="T59" fmla="*/ 132 h 165"/>
              <a:gd name="T60" fmla="*/ 55 w 181"/>
              <a:gd name="T61" fmla="*/ 124 h 165"/>
              <a:gd name="T62" fmla="*/ 58 w 181"/>
              <a:gd name="T63" fmla="*/ 136 h 165"/>
              <a:gd name="T64" fmla="*/ 53 w 181"/>
              <a:gd name="T65" fmla="*/ 146 h 165"/>
              <a:gd name="T66" fmla="*/ 64 w 181"/>
              <a:gd name="T67" fmla="*/ 139 h 165"/>
              <a:gd name="T68" fmla="*/ 75 w 181"/>
              <a:gd name="T69" fmla="*/ 132 h 165"/>
              <a:gd name="T70" fmla="*/ 85 w 181"/>
              <a:gd name="T71" fmla="*/ 136 h 165"/>
              <a:gd name="T72" fmla="*/ 85 w 181"/>
              <a:gd name="T73" fmla="*/ 152 h 165"/>
              <a:gd name="T74" fmla="*/ 91 w 181"/>
              <a:gd name="T75" fmla="*/ 151 h 165"/>
              <a:gd name="T76" fmla="*/ 95 w 181"/>
              <a:gd name="T77" fmla="*/ 138 h 165"/>
              <a:gd name="T78" fmla="*/ 104 w 181"/>
              <a:gd name="T79" fmla="*/ 140 h 165"/>
              <a:gd name="T80" fmla="*/ 113 w 181"/>
              <a:gd name="T81" fmla="*/ 151 h 165"/>
              <a:gd name="T82" fmla="*/ 123 w 181"/>
              <a:gd name="T83" fmla="*/ 159 h 165"/>
              <a:gd name="T84" fmla="*/ 134 w 181"/>
              <a:gd name="T85" fmla="*/ 163 h 165"/>
              <a:gd name="T86" fmla="*/ 121 w 181"/>
              <a:gd name="T87" fmla="*/ 150 h 165"/>
              <a:gd name="T88" fmla="*/ 119 w 181"/>
              <a:gd name="T89" fmla="*/ 136 h 165"/>
              <a:gd name="T90" fmla="*/ 123 w 181"/>
              <a:gd name="T91" fmla="*/ 128 h 165"/>
              <a:gd name="T92" fmla="*/ 140 w 181"/>
              <a:gd name="T93" fmla="*/ 133 h 165"/>
              <a:gd name="T94" fmla="*/ 132 w 181"/>
              <a:gd name="T95" fmla="*/ 127 h 165"/>
              <a:gd name="T96" fmla="*/ 133 w 181"/>
              <a:gd name="T97" fmla="*/ 120 h 165"/>
              <a:gd name="T98" fmla="*/ 139 w 181"/>
              <a:gd name="T99" fmla="*/ 114 h 165"/>
              <a:gd name="T100" fmla="*/ 146 w 181"/>
              <a:gd name="T101" fmla="*/ 104 h 165"/>
              <a:gd name="T102" fmla="*/ 152 w 181"/>
              <a:gd name="T103" fmla="*/ 92 h 165"/>
              <a:gd name="T104" fmla="*/ 144 w 181"/>
              <a:gd name="T105" fmla="*/ 79 h 165"/>
              <a:gd name="T106" fmla="*/ 148 w 181"/>
              <a:gd name="T107" fmla="*/ 69 h 165"/>
              <a:gd name="T108" fmla="*/ 163 w 181"/>
              <a:gd name="T109" fmla="*/ 69 h 165"/>
              <a:gd name="T110" fmla="*/ 174 w 181"/>
              <a:gd name="T111" fmla="*/ 73 h 165"/>
              <a:gd name="T112" fmla="*/ 44 w 181"/>
              <a:gd name="T113" fmla="*/ 8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1" h="165">
                <a:moveTo>
                  <a:pt x="180" y="71"/>
                </a:moveTo>
                <a:cubicBezTo>
                  <a:pt x="179" y="70"/>
                  <a:pt x="178" y="70"/>
                  <a:pt x="177" y="69"/>
                </a:cubicBezTo>
                <a:cubicBezTo>
                  <a:pt x="175" y="67"/>
                  <a:pt x="175" y="68"/>
                  <a:pt x="172" y="67"/>
                </a:cubicBezTo>
                <a:cubicBezTo>
                  <a:pt x="169" y="65"/>
                  <a:pt x="169" y="64"/>
                  <a:pt x="171" y="65"/>
                </a:cubicBezTo>
                <a:cubicBezTo>
                  <a:pt x="173" y="65"/>
                  <a:pt x="172" y="64"/>
                  <a:pt x="171" y="62"/>
                </a:cubicBezTo>
                <a:cubicBezTo>
                  <a:pt x="170" y="60"/>
                  <a:pt x="170" y="62"/>
                  <a:pt x="168" y="62"/>
                </a:cubicBezTo>
                <a:cubicBezTo>
                  <a:pt x="167" y="62"/>
                  <a:pt x="167" y="60"/>
                  <a:pt x="163" y="59"/>
                </a:cubicBezTo>
                <a:cubicBezTo>
                  <a:pt x="160" y="59"/>
                  <a:pt x="163" y="59"/>
                  <a:pt x="163" y="59"/>
                </a:cubicBezTo>
                <a:cubicBezTo>
                  <a:pt x="164" y="59"/>
                  <a:pt x="164" y="59"/>
                  <a:pt x="166" y="59"/>
                </a:cubicBezTo>
                <a:cubicBezTo>
                  <a:pt x="169" y="59"/>
                  <a:pt x="170" y="58"/>
                  <a:pt x="167" y="58"/>
                </a:cubicBezTo>
                <a:cubicBezTo>
                  <a:pt x="164" y="58"/>
                  <a:pt x="166" y="57"/>
                  <a:pt x="164" y="56"/>
                </a:cubicBezTo>
                <a:cubicBezTo>
                  <a:pt x="162" y="56"/>
                  <a:pt x="163" y="56"/>
                  <a:pt x="161" y="55"/>
                </a:cubicBezTo>
                <a:cubicBezTo>
                  <a:pt x="159" y="55"/>
                  <a:pt x="155" y="56"/>
                  <a:pt x="153" y="56"/>
                </a:cubicBezTo>
                <a:cubicBezTo>
                  <a:pt x="151" y="56"/>
                  <a:pt x="151" y="56"/>
                  <a:pt x="149" y="57"/>
                </a:cubicBezTo>
                <a:cubicBezTo>
                  <a:pt x="147" y="57"/>
                  <a:pt x="149" y="56"/>
                  <a:pt x="151" y="55"/>
                </a:cubicBezTo>
                <a:cubicBezTo>
                  <a:pt x="153" y="54"/>
                  <a:pt x="151" y="55"/>
                  <a:pt x="148" y="55"/>
                </a:cubicBezTo>
                <a:cubicBezTo>
                  <a:pt x="146" y="54"/>
                  <a:pt x="147" y="54"/>
                  <a:pt x="145" y="54"/>
                </a:cubicBezTo>
                <a:cubicBezTo>
                  <a:pt x="143" y="54"/>
                  <a:pt x="146" y="54"/>
                  <a:pt x="148" y="53"/>
                </a:cubicBezTo>
                <a:cubicBezTo>
                  <a:pt x="149" y="52"/>
                  <a:pt x="147" y="53"/>
                  <a:pt x="146" y="52"/>
                </a:cubicBezTo>
                <a:cubicBezTo>
                  <a:pt x="145" y="52"/>
                  <a:pt x="145" y="52"/>
                  <a:pt x="141" y="51"/>
                </a:cubicBezTo>
                <a:cubicBezTo>
                  <a:pt x="137" y="51"/>
                  <a:pt x="141" y="51"/>
                  <a:pt x="142" y="50"/>
                </a:cubicBezTo>
                <a:cubicBezTo>
                  <a:pt x="142" y="50"/>
                  <a:pt x="142" y="50"/>
                  <a:pt x="144" y="49"/>
                </a:cubicBezTo>
                <a:cubicBezTo>
                  <a:pt x="146" y="48"/>
                  <a:pt x="146" y="49"/>
                  <a:pt x="147" y="49"/>
                </a:cubicBezTo>
                <a:cubicBezTo>
                  <a:pt x="149" y="48"/>
                  <a:pt x="148" y="49"/>
                  <a:pt x="150" y="49"/>
                </a:cubicBezTo>
                <a:cubicBezTo>
                  <a:pt x="151" y="48"/>
                  <a:pt x="151" y="49"/>
                  <a:pt x="155" y="49"/>
                </a:cubicBezTo>
                <a:cubicBezTo>
                  <a:pt x="156" y="48"/>
                  <a:pt x="155" y="48"/>
                  <a:pt x="153" y="48"/>
                </a:cubicBezTo>
                <a:cubicBezTo>
                  <a:pt x="150" y="48"/>
                  <a:pt x="151" y="47"/>
                  <a:pt x="151" y="46"/>
                </a:cubicBezTo>
                <a:cubicBezTo>
                  <a:pt x="152" y="46"/>
                  <a:pt x="152" y="46"/>
                  <a:pt x="153" y="46"/>
                </a:cubicBezTo>
                <a:cubicBezTo>
                  <a:pt x="155" y="46"/>
                  <a:pt x="155" y="46"/>
                  <a:pt x="156" y="46"/>
                </a:cubicBezTo>
                <a:cubicBezTo>
                  <a:pt x="157" y="46"/>
                  <a:pt x="157" y="46"/>
                  <a:pt x="159" y="46"/>
                </a:cubicBezTo>
                <a:cubicBezTo>
                  <a:pt x="161" y="45"/>
                  <a:pt x="160" y="45"/>
                  <a:pt x="162" y="45"/>
                </a:cubicBezTo>
                <a:cubicBezTo>
                  <a:pt x="163" y="44"/>
                  <a:pt x="163" y="44"/>
                  <a:pt x="161" y="44"/>
                </a:cubicBezTo>
                <a:cubicBezTo>
                  <a:pt x="159" y="44"/>
                  <a:pt x="161" y="43"/>
                  <a:pt x="162" y="42"/>
                </a:cubicBezTo>
                <a:cubicBezTo>
                  <a:pt x="163" y="42"/>
                  <a:pt x="164" y="42"/>
                  <a:pt x="165" y="41"/>
                </a:cubicBezTo>
                <a:cubicBezTo>
                  <a:pt x="167" y="40"/>
                  <a:pt x="167" y="40"/>
                  <a:pt x="169" y="38"/>
                </a:cubicBezTo>
                <a:cubicBezTo>
                  <a:pt x="170" y="36"/>
                  <a:pt x="168" y="38"/>
                  <a:pt x="167" y="38"/>
                </a:cubicBezTo>
                <a:cubicBezTo>
                  <a:pt x="166" y="39"/>
                  <a:pt x="165" y="39"/>
                  <a:pt x="164" y="40"/>
                </a:cubicBezTo>
                <a:cubicBezTo>
                  <a:pt x="163" y="41"/>
                  <a:pt x="162" y="41"/>
                  <a:pt x="161" y="41"/>
                </a:cubicBezTo>
                <a:cubicBezTo>
                  <a:pt x="160" y="41"/>
                  <a:pt x="159" y="41"/>
                  <a:pt x="158" y="41"/>
                </a:cubicBezTo>
                <a:cubicBezTo>
                  <a:pt x="157" y="40"/>
                  <a:pt x="157" y="40"/>
                  <a:pt x="156" y="41"/>
                </a:cubicBezTo>
                <a:cubicBezTo>
                  <a:pt x="155" y="41"/>
                  <a:pt x="155" y="41"/>
                  <a:pt x="154" y="41"/>
                </a:cubicBezTo>
                <a:cubicBezTo>
                  <a:pt x="153" y="41"/>
                  <a:pt x="153" y="41"/>
                  <a:pt x="152" y="41"/>
                </a:cubicBezTo>
                <a:cubicBezTo>
                  <a:pt x="151" y="41"/>
                  <a:pt x="149" y="42"/>
                  <a:pt x="148" y="42"/>
                </a:cubicBezTo>
                <a:cubicBezTo>
                  <a:pt x="147" y="41"/>
                  <a:pt x="148" y="41"/>
                  <a:pt x="148" y="41"/>
                </a:cubicBezTo>
                <a:cubicBezTo>
                  <a:pt x="148" y="40"/>
                  <a:pt x="146" y="41"/>
                  <a:pt x="144" y="43"/>
                </a:cubicBezTo>
                <a:cubicBezTo>
                  <a:pt x="142" y="44"/>
                  <a:pt x="139" y="47"/>
                  <a:pt x="137" y="48"/>
                </a:cubicBezTo>
                <a:cubicBezTo>
                  <a:pt x="135" y="50"/>
                  <a:pt x="136" y="49"/>
                  <a:pt x="136" y="48"/>
                </a:cubicBezTo>
                <a:cubicBezTo>
                  <a:pt x="135" y="48"/>
                  <a:pt x="136" y="48"/>
                  <a:pt x="137" y="45"/>
                </a:cubicBezTo>
                <a:cubicBezTo>
                  <a:pt x="139" y="42"/>
                  <a:pt x="136" y="46"/>
                  <a:pt x="135" y="46"/>
                </a:cubicBezTo>
                <a:cubicBezTo>
                  <a:pt x="135" y="47"/>
                  <a:pt x="135" y="47"/>
                  <a:pt x="132" y="47"/>
                </a:cubicBezTo>
                <a:cubicBezTo>
                  <a:pt x="130" y="47"/>
                  <a:pt x="132" y="46"/>
                  <a:pt x="132" y="45"/>
                </a:cubicBezTo>
                <a:cubicBezTo>
                  <a:pt x="131" y="44"/>
                  <a:pt x="131" y="44"/>
                  <a:pt x="131" y="43"/>
                </a:cubicBezTo>
                <a:cubicBezTo>
                  <a:pt x="132" y="41"/>
                  <a:pt x="132" y="42"/>
                  <a:pt x="133" y="41"/>
                </a:cubicBezTo>
                <a:cubicBezTo>
                  <a:pt x="134" y="41"/>
                  <a:pt x="135" y="40"/>
                  <a:pt x="136" y="39"/>
                </a:cubicBezTo>
                <a:cubicBezTo>
                  <a:pt x="136" y="38"/>
                  <a:pt x="135" y="39"/>
                  <a:pt x="134" y="39"/>
                </a:cubicBezTo>
                <a:cubicBezTo>
                  <a:pt x="133" y="39"/>
                  <a:pt x="130" y="41"/>
                  <a:pt x="130" y="40"/>
                </a:cubicBezTo>
                <a:cubicBezTo>
                  <a:pt x="130" y="39"/>
                  <a:pt x="130" y="40"/>
                  <a:pt x="129" y="40"/>
                </a:cubicBezTo>
                <a:cubicBezTo>
                  <a:pt x="128" y="40"/>
                  <a:pt x="127" y="39"/>
                  <a:pt x="126" y="39"/>
                </a:cubicBezTo>
                <a:cubicBezTo>
                  <a:pt x="125" y="39"/>
                  <a:pt x="124" y="39"/>
                  <a:pt x="125" y="37"/>
                </a:cubicBezTo>
                <a:cubicBezTo>
                  <a:pt x="125" y="36"/>
                  <a:pt x="126" y="36"/>
                  <a:pt x="126" y="36"/>
                </a:cubicBezTo>
                <a:cubicBezTo>
                  <a:pt x="125" y="35"/>
                  <a:pt x="124" y="35"/>
                  <a:pt x="125" y="34"/>
                </a:cubicBezTo>
                <a:cubicBezTo>
                  <a:pt x="126" y="33"/>
                  <a:pt x="125" y="33"/>
                  <a:pt x="126" y="32"/>
                </a:cubicBezTo>
                <a:cubicBezTo>
                  <a:pt x="127" y="31"/>
                  <a:pt x="127" y="31"/>
                  <a:pt x="127" y="30"/>
                </a:cubicBezTo>
                <a:cubicBezTo>
                  <a:pt x="128" y="30"/>
                  <a:pt x="126" y="30"/>
                  <a:pt x="126" y="29"/>
                </a:cubicBezTo>
                <a:cubicBezTo>
                  <a:pt x="126" y="28"/>
                  <a:pt x="127" y="27"/>
                  <a:pt x="127" y="26"/>
                </a:cubicBezTo>
                <a:cubicBezTo>
                  <a:pt x="128" y="25"/>
                  <a:pt x="128" y="26"/>
                  <a:pt x="129" y="25"/>
                </a:cubicBezTo>
                <a:cubicBezTo>
                  <a:pt x="130" y="24"/>
                  <a:pt x="130" y="24"/>
                  <a:pt x="131" y="24"/>
                </a:cubicBezTo>
                <a:cubicBezTo>
                  <a:pt x="132" y="23"/>
                  <a:pt x="131" y="23"/>
                  <a:pt x="131" y="23"/>
                </a:cubicBezTo>
                <a:cubicBezTo>
                  <a:pt x="130" y="22"/>
                  <a:pt x="130" y="22"/>
                  <a:pt x="130" y="22"/>
                </a:cubicBezTo>
                <a:cubicBezTo>
                  <a:pt x="130" y="22"/>
                  <a:pt x="131" y="20"/>
                  <a:pt x="133" y="20"/>
                </a:cubicBezTo>
                <a:cubicBezTo>
                  <a:pt x="134" y="19"/>
                  <a:pt x="134" y="19"/>
                  <a:pt x="135" y="18"/>
                </a:cubicBezTo>
                <a:cubicBezTo>
                  <a:pt x="137" y="17"/>
                  <a:pt x="135" y="18"/>
                  <a:pt x="132" y="18"/>
                </a:cubicBezTo>
                <a:cubicBezTo>
                  <a:pt x="129" y="18"/>
                  <a:pt x="133" y="17"/>
                  <a:pt x="134" y="16"/>
                </a:cubicBezTo>
                <a:cubicBezTo>
                  <a:pt x="135" y="15"/>
                  <a:pt x="136" y="15"/>
                  <a:pt x="137" y="14"/>
                </a:cubicBezTo>
                <a:cubicBezTo>
                  <a:pt x="139" y="14"/>
                  <a:pt x="140" y="13"/>
                  <a:pt x="142" y="12"/>
                </a:cubicBezTo>
                <a:cubicBezTo>
                  <a:pt x="145" y="10"/>
                  <a:pt x="142" y="10"/>
                  <a:pt x="141" y="10"/>
                </a:cubicBezTo>
                <a:cubicBezTo>
                  <a:pt x="141" y="11"/>
                  <a:pt x="139" y="10"/>
                  <a:pt x="138" y="10"/>
                </a:cubicBezTo>
                <a:cubicBezTo>
                  <a:pt x="138" y="9"/>
                  <a:pt x="138" y="9"/>
                  <a:pt x="138" y="9"/>
                </a:cubicBezTo>
                <a:cubicBezTo>
                  <a:pt x="139" y="9"/>
                  <a:pt x="137" y="9"/>
                  <a:pt x="137" y="10"/>
                </a:cubicBezTo>
                <a:cubicBezTo>
                  <a:pt x="136" y="11"/>
                  <a:pt x="134" y="11"/>
                  <a:pt x="133" y="12"/>
                </a:cubicBezTo>
                <a:cubicBezTo>
                  <a:pt x="132" y="13"/>
                  <a:pt x="131" y="14"/>
                  <a:pt x="129" y="16"/>
                </a:cubicBezTo>
                <a:cubicBezTo>
                  <a:pt x="127" y="18"/>
                  <a:pt x="126" y="19"/>
                  <a:pt x="125" y="19"/>
                </a:cubicBezTo>
                <a:cubicBezTo>
                  <a:pt x="124" y="19"/>
                  <a:pt x="125" y="17"/>
                  <a:pt x="125" y="16"/>
                </a:cubicBezTo>
                <a:cubicBezTo>
                  <a:pt x="125" y="14"/>
                  <a:pt x="125" y="15"/>
                  <a:pt x="124" y="15"/>
                </a:cubicBezTo>
                <a:cubicBezTo>
                  <a:pt x="124" y="16"/>
                  <a:pt x="124" y="17"/>
                  <a:pt x="122" y="18"/>
                </a:cubicBezTo>
                <a:cubicBezTo>
                  <a:pt x="120" y="20"/>
                  <a:pt x="120" y="21"/>
                  <a:pt x="119" y="21"/>
                </a:cubicBezTo>
                <a:cubicBezTo>
                  <a:pt x="118" y="21"/>
                  <a:pt x="119" y="20"/>
                  <a:pt x="119" y="19"/>
                </a:cubicBezTo>
                <a:cubicBezTo>
                  <a:pt x="119" y="17"/>
                  <a:pt x="119" y="18"/>
                  <a:pt x="119" y="18"/>
                </a:cubicBezTo>
                <a:cubicBezTo>
                  <a:pt x="119" y="18"/>
                  <a:pt x="117" y="20"/>
                  <a:pt x="117" y="22"/>
                </a:cubicBezTo>
                <a:cubicBezTo>
                  <a:pt x="116" y="25"/>
                  <a:pt x="116" y="23"/>
                  <a:pt x="116" y="25"/>
                </a:cubicBezTo>
                <a:cubicBezTo>
                  <a:pt x="115" y="27"/>
                  <a:pt x="116" y="27"/>
                  <a:pt x="115" y="27"/>
                </a:cubicBezTo>
                <a:cubicBezTo>
                  <a:pt x="115" y="28"/>
                  <a:pt x="115" y="27"/>
                  <a:pt x="114" y="26"/>
                </a:cubicBezTo>
                <a:cubicBezTo>
                  <a:pt x="113" y="25"/>
                  <a:pt x="113" y="27"/>
                  <a:pt x="113" y="28"/>
                </a:cubicBezTo>
                <a:cubicBezTo>
                  <a:pt x="113" y="29"/>
                  <a:pt x="113" y="29"/>
                  <a:pt x="111" y="29"/>
                </a:cubicBezTo>
                <a:cubicBezTo>
                  <a:pt x="110" y="30"/>
                  <a:pt x="108" y="30"/>
                  <a:pt x="108" y="30"/>
                </a:cubicBezTo>
                <a:cubicBezTo>
                  <a:pt x="108" y="30"/>
                  <a:pt x="107" y="29"/>
                  <a:pt x="107" y="28"/>
                </a:cubicBezTo>
                <a:cubicBezTo>
                  <a:pt x="106" y="28"/>
                  <a:pt x="106" y="28"/>
                  <a:pt x="106" y="28"/>
                </a:cubicBezTo>
                <a:cubicBezTo>
                  <a:pt x="106" y="28"/>
                  <a:pt x="106" y="29"/>
                  <a:pt x="105" y="30"/>
                </a:cubicBezTo>
                <a:cubicBezTo>
                  <a:pt x="104" y="30"/>
                  <a:pt x="102" y="31"/>
                  <a:pt x="102" y="30"/>
                </a:cubicBezTo>
                <a:cubicBezTo>
                  <a:pt x="101" y="29"/>
                  <a:pt x="101" y="30"/>
                  <a:pt x="101" y="28"/>
                </a:cubicBezTo>
                <a:cubicBezTo>
                  <a:pt x="101" y="26"/>
                  <a:pt x="100" y="27"/>
                  <a:pt x="98" y="28"/>
                </a:cubicBezTo>
                <a:cubicBezTo>
                  <a:pt x="96" y="29"/>
                  <a:pt x="96" y="28"/>
                  <a:pt x="95" y="27"/>
                </a:cubicBezTo>
                <a:cubicBezTo>
                  <a:pt x="95" y="27"/>
                  <a:pt x="94" y="27"/>
                  <a:pt x="94" y="26"/>
                </a:cubicBezTo>
                <a:cubicBezTo>
                  <a:pt x="94" y="25"/>
                  <a:pt x="93" y="26"/>
                  <a:pt x="92" y="26"/>
                </a:cubicBezTo>
                <a:cubicBezTo>
                  <a:pt x="92" y="26"/>
                  <a:pt x="91" y="27"/>
                  <a:pt x="90" y="27"/>
                </a:cubicBezTo>
                <a:cubicBezTo>
                  <a:pt x="88" y="27"/>
                  <a:pt x="88" y="26"/>
                  <a:pt x="87" y="25"/>
                </a:cubicBezTo>
                <a:cubicBezTo>
                  <a:pt x="85" y="24"/>
                  <a:pt x="84" y="23"/>
                  <a:pt x="82" y="21"/>
                </a:cubicBezTo>
                <a:cubicBezTo>
                  <a:pt x="81" y="18"/>
                  <a:pt x="80" y="16"/>
                  <a:pt x="79" y="13"/>
                </a:cubicBezTo>
                <a:cubicBezTo>
                  <a:pt x="78" y="11"/>
                  <a:pt x="78" y="9"/>
                  <a:pt x="77" y="9"/>
                </a:cubicBezTo>
                <a:cubicBezTo>
                  <a:pt x="75" y="8"/>
                  <a:pt x="77" y="12"/>
                  <a:pt x="77" y="14"/>
                </a:cubicBezTo>
                <a:cubicBezTo>
                  <a:pt x="77" y="15"/>
                  <a:pt x="76" y="19"/>
                  <a:pt x="76" y="19"/>
                </a:cubicBezTo>
                <a:cubicBezTo>
                  <a:pt x="76" y="19"/>
                  <a:pt x="75" y="17"/>
                  <a:pt x="75" y="15"/>
                </a:cubicBezTo>
                <a:cubicBezTo>
                  <a:pt x="74" y="14"/>
                  <a:pt x="75" y="14"/>
                  <a:pt x="74" y="12"/>
                </a:cubicBezTo>
                <a:cubicBezTo>
                  <a:pt x="74" y="11"/>
                  <a:pt x="74" y="15"/>
                  <a:pt x="74" y="17"/>
                </a:cubicBezTo>
                <a:cubicBezTo>
                  <a:pt x="74" y="18"/>
                  <a:pt x="74" y="18"/>
                  <a:pt x="74" y="19"/>
                </a:cubicBezTo>
                <a:cubicBezTo>
                  <a:pt x="73" y="21"/>
                  <a:pt x="74" y="22"/>
                  <a:pt x="73" y="22"/>
                </a:cubicBezTo>
                <a:cubicBezTo>
                  <a:pt x="73" y="23"/>
                  <a:pt x="72" y="21"/>
                  <a:pt x="71" y="19"/>
                </a:cubicBezTo>
                <a:cubicBezTo>
                  <a:pt x="69" y="17"/>
                  <a:pt x="70" y="22"/>
                  <a:pt x="72" y="23"/>
                </a:cubicBezTo>
                <a:cubicBezTo>
                  <a:pt x="73" y="24"/>
                  <a:pt x="72" y="24"/>
                  <a:pt x="72" y="26"/>
                </a:cubicBezTo>
                <a:cubicBezTo>
                  <a:pt x="73" y="28"/>
                  <a:pt x="72" y="29"/>
                  <a:pt x="71" y="30"/>
                </a:cubicBezTo>
                <a:cubicBezTo>
                  <a:pt x="69" y="30"/>
                  <a:pt x="68" y="26"/>
                  <a:pt x="68" y="27"/>
                </a:cubicBezTo>
                <a:cubicBezTo>
                  <a:pt x="68" y="28"/>
                  <a:pt x="67" y="30"/>
                  <a:pt x="66" y="29"/>
                </a:cubicBezTo>
                <a:cubicBezTo>
                  <a:pt x="65" y="28"/>
                  <a:pt x="67" y="30"/>
                  <a:pt x="67" y="31"/>
                </a:cubicBezTo>
                <a:cubicBezTo>
                  <a:pt x="67" y="33"/>
                  <a:pt x="66" y="33"/>
                  <a:pt x="64" y="35"/>
                </a:cubicBezTo>
                <a:cubicBezTo>
                  <a:pt x="63" y="36"/>
                  <a:pt x="63" y="33"/>
                  <a:pt x="61" y="31"/>
                </a:cubicBezTo>
                <a:cubicBezTo>
                  <a:pt x="59" y="29"/>
                  <a:pt x="53" y="31"/>
                  <a:pt x="52" y="30"/>
                </a:cubicBezTo>
                <a:cubicBezTo>
                  <a:pt x="51" y="28"/>
                  <a:pt x="51" y="29"/>
                  <a:pt x="51" y="28"/>
                </a:cubicBezTo>
                <a:cubicBezTo>
                  <a:pt x="51" y="27"/>
                  <a:pt x="51" y="26"/>
                  <a:pt x="51" y="23"/>
                </a:cubicBezTo>
                <a:cubicBezTo>
                  <a:pt x="51" y="22"/>
                  <a:pt x="49" y="23"/>
                  <a:pt x="48" y="24"/>
                </a:cubicBezTo>
                <a:cubicBezTo>
                  <a:pt x="46" y="25"/>
                  <a:pt x="46" y="23"/>
                  <a:pt x="46" y="22"/>
                </a:cubicBezTo>
                <a:cubicBezTo>
                  <a:pt x="46" y="20"/>
                  <a:pt x="46" y="19"/>
                  <a:pt x="46" y="18"/>
                </a:cubicBezTo>
                <a:cubicBezTo>
                  <a:pt x="46" y="17"/>
                  <a:pt x="47" y="16"/>
                  <a:pt x="47" y="14"/>
                </a:cubicBezTo>
                <a:cubicBezTo>
                  <a:pt x="47" y="12"/>
                  <a:pt x="47" y="13"/>
                  <a:pt x="45" y="11"/>
                </a:cubicBezTo>
                <a:cubicBezTo>
                  <a:pt x="44" y="10"/>
                  <a:pt x="44" y="9"/>
                  <a:pt x="45" y="8"/>
                </a:cubicBezTo>
                <a:cubicBezTo>
                  <a:pt x="45" y="6"/>
                  <a:pt x="45" y="6"/>
                  <a:pt x="46" y="3"/>
                </a:cubicBezTo>
                <a:cubicBezTo>
                  <a:pt x="48" y="0"/>
                  <a:pt x="45" y="3"/>
                  <a:pt x="44" y="4"/>
                </a:cubicBezTo>
                <a:cubicBezTo>
                  <a:pt x="43" y="4"/>
                  <a:pt x="41" y="6"/>
                  <a:pt x="40" y="7"/>
                </a:cubicBezTo>
                <a:cubicBezTo>
                  <a:pt x="40" y="7"/>
                  <a:pt x="38" y="10"/>
                  <a:pt x="39" y="12"/>
                </a:cubicBezTo>
                <a:cubicBezTo>
                  <a:pt x="39" y="14"/>
                  <a:pt x="38" y="18"/>
                  <a:pt x="39" y="20"/>
                </a:cubicBezTo>
                <a:cubicBezTo>
                  <a:pt x="39" y="22"/>
                  <a:pt x="41" y="24"/>
                  <a:pt x="42" y="25"/>
                </a:cubicBezTo>
                <a:cubicBezTo>
                  <a:pt x="44" y="26"/>
                  <a:pt x="44" y="28"/>
                  <a:pt x="42" y="29"/>
                </a:cubicBezTo>
                <a:cubicBezTo>
                  <a:pt x="41" y="30"/>
                  <a:pt x="44" y="30"/>
                  <a:pt x="45" y="31"/>
                </a:cubicBezTo>
                <a:cubicBezTo>
                  <a:pt x="45" y="31"/>
                  <a:pt x="44" y="32"/>
                  <a:pt x="44" y="33"/>
                </a:cubicBezTo>
                <a:cubicBezTo>
                  <a:pt x="43" y="34"/>
                  <a:pt x="43" y="34"/>
                  <a:pt x="42" y="36"/>
                </a:cubicBezTo>
                <a:cubicBezTo>
                  <a:pt x="41" y="38"/>
                  <a:pt x="42" y="37"/>
                  <a:pt x="44" y="39"/>
                </a:cubicBezTo>
                <a:cubicBezTo>
                  <a:pt x="46" y="40"/>
                  <a:pt x="44" y="39"/>
                  <a:pt x="46" y="40"/>
                </a:cubicBezTo>
                <a:cubicBezTo>
                  <a:pt x="47" y="41"/>
                  <a:pt x="48" y="43"/>
                  <a:pt x="47" y="45"/>
                </a:cubicBezTo>
                <a:cubicBezTo>
                  <a:pt x="47" y="47"/>
                  <a:pt x="45" y="50"/>
                  <a:pt x="43" y="51"/>
                </a:cubicBezTo>
                <a:cubicBezTo>
                  <a:pt x="42" y="51"/>
                  <a:pt x="40" y="54"/>
                  <a:pt x="37" y="53"/>
                </a:cubicBezTo>
                <a:cubicBezTo>
                  <a:pt x="34" y="52"/>
                  <a:pt x="36" y="55"/>
                  <a:pt x="33" y="55"/>
                </a:cubicBezTo>
                <a:cubicBezTo>
                  <a:pt x="31" y="55"/>
                  <a:pt x="32" y="55"/>
                  <a:pt x="30" y="57"/>
                </a:cubicBezTo>
                <a:cubicBezTo>
                  <a:pt x="28" y="59"/>
                  <a:pt x="29" y="59"/>
                  <a:pt x="30" y="59"/>
                </a:cubicBezTo>
                <a:cubicBezTo>
                  <a:pt x="31" y="60"/>
                  <a:pt x="34" y="59"/>
                  <a:pt x="34" y="59"/>
                </a:cubicBezTo>
                <a:cubicBezTo>
                  <a:pt x="34" y="59"/>
                  <a:pt x="34" y="62"/>
                  <a:pt x="29" y="63"/>
                </a:cubicBezTo>
                <a:cubicBezTo>
                  <a:pt x="24" y="65"/>
                  <a:pt x="29" y="63"/>
                  <a:pt x="31" y="64"/>
                </a:cubicBezTo>
                <a:cubicBezTo>
                  <a:pt x="32" y="64"/>
                  <a:pt x="33" y="64"/>
                  <a:pt x="34" y="65"/>
                </a:cubicBezTo>
                <a:cubicBezTo>
                  <a:pt x="35" y="65"/>
                  <a:pt x="33" y="66"/>
                  <a:pt x="30" y="67"/>
                </a:cubicBezTo>
                <a:cubicBezTo>
                  <a:pt x="26" y="69"/>
                  <a:pt x="26" y="71"/>
                  <a:pt x="24" y="71"/>
                </a:cubicBezTo>
                <a:cubicBezTo>
                  <a:pt x="22" y="71"/>
                  <a:pt x="22" y="71"/>
                  <a:pt x="18" y="72"/>
                </a:cubicBezTo>
                <a:cubicBezTo>
                  <a:pt x="14" y="73"/>
                  <a:pt x="17" y="73"/>
                  <a:pt x="15" y="74"/>
                </a:cubicBezTo>
                <a:cubicBezTo>
                  <a:pt x="14" y="75"/>
                  <a:pt x="13" y="75"/>
                  <a:pt x="11" y="75"/>
                </a:cubicBezTo>
                <a:cubicBezTo>
                  <a:pt x="8" y="75"/>
                  <a:pt x="8" y="77"/>
                  <a:pt x="4" y="78"/>
                </a:cubicBezTo>
                <a:cubicBezTo>
                  <a:pt x="0" y="78"/>
                  <a:pt x="7" y="78"/>
                  <a:pt x="5" y="79"/>
                </a:cubicBezTo>
                <a:cubicBezTo>
                  <a:pt x="4" y="81"/>
                  <a:pt x="9" y="82"/>
                  <a:pt x="8" y="83"/>
                </a:cubicBezTo>
                <a:cubicBezTo>
                  <a:pt x="8" y="83"/>
                  <a:pt x="9" y="84"/>
                  <a:pt x="12" y="84"/>
                </a:cubicBezTo>
                <a:cubicBezTo>
                  <a:pt x="15" y="84"/>
                  <a:pt x="14" y="84"/>
                  <a:pt x="13" y="85"/>
                </a:cubicBezTo>
                <a:cubicBezTo>
                  <a:pt x="12" y="87"/>
                  <a:pt x="14" y="86"/>
                  <a:pt x="15" y="86"/>
                </a:cubicBezTo>
                <a:cubicBezTo>
                  <a:pt x="16" y="86"/>
                  <a:pt x="18" y="86"/>
                  <a:pt x="22" y="85"/>
                </a:cubicBezTo>
                <a:cubicBezTo>
                  <a:pt x="25" y="84"/>
                  <a:pt x="24" y="86"/>
                  <a:pt x="23" y="87"/>
                </a:cubicBezTo>
                <a:cubicBezTo>
                  <a:pt x="22" y="89"/>
                  <a:pt x="21" y="89"/>
                  <a:pt x="20" y="89"/>
                </a:cubicBezTo>
                <a:cubicBezTo>
                  <a:pt x="19" y="90"/>
                  <a:pt x="25" y="89"/>
                  <a:pt x="25" y="90"/>
                </a:cubicBezTo>
                <a:cubicBezTo>
                  <a:pt x="26" y="91"/>
                  <a:pt x="23" y="92"/>
                  <a:pt x="21" y="93"/>
                </a:cubicBezTo>
                <a:cubicBezTo>
                  <a:pt x="18" y="95"/>
                  <a:pt x="23" y="93"/>
                  <a:pt x="23" y="93"/>
                </a:cubicBezTo>
                <a:cubicBezTo>
                  <a:pt x="23" y="93"/>
                  <a:pt x="20" y="96"/>
                  <a:pt x="20" y="97"/>
                </a:cubicBezTo>
                <a:cubicBezTo>
                  <a:pt x="19" y="99"/>
                  <a:pt x="18" y="99"/>
                  <a:pt x="17" y="100"/>
                </a:cubicBezTo>
                <a:cubicBezTo>
                  <a:pt x="17" y="100"/>
                  <a:pt x="15" y="102"/>
                  <a:pt x="11" y="102"/>
                </a:cubicBezTo>
                <a:cubicBezTo>
                  <a:pt x="8" y="103"/>
                  <a:pt x="11" y="104"/>
                  <a:pt x="13" y="104"/>
                </a:cubicBezTo>
                <a:cubicBezTo>
                  <a:pt x="16" y="105"/>
                  <a:pt x="16" y="104"/>
                  <a:pt x="15" y="105"/>
                </a:cubicBezTo>
                <a:cubicBezTo>
                  <a:pt x="14" y="106"/>
                  <a:pt x="12" y="107"/>
                  <a:pt x="10" y="108"/>
                </a:cubicBezTo>
                <a:cubicBezTo>
                  <a:pt x="8" y="109"/>
                  <a:pt x="7" y="110"/>
                  <a:pt x="5" y="112"/>
                </a:cubicBezTo>
                <a:cubicBezTo>
                  <a:pt x="3" y="113"/>
                  <a:pt x="3" y="116"/>
                  <a:pt x="3" y="116"/>
                </a:cubicBezTo>
                <a:cubicBezTo>
                  <a:pt x="3" y="116"/>
                  <a:pt x="5" y="117"/>
                  <a:pt x="7" y="116"/>
                </a:cubicBezTo>
                <a:cubicBezTo>
                  <a:pt x="9" y="115"/>
                  <a:pt x="9" y="115"/>
                  <a:pt x="11" y="113"/>
                </a:cubicBezTo>
                <a:cubicBezTo>
                  <a:pt x="13" y="112"/>
                  <a:pt x="13" y="113"/>
                  <a:pt x="15" y="111"/>
                </a:cubicBezTo>
                <a:cubicBezTo>
                  <a:pt x="17" y="110"/>
                  <a:pt x="17" y="111"/>
                  <a:pt x="19" y="110"/>
                </a:cubicBezTo>
                <a:cubicBezTo>
                  <a:pt x="20" y="110"/>
                  <a:pt x="20" y="111"/>
                  <a:pt x="20" y="111"/>
                </a:cubicBezTo>
                <a:cubicBezTo>
                  <a:pt x="20" y="111"/>
                  <a:pt x="20" y="112"/>
                  <a:pt x="23" y="112"/>
                </a:cubicBezTo>
                <a:cubicBezTo>
                  <a:pt x="26" y="112"/>
                  <a:pt x="25" y="112"/>
                  <a:pt x="26" y="111"/>
                </a:cubicBezTo>
                <a:cubicBezTo>
                  <a:pt x="27" y="110"/>
                  <a:pt x="30" y="109"/>
                  <a:pt x="31" y="109"/>
                </a:cubicBezTo>
                <a:cubicBezTo>
                  <a:pt x="33" y="108"/>
                  <a:pt x="35" y="108"/>
                  <a:pt x="37" y="108"/>
                </a:cubicBezTo>
                <a:cubicBezTo>
                  <a:pt x="39" y="108"/>
                  <a:pt x="38" y="108"/>
                  <a:pt x="40" y="107"/>
                </a:cubicBezTo>
                <a:cubicBezTo>
                  <a:pt x="43" y="106"/>
                  <a:pt x="42" y="108"/>
                  <a:pt x="42" y="110"/>
                </a:cubicBezTo>
                <a:cubicBezTo>
                  <a:pt x="42" y="112"/>
                  <a:pt x="42" y="115"/>
                  <a:pt x="41" y="115"/>
                </a:cubicBezTo>
                <a:cubicBezTo>
                  <a:pt x="40" y="116"/>
                  <a:pt x="40" y="116"/>
                  <a:pt x="39" y="117"/>
                </a:cubicBezTo>
                <a:cubicBezTo>
                  <a:pt x="38" y="117"/>
                  <a:pt x="37" y="118"/>
                  <a:pt x="36" y="118"/>
                </a:cubicBezTo>
                <a:cubicBezTo>
                  <a:pt x="34" y="118"/>
                  <a:pt x="33" y="119"/>
                  <a:pt x="31" y="119"/>
                </a:cubicBezTo>
                <a:cubicBezTo>
                  <a:pt x="29" y="119"/>
                  <a:pt x="31" y="119"/>
                  <a:pt x="35" y="120"/>
                </a:cubicBezTo>
                <a:cubicBezTo>
                  <a:pt x="39" y="120"/>
                  <a:pt x="34" y="121"/>
                  <a:pt x="33" y="122"/>
                </a:cubicBezTo>
                <a:cubicBezTo>
                  <a:pt x="32" y="123"/>
                  <a:pt x="31" y="124"/>
                  <a:pt x="30" y="125"/>
                </a:cubicBezTo>
                <a:cubicBezTo>
                  <a:pt x="30" y="126"/>
                  <a:pt x="31" y="126"/>
                  <a:pt x="31" y="128"/>
                </a:cubicBezTo>
                <a:cubicBezTo>
                  <a:pt x="31" y="129"/>
                  <a:pt x="30" y="130"/>
                  <a:pt x="30" y="131"/>
                </a:cubicBezTo>
                <a:cubicBezTo>
                  <a:pt x="30" y="132"/>
                  <a:pt x="29" y="134"/>
                  <a:pt x="28" y="136"/>
                </a:cubicBezTo>
                <a:cubicBezTo>
                  <a:pt x="26" y="138"/>
                  <a:pt x="29" y="138"/>
                  <a:pt x="30" y="136"/>
                </a:cubicBezTo>
                <a:cubicBezTo>
                  <a:pt x="32" y="133"/>
                  <a:pt x="31" y="135"/>
                  <a:pt x="32" y="134"/>
                </a:cubicBezTo>
                <a:cubicBezTo>
                  <a:pt x="33" y="133"/>
                  <a:pt x="34" y="133"/>
                  <a:pt x="36" y="132"/>
                </a:cubicBezTo>
                <a:cubicBezTo>
                  <a:pt x="37" y="131"/>
                  <a:pt x="36" y="134"/>
                  <a:pt x="36" y="134"/>
                </a:cubicBezTo>
                <a:cubicBezTo>
                  <a:pt x="36" y="134"/>
                  <a:pt x="39" y="133"/>
                  <a:pt x="39" y="131"/>
                </a:cubicBezTo>
                <a:cubicBezTo>
                  <a:pt x="40" y="129"/>
                  <a:pt x="41" y="129"/>
                  <a:pt x="41" y="129"/>
                </a:cubicBezTo>
                <a:cubicBezTo>
                  <a:pt x="41" y="129"/>
                  <a:pt x="42" y="130"/>
                  <a:pt x="42" y="131"/>
                </a:cubicBezTo>
                <a:cubicBezTo>
                  <a:pt x="42" y="133"/>
                  <a:pt x="44" y="132"/>
                  <a:pt x="44" y="132"/>
                </a:cubicBezTo>
                <a:cubicBezTo>
                  <a:pt x="44" y="132"/>
                  <a:pt x="44" y="131"/>
                  <a:pt x="44" y="129"/>
                </a:cubicBezTo>
                <a:cubicBezTo>
                  <a:pt x="45" y="127"/>
                  <a:pt x="46" y="128"/>
                  <a:pt x="46" y="127"/>
                </a:cubicBezTo>
                <a:cubicBezTo>
                  <a:pt x="46" y="125"/>
                  <a:pt x="47" y="126"/>
                  <a:pt x="46" y="124"/>
                </a:cubicBezTo>
                <a:cubicBezTo>
                  <a:pt x="45" y="123"/>
                  <a:pt x="47" y="123"/>
                  <a:pt x="47" y="122"/>
                </a:cubicBezTo>
                <a:cubicBezTo>
                  <a:pt x="47" y="121"/>
                  <a:pt x="50" y="121"/>
                  <a:pt x="50" y="121"/>
                </a:cubicBezTo>
                <a:cubicBezTo>
                  <a:pt x="51" y="121"/>
                  <a:pt x="53" y="121"/>
                  <a:pt x="54" y="122"/>
                </a:cubicBezTo>
                <a:cubicBezTo>
                  <a:pt x="54" y="123"/>
                  <a:pt x="54" y="123"/>
                  <a:pt x="55" y="124"/>
                </a:cubicBezTo>
                <a:cubicBezTo>
                  <a:pt x="55" y="125"/>
                  <a:pt x="56" y="126"/>
                  <a:pt x="57" y="127"/>
                </a:cubicBezTo>
                <a:cubicBezTo>
                  <a:pt x="58" y="128"/>
                  <a:pt x="58" y="128"/>
                  <a:pt x="59" y="129"/>
                </a:cubicBezTo>
                <a:cubicBezTo>
                  <a:pt x="60" y="129"/>
                  <a:pt x="59" y="129"/>
                  <a:pt x="57" y="131"/>
                </a:cubicBezTo>
                <a:cubicBezTo>
                  <a:pt x="56" y="132"/>
                  <a:pt x="58" y="131"/>
                  <a:pt x="59" y="131"/>
                </a:cubicBezTo>
                <a:cubicBezTo>
                  <a:pt x="60" y="130"/>
                  <a:pt x="59" y="130"/>
                  <a:pt x="61" y="131"/>
                </a:cubicBezTo>
                <a:cubicBezTo>
                  <a:pt x="62" y="132"/>
                  <a:pt x="60" y="133"/>
                  <a:pt x="58" y="134"/>
                </a:cubicBezTo>
                <a:cubicBezTo>
                  <a:pt x="56" y="135"/>
                  <a:pt x="59" y="136"/>
                  <a:pt x="58" y="136"/>
                </a:cubicBezTo>
                <a:cubicBezTo>
                  <a:pt x="57" y="136"/>
                  <a:pt x="55" y="137"/>
                  <a:pt x="54" y="138"/>
                </a:cubicBezTo>
                <a:cubicBezTo>
                  <a:pt x="52" y="139"/>
                  <a:pt x="55" y="139"/>
                  <a:pt x="55" y="139"/>
                </a:cubicBezTo>
                <a:cubicBezTo>
                  <a:pt x="55" y="139"/>
                  <a:pt x="53" y="141"/>
                  <a:pt x="53" y="141"/>
                </a:cubicBezTo>
                <a:cubicBezTo>
                  <a:pt x="52" y="142"/>
                  <a:pt x="54" y="142"/>
                  <a:pt x="53" y="143"/>
                </a:cubicBezTo>
                <a:cubicBezTo>
                  <a:pt x="52" y="144"/>
                  <a:pt x="52" y="144"/>
                  <a:pt x="52" y="144"/>
                </a:cubicBezTo>
                <a:cubicBezTo>
                  <a:pt x="54" y="144"/>
                  <a:pt x="54" y="144"/>
                  <a:pt x="54" y="144"/>
                </a:cubicBezTo>
                <a:cubicBezTo>
                  <a:pt x="54" y="144"/>
                  <a:pt x="54" y="144"/>
                  <a:pt x="53" y="146"/>
                </a:cubicBezTo>
                <a:cubicBezTo>
                  <a:pt x="53" y="147"/>
                  <a:pt x="53" y="147"/>
                  <a:pt x="52" y="149"/>
                </a:cubicBezTo>
                <a:cubicBezTo>
                  <a:pt x="51" y="150"/>
                  <a:pt x="53" y="150"/>
                  <a:pt x="53" y="150"/>
                </a:cubicBezTo>
                <a:cubicBezTo>
                  <a:pt x="54" y="150"/>
                  <a:pt x="55" y="149"/>
                  <a:pt x="57" y="147"/>
                </a:cubicBezTo>
                <a:cubicBezTo>
                  <a:pt x="58" y="145"/>
                  <a:pt x="58" y="145"/>
                  <a:pt x="59" y="143"/>
                </a:cubicBezTo>
                <a:cubicBezTo>
                  <a:pt x="60" y="141"/>
                  <a:pt x="60" y="144"/>
                  <a:pt x="60" y="145"/>
                </a:cubicBezTo>
                <a:cubicBezTo>
                  <a:pt x="60" y="145"/>
                  <a:pt x="61" y="147"/>
                  <a:pt x="62" y="145"/>
                </a:cubicBezTo>
                <a:cubicBezTo>
                  <a:pt x="64" y="143"/>
                  <a:pt x="64" y="141"/>
                  <a:pt x="64" y="139"/>
                </a:cubicBezTo>
                <a:cubicBezTo>
                  <a:pt x="64" y="138"/>
                  <a:pt x="65" y="138"/>
                  <a:pt x="65" y="137"/>
                </a:cubicBezTo>
                <a:cubicBezTo>
                  <a:pt x="65" y="136"/>
                  <a:pt x="66" y="135"/>
                  <a:pt x="67" y="134"/>
                </a:cubicBezTo>
                <a:cubicBezTo>
                  <a:pt x="68" y="133"/>
                  <a:pt x="68" y="135"/>
                  <a:pt x="68" y="135"/>
                </a:cubicBezTo>
                <a:cubicBezTo>
                  <a:pt x="68" y="136"/>
                  <a:pt x="68" y="137"/>
                  <a:pt x="69" y="139"/>
                </a:cubicBezTo>
                <a:cubicBezTo>
                  <a:pt x="69" y="141"/>
                  <a:pt x="70" y="137"/>
                  <a:pt x="70" y="135"/>
                </a:cubicBezTo>
                <a:cubicBezTo>
                  <a:pt x="71" y="132"/>
                  <a:pt x="71" y="134"/>
                  <a:pt x="72" y="132"/>
                </a:cubicBezTo>
                <a:cubicBezTo>
                  <a:pt x="74" y="130"/>
                  <a:pt x="73" y="132"/>
                  <a:pt x="75" y="132"/>
                </a:cubicBezTo>
                <a:cubicBezTo>
                  <a:pt x="76" y="132"/>
                  <a:pt x="76" y="133"/>
                  <a:pt x="77" y="134"/>
                </a:cubicBezTo>
                <a:cubicBezTo>
                  <a:pt x="77" y="135"/>
                  <a:pt x="77" y="135"/>
                  <a:pt x="78" y="136"/>
                </a:cubicBezTo>
                <a:cubicBezTo>
                  <a:pt x="78" y="137"/>
                  <a:pt x="79" y="136"/>
                  <a:pt x="80" y="135"/>
                </a:cubicBezTo>
                <a:cubicBezTo>
                  <a:pt x="81" y="135"/>
                  <a:pt x="81" y="135"/>
                  <a:pt x="81" y="136"/>
                </a:cubicBezTo>
                <a:cubicBezTo>
                  <a:pt x="81" y="137"/>
                  <a:pt x="81" y="138"/>
                  <a:pt x="81" y="139"/>
                </a:cubicBezTo>
                <a:cubicBezTo>
                  <a:pt x="81" y="140"/>
                  <a:pt x="82" y="138"/>
                  <a:pt x="82" y="137"/>
                </a:cubicBezTo>
                <a:cubicBezTo>
                  <a:pt x="83" y="136"/>
                  <a:pt x="84" y="136"/>
                  <a:pt x="85" y="136"/>
                </a:cubicBezTo>
                <a:cubicBezTo>
                  <a:pt x="86" y="136"/>
                  <a:pt x="85" y="137"/>
                  <a:pt x="85" y="137"/>
                </a:cubicBezTo>
                <a:cubicBezTo>
                  <a:pt x="85" y="138"/>
                  <a:pt x="85" y="139"/>
                  <a:pt x="85" y="140"/>
                </a:cubicBezTo>
                <a:cubicBezTo>
                  <a:pt x="85" y="142"/>
                  <a:pt x="83" y="144"/>
                  <a:pt x="84" y="143"/>
                </a:cubicBezTo>
                <a:cubicBezTo>
                  <a:pt x="85" y="142"/>
                  <a:pt x="85" y="144"/>
                  <a:pt x="87" y="143"/>
                </a:cubicBezTo>
                <a:cubicBezTo>
                  <a:pt x="88" y="142"/>
                  <a:pt x="86" y="144"/>
                  <a:pt x="86" y="145"/>
                </a:cubicBezTo>
                <a:cubicBezTo>
                  <a:pt x="85" y="146"/>
                  <a:pt x="85" y="147"/>
                  <a:pt x="84" y="148"/>
                </a:cubicBezTo>
                <a:cubicBezTo>
                  <a:pt x="83" y="149"/>
                  <a:pt x="86" y="151"/>
                  <a:pt x="85" y="152"/>
                </a:cubicBezTo>
                <a:cubicBezTo>
                  <a:pt x="85" y="154"/>
                  <a:pt x="85" y="154"/>
                  <a:pt x="85" y="155"/>
                </a:cubicBezTo>
                <a:cubicBezTo>
                  <a:pt x="85" y="156"/>
                  <a:pt x="86" y="157"/>
                  <a:pt x="87" y="159"/>
                </a:cubicBezTo>
                <a:cubicBezTo>
                  <a:pt x="87" y="162"/>
                  <a:pt x="87" y="159"/>
                  <a:pt x="88" y="157"/>
                </a:cubicBezTo>
                <a:cubicBezTo>
                  <a:pt x="89" y="155"/>
                  <a:pt x="88" y="156"/>
                  <a:pt x="89" y="154"/>
                </a:cubicBezTo>
                <a:cubicBezTo>
                  <a:pt x="90" y="152"/>
                  <a:pt x="90" y="153"/>
                  <a:pt x="90" y="150"/>
                </a:cubicBezTo>
                <a:cubicBezTo>
                  <a:pt x="90" y="149"/>
                  <a:pt x="90" y="151"/>
                  <a:pt x="91" y="153"/>
                </a:cubicBezTo>
                <a:cubicBezTo>
                  <a:pt x="92" y="155"/>
                  <a:pt x="91" y="153"/>
                  <a:pt x="91" y="151"/>
                </a:cubicBezTo>
                <a:cubicBezTo>
                  <a:pt x="91" y="150"/>
                  <a:pt x="91" y="150"/>
                  <a:pt x="91" y="148"/>
                </a:cubicBezTo>
                <a:cubicBezTo>
                  <a:pt x="91" y="147"/>
                  <a:pt x="91" y="147"/>
                  <a:pt x="90" y="146"/>
                </a:cubicBezTo>
                <a:cubicBezTo>
                  <a:pt x="90" y="145"/>
                  <a:pt x="92" y="144"/>
                  <a:pt x="92" y="143"/>
                </a:cubicBezTo>
                <a:cubicBezTo>
                  <a:pt x="92" y="142"/>
                  <a:pt x="92" y="142"/>
                  <a:pt x="93" y="142"/>
                </a:cubicBezTo>
                <a:cubicBezTo>
                  <a:pt x="93" y="141"/>
                  <a:pt x="94" y="142"/>
                  <a:pt x="94" y="143"/>
                </a:cubicBezTo>
                <a:cubicBezTo>
                  <a:pt x="95" y="144"/>
                  <a:pt x="95" y="144"/>
                  <a:pt x="95" y="142"/>
                </a:cubicBezTo>
                <a:cubicBezTo>
                  <a:pt x="95" y="141"/>
                  <a:pt x="95" y="140"/>
                  <a:pt x="95" y="138"/>
                </a:cubicBezTo>
                <a:cubicBezTo>
                  <a:pt x="95" y="136"/>
                  <a:pt x="95" y="137"/>
                  <a:pt x="96" y="136"/>
                </a:cubicBezTo>
                <a:cubicBezTo>
                  <a:pt x="96" y="135"/>
                  <a:pt x="97" y="137"/>
                  <a:pt x="97" y="137"/>
                </a:cubicBezTo>
                <a:cubicBezTo>
                  <a:pt x="98" y="138"/>
                  <a:pt x="98" y="139"/>
                  <a:pt x="99" y="141"/>
                </a:cubicBezTo>
                <a:cubicBezTo>
                  <a:pt x="100" y="142"/>
                  <a:pt x="100" y="139"/>
                  <a:pt x="99" y="138"/>
                </a:cubicBezTo>
                <a:cubicBezTo>
                  <a:pt x="99" y="136"/>
                  <a:pt x="101" y="135"/>
                  <a:pt x="101" y="136"/>
                </a:cubicBezTo>
                <a:cubicBezTo>
                  <a:pt x="101" y="137"/>
                  <a:pt x="102" y="137"/>
                  <a:pt x="103" y="138"/>
                </a:cubicBezTo>
                <a:cubicBezTo>
                  <a:pt x="103" y="139"/>
                  <a:pt x="104" y="139"/>
                  <a:pt x="104" y="140"/>
                </a:cubicBezTo>
                <a:cubicBezTo>
                  <a:pt x="104" y="141"/>
                  <a:pt x="105" y="142"/>
                  <a:pt x="105" y="143"/>
                </a:cubicBezTo>
                <a:cubicBezTo>
                  <a:pt x="105" y="144"/>
                  <a:pt x="106" y="145"/>
                  <a:pt x="105" y="146"/>
                </a:cubicBezTo>
                <a:cubicBezTo>
                  <a:pt x="105" y="147"/>
                  <a:pt x="107" y="148"/>
                  <a:pt x="107" y="148"/>
                </a:cubicBezTo>
                <a:cubicBezTo>
                  <a:pt x="107" y="147"/>
                  <a:pt x="107" y="146"/>
                  <a:pt x="107" y="145"/>
                </a:cubicBezTo>
                <a:cubicBezTo>
                  <a:pt x="107" y="144"/>
                  <a:pt x="108" y="144"/>
                  <a:pt x="108" y="145"/>
                </a:cubicBezTo>
                <a:cubicBezTo>
                  <a:pt x="109" y="146"/>
                  <a:pt x="109" y="147"/>
                  <a:pt x="109" y="149"/>
                </a:cubicBezTo>
                <a:cubicBezTo>
                  <a:pt x="109" y="150"/>
                  <a:pt x="112" y="150"/>
                  <a:pt x="113" y="151"/>
                </a:cubicBezTo>
                <a:cubicBezTo>
                  <a:pt x="114" y="152"/>
                  <a:pt x="114" y="152"/>
                  <a:pt x="114" y="152"/>
                </a:cubicBezTo>
                <a:cubicBezTo>
                  <a:pt x="115" y="151"/>
                  <a:pt x="115" y="152"/>
                  <a:pt x="115" y="153"/>
                </a:cubicBezTo>
                <a:cubicBezTo>
                  <a:pt x="115" y="154"/>
                  <a:pt x="116" y="154"/>
                  <a:pt x="117" y="155"/>
                </a:cubicBezTo>
                <a:cubicBezTo>
                  <a:pt x="119" y="156"/>
                  <a:pt x="119" y="156"/>
                  <a:pt x="119" y="156"/>
                </a:cubicBezTo>
                <a:cubicBezTo>
                  <a:pt x="120" y="157"/>
                  <a:pt x="120" y="157"/>
                  <a:pt x="121" y="159"/>
                </a:cubicBezTo>
                <a:cubicBezTo>
                  <a:pt x="122" y="160"/>
                  <a:pt x="122" y="160"/>
                  <a:pt x="122" y="161"/>
                </a:cubicBezTo>
                <a:cubicBezTo>
                  <a:pt x="122" y="161"/>
                  <a:pt x="123" y="159"/>
                  <a:pt x="123" y="159"/>
                </a:cubicBezTo>
                <a:cubicBezTo>
                  <a:pt x="123" y="159"/>
                  <a:pt x="124" y="159"/>
                  <a:pt x="125" y="160"/>
                </a:cubicBezTo>
                <a:cubicBezTo>
                  <a:pt x="125" y="160"/>
                  <a:pt x="127" y="161"/>
                  <a:pt x="128" y="162"/>
                </a:cubicBezTo>
                <a:cubicBezTo>
                  <a:pt x="129" y="164"/>
                  <a:pt x="129" y="162"/>
                  <a:pt x="128" y="161"/>
                </a:cubicBezTo>
                <a:cubicBezTo>
                  <a:pt x="128" y="159"/>
                  <a:pt x="129" y="160"/>
                  <a:pt x="130" y="160"/>
                </a:cubicBezTo>
                <a:cubicBezTo>
                  <a:pt x="130" y="160"/>
                  <a:pt x="130" y="161"/>
                  <a:pt x="131" y="161"/>
                </a:cubicBezTo>
                <a:cubicBezTo>
                  <a:pt x="131" y="162"/>
                  <a:pt x="132" y="163"/>
                  <a:pt x="133" y="164"/>
                </a:cubicBezTo>
                <a:cubicBezTo>
                  <a:pt x="133" y="165"/>
                  <a:pt x="134" y="163"/>
                  <a:pt x="134" y="163"/>
                </a:cubicBezTo>
                <a:cubicBezTo>
                  <a:pt x="134" y="163"/>
                  <a:pt x="135" y="162"/>
                  <a:pt x="134" y="161"/>
                </a:cubicBezTo>
                <a:cubicBezTo>
                  <a:pt x="132" y="160"/>
                  <a:pt x="134" y="160"/>
                  <a:pt x="132" y="159"/>
                </a:cubicBezTo>
                <a:cubicBezTo>
                  <a:pt x="131" y="158"/>
                  <a:pt x="132" y="158"/>
                  <a:pt x="132" y="157"/>
                </a:cubicBezTo>
                <a:cubicBezTo>
                  <a:pt x="132" y="156"/>
                  <a:pt x="132" y="157"/>
                  <a:pt x="131" y="156"/>
                </a:cubicBezTo>
                <a:cubicBezTo>
                  <a:pt x="130" y="156"/>
                  <a:pt x="130" y="156"/>
                  <a:pt x="128" y="155"/>
                </a:cubicBezTo>
                <a:cubicBezTo>
                  <a:pt x="126" y="154"/>
                  <a:pt x="127" y="153"/>
                  <a:pt x="126" y="153"/>
                </a:cubicBezTo>
                <a:cubicBezTo>
                  <a:pt x="125" y="153"/>
                  <a:pt x="122" y="151"/>
                  <a:pt x="121" y="150"/>
                </a:cubicBezTo>
                <a:cubicBezTo>
                  <a:pt x="119" y="149"/>
                  <a:pt x="122" y="150"/>
                  <a:pt x="123" y="150"/>
                </a:cubicBezTo>
                <a:cubicBezTo>
                  <a:pt x="125" y="151"/>
                  <a:pt x="122" y="149"/>
                  <a:pt x="121" y="148"/>
                </a:cubicBezTo>
                <a:cubicBezTo>
                  <a:pt x="121" y="148"/>
                  <a:pt x="122" y="148"/>
                  <a:pt x="122" y="147"/>
                </a:cubicBezTo>
                <a:cubicBezTo>
                  <a:pt x="121" y="146"/>
                  <a:pt x="125" y="145"/>
                  <a:pt x="123" y="144"/>
                </a:cubicBezTo>
                <a:cubicBezTo>
                  <a:pt x="121" y="143"/>
                  <a:pt x="122" y="142"/>
                  <a:pt x="120" y="140"/>
                </a:cubicBezTo>
                <a:cubicBezTo>
                  <a:pt x="119" y="138"/>
                  <a:pt x="121" y="139"/>
                  <a:pt x="120" y="139"/>
                </a:cubicBezTo>
                <a:cubicBezTo>
                  <a:pt x="120" y="138"/>
                  <a:pt x="120" y="136"/>
                  <a:pt x="119" y="136"/>
                </a:cubicBezTo>
                <a:cubicBezTo>
                  <a:pt x="119" y="135"/>
                  <a:pt x="120" y="136"/>
                  <a:pt x="121" y="136"/>
                </a:cubicBezTo>
                <a:cubicBezTo>
                  <a:pt x="122" y="136"/>
                  <a:pt x="123" y="136"/>
                  <a:pt x="122" y="135"/>
                </a:cubicBezTo>
                <a:cubicBezTo>
                  <a:pt x="121" y="134"/>
                  <a:pt x="122" y="134"/>
                  <a:pt x="120" y="133"/>
                </a:cubicBezTo>
                <a:cubicBezTo>
                  <a:pt x="119" y="132"/>
                  <a:pt x="120" y="132"/>
                  <a:pt x="119" y="131"/>
                </a:cubicBezTo>
                <a:cubicBezTo>
                  <a:pt x="118" y="130"/>
                  <a:pt x="119" y="129"/>
                  <a:pt x="119" y="128"/>
                </a:cubicBezTo>
                <a:cubicBezTo>
                  <a:pt x="120" y="127"/>
                  <a:pt x="121" y="128"/>
                  <a:pt x="121" y="128"/>
                </a:cubicBezTo>
                <a:cubicBezTo>
                  <a:pt x="121" y="128"/>
                  <a:pt x="122" y="128"/>
                  <a:pt x="123" y="128"/>
                </a:cubicBezTo>
                <a:cubicBezTo>
                  <a:pt x="124" y="128"/>
                  <a:pt x="124" y="129"/>
                  <a:pt x="126" y="129"/>
                </a:cubicBezTo>
                <a:cubicBezTo>
                  <a:pt x="127" y="129"/>
                  <a:pt x="127" y="130"/>
                  <a:pt x="127" y="131"/>
                </a:cubicBezTo>
                <a:cubicBezTo>
                  <a:pt x="128" y="131"/>
                  <a:pt x="129" y="131"/>
                  <a:pt x="129" y="131"/>
                </a:cubicBezTo>
                <a:cubicBezTo>
                  <a:pt x="130" y="131"/>
                  <a:pt x="132" y="132"/>
                  <a:pt x="133" y="133"/>
                </a:cubicBezTo>
                <a:cubicBezTo>
                  <a:pt x="133" y="134"/>
                  <a:pt x="134" y="133"/>
                  <a:pt x="135" y="133"/>
                </a:cubicBezTo>
                <a:cubicBezTo>
                  <a:pt x="136" y="133"/>
                  <a:pt x="136" y="133"/>
                  <a:pt x="137" y="133"/>
                </a:cubicBezTo>
                <a:cubicBezTo>
                  <a:pt x="137" y="133"/>
                  <a:pt x="139" y="134"/>
                  <a:pt x="140" y="133"/>
                </a:cubicBezTo>
                <a:cubicBezTo>
                  <a:pt x="141" y="133"/>
                  <a:pt x="140" y="132"/>
                  <a:pt x="141" y="132"/>
                </a:cubicBezTo>
                <a:cubicBezTo>
                  <a:pt x="141" y="133"/>
                  <a:pt x="142" y="133"/>
                  <a:pt x="142" y="133"/>
                </a:cubicBezTo>
                <a:cubicBezTo>
                  <a:pt x="142" y="133"/>
                  <a:pt x="143" y="132"/>
                  <a:pt x="141" y="131"/>
                </a:cubicBezTo>
                <a:cubicBezTo>
                  <a:pt x="140" y="130"/>
                  <a:pt x="141" y="131"/>
                  <a:pt x="139" y="130"/>
                </a:cubicBezTo>
                <a:cubicBezTo>
                  <a:pt x="137" y="129"/>
                  <a:pt x="139" y="130"/>
                  <a:pt x="137" y="129"/>
                </a:cubicBezTo>
                <a:cubicBezTo>
                  <a:pt x="135" y="128"/>
                  <a:pt x="136" y="128"/>
                  <a:pt x="135" y="128"/>
                </a:cubicBezTo>
                <a:cubicBezTo>
                  <a:pt x="133" y="127"/>
                  <a:pt x="134" y="127"/>
                  <a:pt x="132" y="127"/>
                </a:cubicBezTo>
                <a:cubicBezTo>
                  <a:pt x="131" y="127"/>
                  <a:pt x="133" y="127"/>
                  <a:pt x="132" y="126"/>
                </a:cubicBezTo>
                <a:cubicBezTo>
                  <a:pt x="131" y="125"/>
                  <a:pt x="131" y="125"/>
                  <a:pt x="130" y="124"/>
                </a:cubicBezTo>
                <a:cubicBezTo>
                  <a:pt x="129" y="123"/>
                  <a:pt x="131" y="124"/>
                  <a:pt x="132" y="124"/>
                </a:cubicBezTo>
                <a:cubicBezTo>
                  <a:pt x="134" y="123"/>
                  <a:pt x="134" y="123"/>
                  <a:pt x="134" y="123"/>
                </a:cubicBezTo>
                <a:cubicBezTo>
                  <a:pt x="133" y="123"/>
                  <a:pt x="134" y="123"/>
                  <a:pt x="131" y="123"/>
                </a:cubicBezTo>
                <a:cubicBezTo>
                  <a:pt x="129" y="123"/>
                  <a:pt x="131" y="122"/>
                  <a:pt x="131" y="121"/>
                </a:cubicBezTo>
                <a:cubicBezTo>
                  <a:pt x="132" y="121"/>
                  <a:pt x="133" y="120"/>
                  <a:pt x="133" y="120"/>
                </a:cubicBezTo>
                <a:cubicBezTo>
                  <a:pt x="133" y="120"/>
                  <a:pt x="135" y="121"/>
                  <a:pt x="137" y="120"/>
                </a:cubicBezTo>
                <a:cubicBezTo>
                  <a:pt x="139" y="120"/>
                  <a:pt x="138" y="120"/>
                  <a:pt x="138" y="119"/>
                </a:cubicBezTo>
                <a:cubicBezTo>
                  <a:pt x="138" y="118"/>
                  <a:pt x="139" y="117"/>
                  <a:pt x="139" y="117"/>
                </a:cubicBezTo>
                <a:cubicBezTo>
                  <a:pt x="140" y="118"/>
                  <a:pt x="140" y="118"/>
                  <a:pt x="140" y="118"/>
                </a:cubicBezTo>
                <a:cubicBezTo>
                  <a:pt x="142" y="117"/>
                  <a:pt x="142" y="117"/>
                  <a:pt x="142" y="117"/>
                </a:cubicBezTo>
                <a:cubicBezTo>
                  <a:pt x="142" y="117"/>
                  <a:pt x="142" y="116"/>
                  <a:pt x="140" y="115"/>
                </a:cubicBezTo>
                <a:cubicBezTo>
                  <a:pt x="138" y="114"/>
                  <a:pt x="140" y="115"/>
                  <a:pt x="139" y="114"/>
                </a:cubicBezTo>
                <a:cubicBezTo>
                  <a:pt x="138" y="113"/>
                  <a:pt x="139" y="113"/>
                  <a:pt x="140" y="113"/>
                </a:cubicBezTo>
                <a:cubicBezTo>
                  <a:pt x="141" y="113"/>
                  <a:pt x="141" y="112"/>
                  <a:pt x="142" y="111"/>
                </a:cubicBezTo>
                <a:cubicBezTo>
                  <a:pt x="142" y="111"/>
                  <a:pt x="144" y="112"/>
                  <a:pt x="145" y="112"/>
                </a:cubicBezTo>
                <a:cubicBezTo>
                  <a:pt x="147" y="112"/>
                  <a:pt x="146" y="111"/>
                  <a:pt x="144" y="110"/>
                </a:cubicBezTo>
                <a:cubicBezTo>
                  <a:pt x="141" y="108"/>
                  <a:pt x="144" y="109"/>
                  <a:pt x="144" y="107"/>
                </a:cubicBezTo>
                <a:cubicBezTo>
                  <a:pt x="143" y="106"/>
                  <a:pt x="143" y="106"/>
                  <a:pt x="143" y="106"/>
                </a:cubicBezTo>
                <a:cubicBezTo>
                  <a:pt x="143" y="106"/>
                  <a:pt x="144" y="105"/>
                  <a:pt x="146" y="104"/>
                </a:cubicBezTo>
                <a:cubicBezTo>
                  <a:pt x="149" y="104"/>
                  <a:pt x="148" y="103"/>
                  <a:pt x="148" y="101"/>
                </a:cubicBezTo>
                <a:cubicBezTo>
                  <a:pt x="148" y="99"/>
                  <a:pt x="149" y="100"/>
                  <a:pt x="151" y="99"/>
                </a:cubicBezTo>
                <a:cubicBezTo>
                  <a:pt x="152" y="97"/>
                  <a:pt x="152" y="97"/>
                  <a:pt x="151" y="96"/>
                </a:cubicBezTo>
                <a:cubicBezTo>
                  <a:pt x="151" y="95"/>
                  <a:pt x="151" y="95"/>
                  <a:pt x="150" y="95"/>
                </a:cubicBezTo>
                <a:cubicBezTo>
                  <a:pt x="149" y="94"/>
                  <a:pt x="149" y="94"/>
                  <a:pt x="149" y="93"/>
                </a:cubicBezTo>
                <a:cubicBezTo>
                  <a:pt x="149" y="93"/>
                  <a:pt x="151" y="93"/>
                  <a:pt x="152" y="93"/>
                </a:cubicBezTo>
                <a:cubicBezTo>
                  <a:pt x="153" y="93"/>
                  <a:pt x="154" y="93"/>
                  <a:pt x="152" y="92"/>
                </a:cubicBezTo>
                <a:cubicBezTo>
                  <a:pt x="151" y="92"/>
                  <a:pt x="152" y="92"/>
                  <a:pt x="150" y="91"/>
                </a:cubicBezTo>
                <a:cubicBezTo>
                  <a:pt x="149" y="90"/>
                  <a:pt x="150" y="91"/>
                  <a:pt x="149" y="89"/>
                </a:cubicBezTo>
                <a:cubicBezTo>
                  <a:pt x="148" y="87"/>
                  <a:pt x="149" y="88"/>
                  <a:pt x="147" y="87"/>
                </a:cubicBezTo>
                <a:cubicBezTo>
                  <a:pt x="146" y="87"/>
                  <a:pt x="146" y="85"/>
                  <a:pt x="146" y="85"/>
                </a:cubicBezTo>
                <a:cubicBezTo>
                  <a:pt x="145" y="85"/>
                  <a:pt x="146" y="84"/>
                  <a:pt x="146" y="83"/>
                </a:cubicBezTo>
                <a:cubicBezTo>
                  <a:pt x="147" y="82"/>
                  <a:pt x="147" y="83"/>
                  <a:pt x="146" y="82"/>
                </a:cubicBezTo>
                <a:cubicBezTo>
                  <a:pt x="145" y="82"/>
                  <a:pt x="145" y="81"/>
                  <a:pt x="144" y="79"/>
                </a:cubicBezTo>
                <a:cubicBezTo>
                  <a:pt x="144" y="78"/>
                  <a:pt x="145" y="79"/>
                  <a:pt x="146" y="79"/>
                </a:cubicBezTo>
                <a:cubicBezTo>
                  <a:pt x="147" y="78"/>
                  <a:pt x="145" y="78"/>
                  <a:pt x="145" y="77"/>
                </a:cubicBezTo>
                <a:cubicBezTo>
                  <a:pt x="144" y="77"/>
                  <a:pt x="146" y="76"/>
                  <a:pt x="145" y="75"/>
                </a:cubicBezTo>
                <a:cubicBezTo>
                  <a:pt x="145" y="74"/>
                  <a:pt x="146" y="75"/>
                  <a:pt x="147" y="74"/>
                </a:cubicBezTo>
                <a:cubicBezTo>
                  <a:pt x="147" y="73"/>
                  <a:pt x="150" y="73"/>
                  <a:pt x="149" y="72"/>
                </a:cubicBezTo>
                <a:cubicBezTo>
                  <a:pt x="147" y="71"/>
                  <a:pt x="147" y="70"/>
                  <a:pt x="146" y="69"/>
                </a:cubicBezTo>
                <a:cubicBezTo>
                  <a:pt x="145" y="69"/>
                  <a:pt x="148" y="69"/>
                  <a:pt x="148" y="69"/>
                </a:cubicBezTo>
                <a:cubicBezTo>
                  <a:pt x="148" y="69"/>
                  <a:pt x="150" y="68"/>
                  <a:pt x="151" y="68"/>
                </a:cubicBezTo>
                <a:cubicBezTo>
                  <a:pt x="151" y="68"/>
                  <a:pt x="152" y="68"/>
                  <a:pt x="153" y="69"/>
                </a:cubicBezTo>
                <a:cubicBezTo>
                  <a:pt x="154" y="69"/>
                  <a:pt x="154" y="69"/>
                  <a:pt x="155" y="69"/>
                </a:cubicBezTo>
                <a:cubicBezTo>
                  <a:pt x="156" y="69"/>
                  <a:pt x="156" y="68"/>
                  <a:pt x="154" y="67"/>
                </a:cubicBezTo>
                <a:cubicBezTo>
                  <a:pt x="152" y="66"/>
                  <a:pt x="155" y="66"/>
                  <a:pt x="156" y="66"/>
                </a:cubicBezTo>
                <a:cubicBezTo>
                  <a:pt x="156" y="65"/>
                  <a:pt x="158" y="65"/>
                  <a:pt x="160" y="66"/>
                </a:cubicBezTo>
                <a:cubicBezTo>
                  <a:pt x="161" y="68"/>
                  <a:pt x="162" y="68"/>
                  <a:pt x="163" y="69"/>
                </a:cubicBezTo>
                <a:cubicBezTo>
                  <a:pt x="165" y="70"/>
                  <a:pt x="165" y="71"/>
                  <a:pt x="165" y="71"/>
                </a:cubicBezTo>
                <a:cubicBezTo>
                  <a:pt x="165" y="71"/>
                  <a:pt x="167" y="72"/>
                  <a:pt x="167" y="72"/>
                </a:cubicBezTo>
                <a:cubicBezTo>
                  <a:pt x="167" y="73"/>
                  <a:pt x="167" y="72"/>
                  <a:pt x="167" y="72"/>
                </a:cubicBezTo>
                <a:cubicBezTo>
                  <a:pt x="167" y="71"/>
                  <a:pt x="167" y="70"/>
                  <a:pt x="168" y="70"/>
                </a:cubicBezTo>
                <a:cubicBezTo>
                  <a:pt x="168" y="70"/>
                  <a:pt x="169" y="71"/>
                  <a:pt x="169" y="71"/>
                </a:cubicBezTo>
                <a:cubicBezTo>
                  <a:pt x="169" y="71"/>
                  <a:pt x="171" y="71"/>
                  <a:pt x="172" y="71"/>
                </a:cubicBezTo>
                <a:cubicBezTo>
                  <a:pt x="172" y="71"/>
                  <a:pt x="173" y="71"/>
                  <a:pt x="174" y="73"/>
                </a:cubicBezTo>
                <a:cubicBezTo>
                  <a:pt x="175" y="73"/>
                  <a:pt x="175" y="72"/>
                  <a:pt x="174" y="71"/>
                </a:cubicBezTo>
                <a:cubicBezTo>
                  <a:pt x="174" y="69"/>
                  <a:pt x="175" y="71"/>
                  <a:pt x="176" y="71"/>
                </a:cubicBezTo>
                <a:cubicBezTo>
                  <a:pt x="177" y="71"/>
                  <a:pt x="177" y="71"/>
                  <a:pt x="177" y="72"/>
                </a:cubicBezTo>
                <a:cubicBezTo>
                  <a:pt x="178" y="73"/>
                  <a:pt x="179" y="73"/>
                  <a:pt x="180" y="74"/>
                </a:cubicBezTo>
                <a:cubicBezTo>
                  <a:pt x="181" y="75"/>
                  <a:pt x="181" y="73"/>
                  <a:pt x="180" y="71"/>
                </a:cubicBezTo>
                <a:close/>
                <a:moveTo>
                  <a:pt x="89" y="129"/>
                </a:moveTo>
                <a:cubicBezTo>
                  <a:pt x="64" y="129"/>
                  <a:pt x="44" y="108"/>
                  <a:pt x="44" y="83"/>
                </a:cubicBezTo>
                <a:cubicBezTo>
                  <a:pt x="44" y="58"/>
                  <a:pt x="64" y="38"/>
                  <a:pt x="89" y="38"/>
                </a:cubicBezTo>
                <a:cubicBezTo>
                  <a:pt x="114" y="38"/>
                  <a:pt x="134" y="58"/>
                  <a:pt x="134" y="83"/>
                </a:cubicBezTo>
                <a:cubicBezTo>
                  <a:pt x="134" y="108"/>
                  <a:pt x="114" y="129"/>
                  <a:pt x="89" y="129"/>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7" name="Freeform 88">
            <a:extLst>
              <a:ext uri="{FF2B5EF4-FFF2-40B4-BE49-F238E27FC236}">
                <a16:creationId xmlns:a16="http://schemas.microsoft.com/office/drawing/2014/main" id="{CEAE04DE-CA9B-4082-977E-5D2EBE306FEA}"/>
              </a:ext>
            </a:extLst>
          </p:cNvPr>
          <p:cNvSpPr>
            <a:spLocks noEditPoints="1"/>
          </p:cNvSpPr>
          <p:nvPr/>
        </p:nvSpPr>
        <p:spPr bwMode="auto">
          <a:xfrm>
            <a:off x="4082446" y="4520105"/>
            <a:ext cx="566153" cy="502108"/>
          </a:xfrm>
          <a:custGeom>
            <a:avLst/>
            <a:gdLst>
              <a:gd name="T0" fmla="*/ 159 w 167"/>
              <a:gd name="T1" fmla="*/ 0 h 148"/>
              <a:gd name="T2" fmla="*/ 97 w 167"/>
              <a:gd name="T3" fmla="*/ 0 h 148"/>
              <a:gd name="T4" fmla="*/ 89 w 167"/>
              <a:gd name="T5" fmla="*/ 9 h 148"/>
              <a:gd name="T6" fmla="*/ 89 w 167"/>
              <a:gd name="T7" fmla="*/ 52 h 148"/>
              <a:gd name="T8" fmla="*/ 93 w 167"/>
              <a:gd name="T9" fmla="*/ 47 h 148"/>
              <a:gd name="T10" fmla="*/ 99 w 167"/>
              <a:gd name="T11" fmla="*/ 44 h 148"/>
              <a:gd name="T12" fmla="*/ 106 w 167"/>
              <a:gd name="T13" fmla="*/ 20 h 148"/>
              <a:gd name="T14" fmla="*/ 119 w 167"/>
              <a:gd name="T15" fmla="*/ 23 h 148"/>
              <a:gd name="T16" fmla="*/ 112 w 167"/>
              <a:gd name="T17" fmla="*/ 50 h 148"/>
              <a:gd name="T18" fmla="*/ 111 w 167"/>
              <a:gd name="T19" fmla="*/ 62 h 148"/>
              <a:gd name="T20" fmla="*/ 159 w 167"/>
              <a:gd name="T21" fmla="*/ 62 h 148"/>
              <a:gd name="T22" fmla="*/ 167 w 167"/>
              <a:gd name="T23" fmla="*/ 54 h 148"/>
              <a:gd name="T24" fmla="*/ 167 w 167"/>
              <a:gd name="T25" fmla="*/ 9 h 148"/>
              <a:gd name="T26" fmla="*/ 159 w 167"/>
              <a:gd name="T27" fmla="*/ 0 h 148"/>
              <a:gd name="T28" fmla="*/ 50 w 167"/>
              <a:gd name="T29" fmla="*/ 46 h 148"/>
              <a:gd name="T30" fmla="*/ 64 w 167"/>
              <a:gd name="T31" fmla="*/ 31 h 148"/>
              <a:gd name="T32" fmla="*/ 50 w 167"/>
              <a:gd name="T33" fmla="*/ 17 h 148"/>
              <a:gd name="T34" fmla="*/ 35 w 167"/>
              <a:gd name="T35" fmla="*/ 31 h 148"/>
              <a:gd name="T36" fmla="*/ 50 w 167"/>
              <a:gd name="T37" fmla="*/ 46 h 148"/>
              <a:gd name="T38" fmla="*/ 52 w 167"/>
              <a:gd name="T39" fmla="*/ 142 h 148"/>
              <a:gd name="T40" fmla="*/ 58 w 167"/>
              <a:gd name="T41" fmla="*/ 148 h 148"/>
              <a:gd name="T42" fmla="*/ 64 w 167"/>
              <a:gd name="T43" fmla="*/ 142 h 148"/>
              <a:gd name="T44" fmla="*/ 64 w 167"/>
              <a:gd name="T45" fmla="*/ 107 h 148"/>
              <a:gd name="T46" fmla="*/ 52 w 167"/>
              <a:gd name="T47" fmla="*/ 107 h 148"/>
              <a:gd name="T48" fmla="*/ 52 w 167"/>
              <a:gd name="T49" fmla="*/ 142 h 148"/>
              <a:gd name="T50" fmla="*/ 35 w 167"/>
              <a:gd name="T51" fmla="*/ 142 h 148"/>
              <a:gd name="T52" fmla="*/ 42 w 167"/>
              <a:gd name="T53" fmla="*/ 148 h 148"/>
              <a:gd name="T54" fmla="*/ 48 w 167"/>
              <a:gd name="T55" fmla="*/ 142 h 148"/>
              <a:gd name="T56" fmla="*/ 48 w 167"/>
              <a:gd name="T57" fmla="*/ 107 h 148"/>
              <a:gd name="T58" fmla="*/ 35 w 167"/>
              <a:gd name="T59" fmla="*/ 107 h 148"/>
              <a:gd name="T60" fmla="*/ 35 w 167"/>
              <a:gd name="T61" fmla="*/ 142 h 148"/>
              <a:gd name="T62" fmla="*/ 113 w 167"/>
              <a:gd name="T63" fmla="*/ 28 h 148"/>
              <a:gd name="T64" fmla="*/ 109 w 167"/>
              <a:gd name="T65" fmla="*/ 27 h 148"/>
              <a:gd name="T66" fmla="*/ 103 w 167"/>
              <a:gd name="T67" fmla="*/ 50 h 148"/>
              <a:gd name="T68" fmla="*/ 97 w 167"/>
              <a:gd name="T69" fmla="*/ 52 h 148"/>
              <a:gd name="T70" fmla="*/ 83 w 167"/>
              <a:gd name="T71" fmla="*/ 66 h 148"/>
              <a:gd name="T72" fmla="*/ 68 w 167"/>
              <a:gd name="T73" fmla="*/ 51 h 148"/>
              <a:gd name="T74" fmla="*/ 60 w 167"/>
              <a:gd name="T75" fmla="*/ 50 h 148"/>
              <a:gd name="T76" fmla="*/ 60 w 167"/>
              <a:gd name="T77" fmla="*/ 50 h 148"/>
              <a:gd name="T78" fmla="*/ 50 w 167"/>
              <a:gd name="T79" fmla="*/ 58 h 148"/>
              <a:gd name="T80" fmla="*/ 40 w 167"/>
              <a:gd name="T81" fmla="*/ 50 h 148"/>
              <a:gd name="T82" fmla="*/ 40 w 167"/>
              <a:gd name="T83" fmla="*/ 50 h 148"/>
              <a:gd name="T84" fmla="*/ 31 w 167"/>
              <a:gd name="T85" fmla="*/ 52 h 148"/>
              <a:gd name="T86" fmla="*/ 2 w 167"/>
              <a:gd name="T87" fmla="*/ 81 h 148"/>
              <a:gd name="T88" fmla="*/ 2 w 167"/>
              <a:gd name="T89" fmla="*/ 89 h 148"/>
              <a:gd name="T90" fmla="*/ 11 w 167"/>
              <a:gd name="T91" fmla="*/ 89 h 148"/>
              <a:gd name="T92" fmla="*/ 31 w 167"/>
              <a:gd name="T93" fmla="*/ 69 h 148"/>
              <a:gd name="T94" fmla="*/ 31 w 167"/>
              <a:gd name="T95" fmla="*/ 103 h 148"/>
              <a:gd name="T96" fmla="*/ 68 w 167"/>
              <a:gd name="T97" fmla="*/ 103 h 148"/>
              <a:gd name="T98" fmla="*/ 68 w 167"/>
              <a:gd name="T99" fmla="*/ 69 h 148"/>
              <a:gd name="T100" fmla="*/ 76 w 167"/>
              <a:gd name="T101" fmla="*/ 77 h 148"/>
              <a:gd name="T102" fmla="*/ 89 w 167"/>
              <a:gd name="T103" fmla="*/ 77 h 148"/>
              <a:gd name="T104" fmla="*/ 106 w 167"/>
              <a:gd name="T105" fmla="*/ 60 h 148"/>
              <a:gd name="T106" fmla="*/ 106 w 167"/>
              <a:gd name="T107" fmla="*/ 53 h 148"/>
              <a:gd name="T108" fmla="*/ 113 w 167"/>
              <a:gd name="T109" fmla="*/ 28 h 148"/>
              <a:gd name="T110" fmla="*/ 50 w 167"/>
              <a:gd name="T111" fmla="*/ 93 h 148"/>
              <a:gd name="T112" fmla="*/ 44 w 167"/>
              <a:gd name="T113" fmla="*/ 85 h 148"/>
              <a:gd name="T114" fmla="*/ 50 w 167"/>
              <a:gd name="T115" fmla="*/ 60 h 148"/>
              <a:gd name="T116" fmla="*/ 56 w 167"/>
              <a:gd name="T117" fmla="*/ 85 h 148"/>
              <a:gd name="T118" fmla="*/ 50 w 167"/>
              <a:gd name="T119"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7" h="148">
                <a:moveTo>
                  <a:pt x="159" y="0"/>
                </a:moveTo>
                <a:cubicBezTo>
                  <a:pt x="97" y="0"/>
                  <a:pt x="97" y="0"/>
                  <a:pt x="97" y="0"/>
                </a:cubicBezTo>
                <a:cubicBezTo>
                  <a:pt x="93" y="0"/>
                  <a:pt x="89" y="4"/>
                  <a:pt x="89" y="9"/>
                </a:cubicBezTo>
                <a:cubicBezTo>
                  <a:pt x="89" y="52"/>
                  <a:pt x="89" y="52"/>
                  <a:pt x="89" y="52"/>
                </a:cubicBezTo>
                <a:cubicBezTo>
                  <a:pt x="93" y="47"/>
                  <a:pt x="93" y="47"/>
                  <a:pt x="93" y="47"/>
                </a:cubicBezTo>
                <a:cubicBezTo>
                  <a:pt x="95" y="46"/>
                  <a:pt x="97" y="45"/>
                  <a:pt x="99" y="44"/>
                </a:cubicBezTo>
                <a:cubicBezTo>
                  <a:pt x="106" y="20"/>
                  <a:pt x="106" y="20"/>
                  <a:pt x="106" y="20"/>
                </a:cubicBezTo>
                <a:cubicBezTo>
                  <a:pt x="119" y="23"/>
                  <a:pt x="119" y="23"/>
                  <a:pt x="119" y="23"/>
                </a:cubicBezTo>
                <a:cubicBezTo>
                  <a:pt x="112" y="50"/>
                  <a:pt x="112" y="50"/>
                  <a:pt x="112" y="50"/>
                </a:cubicBezTo>
                <a:cubicBezTo>
                  <a:pt x="114" y="54"/>
                  <a:pt x="114" y="58"/>
                  <a:pt x="111" y="62"/>
                </a:cubicBezTo>
                <a:cubicBezTo>
                  <a:pt x="159" y="62"/>
                  <a:pt x="159" y="62"/>
                  <a:pt x="159" y="62"/>
                </a:cubicBezTo>
                <a:cubicBezTo>
                  <a:pt x="163" y="62"/>
                  <a:pt x="167" y="58"/>
                  <a:pt x="167" y="54"/>
                </a:cubicBezTo>
                <a:cubicBezTo>
                  <a:pt x="167" y="9"/>
                  <a:pt x="167" y="9"/>
                  <a:pt x="167" y="9"/>
                </a:cubicBezTo>
                <a:cubicBezTo>
                  <a:pt x="167" y="4"/>
                  <a:pt x="163" y="0"/>
                  <a:pt x="159" y="0"/>
                </a:cubicBezTo>
                <a:close/>
                <a:moveTo>
                  <a:pt x="50" y="46"/>
                </a:moveTo>
                <a:cubicBezTo>
                  <a:pt x="58" y="46"/>
                  <a:pt x="64" y="39"/>
                  <a:pt x="64" y="31"/>
                </a:cubicBezTo>
                <a:cubicBezTo>
                  <a:pt x="64" y="23"/>
                  <a:pt x="58" y="17"/>
                  <a:pt x="50" y="17"/>
                </a:cubicBezTo>
                <a:cubicBezTo>
                  <a:pt x="42" y="17"/>
                  <a:pt x="35" y="23"/>
                  <a:pt x="35" y="31"/>
                </a:cubicBezTo>
                <a:cubicBezTo>
                  <a:pt x="35" y="39"/>
                  <a:pt x="42" y="46"/>
                  <a:pt x="50" y="46"/>
                </a:cubicBezTo>
                <a:close/>
                <a:moveTo>
                  <a:pt x="52" y="142"/>
                </a:moveTo>
                <a:cubicBezTo>
                  <a:pt x="52" y="146"/>
                  <a:pt x="55" y="148"/>
                  <a:pt x="58" y="148"/>
                </a:cubicBezTo>
                <a:cubicBezTo>
                  <a:pt x="62" y="148"/>
                  <a:pt x="64" y="146"/>
                  <a:pt x="64" y="142"/>
                </a:cubicBezTo>
                <a:cubicBezTo>
                  <a:pt x="64" y="107"/>
                  <a:pt x="64" y="107"/>
                  <a:pt x="64" y="107"/>
                </a:cubicBezTo>
                <a:cubicBezTo>
                  <a:pt x="52" y="107"/>
                  <a:pt x="52" y="107"/>
                  <a:pt x="52" y="107"/>
                </a:cubicBezTo>
                <a:lnTo>
                  <a:pt x="52" y="142"/>
                </a:lnTo>
                <a:close/>
                <a:moveTo>
                  <a:pt x="35" y="142"/>
                </a:moveTo>
                <a:cubicBezTo>
                  <a:pt x="35" y="146"/>
                  <a:pt x="38" y="148"/>
                  <a:pt x="42" y="148"/>
                </a:cubicBezTo>
                <a:cubicBezTo>
                  <a:pt x="45" y="148"/>
                  <a:pt x="48" y="146"/>
                  <a:pt x="48" y="142"/>
                </a:cubicBezTo>
                <a:cubicBezTo>
                  <a:pt x="48" y="107"/>
                  <a:pt x="48" y="107"/>
                  <a:pt x="48" y="107"/>
                </a:cubicBezTo>
                <a:cubicBezTo>
                  <a:pt x="35" y="107"/>
                  <a:pt x="35" y="107"/>
                  <a:pt x="35" y="107"/>
                </a:cubicBezTo>
                <a:lnTo>
                  <a:pt x="35" y="142"/>
                </a:lnTo>
                <a:close/>
                <a:moveTo>
                  <a:pt x="113" y="28"/>
                </a:moveTo>
                <a:cubicBezTo>
                  <a:pt x="109" y="27"/>
                  <a:pt x="109" y="27"/>
                  <a:pt x="109" y="27"/>
                </a:cubicBezTo>
                <a:cubicBezTo>
                  <a:pt x="103" y="50"/>
                  <a:pt x="103" y="50"/>
                  <a:pt x="103" y="50"/>
                </a:cubicBezTo>
                <a:cubicBezTo>
                  <a:pt x="101" y="50"/>
                  <a:pt x="99" y="50"/>
                  <a:pt x="97" y="52"/>
                </a:cubicBezTo>
                <a:cubicBezTo>
                  <a:pt x="83" y="66"/>
                  <a:pt x="83" y="66"/>
                  <a:pt x="83" y="66"/>
                </a:cubicBezTo>
                <a:cubicBezTo>
                  <a:pt x="68" y="51"/>
                  <a:pt x="68" y="51"/>
                  <a:pt x="68" y="51"/>
                </a:cubicBezTo>
                <a:cubicBezTo>
                  <a:pt x="67" y="50"/>
                  <a:pt x="61" y="50"/>
                  <a:pt x="60" y="50"/>
                </a:cubicBezTo>
                <a:cubicBezTo>
                  <a:pt x="60" y="50"/>
                  <a:pt x="60" y="50"/>
                  <a:pt x="60" y="50"/>
                </a:cubicBezTo>
                <a:cubicBezTo>
                  <a:pt x="50" y="58"/>
                  <a:pt x="50" y="58"/>
                  <a:pt x="50" y="58"/>
                </a:cubicBezTo>
                <a:cubicBezTo>
                  <a:pt x="40" y="50"/>
                  <a:pt x="40" y="50"/>
                  <a:pt x="40" y="50"/>
                </a:cubicBezTo>
                <a:cubicBezTo>
                  <a:pt x="40" y="50"/>
                  <a:pt x="40" y="50"/>
                  <a:pt x="40" y="50"/>
                </a:cubicBezTo>
                <a:cubicBezTo>
                  <a:pt x="39" y="50"/>
                  <a:pt x="33" y="50"/>
                  <a:pt x="31" y="52"/>
                </a:cubicBezTo>
                <a:cubicBezTo>
                  <a:pt x="2" y="81"/>
                  <a:pt x="2" y="81"/>
                  <a:pt x="2" y="81"/>
                </a:cubicBezTo>
                <a:cubicBezTo>
                  <a:pt x="0" y="83"/>
                  <a:pt x="0" y="87"/>
                  <a:pt x="2" y="89"/>
                </a:cubicBezTo>
                <a:cubicBezTo>
                  <a:pt x="5" y="92"/>
                  <a:pt x="8" y="92"/>
                  <a:pt x="11" y="89"/>
                </a:cubicBezTo>
                <a:cubicBezTo>
                  <a:pt x="31" y="69"/>
                  <a:pt x="31" y="69"/>
                  <a:pt x="31" y="69"/>
                </a:cubicBezTo>
                <a:cubicBezTo>
                  <a:pt x="31" y="103"/>
                  <a:pt x="31" y="103"/>
                  <a:pt x="31" y="103"/>
                </a:cubicBezTo>
                <a:cubicBezTo>
                  <a:pt x="68" y="103"/>
                  <a:pt x="68" y="103"/>
                  <a:pt x="68" y="103"/>
                </a:cubicBezTo>
                <a:cubicBezTo>
                  <a:pt x="68" y="69"/>
                  <a:pt x="68" y="69"/>
                  <a:pt x="68" y="69"/>
                </a:cubicBezTo>
                <a:cubicBezTo>
                  <a:pt x="76" y="77"/>
                  <a:pt x="76" y="77"/>
                  <a:pt x="76" y="77"/>
                </a:cubicBezTo>
                <a:cubicBezTo>
                  <a:pt x="78" y="78"/>
                  <a:pt x="87" y="79"/>
                  <a:pt x="89" y="77"/>
                </a:cubicBezTo>
                <a:cubicBezTo>
                  <a:pt x="106" y="60"/>
                  <a:pt x="106" y="60"/>
                  <a:pt x="106" y="60"/>
                </a:cubicBezTo>
                <a:cubicBezTo>
                  <a:pt x="108" y="58"/>
                  <a:pt x="108" y="55"/>
                  <a:pt x="106" y="53"/>
                </a:cubicBezTo>
                <a:lnTo>
                  <a:pt x="113" y="28"/>
                </a:lnTo>
                <a:close/>
                <a:moveTo>
                  <a:pt x="50" y="93"/>
                </a:moveTo>
                <a:cubicBezTo>
                  <a:pt x="44" y="85"/>
                  <a:pt x="44" y="85"/>
                  <a:pt x="44" y="85"/>
                </a:cubicBezTo>
                <a:cubicBezTo>
                  <a:pt x="50" y="60"/>
                  <a:pt x="50" y="60"/>
                  <a:pt x="50" y="60"/>
                </a:cubicBezTo>
                <a:cubicBezTo>
                  <a:pt x="56" y="85"/>
                  <a:pt x="56" y="85"/>
                  <a:pt x="56" y="85"/>
                </a:cubicBezTo>
                <a:lnTo>
                  <a:pt x="50" y="93"/>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8" name="Freeform 89">
            <a:extLst>
              <a:ext uri="{FF2B5EF4-FFF2-40B4-BE49-F238E27FC236}">
                <a16:creationId xmlns:a16="http://schemas.microsoft.com/office/drawing/2014/main" id="{BFA434A5-5675-46CE-B520-BBC38D735B91}"/>
              </a:ext>
            </a:extLst>
          </p:cNvPr>
          <p:cNvSpPr>
            <a:spLocks noEditPoints="1"/>
          </p:cNvSpPr>
          <p:nvPr/>
        </p:nvSpPr>
        <p:spPr bwMode="auto">
          <a:xfrm>
            <a:off x="5176322" y="4520105"/>
            <a:ext cx="602018" cy="502108"/>
          </a:xfrm>
          <a:custGeom>
            <a:avLst/>
            <a:gdLst>
              <a:gd name="T0" fmla="*/ 169 w 177"/>
              <a:gd name="T1" fmla="*/ 0 h 148"/>
              <a:gd name="T2" fmla="*/ 107 w 177"/>
              <a:gd name="T3" fmla="*/ 0 h 148"/>
              <a:gd name="T4" fmla="*/ 99 w 177"/>
              <a:gd name="T5" fmla="*/ 9 h 148"/>
              <a:gd name="T6" fmla="*/ 99 w 177"/>
              <a:gd name="T7" fmla="*/ 52 h 148"/>
              <a:gd name="T8" fmla="*/ 104 w 177"/>
              <a:gd name="T9" fmla="*/ 47 h 148"/>
              <a:gd name="T10" fmla="*/ 110 w 177"/>
              <a:gd name="T11" fmla="*/ 44 h 148"/>
              <a:gd name="T12" fmla="*/ 116 w 177"/>
              <a:gd name="T13" fmla="*/ 20 h 148"/>
              <a:gd name="T14" fmla="*/ 130 w 177"/>
              <a:gd name="T15" fmla="*/ 23 h 148"/>
              <a:gd name="T16" fmla="*/ 122 w 177"/>
              <a:gd name="T17" fmla="*/ 50 h 148"/>
              <a:gd name="T18" fmla="*/ 122 w 177"/>
              <a:gd name="T19" fmla="*/ 62 h 148"/>
              <a:gd name="T20" fmla="*/ 169 w 177"/>
              <a:gd name="T21" fmla="*/ 62 h 148"/>
              <a:gd name="T22" fmla="*/ 177 w 177"/>
              <a:gd name="T23" fmla="*/ 54 h 148"/>
              <a:gd name="T24" fmla="*/ 177 w 177"/>
              <a:gd name="T25" fmla="*/ 9 h 148"/>
              <a:gd name="T26" fmla="*/ 169 w 177"/>
              <a:gd name="T27" fmla="*/ 0 h 148"/>
              <a:gd name="T28" fmla="*/ 46 w 177"/>
              <a:gd name="T29" fmla="*/ 31 h 148"/>
              <a:gd name="T30" fmla="*/ 46 w 177"/>
              <a:gd name="T31" fmla="*/ 31 h 148"/>
              <a:gd name="T32" fmla="*/ 60 w 177"/>
              <a:gd name="T33" fmla="*/ 46 h 148"/>
              <a:gd name="T34" fmla="*/ 75 w 177"/>
              <a:gd name="T35" fmla="*/ 31 h 148"/>
              <a:gd name="T36" fmla="*/ 60 w 177"/>
              <a:gd name="T37" fmla="*/ 17 h 148"/>
              <a:gd name="T38" fmla="*/ 47 w 177"/>
              <a:gd name="T39" fmla="*/ 27 h 148"/>
              <a:gd name="T40" fmla="*/ 11 w 177"/>
              <a:gd name="T41" fmla="*/ 37 h 148"/>
              <a:gd name="T42" fmla="*/ 0 w 177"/>
              <a:gd name="T43" fmla="*/ 44 h 148"/>
              <a:gd name="T44" fmla="*/ 21 w 177"/>
              <a:gd name="T45" fmla="*/ 43 h 148"/>
              <a:gd name="T46" fmla="*/ 46 w 177"/>
              <a:gd name="T47" fmla="*/ 31 h 148"/>
              <a:gd name="T48" fmla="*/ 46 w 177"/>
              <a:gd name="T49" fmla="*/ 142 h 148"/>
              <a:gd name="T50" fmla="*/ 52 w 177"/>
              <a:gd name="T51" fmla="*/ 148 h 148"/>
              <a:gd name="T52" fmla="*/ 58 w 177"/>
              <a:gd name="T53" fmla="*/ 142 h 148"/>
              <a:gd name="T54" fmla="*/ 58 w 177"/>
              <a:gd name="T55" fmla="*/ 136 h 148"/>
              <a:gd name="T56" fmla="*/ 46 w 177"/>
              <a:gd name="T57" fmla="*/ 136 h 148"/>
              <a:gd name="T58" fmla="*/ 46 w 177"/>
              <a:gd name="T59" fmla="*/ 142 h 148"/>
              <a:gd name="T60" fmla="*/ 123 w 177"/>
              <a:gd name="T61" fmla="*/ 28 h 148"/>
              <a:gd name="T62" fmla="*/ 119 w 177"/>
              <a:gd name="T63" fmla="*/ 27 h 148"/>
              <a:gd name="T64" fmla="*/ 113 w 177"/>
              <a:gd name="T65" fmla="*/ 50 h 148"/>
              <a:gd name="T66" fmla="*/ 107 w 177"/>
              <a:gd name="T67" fmla="*/ 52 h 148"/>
              <a:gd name="T68" fmla="*/ 93 w 177"/>
              <a:gd name="T69" fmla="*/ 66 h 148"/>
              <a:gd name="T70" fmla="*/ 79 w 177"/>
              <a:gd name="T71" fmla="*/ 51 h 148"/>
              <a:gd name="T72" fmla="*/ 70 w 177"/>
              <a:gd name="T73" fmla="*/ 50 h 148"/>
              <a:gd name="T74" fmla="*/ 70 w 177"/>
              <a:gd name="T75" fmla="*/ 50 h 148"/>
              <a:gd name="T76" fmla="*/ 60 w 177"/>
              <a:gd name="T77" fmla="*/ 58 h 148"/>
              <a:gd name="T78" fmla="*/ 50 w 177"/>
              <a:gd name="T79" fmla="*/ 50 h 148"/>
              <a:gd name="T80" fmla="*/ 50 w 177"/>
              <a:gd name="T81" fmla="*/ 50 h 148"/>
              <a:gd name="T82" fmla="*/ 42 w 177"/>
              <a:gd name="T83" fmla="*/ 52 h 148"/>
              <a:gd name="T84" fmla="*/ 12 w 177"/>
              <a:gd name="T85" fmla="*/ 81 h 148"/>
              <a:gd name="T86" fmla="*/ 12 w 177"/>
              <a:gd name="T87" fmla="*/ 89 h 148"/>
              <a:gd name="T88" fmla="*/ 21 w 177"/>
              <a:gd name="T89" fmla="*/ 89 h 148"/>
              <a:gd name="T90" fmla="*/ 45 w 177"/>
              <a:gd name="T91" fmla="*/ 66 h 148"/>
              <a:gd name="T92" fmla="*/ 48 w 177"/>
              <a:gd name="T93" fmla="*/ 72 h 148"/>
              <a:gd name="T94" fmla="*/ 28 w 177"/>
              <a:gd name="T95" fmla="*/ 132 h 148"/>
              <a:gd name="T96" fmla="*/ 93 w 177"/>
              <a:gd name="T97" fmla="*/ 132 h 148"/>
              <a:gd name="T98" fmla="*/ 72 w 177"/>
              <a:gd name="T99" fmla="*/ 72 h 148"/>
              <a:gd name="T100" fmla="*/ 75 w 177"/>
              <a:gd name="T101" fmla="*/ 65 h 148"/>
              <a:gd name="T102" fmla="*/ 87 w 177"/>
              <a:gd name="T103" fmla="*/ 77 h 148"/>
              <a:gd name="T104" fmla="*/ 99 w 177"/>
              <a:gd name="T105" fmla="*/ 77 h 148"/>
              <a:gd name="T106" fmla="*/ 116 w 177"/>
              <a:gd name="T107" fmla="*/ 60 h 148"/>
              <a:gd name="T108" fmla="*/ 117 w 177"/>
              <a:gd name="T109" fmla="*/ 53 h 148"/>
              <a:gd name="T110" fmla="*/ 123 w 177"/>
              <a:gd name="T111" fmla="*/ 28 h 148"/>
              <a:gd name="T112" fmla="*/ 62 w 177"/>
              <a:gd name="T113" fmla="*/ 142 h 148"/>
              <a:gd name="T114" fmla="*/ 68 w 177"/>
              <a:gd name="T115" fmla="*/ 148 h 148"/>
              <a:gd name="T116" fmla="*/ 75 w 177"/>
              <a:gd name="T117" fmla="*/ 142 h 148"/>
              <a:gd name="T118" fmla="*/ 75 w 177"/>
              <a:gd name="T119" fmla="*/ 136 h 148"/>
              <a:gd name="T120" fmla="*/ 62 w 177"/>
              <a:gd name="T121" fmla="*/ 136 h 148"/>
              <a:gd name="T122" fmla="*/ 62 w 177"/>
              <a:gd name="T123" fmla="*/ 14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 h="148">
                <a:moveTo>
                  <a:pt x="169" y="0"/>
                </a:moveTo>
                <a:cubicBezTo>
                  <a:pt x="107" y="0"/>
                  <a:pt x="107" y="0"/>
                  <a:pt x="107" y="0"/>
                </a:cubicBezTo>
                <a:cubicBezTo>
                  <a:pt x="103" y="0"/>
                  <a:pt x="99" y="4"/>
                  <a:pt x="99" y="9"/>
                </a:cubicBezTo>
                <a:cubicBezTo>
                  <a:pt x="99" y="52"/>
                  <a:pt x="99" y="52"/>
                  <a:pt x="99" y="52"/>
                </a:cubicBezTo>
                <a:cubicBezTo>
                  <a:pt x="104" y="47"/>
                  <a:pt x="104" y="47"/>
                  <a:pt x="104" y="47"/>
                </a:cubicBezTo>
                <a:cubicBezTo>
                  <a:pt x="105" y="46"/>
                  <a:pt x="107" y="45"/>
                  <a:pt x="110" y="44"/>
                </a:cubicBezTo>
                <a:cubicBezTo>
                  <a:pt x="116" y="20"/>
                  <a:pt x="116" y="20"/>
                  <a:pt x="116" y="20"/>
                </a:cubicBezTo>
                <a:cubicBezTo>
                  <a:pt x="130" y="23"/>
                  <a:pt x="130" y="23"/>
                  <a:pt x="130" y="23"/>
                </a:cubicBezTo>
                <a:cubicBezTo>
                  <a:pt x="122" y="50"/>
                  <a:pt x="122" y="50"/>
                  <a:pt x="122" y="50"/>
                </a:cubicBezTo>
                <a:cubicBezTo>
                  <a:pt x="124" y="54"/>
                  <a:pt x="124" y="58"/>
                  <a:pt x="122" y="62"/>
                </a:cubicBezTo>
                <a:cubicBezTo>
                  <a:pt x="169" y="62"/>
                  <a:pt x="169" y="62"/>
                  <a:pt x="169" y="62"/>
                </a:cubicBezTo>
                <a:cubicBezTo>
                  <a:pt x="174" y="62"/>
                  <a:pt x="177" y="58"/>
                  <a:pt x="177" y="54"/>
                </a:cubicBezTo>
                <a:cubicBezTo>
                  <a:pt x="177" y="9"/>
                  <a:pt x="177" y="9"/>
                  <a:pt x="177" y="9"/>
                </a:cubicBezTo>
                <a:cubicBezTo>
                  <a:pt x="177" y="4"/>
                  <a:pt x="174" y="0"/>
                  <a:pt x="169" y="0"/>
                </a:cubicBezTo>
                <a:close/>
                <a:moveTo>
                  <a:pt x="46" y="31"/>
                </a:moveTo>
                <a:cubicBezTo>
                  <a:pt x="46" y="31"/>
                  <a:pt x="46" y="31"/>
                  <a:pt x="46" y="31"/>
                </a:cubicBezTo>
                <a:cubicBezTo>
                  <a:pt x="46" y="39"/>
                  <a:pt x="52" y="46"/>
                  <a:pt x="60" y="46"/>
                </a:cubicBezTo>
                <a:cubicBezTo>
                  <a:pt x="68" y="46"/>
                  <a:pt x="75" y="39"/>
                  <a:pt x="75" y="31"/>
                </a:cubicBezTo>
                <a:cubicBezTo>
                  <a:pt x="75" y="23"/>
                  <a:pt x="68" y="17"/>
                  <a:pt x="60" y="17"/>
                </a:cubicBezTo>
                <a:cubicBezTo>
                  <a:pt x="54" y="17"/>
                  <a:pt x="48" y="21"/>
                  <a:pt x="47" y="27"/>
                </a:cubicBezTo>
                <a:cubicBezTo>
                  <a:pt x="39" y="17"/>
                  <a:pt x="19" y="18"/>
                  <a:pt x="11" y="37"/>
                </a:cubicBezTo>
                <a:cubicBezTo>
                  <a:pt x="5" y="47"/>
                  <a:pt x="0" y="44"/>
                  <a:pt x="0" y="44"/>
                </a:cubicBezTo>
                <a:cubicBezTo>
                  <a:pt x="0" y="44"/>
                  <a:pt x="7" y="55"/>
                  <a:pt x="21" y="43"/>
                </a:cubicBezTo>
                <a:cubicBezTo>
                  <a:pt x="34" y="32"/>
                  <a:pt x="37" y="27"/>
                  <a:pt x="46" y="31"/>
                </a:cubicBezTo>
                <a:close/>
                <a:moveTo>
                  <a:pt x="46" y="142"/>
                </a:moveTo>
                <a:cubicBezTo>
                  <a:pt x="46" y="146"/>
                  <a:pt x="49" y="148"/>
                  <a:pt x="52" y="148"/>
                </a:cubicBezTo>
                <a:cubicBezTo>
                  <a:pt x="55" y="148"/>
                  <a:pt x="58" y="146"/>
                  <a:pt x="58" y="142"/>
                </a:cubicBezTo>
                <a:cubicBezTo>
                  <a:pt x="58" y="136"/>
                  <a:pt x="58" y="136"/>
                  <a:pt x="58" y="136"/>
                </a:cubicBezTo>
                <a:cubicBezTo>
                  <a:pt x="46" y="136"/>
                  <a:pt x="46" y="136"/>
                  <a:pt x="46" y="136"/>
                </a:cubicBezTo>
                <a:lnTo>
                  <a:pt x="46" y="142"/>
                </a:lnTo>
                <a:close/>
                <a:moveTo>
                  <a:pt x="123" y="28"/>
                </a:moveTo>
                <a:cubicBezTo>
                  <a:pt x="119" y="27"/>
                  <a:pt x="119" y="27"/>
                  <a:pt x="119" y="27"/>
                </a:cubicBezTo>
                <a:cubicBezTo>
                  <a:pt x="113" y="50"/>
                  <a:pt x="113" y="50"/>
                  <a:pt x="113" y="50"/>
                </a:cubicBezTo>
                <a:cubicBezTo>
                  <a:pt x="111" y="50"/>
                  <a:pt x="109" y="50"/>
                  <a:pt x="107" y="52"/>
                </a:cubicBezTo>
                <a:cubicBezTo>
                  <a:pt x="93" y="66"/>
                  <a:pt x="93" y="66"/>
                  <a:pt x="93" y="66"/>
                </a:cubicBezTo>
                <a:cubicBezTo>
                  <a:pt x="79" y="51"/>
                  <a:pt x="79" y="51"/>
                  <a:pt x="79" y="51"/>
                </a:cubicBezTo>
                <a:cubicBezTo>
                  <a:pt x="77" y="50"/>
                  <a:pt x="71" y="50"/>
                  <a:pt x="70" y="50"/>
                </a:cubicBezTo>
                <a:cubicBezTo>
                  <a:pt x="70" y="50"/>
                  <a:pt x="70" y="50"/>
                  <a:pt x="70" y="50"/>
                </a:cubicBezTo>
                <a:cubicBezTo>
                  <a:pt x="60" y="58"/>
                  <a:pt x="60" y="58"/>
                  <a:pt x="60" y="58"/>
                </a:cubicBezTo>
                <a:cubicBezTo>
                  <a:pt x="50" y="50"/>
                  <a:pt x="50" y="50"/>
                  <a:pt x="50" y="50"/>
                </a:cubicBezTo>
                <a:cubicBezTo>
                  <a:pt x="50" y="50"/>
                  <a:pt x="50" y="50"/>
                  <a:pt x="50" y="50"/>
                </a:cubicBezTo>
                <a:cubicBezTo>
                  <a:pt x="49" y="50"/>
                  <a:pt x="43" y="50"/>
                  <a:pt x="42" y="52"/>
                </a:cubicBezTo>
                <a:cubicBezTo>
                  <a:pt x="12" y="81"/>
                  <a:pt x="12" y="81"/>
                  <a:pt x="12" y="81"/>
                </a:cubicBezTo>
                <a:cubicBezTo>
                  <a:pt x="10" y="83"/>
                  <a:pt x="10" y="87"/>
                  <a:pt x="12" y="89"/>
                </a:cubicBezTo>
                <a:cubicBezTo>
                  <a:pt x="15" y="92"/>
                  <a:pt x="19" y="92"/>
                  <a:pt x="21" y="89"/>
                </a:cubicBezTo>
                <a:cubicBezTo>
                  <a:pt x="45" y="66"/>
                  <a:pt x="45" y="66"/>
                  <a:pt x="45" y="66"/>
                </a:cubicBezTo>
                <a:cubicBezTo>
                  <a:pt x="48" y="72"/>
                  <a:pt x="48" y="72"/>
                  <a:pt x="48" y="72"/>
                </a:cubicBezTo>
                <a:cubicBezTo>
                  <a:pt x="28" y="132"/>
                  <a:pt x="28" y="132"/>
                  <a:pt x="28" y="132"/>
                </a:cubicBezTo>
                <a:cubicBezTo>
                  <a:pt x="93" y="132"/>
                  <a:pt x="93" y="132"/>
                  <a:pt x="93" y="132"/>
                </a:cubicBezTo>
                <a:cubicBezTo>
                  <a:pt x="72" y="72"/>
                  <a:pt x="72" y="72"/>
                  <a:pt x="72" y="72"/>
                </a:cubicBezTo>
                <a:cubicBezTo>
                  <a:pt x="75" y="65"/>
                  <a:pt x="75" y="65"/>
                  <a:pt x="75" y="65"/>
                </a:cubicBezTo>
                <a:cubicBezTo>
                  <a:pt x="87" y="77"/>
                  <a:pt x="87" y="77"/>
                  <a:pt x="87" y="77"/>
                </a:cubicBezTo>
                <a:cubicBezTo>
                  <a:pt x="88" y="78"/>
                  <a:pt x="97" y="79"/>
                  <a:pt x="99" y="77"/>
                </a:cubicBezTo>
                <a:cubicBezTo>
                  <a:pt x="116" y="60"/>
                  <a:pt x="116" y="60"/>
                  <a:pt x="116" y="60"/>
                </a:cubicBezTo>
                <a:cubicBezTo>
                  <a:pt x="118" y="58"/>
                  <a:pt x="118" y="55"/>
                  <a:pt x="117" y="53"/>
                </a:cubicBezTo>
                <a:lnTo>
                  <a:pt x="123" y="28"/>
                </a:lnTo>
                <a:close/>
                <a:moveTo>
                  <a:pt x="62" y="142"/>
                </a:moveTo>
                <a:cubicBezTo>
                  <a:pt x="62" y="146"/>
                  <a:pt x="65" y="148"/>
                  <a:pt x="68" y="148"/>
                </a:cubicBezTo>
                <a:cubicBezTo>
                  <a:pt x="72" y="148"/>
                  <a:pt x="75" y="146"/>
                  <a:pt x="75" y="142"/>
                </a:cubicBezTo>
                <a:cubicBezTo>
                  <a:pt x="75" y="136"/>
                  <a:pt x="75" y="136"/>
                  <a:pt x="75" y="136"/>
                </a:cubicBezTo>
                <a:cubicBezTo>
                  <a:pt x="62" y="136"/>
                  <a:pt x="62" y="136"/>
                  <a:pt x="62" y="136"/>
                </a:cubicBezTo>
                <a:lnTo>
                  <a:pt x="62" y="14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39" name="Freeform 90">
            <a:extLst>
              <a:ext uri="{FF2B5EF4-FFF2-40B4-BE49-F238E27FC236}">
                <a16:creationId xmlns:a16="http://schemas.microsoft.com/office/drawing/2014/main" id="{CE02148C-956D-4B4A-80F4-F7A3F75BA3C8}"/>
              </a:ext>
            </a:extLst>
          </p:cNvPr>
          <p:cNvSpPr>
            <a:spLocks noEditPoints="1"/>
          </p:cNvSpPr>
          <p:nvPr/>
        </p:nvSpPr>
        <p:spPr bwMode="auto">
          <a:xfrm>
            <a:off x="6347054" y="4466309"/>
            <a:ext cx="537972" cy="571277"/>
          </a:xfrm>
          <a:custGeom>
            <a:avLst/>
            <a:gdLst>
              <a:gd name="T0" fmla="*/ 79 w 159"/>
              <a:gd name="T1" fmla="*/ 66 h 169"/>
              <a:gd name="T2" fmla="*/ 112 w 159"/>
              <a:gd name="T3" fmla="*/ 33 h 169"/>
              <a:gd name="T4" fmla="*/ 79 w 159"/>
              <a:gd name="T5" fmla="*/ 0 h 169"/>
              <a:gd name="T6" fmla="*/ 46 w 159"/>
              <a:gd name="T7" fmla="*/ 33 h 169"/>
              <a:gd name="T8" fmla="*/ 79 w 159"/>
              <a:gd name="T9" fmla="*/ 66 h 169"/>
              <a:gd name="T10" fmla="*/ 156 w 159"/>
              <a:gd name="T11" fmla="*/ 117 h 169"/>
              <a:gd name="T12" fmla="*/ 134 w 159"/>
              <a:gd name="T13" fmla="*/ 86 h 169"/>
              <a:gd name="T14" fmla="*/ 125 w 159"/>
              <a:gd name="T15" fmla="*/ 119 h 169"/>
              <a:gd name="T16" fmla="*/ 128 w 159"/>
              <a:gd name="T17" fmla="*/ 122 h 169"/>
              <a:gd name="T18" fmla="*/ 111 w 159"/>
              <a:gd name="T19" fmla="*/ 130 h 169"/>
              <a:gd name="T20" fmla="*/ 106 w 159"/>
              <a:gd name="T21" fmla="*/ 148 h 169"/>
              <a:gd name="T22" fmla="*/ 124 w 159"/>
              <a:gd name="T23" fmla="*/ 153 h 169"/>
              <a:gd name="T24" fmla="*/ 150 w 159"/>
              <a:gd name="T25" fmla="*/ 141 h 169"/>
              <a:gd name="T26" fmla="*/ 156 w 159"/>
              <a:gd name="T27" fmla="*/ 117 h 169"/>
              <a:gd name="T28" fmla="*/ 99 w 159"/>
              <a:gd name="T29" fmla="*/ 153 h 169"/>
              <a:gd name="T30" fmla="*/ 80 w 159"/>
              <a:gd name="T31" fmla="*/ 162 h 169"/>
              <a:gd name="T32" fmla="*/ 84 w 159"/>
              <a:gd name="T33" fmla="*/ 103 h 169"/>
              <a:gd name="T34" fmla="*/ 93 w 159"/>
              <a:gd name="T35" fmla="*/ 98 h 169"/>
              <a:gd name="T36" fmla="*/ 104 w 159"/>
              <a:gd name="T37" fmla="*/ 95 h 169"/>
              <a:gd name="T38" fmla="*/ 114 w 159"/>
              <a:gd name="T39" fmla="*/ 91 h 169"/>
              <a:gd name="T40" fmla="*/ 131 w 159"/>
              <a:gd name="T41" fmla="*/ 81 h 169"/>
              <a:gd name="T42" fmla="*/ 126 w 159"/>
              <a:gd name="T43" fmla="*/ 75 h 169"/>
              <a:gd name="T44" fmla="*/ 124 w 159"/>
              <a:gd name="T45" fmla="*/ 74 h 169"/>
              <a:gd name="T46" fmla="*/ 112 w 159"/>
              <a:gd name="T47" fmla="*/ 70 h 169"/>
              <a:gd name="T48" fmla="*/ 100 w 159"/>
              <a:gd name="T49" fmla="*/ 70 h 169"/>
              <a:gd name="T50" fmla="*/ 79 w 159"/>
              <a:gd name="T51" fmla="*/ 86 h 169"/>
              <a:gd name="T52" fmla="*/ 59 w 159"/>
              <a:gd name="T53" fmla="*/ 70 h 169"/>
              <a:gd name="T54" fmla="*/ 47 w 159"/>
              <a:gd name="T55" fmla="*/ 70 h 169"/>
              <a:gd name="T56" fmla="*/ 34 w 159"/>
              <a:gd name="T57" fmla="*/ 74 h 169"/>
              <a:gd name="T58" fmla="*/ 33 w 159"/>
              <a:gd name="T59" fmla="*/ 75 h 169"/>
              <a:gd name="T60" fmla="*/ 28 w 159"/>
              <a:gd name="T61" fmla="*/ 81 h 169"/>
              <a:gd name="T62" fmla="*/ 45 w 159"/>
              <a:gd name="T63" fmla="*/ 91 h 169"/>
              <a:gd name="T64" fmla="*/ 55 w 159"/>
              <a:gd name="T65" fmla="*/ 95 h 169"/>
              <a:gd name="T66" fmla="*/ 65 w 159"/>
              <a:gd name="T67" fmla="*/ 98 h 169"/>
              <a:gd name="T68" fmla="*/ 75 w 159"/>
              <a:gd name="T69" fmla="*/ 103 h 169"/>
              <a:gd name="T70" fmla="*/ 78 w 159"/>
              <a:gd name="T71" fmla="*/ 162 h 169"/>
              <a:gd name="T72" fmla="*/ 59 w 159"/>
              <a:gd name="T73" fmla="*/ 152 h 169"/>
              <a:gd name="T74" fmla="*/ 43 w 159"/>
              <a:gd name="T75" fmla="*/ 162 h 169"/>
              <a:gd name="T76" fmla="*/ 79 w 159"/>
              <a:gd name="T77" fmla="*/ 169 h 169"/>
              <a:gd name="T78" fmla="*/ 80 w 159"/>
              <a:gd name="T79" fmla="*/ 169 h 169"/>
              <a:gd name="T80" fmla="*/ 80 w 159"/>
              <a:gd name="T81" fmla="*/ 169 h 169"/>
              <a:gd name="T82" fmla="*/ 116 w 159"/>
              <a:gd name="T83" fmla="*/ 162 h 169"/>
              <a:gd name="T84" fmla="*/ 99 w 159"/>
              <a:gd name="T85" fmla="*/ 153 h 169"/>
              <a:gd name="T86" fmla="*/ 53 w 159"/>
              <a:gd name="T87" fmla="*/ 148 h 169"/>
              <a:gd name="T88" fmla="*/ 48 w 159"/>
              <a:gd name="T89" fmla="*/ 130 h 169"/>
              <a:gd name="T90" fmla="*/ 30 w 159"/>
              <a:gd name="T91" fmla="*/ 122 h 169"/>
              <a:gd name="T92" fmla="*/ 33 w 159"/>
              <a:gd name="T93" fmla="*/ 118 h 169"/>
              <a:gd name="T94" fmla="*/ 24 w 159"/>
              <a:gd name="T95" fmla="*/ 86 h 169"/>
              <a:gd name="T96" fmla="*/ 2 w 159"/>
              <a:gd name="T97" fmla="*/ 117 h 169"/>
              <a:gd name="T98" fmla="*/ 8 w 159"/>
              <a:gd name="T99" fmla="*/ 141 h 169"/>
              <a:gd name="T100" fmla="*/ 35 w 159"/>
              <a:gd name="T101" fmla="*/ 153 h 169"/>
              <a:gd name="T102" fmla="*/ 53 w 159"/>
              <a:gd name="T103" fmla="*/ 14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9" h="169">
                <a:moveTo>
                  <a:pt x="79" y="66"/>
                </a:moveTo>
                <a:cubicBezTo>
                  <a:pt x="97" y="66"/>
                  <a:pt x="112" y="51"/>
                  <a:pt x="112" y="33"/>
                </a:cubicBezTo>
                <a:cubicBezTo>
                  <a:pt x="112" y="15"/>
                  <a:pt x="97" y="0"/>
                  <a:pt x="79" y="0"/>
                </a:cubicBezTo>
                <a:cubicBezTo>
                  <a:pt x="61" y="0"/>
                  <a:pt x="46" y="15"/>
                  <a:pt x="46" y="33"/>
                </a:cubicBezTo>
                <a:cubicBezTo>
                  <a:pt x="46" y="51"/>
                  <a:pt x="61" y="66"/>
                  <a:pt x="79" y="66"/>
                </a:cubicBezTo>
                <a:close/>
                <a:moveTo>
                  <a:pt x="156" y="117"/>
                </a:moveTo>
                <a:cubicBezTo>
                  <a:pt x="134" y="86"/>
                  <a:pt x="134" y="86"/>
                  <a:pt x="134" y="86"/>
                </a:cubicBezTo>
                <a:cubicBezTo>
                  <a:pt x="132" y="97"/>
                  <a:pt x="129" y="108"/>
                  <a:pt x="125" y="119"/>
                </a:cubicBezTo>
                <a:cubicBezTo>
                  <a:pt x="128" y="122"/>
                  <a:pt x="128" y="122"/>
                  <a:pt x="128" y="122"/>
                </a:cubicBezTo>
                <a:cubicBezTo>
                  <a:pt x="111" y="130"/>
                  <a:pt x="111" y="130"/>
                  <a:pt x="111" y="130"/>
                </a:cubicBezTo>
                <a:cubicBezTo>
                  <a:pt x="104" y="133"/>
                  <a:pt x="102" y="142"/>
                  <a:pt x="106" y="148"/>
                </a:cubicBezTo>
                <a:cubicBezTo>
                  <a:pt x="109" y="154"/>
                  <a:pt x="118" y="156"/>
                  <a:pt x="124" y="153"/>
                </a:cubicBezTo>
                <a:cubicBezTo>
                  <a:pt x="150" y="141"/>
                  <a:pt x="150" y="141"/>
                  <a:pt x="150" y="141"/>
                </a:cubicBezTo>
                <a:cubicBezTo>
                  <a:pt x="155" y="139"/>
                  <a:pt x="159" y="121"/>
                  <a:pt x="156" y="117"/>
                </a:cubicBezTo>
                <a:close/>
                <a:moveTo>
                  <a:pt x="99" y="153"/>
                </a:moveTo>
                <a:cubicBezTo>
                  <a:pt x="91" y="155"/>
                  <a:pt x="83" y="158"/>
                  <a:pt x="80" y="162"/>
                </a:cubicBezTo>
                <a:cubicBezTo>
                  <a:pt x="81" y="143"/>
                  <a:pt x="83" y="123"/>
                  <a:pt x="84" y="103"/>
                </a:cubicBezTo>
                <a:cubicBezTo>
                  <a:pt x="86" y="101"/>
                  <a:pt x="90" y="100"/>
                  <a:pt x="93" y="98"/>
                </a:cubicBezTo>
                <a:cubicBezTo>
                  <a:pt x="97" y="97"/>
                  <a:pt x="100" y="96"/>
                  <a:pt x="104" y="95"/>
                </a:cubicBezTo>
                <a:cubicBezTo>
                  <a:pt x="107" y="93"/>
                  <a:pt x="111" y="92"/>
                  <a:pt x="114" y="91"/>
                </a:cubicBezTo>
                <a:cubicBezTo>
                  <a:pt x="121" y="88"/>
                  <a:pt x="127" y="84"/>
                  <a:pt x="131" y="81"/>
                </a:cubicBezTo>
                <a:cubicBezTo>
                  <a:pt x="130" y="79"/>
                  <a:pt x="128" y="77"/>
                  <a:pt x="126" y="75"/>
                </a:cubicBezTo>
                <a:cubicBezTo>
                  <a:pt x="125" y="74"/>
                  <a:pt x="125" y="74"/>
                  <a:pt x="124" y="74"/>
                </a:cubicBezTo>
                <a:cubicBezTo>
                  <a:pt x="121" y="71"/>
                  <a:pt x="117" y="70"/>
                  <a:pt x="112" y="70"/>
                </a:cubicBezTo>
                <a:cubicBezTo>
                  <a:pt x="100" y="70"/>
                  <a:pt x="100" y="70"/>
                  <a:pt x="100" y="70"/>
                </a:cubicBezTo>
                <a:cubicBezTo>
                  <a:pt x="79" y="86"/>
                  <a:pt x="79" y="86"/>
                  <a:pt x="79" y="86"/>
                </a:cubicBezTo>
                <a:cubicBezTo>
                  <a:pt x="59" y="70"/>
                  <a:pt x="59" y="70"/>
                  <a:pt x="59" y="70"/>
                </a:cubicBezTo>
                <a:cubicBezTo>
                  <a:pt x="47" y="70"/>
                  <a:pt x="47" y="70"/>
                  <a:pt x="47" y="70"/>
                </a:cubicBezTo>
                <a:cubicBezTo>
                  <a:pt x="42" y="70"/>
                  <a:pt x="38" y="71"/>
                  <a:pt x="34" y="74"/>
                </a:cubicBezTo>
                <a:cubicBezTo>
                  <a:pt x="34" y="74"/>
                  <a:pt x="33" y="74"/>
                  <a:pt x="33" y="75"/>
                </a:cubicBezTo>
                <a:cubicBezTo>
                  <a:pt x="31" y="77"/>
                  <a:pt x="29" y="79"/>
                  <a:pt x="28" y="81"/>
                </a:cubicBezTo>
                <a:cubicBezTo>
                  <a:pt x="32" y="84"/>
                  <a:pt x="38" y="88"/>
                  <a:pt x="45" y="91"/>
                </a:cubicBezTo>
                <a:cubicBezTo>
                  <a:pt x="48" y="92"/>
                  <a:pt x="52" y="93"/>
                  <a:pt x="55" y="95"/>
                </a:cubicBezTo>
                <a:cubicBezTo>
                  <a:pt x="59" y="96"/>
                  <a:pt x="62" y="97"/>
                  <a:pt x="65" y="98"/>
                </a:cubicBezTo>
                <a:cubicBezTo>
                  <a:pt x="69" y="100"/>
                  <a:pt x="72" y="101"/>
                  <a:pt x="75" y="103"/>
                </a:cubicBezTo>
                <a:cubicBezTo>
                  <a:pt x="76" y="123"/>
                  <a:pt x="77" y="143"/>
                  <a:pt x="78" y="162"/>
                </a:cubicBezTo>
                <a:cubicBezTo>
                  <a:pt x="75" y="158"/>
                  <a:pt x="67" y="155"/>
                  <a:pt x="59" y="152"/>
                </a:cubicBezTo>
                <a:cubicBezTo>
                  <a:pt x="55" y="158"/>
                  <a:pt x="49" y="161"/>
                  <a:pt x="43" y="162"/>
                </a:cubicBezTo>
                <a:cubicBezTo>
                  <a:pt x="50" y="164"/>
                  <a:pt x="64" y="168"/>
                  <a:pt x="79" y="169"/>
                </a:cubicBezTo>
                <a:cubicBezTo>
                  <a:pt x="80" y="169"/>
                  <a:pt x="80" y="169"/>
                  <a:pt x="80" y="169"/>
                </a:cubicBezTo>
                <a:cubicBezTo>
                  <a:pt x="80" y="169"/>
                  <a:pt x="80" y="169"/>
                  <a:pt x="80" y="169"/>
                </a:cubicBezTo>
                <a:cubicBezTo>
                  <a:pt x="95" y="169"/>
                  <a:pt x="109" y="164"/>
                  <a:pt x="116" y="162"/>
                </a:cubicBezTo>
                <a:cubicBezTo>
                  <a:pt x="109" y="162"/>
                  <a:pt x="103" y="158"/>
                  <a:pt x="99" y="153"/>
                </a:cubicBezTo>
                <a:close/>
                <a:moveTo>
                  <a:pt x="53" y="148"/>
                </a:moveTo>
                <a:cubicBezTo>
                  <a:pt x="56" y="142"/>
                  <a:pt x="54" y="133"/>
                  <a:pt x="48" y="130"/>
                </a:cubicBezTo>
                <a:cubicBezTo>
                  <a:pt x="30" y="122"/>
                  <a:pt x="30" y="122"/>
                  <a:pt x="30" y="122"/>
                </a:cubicBezTo>
                <a:cubicBezTo>
                  <a:pt x="33" y="118"/>
                  <a:pt x="33" y="118"/>
                  <a:pt x="33" y="118"/>
                </a:cubicBezTo>
                <a:cubicBezTo>
                  <a:pt x="30" y="108"/>
                  <a:pt x="27" y="97"/>
                  <a:pt x="24" y="86"/>
                </a:cubicBezTo>
                <a:cubicBezTo>
                  <a:pt x="2" y="117"/>
                  <a:pt x="2" y="117"/>
                  <a:pt x="2" y="117"/>
                </a:cubicBezTo>
                <a:cubicBezTo>
                  <a:pt x="0" y="121"/>
                  <a:pt x="4" y="139"/>
                  <a:pt x="8" y="141"/>
                </a:cubicBezTo>
                <a:cubicBezTo>
                  <a:pt x="35" y="153"/>
                  <a:pt x="35" y="153"/>
                  <a:pt x="35" y="153"/>
                </a:cubicBezTo>
                <a:cubicBezTo>
                  <a:pt x="41" y="156"/>
                  <a:pt x="49" y="154"/>
                  <a:pt x="53" y="14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0" name="Freeform 91">
            <a:extLst>
              <a:ext uri="{FF2B5EF4-FFF2-40B4-BE49-F238E27FC236}">
                <a16:creationId xmlns:a16="http://schemas.microsoft.com/office/drawing/2014/main" id="{1035BD19-51EF-4A3A-B5A8-479D84E8E60C}"/>
              </a:ext>
            </a:extLst>
          </p:cNvPr>
          <p:cNvSpPr>
            <a:spLocks noEditPoints="1"/>
          </p:cNvSpPr>
          <p:nvPr/>
        </p:nvSpPr>
        <p:spPr bwMode="auto">
          <a:xfrm>
            <a:off x="7566459" y="4443253"/>
            <a:ext cx="292042" cy="604579"/>
          </a:xfrm>
          <a:custGeom>
            <a:avLst/>
            <a:gdLst>
              <a:gd name="T0" fmla="*/ 85 w 86"/>
              <a:gd name="T1" fmla="*/ 109 h 179"/>
              <a:gd name="T2" fmla="*/ 56 w 86"/>
              <a:gd name="T3" fmla="*/ 85 h 179"/>
              <a:gd name="T4" fmla="*/ 55 w 86"/>
              <a:gd name="T5" fmla="*/ 85 h 179"/>
              <a:gd name="T6" fmla="*/ 50 w 86"/>
              <a:gd name="T7" fmla="*/ 69 h 179"/>
              <a:gd name="T8" fmla="*/ 69 w 86"/>
              <a:gd name="T9" fmla="*/ 32 h 179"/>
              <a:gd name="T10" fmla="*/ 53 w 86"/>
              <a:gd name="T11" fmla="*/ 2 h 179"/>
              <a:gd name="T12" fmla="*/ 34 w 86"/>
              <a:gd name="T13" fmla="*/ 33 h 179"/>
              <a:gd name="T14" fmla="*/ 38 w 86"/>
              <a:gd name="T15" fmla="*/ 55 h 179"/>
              <a:gd name="T16" fmla="*/ 2 w 86"/>
              <a:gd name="T17" fmla="*/ 102 h 179"/>
              <a:gd name="T18" fmla="*/ 48 w 86"/>
              <a:gd name="T19" fmla="*/ 138 h 179"/>
              <a:gd name="T20" fmla="*/ 60 w 86"/>
              <a:gd name="T21" fmla="*/ 137 h 179"/>
              <a:gd name="T22" fmla="*/ 64 w 86"/>
              <a:gd name="T23" fmla="*/ 150 h 179"/>
              <a:gd name="T24" fmla="*/ 65 w 86"/>
              <a:gd name="T25" fmla="*/ 155 h 179"/>
              <a:gd name="T26" fmla="*/ 46 w 86"/>
              <a:gd name="T27" fmla="*/ 170 h 179"/>
              <a:gd name="T28" fmla="*/ 34 w 86"/>
              <a:gd name="T29" fmla="*/ 165 h 179"/>
              <a:gd name="T30" fmla="*/ 48 w 86"/>
              <a:gd name="T31" fmla="*/ 158 h 179"/>
              <a:gd name="T32" fmla="*/ 34 w 86"/>
              <a:gd name="T33" fmla="*/ 149 h 179"/>
              <a:gd name="T34" fmla="*/ 21 w 86"/>
              <a:gd name="T35" fmla="*/ 163 h 179"/>
              <a:gd name="T36" fmla="*/ 46 w 86"/>
              <a:gd name="T37" fmla="*/ 178 h 179"/>
              <a:gd name="T38" fmla="*/ 73 w 86"/>
              <a:gd name="T39" fmla="*/ 159 h 179"/>
              <a:gd name="T40" fmla="*/ 73 w 86"/>
              <a:gd name="T41" fmla="*/ 153 h 179"/>
              <a:gd name="T42" fmla="*/ 69 w 86"/>
              <a:gd name="T43" fmla="*/ 136 h 179"/>
              <a:gd name="T44" fmla="*/ 85 w 86"/>
              <a:gd name="T45" fmla="*/ 109 h 179"/>
              <a:gd name="T46" fmla="*/ 55 w 86"/>
              <a:gd name="T47" fmla="*/ 17 h 179"/>
              <a:gd name="T48" fmla="*/ 63 w 86"/>
              <a:gd name="T49" fmla="*/ 23 h 179"/>
              <a:gd name="T50" fmla="*/ 46 w 86"/>
              <a:gd name="T51" fmla="*/ 53 h 179"/>
              <a:gd name="T52" fmla="*/ 43 w 86"/>
              <a:gd name="T53" fmla="*/ 40 h 179"/>
              <a:gd name="T54" fmla="*/ 55 w 86"/>
              <a:gd name="T55" fmla="*/ 17 h 179"/>
              <a:gd name="T56" fmla="*/ 49 w 86"/>
              <a:gd name="T57" fmla="*/ 132 h 179"/>
              <a:gd name="T58" fmla="*/ 12 w 86"/>
              <a:gd name="T59" fmla="*/ 107 h 179"/>
              <a:gd name="T60" fmla="*/ 42 w 86"/>
              <a:gd name="T61" fmla="*/ 71 h 179"/>
              <a:gd name="T62" fmla="*/ 47 w 86"/>
              <a:gd name="T63" fmla="*/ 86 h 179"/>
              <a:gd name="T64" fmla="*/ 28 w 86"/>
              <a:gd name="T65" fmla="*/ 105 h 179"/>
              <a:gd name="T66" fmla="*/ 45 w 86"/>
              <a:gd name="T67" fmla="*/ 124 h 179"/>
              <a:gd name="T68" fmla="*/ 47 w 86"/>
              <a:gd name="T69" fmla="*/ 123 h 179"/>
              <a:gd name="T70" fmla="*/ 46 w 86"/>
              <a:gd name="T71" fmla="*/ 122 h 179"/>
              <a:gd name="T72" fmla="*/ 36 w 86"/>
              <a:gd name="T73" fmla="*/ 111 h 179"/>
              <a:gd name="T74" fmla="*/ 50 w 86"/>
              <a:gd name="T75" fmla="*/ 97 h 179"/>
              <a:gd name="T76" fmla="*/ 59 w 86"/>
              <a:gd name="T77" fmla="*/ 131 h 179"/>
              <a:gd name="T78" fmla="*/ 49 w 86"/>
              <a:gd name="T79" fmla="*/ 132 h 179"/>
              <a:gd name="T80" fmla="*/ 67 w 86"/>
              <a:gd name="T81" fmla="*/ 130 h 179"/>
              <a:gd name="T82" fmla="*/ 58 w 86"/>
              <a:gd name="T83" fmla="*/ 97 h 179"/>
              <a:gd name="T84" fmla="*/ 76 w 86"/>
              <a:gd name="T85" fmla="*/ 113 h 179"/>
              <a:gd name="T86" fmla="*/ 67 w 86"/>
              <a:gd name="T87" fmla="*/ 13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79">
                <a:moveTo>
                  <a:pt x="85" y="109"/>
                </a:moveTo>
                <a:cubicBezTo>
                  <a:pt x="86" y="96"/>
                  <a:pt x="73" y="85"/>
                  <a:pt x="56" y="85"/>
                </a:cubicBezTo>
                <a:cubicBezTo>
                  <a:pt x="54" y="85"/>
                  <a:pt x="56" y="85"/>
                  <a:pt x="55" y="85"/>
                </a:cubicBezTo>
                <a:cubicBezTo>
                  <a:pt x="50" y="69"/>
                  <a:pt x="50" y="69"/>
                  <a:pt x="50" y="69"/>
                </a:cubicBezTo>
                <a:cubicBezTo>
                  <a:pt x="63" y="59"/>
                  <a:pt x="66" y="45"/>
                  <a:pt x="69" y="32"/>
                </a:cubicBezTo>
                <a:cubicBezTo>
                  <a:pt x="72" y="11"/>
                  <a:pt x="58" y="0"/>
                  <a:pt x="53" y="2"/>
                </a:cubicBezTo>
                <a:cubicBezTo>
                  <a:pt x="40" y="5"/>
                  <a:pt x="34" y="24"/>
                  <a:pt x="34" y="33"/>
                </a:cubicBezTo>
                <a:cubicBezTo>
                  <a:pt x="34" y="41"/>
                  <a:pt x="36" y="48"/>
                  <a:pt x="38" y="55"/>
                </a:cubicBezTo>
                <a:cubicBezTo>
                  <a:pt x="22" y="68"/>
                  <a:pt x="0" y="82"/>
                  <a:pt x="2" y="102"/>
                </a:cubicBezTo>
                <a:cubicBezTo>
                  <a:pt x="6" y="128"/>
                  <a:pt x="24" y="138"/>
                  <a:pt x="48" y="138"/>
                </a:cubicBezTo>
                <a:cubicBezTo>
                  <a:pt x="52" y="138"/>
                  <a:pt x="56" y="138"/>
                  <a:pt x="60" y="137"/>
                </a:cubicBezTo>
                <a:cubicBezTo>
                  <a:pt x="64" y="150"/>
                  <a:pt x="64" y="150"/>
                  <a:pt x="64" y="150"/>
                </a:cubicBezTo>
                <a:cubicBezTo>
                  <a:pt x="65" y="152"/>
                  <a:pt x="65" y="153"/>
                  <a:pt x="65" y="155"/>
                </a:cubicBezTo>
                <a:cubicBezTo>
                  <a:pt x="65" y="163"/>
                  <a:pt x="59" y="169"/>
                  <a:pt x="46" y="170"/>
                </a:cubicBezTo>
                <a:cubicBezTo>
                  <a:pt x="42" y="170"/>
                  <a:pt x="34" y="169"/>
                  <a:pt x="34" y="165"/>
                </a:cubicBezTo>
                <a:cubicBezTo>
                  <a:pt x="38" y="166"/>
                  <a:pt x="48" y="166"/>
                  <a:pt x="48" y="158"/>
                </a:cubicBezTo>
                <a:cubicBezTo>
                  <a:pt x="47" y="153"/>
                  <a:pt x="41" y="148"/>
                  <a:pt x="34" y="149"/>
                </a:cubicBezTo>
                <a:cubicBezTo>
                  <a:pt x="26" y="149"/>
                  <a:pt x="20" y="157"/>
                  <a:pt x="21" y="163"/>
                </a:cubicBezTo>
                <a:cubicBezTo>
                  <a:pt x="22" y="172"/>
                  <a:pt x="35" y="179"/>
                  <a:pt x="46" y="178"/>
                </a:cubicBezTo>
                <a:cubicBezTo>
                  <a:pt x="61" y="177"/>
                  <a:pt x="73" y="169"/>
                  <a:pt x="73" y="159"/>
                </a:cubicBezTo>
                <a:cubicBezTo>
                  <a:pt x="73" y="158"/>
                  <a:pt x="73" y="154"/>
                  <a:pt x="73" y="153"/>
                </a:cubicBezTo>
                <a:cubicBezTo>
                  <a:pt x="69" y="136"/>
                  <a:pt x="69" y="136"/>
                  <a:pt x="69" y="136"/>
                </a:cubicBezTo>
                <a:cubicBezTo>
                  <a:pt x="82" y="131"/>
                  <a:pt x="85" y="120"/>
                  <a:pt x="85" y="109"/>
                </a:cubicBezTo>
                <a:close/>
                <a:moveTo>
                  <a:pt x="55" y="17"/>
                </a:moveTo>
                <a:cubicBezTo>
                  <a:pt x="60" y="17"/>
                  <a:pt x="63" y="20"/>
                  <a:pt x="63" y="23"/>
                </a:cubicBezTo>
                <a:cubicBezTo>
                  <a:pt x="64" y="34"/>
                  <a:pt x="57" y="46"/>
                  <a:pt x="46" y="53"/>
                </a:cubicBezTo>
                <a:cubicBezTo>
                  <a:pt x="44" y="49"/>
                  <a:pt x="43" y="44"/>
                  <a:pt x="43" y="40"/>
                </a:cubicBezTo>
                <a:cubicBezTo>
                  <a:pt x="44" y="33"/>
                  <a:pt x="44" y="18"/>
                  <a:pt x="55" y="17"/>
                </a:cubicBezTo>
                <a:close/>
                <a:moveTo>
                  <a:pt x="49" y="132"/>
                </a:moveTo>
                <a:cubicBezTo>
                  <a:pt x="30" y="132"/>
                  <a:pt x="12" y="123"/>
                  <a:pt x="12" y="107"/>
                </a:cubicBezTo>
                <a:cubicBezTo>
                  <a:pt x="12" y="92"/>
                  <a:pt x="28" y="81"/>
                  <a:pt x="42" y="71"/>
                </a:cubicBezTo>
                <a:cubicBezTo>
                  <a:pt x="47" y="86"/>
                  <a:pt x="47" y="86"/>
                  <a:pt x="47" y="86"/>
                </a:cubicBezTo>
                <a:cubicBezTo>
                  <a:pt x="37" y="89"/>
                  <a:pt x="28" y="97"/>
                  <a:pt x="28" y="105"/>
                </a:cubicBezTo>
                <a:cubicBezTo>
                  <a:pt x="28" y="114"/>
                  <a:pt x="35" y="121"/>
                  <a:pt x="45" y="124"/>
                </a:cubicBezTo>
                <a:cubicBezTo>
                  <a:pt x="46" y="124"/>
                  <a:pt x="47" y="123"/>
                  <a:pt x="47" y="123"/>
                </a:cubicBezTo>
                <a:cubicBezTo>
                  <a:pt x="47" y="122"/>
                  <a:pt x="47" y="122"/>
                  <a:pt x="46" y="122"/>
                </a:cubicBezTo>
                <a:cubicBezTo>
                  <a:pt x="40" y="120"/>
                  <a:pt x="36" y="116"/>
                  <a:pt x="36" y="111"/>
                </a:cubicBezTo>
                <a:cubicBezTo>
                  <a:pt x="35" y="105"/>
                  <a:pt x="42" y="99"/>
                  <a:pt x="50" y="97"/>
                </a:cubicBezTo>
                <a:cubicBezTo>
                  <a:pt x="59" y="131"/>
                  <a:pt x="59" y="131"/>
                  <a:pt x="59" y="131"/>
                </a:cubicBezTo>
                <a:cubicBezTo>
                  <a:pt x="56" y="131"/>
                  <a:pt x="53" y="132"/>
                  <a:pt x="49" y="132"/>
                </a:cubicBezTo>
                <a:close/>
                <a:moveTo>
                  <a:pt x="67" y="130"/>
                </a:moveTo>
                <a:cubicBezTo>
                  <a:pt x="58" y="97"/>
                  <a:pt x="58" y="97"/>
                  <a:pt x="58" y="97"/>
                </a:cubicBezTo>
                <a:cubicBezTo>
                  <a:pt x="70" y="97"/>
                  <a:pt x="75" y="103"/>
                  <a:pt x="76" y="113"/>
                </a:cubicBezTo>
                <a:cubicBezTo>
                  <a:pt x="77" y="120"/>
                  <a:pt x="75" y="126"/>
                  <a:pt x="67" y="13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1" name="Freeform 92">
            <a:extLst>
              <a:ext uri="{FF2B5EF4-FFF2-40B4-BE49-F238E27FC236}">
                <a16:creationId xmlns:a16="http://schemas.microsoft.com/office/drawing/2014/main" id="{256F29B2-0EB5-4D18-BD2B-58044261DB78}"/>
              </a:ext>
            </a:extLst>
          </p:cNvPr>
          <p:cNvSpPr>
            <a:spLocks noEditPoints="1"/>
          </p:cNvSpPr>
          <p:nvPr/>
        </p:nvSpPr>
        <p:spPr bwMode="auto">
          <a:xfrm>
            <a:off x="8598853" y="4509859"/>
            <a:ext cx="499546" cy="502108"/>
          </a:xfrm>
          <a:custGeom>
            <a:avLst/>
            <a:gdLst>
              <a:gd name="T0" fmla="*/ 134 w 148"/>
              <a:gd name="T1" fmla="*/ 128 h 148"/>
              <a:gd name="T2" fmla="*/ 119 w 148"/>
              <a:gd name="T3" fmla="*/ 78 h 148"/>
              <a:gd name="T4" fmla="*/ 61 w 148"/>
              <a:gd name="T5" fmla="*/ 52 h 148"/>
              <a:gd name="T6" fmla="*/ 28 w 148"/>
              <a:gd name="T7" fmla="*/ 19 h 148"/>
              <a:gd name="T8" fmla="*/ 25 w 148"/>
              <a:gd name="T9" fmla="*/ 15 h 148"/>
              <a:gd name="T10" fmla="*/ 27 w 148"/>
              <a:gd name="T11" fmla="*/ 10 h 148"/>
              <a:gd name="T12" fmla="*/ 22 w 148"/>
              <a:gd name="T13" fmla="*/ 12 h 148"/>
              <a:gd name="T14" fmla="*/ 17 w 148"/>
              <a:gd name="T15" fmla="*/ 10 h 148"/>
              <a:gd name="T16" fmla="*/ 20 w 148"/>
              <a:gd name="T17" fmla="*/ 7 h 148"/>
              <a:gd name="T18" fmla="*/ 17 w 148"/>
              <a:gd name="T19" fmla="*/ 4 h 148"/>
              <a:gd name="T20" fmla="*/ 14 w 148"/>
              <a:gd name="T21" fmla="*/ 8 h 148"/>
              <a:gd name="T22" fmla="*/ 10 w 148"/>
              <a:gd name="T23" fmla="*/ 7 h 148"/>
              <a:gd name="T24" fmla="*/ 6 w 148"/>
              <a:gd name="T25" fmla="*/ 1 h 148"/>
              <a:gd name="T26" fmla="*/ 2 w 148"/>
              <a:gd name="T27" fmla="*/ 6 h 148"/>
              <a:gd name="T28" fmla="*/ 7 w 148"/>
              <a:gd name="T29" fmla="*/ 9 h 148"/>
              <a:gd name="T30" fmla="*/ 11 w 148"/>
              <a:gd name="T31" fmla="*/ 17 h 148"/>
              <a:gd name="T32" fmla="*/ 6 w 148"/>
              <a:gd name="T33" fmla="*/ 20 h 148"/>
              <a:gd name="T34" fmla="*/ 9 w 148"/>
              <a:gd name="T35" fmla="*/ 23 h 148"/>
              <a:gd name="T36" fmla="*/ 12 w 148"/>
              <a:gd name="T37" fmla="*/ 19 h 148"/>
              <a:gd name="T38" fmla="*/ 14 w 148"/>
              <a:gd name="T39" fmla="*/ 24 h 148"/>
              <a:gd name="T40" fmla="*/ 12 w 148"/>
              <a:gd name="T41" fmla="*/ 29 h 148"/>
              <a:gd name="T42" fmla="*/ 17 w 148"/>
              <a:gd name="T43" fmla="*/ 27 h 148"/>
              <a:gd name="T44" fmla="*/ 20 w 148"/>
              <a:gd name="T45" fmla="*/ 27 h 148"/>
              <a:gd name="T46" fmla="*/ 53 w 148"/>
              <a:gd name="T47" fmla="*/ 60 h 148"/>
              <a:gd name="T48" fmla="*/ 81 w 148"/>
              <a:gd name="T49" fmla="*/ 89 h 148"/>
              <a:gd name="T50" fmla="*/ 64 w 148"/>
              <a:gd name="T51" fmla="*/ 97 h 148"/>
              <a:gd name="T52" fmla="*/ 101 w 148"/>
              <a:gd name="T53" fmla="*/ 142 h 148"/>
              <a:gd name="T54" fmla="*/ 145 w 148"/>
              <a:gd name="T55" fmla="*/ 144 h 148"/>
              <a:gd name="T56" fmla="*/ 98 w 148"/>
              <a:gd name="T57" fmla="*/ 116 h 148"/>
              <a:gd name="T58" fmla="*/ 82 w 148"/>
              <a:gd name="T59" fmla="*/ 102 h 148"/>
              <a:gd name="T60" fmla="*/ 84 w 148"/>
              <a:gd name="T61" fmla="*/ 98 h 148"/>
              <a:gd name="T62" fmla="*/ 100 w 148"/>
              <a:gd name="T63" fmla="*/ 112 h 148"/>
              <a:gd name="T64" fmla="*/ 111 w 148"/>
              <a:gd name="T65" fmla="*/ 100 h 148"/>
              <a:gd name="T66" fmla="*/ 97 w 148"/>
              <a:gd name="T67" fmla="*/ 84 h 148"/>
              <a:gd name="T68" fmla="*/ 101 w 148"/>
              <a:gd name="T69" fmla="*/ 82 h 148"/>
              <a:gd name="T70" fmla="*/ 115 w 148"/>
              <a:gd name="T71" fmla="*/ 98 h 148"/>
              <a:gd name="T72" fmla="*/ 111 w 148"/>
              <a:gd name="T73" fmla="*/ 10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 h="148">
                <a:moveTo>
                  <a:pt x="145" y="144"/>
                </a:moveTo>
                <a:cubicBezTo>
                  <a:pt x="134" y="128"/>
                  <a:pt x="134" y="128"/>
                  <a:pt x="134" y="128"/>
                </a:cubicBezTo>
                <a:cubicBezTo>
                  <a:pt x="139" y="123"/>
                  <a:pt x="148" y="112"/>
                  <a:pt x="142" y="100"/>
                </a:cubicBezTo>
                <a:cubicBezTo>
                  <a:pt x="135" y="85"/>
                  <a:pt x="127" y="88"/>
                  <a:pt x="119" y="78"/>
                </a:cubicBezTo>
                <a:cubicBezTo>
                  <a:pt x="113" y="90"/>
                  <a:pt x="93" y="69"/>
                  <a:pt x="97" y="63"/>
                </a:cubicBezTo>
                <a:cubicBezTo>
                  <a:pt x="81" y="37"/>
                  <a:pt x="69" y="44"/>
                  <a:pt x="61" y="52"/>
                </a:cubicBezTo>
                <a:cubicBezTo>
                  <a:pt x="26" y="20"/>
                  <a:pt x="26" y="20"/>
                  <a:pt x="26" y="20"/>
                </a:cubicBezTo>
                <a:cubicBezTo>
                  <a:pt x="28" y="19"/>
                  <a:pt x="28" y="19"/>
                  <a:pt x="28" y="19"/>
                </a:cubicBezTo>
                <a:cubicBezTo>
                  <a:pt x="24" y="16"/>
                  <a:pt x="24" y="16"/>
                  <a:pt x="24" y="16"/>
                </a:cubicBezTo>
                <a:cubicBezTo>
                  <a:pt x="24" y="16"/>
                  <a:pt x="24" y="16"/>
                  <a:pt x="25" y="15"/>
                </a:cubicBezTo>
                <a:cubicBezTo>
                  <a:pt x="27" y="13"/>
                  <a:pt x="27" y="13"/>
                  <a:pt x="27" y="13"/>
                </a:cubicBezTo>
                <a:cubicBezTo>
                  <a:pt x="28" y="12"/>
                  <a:pt x="28" y="11"/>
                  <a:pt x="27" y="10"/>
                </a:cubicBezTo>
                <a:cubicBezTo>
                  <a:pt x="26" y="9"/>
                  <a:pt x="25" y="9"/>
                  <a:pt x="24" y="10"/>
                </a:cubicBezTo>
                <a:cubicBezTo>
                  <a:pt x="22" y="12"/>
                  <a:pt x="22" y="12"/>
                  <a:pt x="22" y="12"/>
                </a:cubicBezTo>
                <a:cubicBezTo>
                  <a:pt x="21" y="13"/>
                  <a:pt x="21" y="13"/>
                  <a:pt x="21" y="14"/>
                </a:cubicBezTo>
                <a:cubicBezTo>
                  <a:pt x="17" y="10"/>
                  <a:pt x="17" y="10"/>
                  <a:pt x="17" y="10"/>
                </a:cubicBezTo>
                <a:cubicBezTo>
                  <a:pt x="17" y="10"/>
                  <a:pt x="18" y="10"/>
                  <a:pt x="18" y="9"/>
                </a:cubicBezTo>
                <a:cubicBezTo>
                  <a:pt x="20" y="7"/>
                  <a:pt x="20" y="7"/>
                  <a:pt x="20" y="7"/>
                </a:cubicBezTo>
                <a:cubicBezTo>
                  <a:pt x="21" y="6"/>
                  <a:pt x="21" y="5"/>
                  <a:pt x="20" y="4"/>
                </a:cubicBezTo>
                <a:cubicBezTo>
                  <a:pt x="20" y="3"/>
                  <a:pt x="18" y="3"/>
                  <a:pt x="17" y="4"/>
                </a:cubicBezTo>
                <a:cubicBezTo>
                  <a:pt x="15" y="6"/>
                  <a:pt x="15" y="6"/>
                  <a:pt x="15" y="6"/>
                </a:cubicBezTo>
                <a:cubicBezTo>
                  <a:pt x="15" y="7"/>
                  <a:pt x="14" y="7"/>
                  <a:pt x="14" y="8"/>
                </a:cubicBezTo>
                <a:cubicBezTo>
                  <a:pt x="11" y="5"/>
                  <a:pt x="11" y="5"/>
                  <a:pt x="11" y="5"/>
                </a:cubicBezTo>
                <a:cubicBezTo>
                  <a:pt x="10" y="7"/>
                  <a:pt x="10" y="7"/>
                  <a:pt x="10" y="7"/>
                </a:cubicBezTo>
                <a:cubicBezTo>
                  <a:pt x="10" y="6"/>
                  <a:pt x="10" y="5"/>
                  <a:pt x="9" y="4"/>
                </a:cubicBezTo>
                <a:cubicBezTo>
                  <a:pt x="6" y="1"/>
                  <a:pt x="6" y="1"/>
                  <a:pt x="6" y="1"/>
                </a:cubicBezTo>
                <a:cubicBezTo>
                  <a:pt x="5" y="0"/>
                  <a:pt x="3" y="0"/>
                  <a:pt x="2" y="1"/>
                </a:cubicBezTo>
                <a:cubicBezTo>
                  <a:pt x="0" y="3"/>
                  <a:pt x="0" y="5"/>
                  <a:pt x="2" y="6"/>
                </a:cubicBezTo>
                <a:cubicBezTo>
                  <a:pt x="4" y="9"/>
                  <a:pt x="4" y="9"/>
                  <a:pt x="4" y="9"/>
                </a:cubicBezTo>
                <a:cubicBezTo>
                  <a:pt x="5" y="10"/>
                  <a:pt x="6" y="10"/>
                  <a:pt x="7" y="9"/>
                </a:cubicBezTo>
                <a:cubicBezTo>
                  <a:pt x="6" y="11"/>
                  <a:pt x="6" y="11"/>
                  <a:pt x="6" y="11"/>
                </a:cubicBezTo>
                <a:cubicBezTo>
                  <a:pt x="11" y="17"/>
                  <a:pt x="11" y="17"/>
                  <a:pt x="11" y="17"/>
                </a:cubicBezTo>
                <a:cubicBezTo>
                  <a:pt x="10" y="17"/>
                  <a:pt x="9" y="17"/>
                  <a:pt x="9" y="18"/>
                </a:cubicBezTo>
                <a:cubicBezTo>
                  <a:pt x="6" y="20"/>
                  <a:pt x="6" y="20"/>
                  <a:pt x="6" y="20"/>
                </a:cubicBezTo>
                <a:cubicBezTo>
                  <a:pt x="5" y="21"/>
                  <a:pt x="5" y="22"/>
                  <a:pt x="6" y="23"/>
                </a:cubicBezTo>
                <a:cubicBezTo>
                  <a:pt x="7" y="24"/>
                  <a:pt x="8" y="24"/>
                  <a:pt x="9" y="23"/>
                </a:cubicBezTo>
                <a:cubicBezTo>
                  <a:pt x="12" y="21"/>
                  <a:pt x="12" y="21"/>
                  <a:pt x="12" y="21"/>
                </a:cubicBezTo>
                <a:cubicBezTo>
                  <a:pt x="12" y="20"/>
                  <a:pt x="12" y="19"/>
                  <a:pt x="12" y="19"/>
                </a:cubicBezTo>
                <a:cubicBezTo>
                  <a:pt x="17" y="24"/>
                  <a:pt x="17" y="24"/>
                  <a:pt x="17" y="24"/>
                </a:cubicBezTo>
                <a:cubicBezTo>
                  <a:pt x="16" y="23"/>
                  <a:pt x="15" y="23"/>
                  <a:pt x="14" y="24"/>
                </a:cubicBezTo>
                <a:cubicBezTo>
                  <a:pt x="12" y="26"/>
                  <a:pt x="12" y="26"/>
                  <a:pt x="12" y="26"/>
                </a:cubicBezTo>
                <a:cubicBezTo>
                  <a:pt x="11" y="27"/>
                  <a:pt x="11" y="29"/>
                  <a:pt x="12" y="29"/>
                </a:cubicBezTo>
                <a:cubicBezTo>
                  <a:pt x="12" y="30"/>
                  <a:pt x="14" y="30"/>
                  <a:pt x="15" y="29"/>
                </a:cubicBezTo>
                <a:cubicBezTo>
                  <a:pt x="17" y="27"/>
                  <a:pt x="17" y="27"/>
                  <a:pt x="17" y="27"/>
                </a:cubicBezTo>
                <a:cubicBezTo>
                  <a:pt x="18" y="26"/>
                  <a:pt x="18" y="25"/>
                  <a:pt x="17" y="25"/>
                </a:cubicBezTo>
                <a:cubicBezTo>
                  <a:pt x="20" y="27"/>
                  <a:pt x="20" y="27"/>
                  <a:pt x="20" y="27"/>
                </a:cubicBezTo>
                <a:cubicBezTo>
                  <a:pt x="21" y="26"/>
                  <a:pt x="21" y="26"/>
                  <a:pt x="21" y="26"/>
                </a:cubicBezTo>
                <a:cubicBezTo>
                  <a:pt x="53" y="60"/>
                  <a:pt x="53" y="60"/>
                  <a:pt x="53" y="60"/>
                </a:cubicBezTo>
                <a:cubicBezTo>
                  <a:pt x="53" y="60"/>
                  <a:pt x="53" y="60"/>
                  <a:pt x="53" y="60"/>
                </a:cubicBezTo>
                <a:cubicBezTo>
                  <a:pt x="81" y="89"/>
                  <a:pt x="81" y="89"/>
                  <a:pt x="81" y="89"/>
                </a:cubicBezTo>
                <a:cubicBezTo>
                  <a:pt x="49" y="64"/>
                  <a:pt x="49" y="64"/>
                  <a:pt x="49" y="64"/>
                </a:cubicBezTo>
                <a:cubicBezTo>
                  <a:pt x="43" y="72"/>
                  <a:pt x="41" y="83"/>
                  <a:pt x="64" y="97"/>
                </a:cubicBezTo>
                <a:cubicBezTo>
                  <a:pt x="69" y="92"/>
                  <a:pt x="90" y="113"/>
                  <a:pt x="79" y="118"/>
                </a:cubicBezTo>
                <a:cubicBezTo>
                  <a:pt x="88" y="126"/>
                  <a:pt x="85" y="135"/>
                  <a:pt x="101" y="142"/>
                </a:cubicBezTo>
                <a:cubicBezTo>
                  <a:pt x="113" y="148"/>
                  <a:pt x="125" y="137"/>
                  <a:pt x="129" y="133"/>
                </a:cubicBezTo>
                <a:lnTo>
                  <a:pt x="145" y="144"/>
                </a:lnTo>
                <a:close/>
                <a:moveTo>
                  <a:pt x="96" y="117"/>
                </a:moveTo>
                <a:cubicBezTo>
                  <a:pt x="96" y="115"/>
                  <a:pt x="97" y="113"/>
                  <a:pt x="98" y="116"/>
                </a:cubicBezTo>
                <a:cubicBezTo>
                  <a:pt x="100" y="118"/>
                  <a:pt x="101" y="116"/>
                  <a:pt x="99" y="113"/>
                </a:cubicBezTo>
                <a:cubicBezTo>
                  <a:pt x="94" y="105"/>
                  <a:pt x="85" y="109"/>
                  <a:pt x="82" y="102"/>
                </a:cubicBezTo>
                <a:cubicBezTo>
                  <a:pt x="80" y="96"/>
                  <a:pt x="85" y="94"/>
                  <a:pt x="86" y="97"/>
                </a:cubicBezTo>
                <a:cubicBezTo>
                  <a:pt x="87" y="99"/>
                  <a:pt x="86" y="100"/>
                  <a:pt x="84" y="98"/>
                </a:cubicBezTo>
                <a:cubicBezTo>
                  <a:pt x="83" y="96"/>
                  <a:pt x="82" y="98"/>
                  <a:pt x="84" y="101"/>
                </a:cubicBezTo>
                <a:cubicBezTo>
                  <a:pt x="88" y="107"/>
                  <a:pt x="95" y="101"/>
                  <a:pt x="100" y="112"/>
                </a:cubicBezTo>
                <a:cubicBezTo>
                  <a:pt x="103" y="117"/>
                  <a:pt x="97" y="119"/>
                  <a:pt x="96" y="117"/>
                </a:cubicBezTo>
                <a:close/>
                <a:moveTo>
                  <a:pt x="111" y="100"/>
                </a:moveTo>
                <a:cubicBezTo>
                  <a:pt x="100" y="95"/>
                  <a:pt x="107" y="88"/>
                  <a:pt x="100" y="84"/>
                </a:cubicBezTo>
                <a:cubicBezTo>
                  <a:pt x="97" y="82"/>
                  <a:pt x="95" y="83"/>
                  <a:pt x="97" y="84"/>
                </a:cubicBezTo>
                <a:cubicBezTo>
                  <a:pt x="100" y="86"/>
                  <a:pt x="98" y="87"/>
                  <a:pt x="96" y="86"/>
                </a:cubicBezTo>
                <a:cubicBezTo>
                  <a:pt x="94" y="85"/>
                  <a:pt x="96" y="80"/>
                  <a:pt x="101" y="82"/>
                </a:cubicBezTo>
                <a:cubicBezTo>
                  <a:pt x="108" y="85"/>
                  <a:pt x="105" y="94"/>
                  <a:pt x="112" y="99"/>
                </a:cubicBezTo>
                <a:cubicBezTo>
                  <a:pt x="115" y="101"/>
                  <a:pt x="118" y="100"/>
                  <a:pt x="115" y="98"/>
                </a:cubicBezTo>
                <a:cubicBezTo>
                  <a:pt x="113" y="97"/>
                  <a:pt x="114" y="96"/>
                  <a:pt x="117" y="97"/>
                </a:cubicBezTo>
                <a:cubicBezTo>
                  <a:pt x="119" y="97"/>
                  <a:pt x="117" y="103"/>
                  <a:pt x="111" y="10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2" name="Freeform 93">
            <a:extLst>
              <a:ext uri="{FF2B5EF4-FFF2-40B4-BE49-F238E27FC236}">
                <a16:creationId xmlns:a16="http://schemas.microsoft.com/office/drawing/2014/main" id="{85B629F3-04BA-4226-A3B2-B2A1E6CB622C}"/>
              </a:ext>
            </a:extLst>
          </p:cNvPr>
          <p:cNvSpPr>
            <a:spLocks/>
          </p:cNvSpPr>
          <p:nvPr/>
        </p:nvSpPr>
        <p:spPr bwMode="auto">
          <a:xfrm>
            <a:off x="9692731" y="4509859"/>
            <a:ext cx="596895" cy="517479"/>
          </a:xfrm>
          <a:custGeom>
            <a:avLst/>
            <a:gdLst>
              <a:gd name="T0" fmla="*/ 138 w 176"/>
              <a:gd name="T1" fmla="*/ 91 h 153"/>
              <a:gd name="T2" fmla="*/ 120 w 176"/>
              <a:gd name="T3" fmla="*/ 76 h 153"/>
              <a:gd name="T4" fmla="*/ 108 w 176"/>
              <a:gd name="T5" fmla="*/ 61 h 153"/>
              <a:gd name="T6" fmla="*/ 101 w 176"/>
              <a:gd name="T7" fmla="*/ 67 h 153"/>
              <a:gd name="T8" fmla="*/ 97 w 176"/>
              <a:gd name="T9" fmla="*/ 77 h 153"/>
              <a:gd name="T10" fmla="*/ 96 w 176"/>
              <a:gd name="T11" fmla="*/ 78 h 153"/>
              <a:gd name="T12" fmla="*/ 37 w 176"/>
              <a:gd name="T13" fmla="*/ 25 h 153"/>
              <a:gd name="T14" fmla="*/ 34 w 176"/>
              <a:gd name="T15" fmla="*/ 18 h 153"/>
              <a:gd name="T16" fmla="*/ 34 w 176"/>
              <a:gd name="T17" fmla="*/ 18 h 153"/>
              <a:gd name="T18" fmla="*/ 35 w 176"/>
              <a:gd name="T19" fmla="*/ 17 h 153"/>
              <a:gd name="T20" fmla="*/ 36 w 176"/>
              <a:gd name="T21" fmla="*/ 15 h 153"/>
              <a:gd name="T22" fmla="*/ 35 w 176"/>
              <a:gd name="T23" fmla="*/ 12 h 153"/>
              <a:gd name="T24" fmla="*/ 32 w 176"/>
              <a:gd name="T25" fmla="*/ 13 h 153"/>
              <a:gd name="T26" fmla="*/ 31 w 176"/>
              <a:gd name="T27" fmla="*/ 15 h 153"/>
              <a:gd name="T28" fmla="*/ 31 w 176"/>
              <a:gd name="T29" fmla="*/ 16 h 153"/>
              <a:gd name="T30" fmla="*/ 28 w 176"/>
              <a:gd name="T31" fmla="*/ 15 h 153"/>
              <a:gd name="T32" fmla="*/ 29 w 176"/>
              <a:gd name="T33" fmla="*/ 14 h 153"/>
              <a:gd name="T34" fmla="*/ 30 w 176"/>
              <a:gd name="T35" fmla="*/ 12 h 153"/>
              <a:gd name="T36" fmla="*/ 30 w 176"/>
              <a:gd name="T37" fmla="*/ 9 h 153"/>
              <a:gd name="T38" fmla="*/ 27 w 176"/>
              <a:gd name="T39" fmla="*/ 10 h 153"/>
              <a:gd name="T40" fmla="*/ 26 w 176"/>
              <a:gd name="T41" fmla="*/ 12 h 153"/>
              <a:gd name="T42" fmla="*/ 26 w 176"/>
              <a:gd name="T43" fmla="*/ 13 h 153"/>
              <a:gd name="T44" fmla="*/ 23 w 176"/>
              <a:gd name="T45" fmla="*/ 12 h 153"/>
              <a:gd name="T46" fmla="*/ 24 w 176"/>
              <a:gd name="T47" fmla="*/ 11 h 153"/>
              <a:gd name="T48" fmla="*/ 25 w 176"/>
              <a:gd name="T49" fmla="*/ 9 h 153"/>
              <a:gd name="T50" fmla="*/ 25 w 176"/>
              <a:gd name="T51" fmla="*/ 6 h 153"/>
              <a:gd name="T52" fmla="*/ 22 w 176"/>
              <a:gd name="T53" fmla="*/ 7 h 153"/>
              <a:gd name="T54" fmla="*/ 20 w 176"/>
              <a:gd name="T55" fmla="*/ 9 h 153"/>
              <a:gd name="T56" fmla="*/ 20 w 176"/>
              <a:gd name="T57" fmla="*/ 10 h 153"/>
              <a:gd name="T58" fmla="*/ 18 w 176"/>
              <a:gd name="T59" fmla="*/ 9 h 153"/>
              <a:gd name="T60" fmla="*/ 19 w 176"/>
              <a:gd name="T61" fmla="*/ 8 h 153"/>
              <a:gd name="T62" fmla="*/ 20 w 176"/>
              <a:gd name="T63" fmla="*/ 6 h 153"/>
              <a:gd name="T64" fmla="*/ 19 w 176"/>
              <a:gd name="T65" fmla="*/ 3 h 153"/>
              <a:gd name="T66" fmla="*/ 16 w 176"/>
              <a:gd name="T67" fmla="*/ 4 h 153"/>
              <a:gd name="T68" fmla="*/ 15 w 176"/>
              <a:gd name="T69" fmla="*/ 6 h 153"/>
              <a:gd name="T70" fmla="*/ 15 w 176"/>
              <a:gd name="T71" fmla="*/ 8 h 153"/>
              <a:gd name="T72" fmla="*/ 12 w 176"/>
              <a:gd name="T73" fmla="*/ 6 h 153"/>
              <a:gd name="T74" fmla="*/ 14 w 176"/>
              <a:gd name="T75" fmla="*/ 5 h 153"/>
              <a:gd name="T76" fmla="*/ 15 w 176"/>
              <a:gd name="T77" fmla="*/ 3 h 153"/>
              <a:gd name="T78" fmla="*/ 14 w 176"/>
              <a:gd name="T79" fmla="*/ 0 h 153"/>
              <a:gd name="T80" fmla="*/ 11 w 176"/>
              <a:gd name="T81" fmla="*/ 1 h 153"/>
              <a:gd name="T82" fmla="*/ 10 w 176"/>
              <a:gd name="T83" fmla="*/ 3 h 153"/>
              <a:gd name="T84" fmla="*/ 10 w 176"/>
              <a:gd name="T85" fmla="*/ 5 h 153"/>
              <a:gd name="T86" fmla="*/ 4 w 176"/>
              <a:gd name="T87" fmla="*/ 13 h 153"/>
              <a:gd name="T88" fmla="*/ 10 w 176"/>
              <a:gd name="T89" fmla="*/ 12 h 153"/>
              <a:gd name="T90" fmla="*/ 23 w 176"/>
              <a:gd name="T91" fmla="*/ 29 h 153"/>
              <a:gd name="T92" fmla="*/ 30 w 176"/>
              <a:gd name="T93" fmla="*/ 29 h 153"/>
              <a:gd name="T94" fmla="*/ 94 w 176"/>
              <a:gd name="T95" fmla="*/ 95 h 153"/>
              <a:gd name="T96" fmla="*/ 122 w 176"/>
              <a:gd name="T97" fmla="*/ 124 h 153"/>
              <a:gd name="T98" fmla="*/ 92 w 176"/>
              <a:gd name="T99" fmla="*/ 100 h 153"/>
              <a:gd name="T100" fmla="*/ 92 w 176"/>
              <a:gd name="T101" fmla="*/ 100 h 153"/>
              <a:gd name="T102" fmla="*/ 82 w 176"/>
              <a:gd name="T103" fmla="*/ 100 h 153"/>
              <a:gd name="T104" fmla="*/ 78 w 176"/>
              <a:gd name="T105" fmla="*/ 107 h 153"/>
              <a:gd name="T106" fmla="*/ 99 w 176"/>
              <a:gd name="T107" fmla="*/ 119 h 153"/>
              <a:gd name="T108" fmla="*/ 111 w 176"/>
              <a:gd name="T109" fmla="*/ 146 h 153"/>
              <a:gd name="T110" fmla="*/ 153 w 176"/>
              <a:gd name="T111" fmla="*/ 131 h 153"/>
              <a:gd name="T112" fmla="*/ 138 w 176"/>
              <a:gd name="T113"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53">
                <a:moveTo>
                  <a:pt x="138" y="91"/>
                </a:moveTo>
                <a:cubicBezTo>
                  <a:pt x="127" y="90"/>
                  <a:pt x="121" y="83"/>
                  <a:pt x="120" y="76"/>
                </a:cubicBezTo>
                <a:cubicBezTo>
                  <a:pt x="118" y="68"/>
                  <a:pt x="112" y="62"/>
                  <a:pt x="108" y="61"/>
                </a:cubicBezTo>
                <a:cubicBezTo>
                  <a:pt x="88" y="53"/>
                  <a:pt x="92" y="61"/>
                  <a:pt x="101" y="67"/>
                </a:cubicBezTo>
                <a:cubicBezTo>
                  <a:pt x="111" y="73"/>
                  <a:pt x="104" y="85"/>
                  <a:pt x="97" y="77"/>
                </a:cubicBezTo>
                <a:cubicBezTo>
                  <a:pt x="96" y="78"/>
                  <a:pt x="96" y="78"/>
                  <a:pt x="96" y="78"/>
                </a:cubicBezTo>
                <a:cubicBezTo>
                  <a:pt x="37" y="25"/>
                  <a:pt x="37" y="25"/>
                  <a:pt x="37" y="25"/>
                </a:cubicBezTo>
                <a:cubicBezTo>
                  <a:pt x="34" y="18"/>
                  <a:pt x="34" y="18"/>
                  <a:pt x="34" y="18"/>
                </a:cubicBezTo>
                <a:cubicBezTo>
                  <a:pt x="34" y="18"/>
                  <a:pt x="34" y="18"/>
                  <a:pt x="34" y="18"/>
                </a:cubicBezTo>
                <a:cubicBezTo>
                  <a:pt x="34" y="17"/>
                  <a:pt x="34" y="17"/>
                  <a:pt x="35" y="17"/>
                </a:cubicBezTo>
                <a:cubicBezTo>
                  <a:pt x="36" y="15"/>
                  <a:pt x="36" y="15"/>
                  <a:pt x="36" y="15"/>
                </a:cubicBezTo>
                <a:cubicBezTo>
                  <a:pt x="36" y="14"/>
                  <a:pt x="36" y="13"/>
                  <a:pt x="35" y="12"/>
                </a:cubicBezTo>
                <a:cubicBezTo>
                  <a:pt x="34" y="12"/>
                  <a:pt x="33" y="12"/>
                  <a:pt x="32" y="13"/>
                </a:cubicBezTo>
                <a:cubicBezTo>
                  <a:pt x="31" y="15"/>
                  <a:pt x="31" y="15"/>
                  <a:pt x="31" y="15"/>
                </a:cubicBezTo>
                <a:cubicBezTo>
                  <a:pt x="31" y="15"/>
                  <a:pt x="31" y="16"/>
                  <a:pt x="31" y="16"/>
                </a:cubicBezTo>
                <a:cubicBezTo>
                  <a:pt x="30" y="16"/>
                  <a:pt x="29" y="15"/>
                  <a:pt x="28" y="15"/>
                </a:cubicBezTo>
                <a:cubicBezTo>
                  <a:pt x="29" y="15"/>
                  <a:pt x="29" y="14"/>
                  <a:pt x="29" y="14"/>
                </a:cubicBezTo>
                <a:cubicBezTo>
                  <a:pt x="30" y="12"/>
                  <a:pt x="30" y="12"/>
                  <a:pt x="30" y="12"/>
                </a:cubicBezTo>
                <a:cubicBezTo>
                  <a:pt x="31" y="11"/>
                  <a:pt x="31" y="10"/>
                  <a:pt x="30" y="9"/>
                </a:cubicBezTo>
                <a:cubicBezTo>
                  <a:pt x="29" y="9"/>
                  <a:pt x="27" y="9"/>
                  <a:pt x="27" y="10"/>
                </a:cubicBezTo>
                <a:cubicBezTo>
                  <a:pt x="26" y="12"/>
                  <a:pt x="26" y="12"/>
                  <a:pt x="26" y="12"/>
                </a:cubicBezTo>
                <a:cubicBezTo>
                  <a:pt x="25" y="12"/>
                  <a:pt x="25" y="13"/>
                  <a:pt x="26" y="13"/>
                </a:cubicBezTo>
                <a:cubicBezTo>
                  <a:pt x="25" y="13"/>
                  <a:pt x="24" y="12"/>
                  <a:pt x="23" y="12"/>
                </a:cubicBezTo>
                <a:cubicBezTo>
                  <a:pt x="24" y="12"/>
                  <a:pt x="24" y="12"/>
                  <a:pt x="24" y="11"/>
                </a:cubicBezTo>
                <a:cubicBezTo>
                  <a:pt x="25" y="9"/>
                  <a:pt x="25" y="9"/>
                  <a:pt x="25" y="9"/>
                </a:cubicBezTo>
                <a:cubicBezTo>
                  <a:pt x="26" y="8"/>
                  <a:pt x="26" y="7"/>
                  <a:pt x="25" y="6"/>
                </a:cubicBezTo>
                <a:cubicBezTo>
                  <a:pt x="24" y="6"/>
                  <a:pt x="22" y="6"/>
                  <a:pt x="22" y="7"/>
                </a:cubicBezTo>
                <a:cubicBezTo>
                  <a:pt x="20" y="9"/>
                  <a:pt x="20" y="9"/>
                  <a:pt x="20" y="9"/>
                </a:cubicBezTo>
                <a:cubicBezTo>
                  <a:pt x="20" y="9"/>
                  <a:pt x="20" y="10"/>
                  <a:pt x="20" y="10"/>
                </a:cubicBezTo>
                <a:cubicBezTo>
                  <a:pt x="19" y="10"/>
                  <a:pt x="19" y="9"/>
                  <a:pt x="18" y="9"/>
                </a:cubicBezTo>
                <a:cubicBezTo>
                  <a:pt x="18" y="9"/>
                  <a:pt x="19" y="9"/>
                  <a:pt x="19" y="8"/>
                </a:cubicBezTo>
                <a:cubicBezTo>
                  <a:pt x="20" y="6"/>
                  <a:pt x="20" y="6"/>
                  <a:pt x="20" y="6"/>
                </a:cubicBezTo>
                <a:cubicBezTo>
                  <a:pt x="21" y="5"/>
                  <a:pt x="20" y="4"/>
                  <a:pt x="19" y="3"/>
                </a:cubicBezTo>
                <a:cubicBezTo>
                  <a:pt x="18" y="3"/>
                  <a:pt x="17" y="3"/>
                  <a:pt x="16" y="4"/>
                </a:cubicBezTo>
                <a:cubicBezTo>
                  <a:pt x="15" y="6"/>
                  <a:pt x="15" y="6"/>
                  <a:pt x="15" y="6"/>
                </a:cubicBezTo>
                <a:cubicBezTo>
                  <a:pt x="15" y="6"/>
                  <a:pt x="15" y="7"/>
                  <a:pt x="15" y="8"/>
                </a:cubicBezTo>
                <a:cubicBezTo>
                  <a:pt x="14" y="7"/>
                  <a:pt x="13" y="7"/>
                  <a:pt x="12" y="6"/>
                </a:cubicBezTo>
                <a:cubicBezTo>
                  <a:pt x="13" y="6"/>
                  <a:pt x="13" y="6"/>
                  <a:pt x="14" y="5"/>
                </a:cubicBezTo>
                <a:cubicBezTo>
                  <a:pt x="15" y="3"/>
                  <a:pt x="15" y="3"/>
                  <a:pt x="15" y="3"/>
                </a:cubicBezTo>
                <a:cubicBezTo>
                  <a:pt x="16" y="2"/>
                  <a:pt x="15" y="1"/>
                  <a:pt x="14" y="0"/>
                </a:cubicBezTo>
                <a:cubicBezTo>
                  <a:pt x="13" y="0"/>
                  <a:pt x="12" y="0"/>
                  <a:pt x="11" y="1"/>
                </a:cubicBezTo>
                <a:cubicBezTo>
                  <a:pt x="10" y="3"/>
                  <a:pt x="10" y="3"/>
                  <a:pt x="10" y="3"/>
                </a:cubicBezTo>
                <a:cubicBezTo>
                  <a:pt x="10" y="4"/>
                  <a:pt x="10" y="5"/>
                  <a:pt x="10" y="5"/>
                </a:cubicBezTo>
                <a:cubicBezTo>
                  <a:pt x="6" y="3"/>
                  <a:pt x="0" y="6"/>
                  <a:pt x="4" y="13"/>
                </a:cubicBezTo>
                <a:cubicBezTo>
                  <a:pt x="6" y="16"/>
                  <a:pt x="10" y="12"/>
                  <a:pt x="10" y="12"/>
                </a:cubicBezTo>
                <a:cubicBezTo>
                  <a:pt x="23" y="29"/>
                  <a:pt x="23" y="29"/>
                  <a:pt x="23" y="29"/>
                </a:cubicBezTo>
                <a:cubicBezTo>
                  <a:pt x="30" y="29"/>
                  <a:pt x="30" y="29"/>
                  <a:pt x="30" y="29"/>
                </a:cubicBezTo>
                <a:cubicBezTo>
                  <a:pt x="94" y="95"/>
                  <a:pt x="94" y="95"/>
                  <a:pt x="94" y="95"/>
                </a:cubicBezTo>
                <a:cubicBezTo>
                  <a:pt x="122" y="124"/>
                  <a:pt x="122" y="124"/>
                  <a:pt x="122" y="124"/>
                </a:cubicBezTo>
                <a:cubicBezTo>
                  <a:pt x="92" y="100"/>
                  <a:pt x="92" y="100"/>
                  <a:pt x="92" y="100"/>
                </a:cubicBezTo>
                <a:cubicBezTo>
                  <a:pt x="92" y="100"/>
                  <a:pt x="92" y="100"/>
                  <a:pt x="92" y="100"/>
                </a:cubicBezTo>
                <a:cubicBezTo>
                  <a:pt x="89" y="103"/>
                  <a:pt x="85" y="103"/>
                  <a:pt x="82" y="100"/>
                </a:cubicBezTo>
                <a:cubicBezTo>
                  <a:pt x="71" y="89"/>
                  <a:pt x="70" y="100"/>
                  <a:pt x="78" y="107"/>
                </a:cubicBezTo>
                <a:cubicBezTo>
                  <a:pt x="85" y="115"/>
                  <a:pt x="91" y="111"/>
                  <a:pt x="99" y="119"/>
                </a:cubicBezTo>
                <a:cubicBezTo>
                  <a:pt x="106" y="127"/>
                  <a:pt x="103" y="142"/>
                  <a:pt x="111" y="146"/>
                </a:cubicBezTo>
                <a:cubicBezTo>
                  <a:pt x="124" y="153"/>
                  <a:pt x="130" y="153"/>
                  <a:pt x="153" y="131"/>
                </a:cubicBezTo>
                <a:cubicBezTo>
                  <a:pt x="176" y="108"/>
                  <a:pt x="149" y="93"/>
                  <a:pt x="138" y="9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3" name="Freeform 94">
            <a:extLst>
              <a:ext uri="{FF2B5EF4-FFF2-40B4-BE49-F238E27FC236}">
                <a16:creationId xmlns:a16="http://schemas.microsoft.com/office/drawing/2014/main" id="{A0367941-79E8-4248-97DF-8A98BCA074FE}"/>
              </a:ext>
            </a:extLst>
          </p:cNvPr>
          <p:cNvSpPr>
            <a:spLocks noEditPoints="1"/>
          </p:cNvSpPr>
          <p:nvPr/>
        </p:nvSpPr>
        <p:spPr bwMode="auto">
          <a:xfrm>
            <a:off x="10827597" y="4433005"/>
            <a:ext cx="502108" cy="520041"/>
          </a:xfrm>
          <a:custGeom>
            <a:avLst/>
            <a:gdLst>
              <a:gd name="T0" fmla="*/ 93 w 148"/>
              <a:gd name="T1" fmla="*/ 100 h 154"/>
              <a:gd name="T2" fmla="*/ 106 w 148"/>
              <a:gd name="T3" fmla="*/ 105 h 154"/>
              <a:gd name="T4" fmla="*/ 119 w 148"/>
              <a:gd name="T5" fmla="*/ 92 h 154"/>
              <a:gd name="T6" fmla="*/ 119 w 148"/>
              <a:gd name="T7" fmla="*/ 41 h 154"/>
              <a:gd name="T8" fmla="*/ 129 w 148"/>
              <a:gd name="T9" fmla="*/ 45 h 154"/>
              <a:gd name="T10" fmla="*/ 140 w 148"/>
              <a:gd name="T11" fmla="*/ 43 h 154"/>
              <a:gd name="T12" fmla="*/ 131 w 148"/>
              <a:gd name="T13" fmla="*/ 38 h 154"/>
              <a:gd name="T14" fmla="*/ 119 w 148"/>
              <a:gd name="T15" fmla="*/ 31 h 154"/>
              <a:gd name="T16" fmla="*/ 119 w 148"/>
              <a:gd name="T17" fmla="*/ 30 h 154"/>
              <a:gd name="T18" fmla="*/ 113 w 148"/>
              <a:gd name="T19" fmla="*/ 32 h 154"/>
              <a:gd name="T20" fmla="*/ 113 w 148"/>
              <a:gd name="T21" fmla="*/ 87 h 154"/>
              <a:gd name="T22" fmla="*/ 106 w 148"/>
              <a:gd name="T23" fmla="*/ 87 h 154"/>
              <a:gd name="T24" fmla="*/ 93 w 148"/>
              <a:gd name="T25" fmla="*/ 100 h 154"/>
              <a:gd name="T26" fmla="*/ 37 w 148"/>
              <a:gd name="T27" fmla="*/ 84 h 154"/>
              <a:gd name="T28" fmla="*/ 50 w 148"/>
              <a:gd name="T29" fmla="*/ 89 h 154"/>
              <a:gd name="T30" fmla="*/ 63 w 148"/>
              <a:gd name="T31" fmla="*/ 77 h 154"/>
              <a:gd name="T32" fmla="*/ 63 w 148"/>
              <a:gd name="T33" fmla="*/ 27 h 154"/>
              <a:gd name="T34" fmla="*/ 94 w 148"/>
              <a:gd name="T35" fmla="*/ 13 h 154"/>
              <a:gd name="T36" fmla="*/ 94 w 148"/>
              <a:gd name="T37" fmla="*/ 55 h 154"/>
              <a:gd name="T38" fmla="*/ 87 w 148"/>
              <a:gd name="T39" fmla="*/ 55 h 154"/>
              <a:gd name="T40" fmla="*/ 74 w 148"/>
              <a:gd name="T41" fmla="*/ 68 h 154"/>
              <a:gd name="T42" fmla="*/ 87 w 148"/>
              <a:gd name="T43" fmla="*/ 73 h 154"/>
              <a:gd name="T44" fmla="*/ 100 w 148"/>
              <a:gd name="T45" fmla="*/ 60 h 154"/>
              <a:gd name="T46" fmla="*/ 100 w 148"/>
              <a:gd name="T47" fmla="*/ 0 h 154"/>
              <a:gd name="T48" fmla="*/ 96 w 148"/>
              <a:gd name="T49" fmla="*/ 1 h 154"/>
              <a:gd name="T50" fmla="*/ 96 w 148"/>
              <a:gd name="T51" fmla="*/ 0 h 154"/>
              <a:gd name="T52" fmla="*/ 59 w 148"/>
              <a:gd name="T53" fmla="*/ 16 h 154"/>
              <a:gd name="T54" fmla="*/ 59 w 148"/>
              <a:gd name="T55" fmla="*/ 18 h 154"/>
              <a:gd name="T56" fmla="*/ 57 w 148"/>
              <a:gd name="T57" fmla="*/ 18 h 154"/>
              <a:gd name="T58" fmla="*/ 57 w 148"/>
              <a:gd name="T59" fmla="*/ 71 h 154"/>
              <a:gd name="T60" fmla="*/ 50 w 148"/>
              <a:gd name="T61" fmla="*/ 72 h 154"/>
              <a:gd name="T62" fmla="*/ 37 w 148"/>
              <a:gd name="T63" fmla="*/ 84 h 154"/>
              <a:gd name="T64" fmla="*/ 127 w 148"/>
              <a:gd name="T65" fmla="*/ 60 h 154"/>
              <a:gd name="T66" fmla="*/ 127 w 148"/>
              <a:gd name="T67" fmla="*/ 67 h 154"/>
              <a:gd name="T68" fmla="*/ 140 w 148"/>
              <a:gd name="T69" fmla="*/ 74 h 154"/>
              <a:gd name="T70" fmla="*/ 140 w 148"/>
              <a:gd name="T71" fmla="*/ 141 h 154"/>
              <a:gd name="T72" fmla="*/ 99 w 148"/>
              <a:gd name="T73" fmla="*/ 131 h 154"/>
              <a:gd name="T74" fmla="*/ 78 w 148"/>
              <a:gd name="T75" fmla="*/ 145 h 154"/>
              <a:gd name="T76" fmla="*/ 78 w 148"/>
              <a:gd name="T77" fmla="*/ 146 h 154"/>
              <a:gd name="T78" fmla="*/ 70 w 148"/>
              <a:gd name="T79" fmla="*/ 146 h 154"/>
              <a:gd name="T80" fmla="*/ 70 w 148"/>
              <a:gd name="T81" fmla="*/ 145 h 154"/>
              <a:gd name="T82" fmla="*/ 49 w 148"/>
              <a:gd name="T83" fmla="*/ 131 h 154"/>
              <a:gd name="T84" fmla="*/ 8 w 148"/>
              <a:gd name="T85" fmla="*/ 141 h 154"/>
              <a:gd name="T86" fmla="*/ 8 w 148"/>
              <a:gd name="T87" fmla="*/ 74 h 154"/>
              <a:gd name="T88" fmla="*/ 41 w 148"/>
              <a:gd name="T89" fmla="*/ 63 h 154"/>
              <a:gd name="T90" fmla="*/ 41 w 148"/>
              <a:gd name="T91" fmla="*/ 56 h 154"/>
              <a:gd name="T92" fmla="*/ 0 w 148"/>
              <a:gd name="T93" fmla="*/ 68 h 154"/>
              <a:gd name="T94" fmla="*/ 0 w 148"/>
              <a:gd name="T95" fmla="*/ 149 h 154"/>
              <a:gd name="T96" fmla="*/ 54 w 148"/>
              <a:gd name="T97" fmla="*/ 145 h 154"/>
              <a:gd name="T98" fmla="*/ 65 w 148"/>
              <a:gd name="T99" fmla="*/ 148 h 154"/>
              <a:gd name="T100" fmla="*/ 64 w 148"/>
              <a:gd name="T101" fmla="*/ 149 h 154"/>
              <a:gd name="T102" fmla="*/ 74 w 148"/>
              <a:gd name="T103" fmla="*/ 154 h 154"/>
              <a:gd name="T104" fmla="*/ 84 w 148"/>
              <a:gd name="T105" fmla="*/ 149 h 154"/>
              <a:gd name="T106" fmla="*/ 83 w 148"/>
              <a:gd name="T107" fmla="*/ 148 h 154"/>
              <a:gd name="T108" fmla="*/ 94 w 148"/>
              <a:gd name="T109" fmla="*/ 145 h 154"/>
              <a:gd name="T110" fmla="*/ 148 w 148"/>
              <a:gd name="T111" fmla="*/ 149 h 154"/>
              <a:gd name="T112" fmla="*/ 148 w 148"/>
              <a:gd name="T113" fmla="*/ 68 h 154"/>
              <a:gd name="T114" fmla="*/ 127 w 148"/>
              <a:gd name="T115"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154">
                <a:moveTo>
                  <a:pt x="93" y="100"/>
                </a:moveTo>
                <a:cubicBezTo>
                  <a:pt x="93" y="105"/>
                  <a:pt x="99" y="107"/>
                  <a:pt x="106" y="105"/>
                </a:cubicBezTo>
                <a:cubicBezTo>
                  <a:pt x="113" y="103"/>
                  <a:pt x="119" y="97"/>
                  <a:pt x="119" y="92"/>
                </a:cubicBezTo>
                <a:cubicBezTo>
                  <a:pt x="119" y="92"/>
                  <a:pt x="119" y="58"/>
                  <a:pt x="119" y="41"/>
                </a:cubicBezTo>
                <a:cubicBezTo>
                  <a:pt x="119" y="41"/>
                  <a:pt x="123" y="40"/>
                  <a:pt x="129" y="45"/>
                </a:cubicBezTo>
                <a:cubicBezTo>
                  <a:pt x="135" y="51"/>
                  <a:pt x="140" y="43"/>
                  <a:pt x="140" y="43"/>
                </a:cubicBezTo>
                <a:cubicBezTo>
                  <a:pt x="140" y="43"/>
                  <a:pt x="133" y="43"/>
                  <a:pt x="131" y="38"/>
                </a:cubicBezTo>
                <a:cubicBezTo>
                  <a:pt x="128" y="32"/>
                  <a:pt x="120" y="31"/>
                  <a:pt x="119" y="31"/>
                </a:cubicBezTo>
                <a:cubicBezTo>
                  <a:pt x="119" y="30"/>
                  <a:pt x="119" y="30"/>
                  <a:pt x="119" y="30"/>
                </a:cubicBezTo>
                <a:cubicBezTo>
                  <a:pt x="113" y="32"/>
                  <a:pt x="113" y="32"/>
                  <a:pt x="113" y="32"/>
                </a:cubicBezTo>
                <a:cubicBezTo>
                  <a:pt x="113" y="87"/>
                  <a:pt x="113" y="87"/>
                  <a:pt x="113" y="87"/>
                </a:cubicBezTo>
                <a:cubicBezTo>
                  <a:pt x="111" y="87"/>
                  <a:pt x="109" y="87"/>
                  <a:pt x="106" y="87"/>
                </a:cubicBezTo>
                <a:cubicBezTo>
                  <a:pt x="99" y="90"/>
                  <a:pt x="93" y="95"/>
                  <a:pt x="93" y="100"/>
                </a:cubicBezTo>
                <a:close/>
                <a:moveTo>
                  <a:pt x="37" y="84"/>
                </a:moveTo>
                <a:cubicBezTo>
                  <a:pt x="37" y="89"/>
                  <a:pt x="43" y="91"/>
                  <a:pt x="50" y="89"/>
                </a:cubicBezTo>
                <a:cubicBezTo>
                  <a:pt x="57" y="87"/>
                  <a:pt x="63" y="81"/>
                  <a:pt x="63" y="77"/>
                </a:cubicBezTo>
                <a:cubicBezTo>
                  <a:pt x="63" y="27"/>
                  <a:pt x="63" y="27"/>
                  <a:pt x="63" y="27"/>
                </a:cubicBezTo>
                <a:cubicBezTo>
                  <a:pt x="94" y="13"/>
                  <a:pt x="94" y="13"/>
                  <a:pt x="94" y="13"/>
                </a:cubicBezTo>
                <a:cubicBezTo>
                  <a:pt x="94" y="55"/>
                  <a:pt x="94" y="55"/>
                  <a:pt x="94" y="55"/>
                </a:cubicBezTo>
                <a:cubicBezTo>
                  <a:pt x="92" y="55"/>
                  <a:pt x="90" y="55"/>
                  <a:pt x="87" y="55"/>
                </a:cubicBezTo>
                <a:cubicBezTo>
                  <a:pt x="80" y="57"/>
                  <a:pt x="74" y="63"/>
                  <a:pt x="74" y="68"/>
                </a:cubicBezTo>
                <a:cubicBezTo>
                  <a:pt x="74" y="73"/>
                  <a:pt x="80" y="75"/>
                  <a:pt x="87" y="73"/>
                </a:cubicBezTo>
                <a:cubicBezTo>
                  <a:pt x="94" y="70"/>
                  <a:pt x="100" y="65"/>
                  <a:pt x="100" y="60"/>
                </a:cubicBezTo>
                <a:cubicBezTo>
                  <a:pt x="100" y="0"/>
                  <a:pt x="100" y="0"/>
                  <a:pt x="100" y="0"/>
                </a:cubicBezTo>
                <a:cubicBezTo>
                  <a:pt x="96" y="1"/>
                  <a:pt x="96" y="1"/>
                  <a:pt x="96" y="1"/>
                </a:cubicBezTo>
                <a:cubicBezTo>
                  <a:pt x="96" y="0"/>
                  <a:pt x="96" y="0"/>
                  <a:pt x="96" y="0"/>
                </a:cubicBezTo>
                <a:cubicBezTo>
                  <a:pt x="59" y="16"/>
                  <a:pt x="59" y="16"/>
                  <a:pt x="59" y="16"/>
                </a:cubicBezTo>
                <a:cubicBezTo>
                  <a:pt x="59" y="18"/>
                  <a:pt x="59" y="18"/>
                  <a:pt x="59" y="18"/>
                </a:cubicBezTo>
                <a:cubicBezTo>
                  <a:pt x="57" y="18"/>
                  <a:pt x="57" y="18"/>
                  <a:pt x="57" y="18"/>
                </a:cubicBezTo>
                <a:cubicBezTo>
                  <a:pt x="57" y="71"/>
                  <a:pt x="57" y="71"/>
                  <a:pt x="57" y="71"/>
                </a:cubicBezTo>
                <a:cubicBezTo>
                  <a:pt x="55" y="71"/>
                  <a:pt x="53" y="71"/>
                  <a:pt x="50" y="72"/>
                </a:cubicBezTo>
                <a:cubicBezTo>
                  <a:pt x="43" y="74"/>
                  <a:pt x="37" y="80"/>
                  <a:pt x="37" y="84"/>
                </a:cubicBezTo>
                <a:close/>
                <a:moveTo>
                  <a:pt x="127" y="60"/>
                </a:moveTo>
                <a:cubicBezTo>
                  <a:pt x="127" y="67"/>
                  <a:pt x="127" y="67"/>
                  <a:pt x="127" y="67"/>
                </a:cubicBezTo>
                <a:cubicBezTo>
                  <a:pt x="136" y="70"/>
                  <a:pt x="140" y="74"/>
                  <a:pt x="140" y="74"/>
                </a:cubicBezTo>
                <a:cubicBezTo>
                  <a:pt x="140" y="141"/>
                  <a:pt x="140" y="141"/>
                  <a:pt x="140" y="141"/>
                </a:cubicBezTo>
                <a:cubicBezTo>
                  <a:pt x="140" y="141"/>
                  <a:pt x="115" y="131"/>
                  <a:pt x="99" y="131"/>
                </a:cubicBezTo>
                <a:cubicBezTo>
                  <a:pt x="82" y="131"/>
                  <a:pt x="78" y="145"/>
                  <a:pt x="78" y="145"/>
                </a:cubicBezTo>
                <a:cubicBezTo>
                  <a:pt x="78" y="146"/>
                  <a:pt x="78" y="146"/>
                  <a:pt x="78" y="146"/>
                </a:cubicBezTo>
                <a:cubicBezTo>
                  <a:pt x="70" y="146"/>
                  <a:pt x="70" y="146"/>
                  <a:pt x="70" y="146"/>
                </a:cubicBezTo>
                <a:cubicBezTo>
                  <a:pt x="70" y="145"/>
                  <a:pt x="70" y="145"/>
                  <a:pt x="70" y="145"/>
                </a:cubicBezTo>
                <a:cubicBezTo>
                  <a:pt x="70" y="145"/>
                  <a:pt x="66" y="131"/>
                  <a:pt x="49" y="131"/>
                </a:cubicBezTo>
                <a:cubicBezTo>
                  <a:pt x="33" y="131"/>
                  <a:pt x="8" y="141"/>
                  <a:pt x="8" y="141"/>
                </a:cubicBezTo>
                <a:cubicBezTo>
                  <a:pt x="8" y="74"/>
                  <a:pt x="8" y="74"/>
                  <a:pt x="8" y="74"/>
                </a:cubicBezTo>
                <a:cubicBezTo>
                  <a:pt x="8" y="74"/>
                  <a:pt x="17" y="65"/>
                  <a:pt x="41" y="63"/>
                </a:cubicBezTo>
                <a:cubicBezTo>
                  <a:pt x="41" y="56"/>
                  <a:pt x="41" y="56"/>
                  <a:pt x="41" y="56"/>
                </a:cubicBezTo>
                <a:cubicBezTo>
                  <a:pt x="15" y="58"/>
                  <a:pt x="0" y="68"/>
                  <a:pt x="0" y="68"/>
                </a:cubicBezTo>
                <a:cubicBezTo>
                  <a:pt x="0" y="149"/>
                  <a:pt x="0" y="149"/>
                  <a:pt x="0" y="149"/>
                </a:cubicBezTo>
                <a:cubicBezTo>
                  <a:pt x="0" y="149"/>
                  <a:pt x="32" y="145"/>
                  <a:pt x="54" y="145"/>
                </a:cubicBezTo>
                <a:cubicBezTo>
                  <a:pt x="58" y="145"/>
                  <a:pt x="62" y="146"/>
                  <a:pt x="65" y="148"/>
                </a:cubicBezTo>
                <a:cubicBezTo>
                  <a:pt x="64" y="148"/>
                  <a:pt x="64" y="149"/>
                  <a:pt x="64" y="149"/>
                </a:cubicBezTo>
                <a:cubicBezTo>
                  <a:pt x="64" y="152"/>
                  <a:pt x="68" y="154"/>
                  <a:pt x="74" y="154"/>
                </a:cubicBezTo>
                <a:cubicBezTo>
                  <a:pt x="79" y="154"/>
                  <a:pt x="84" y="152"/>
                  <a:pt x="84" y="149"/>
                </a:cubicBezTo>
                <a:cubicBezTo>
                  <a:pt x="84" y="149"/>
                  <a:pt x="83" y="148"/>
                  <a:pt x="83" y="148"/>
                </a:cubicBezTo>
                <a:cubicBezTo>
                  <a:pt x="86" y="146"/>
                  <a:pt x="90" y="145"/>
                  <a:pt x="94" y="145"/>
                </a:cubicBezTo>
                <a:cubicBezTo>
                  <a:pt x="116" y="145"/>
                  <a:pt x="148" y="149"/>
                  <a:pt x="148" y="149"/>
                </a:cubicBezTo>
                <a:cubicBezTo>
                  <a:pt x="148" y="68"/>
                  <a:pt x="148" y="68"/>
                  <a:pt x="148" y="68"/>
                </a:cubicBezTo>
                <a:cubicBezTo>
                  <a:pt x="148" y="68"/>
                  <a:pt x="140" y="63"/>
                  <a:pt x="127" y="6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4" name="Freeform 95">
            <a:extLst>
              <a:ext uri="{FF2B5EF4-FFF2-40B4-BE49-F238E27FC236}">
                <a16:creationId xmlns:a16="http://schemas.microsoft.com/office/drawing/2014/main" id="{38A7D8FC-34DA-49C7-B291-17234C407FE0}"/>
              </a:ext>
            </a:extLst>
          </p:cNvPr>
          <p:cNvSpPr>
            <a:spLocks noEditPoints="1"/>
          </p:cNvSpPr>
          <p:nvPr/>
        </p:nvSpPr>
        <p:spPr bwMode="auto">
          <a:xfrm>
            <a:off x="798250" y="5608861"/>
            <a:ext cx="479053" cy="445749"/>
          </a:xfrm>
          <a:custGeom>
            <a:avLst/>
            <a:gdLst>
              <a:gd name="T0" fmla="*/ 9 w 141"/>
              <a:gd name="T1" fmla="*/ 37 h 132"/>
              <a:gd name="T2" fmla="*/ 132 w 141"/>
              <a:gd name="T3" fmla="*/ 46 h 132"/>
              <a:gd name="T4" fmla="*/ 132 w 141"/>
              <a:gd name="T5" fmla="*/ 99 h 132"/>
              <a:gd name="T6" fmla="*/ 124 w 141"/>
              <a:gd name="T7" fmla="*/ 58 h 132"/>
              <a:gd name="T8" fmla="*/ 128 w 141"/>
              <a:gd name="T9" fmla="*/ 50 h 132"/>
              <a:gd name="T10" fmla="*/ 112 w 141"/>
              <a:gd name="T11" fmla="*/ 54 h 132"/>
              <a:gd name="T12" fmla="*/ 112 w 141"/>
              <a:gd name="T13" fmla="*/ 95 h 132"/>
              <a:gd name="T14" fmla="*/ 108 w 141"/>
              <a:gd name="T15" fmla="*/ 103 h 132"/>
              <a:gd name="T16" fmla="*/ 132 w 141"/>
              <a:gd name="T17" fmla="*/ 99 h 132"/>
              <a:gd name="T18" fmla="*/ 75 w 141"/>
              <a:gd name="T19" fmla="*/ 103 h 132"/>
              <a:gd name="T20" fmla="*/ 99 w 141"/>
              <a:gd name="T21" fmla="*/ 99 h 132"/>
              <a:gd name="T22" fmla="*/ 91 w 141"/>
              <a:gd name="T23" fmla="*/ 58 h 132"/>
              <a:gd name="T24" fmla="*/ 95 w 141"/>
              <a:gd name="T25" fmla="*/ 50 h 132"/>
              <a:gd name="T26" fmla="*/ 79 w 141"/>
              <a:gd name="T27" fmla="*/ 54 h 132"/>
              <a:gd name="T28" fmla="*/ 79 w 141"/>
              <a:gd name="T29" fmla="*/ 95 h 132"/>
              <a:gd name="T30" fmla="*/ 42 w 141"/>
              <a:gd name="T31" fmla="*/ 99 h 132"/>
              <a:gd name="T32" fmla="*/ 66 w 141"/>
              <a:gd name="T33" fmla="*/ 103 h 132"/>
              <a:gd name="T34" fmla="*/ 62 w 141"/>
              <a:gd name="T35" fmla="*/ 95 h 132"/>
              <a:gd name="T36" fmla="*/ 62 w 141"/>
              <a:gd name="T37" fmla="*/ 54 h 132"/>
              <a:gd name="T38" fmla="*/ 46 w 141"/>
              <a:gd name="T39" fmla="*/ 50 h 132"/>
              <a:gd name="T40" fmla="*/ 50 w 141"/>
              <a:gd name="T41" fmla="*/ 58 h 132"/>
              <a:gd name="T42" fmla="*/ 42 w 141"/>
              <a:gd name="T43" fmla="*/ 99 h 132"/>
              <a:gd name="T44" fmla="*/ 1 w 141"/>
              <a:gd name="T45" fmla="*/ 132 h 132"/>
              <a:gd name="T46" fmla="*/ 141 w 141"/>
              <a:gd name="T47" fmla="*/ 120 h 132"/>
              <a:gd name="T48" fmla="*/ 9 w 141"/>
              <a:gd name="T49" fmla="*/ 115 h 132"/>
              <a:gd name="T50" fmla="*/ 132 w 141"/>
              <a:gd name="T51" fmla="*/ 107 h 132"/>
              <a:gd name="T52" fmla="*/ 9 w 141"/>
              <a:gd name="T53" fmla="*/ 115 h 132"/>
              <a:gd name="T54" fmla="*/ 9 w 141"/>
              <a:gd name="T55" fmla="*/ 103 h 132"/>
              <a:gd name="T56" fmla="*/ 33 w 141"/>
              <a:gd name="T57" fmla="*/ 99 h 132"/>
              <a:gd name="T58" fmla="*/ 25 w 141"/>
              <a:gd name="T59" fmla="*/ 58 h 132"/>
              <a:gd name="T60" fmla="*/ 29 w 141"/>
              <a:gd name="T61" fmla="*/ 50 h 132"/>
              <a:gd name="T62" fmla="*/ 13 w 141"/>
              <a:gd name="T63" fmla="*/ 54 h 132"/>
              <a:gd name="T64" fmla="*/ 13 w 141"/>
              <a:gd name="T65" fmla="*/ 95 h 132"/>
              <a:gd name="T66" fmla="*/ 71 w 141"/>
              <a:gd name="T67" fmla="*/ 0 h 132"/>
              <a:gd name="T68" fmla="*/ 141 w 141"/>
              <a:gd name="T69" fmla="*/ 3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1" h="132">
                <a:moveTo>
                  <a:pt x="132" y="37"/>
                </a:moveTo>
                <a:cubicBezTo>
                  <a:pt x="9" y="37"/>
                  <a:pt x="9" y="37"/>
                  <a:pt x="9" y="37"/>
                </a:cubicBezTo>
                <a:cubicBezTo>
                  <a:pt x="9" y="46"/>
                  <a:pt x="9" y="46"/>
                  <a:pt x="9" y="46"/>
                </a:cubicBezTo>
                <a:cubicBezTo>
                  <a:pt x="132" y="46"/>
                  <a:pt x="132" y="46"/>
                  <a:pt x="132" y="46"/>
                </a:cubicBezTo>
                <a:lnTo>
                  <a:pt x="132" y="37"/>
                </a:lnTo>
                <a:close/>
                <a:moveTo>
                  <a:pt x="132" y="99"/>
                </a:moveTo>
                <a:cubicBezTo>
                  <a:pt x="132" y="99"/>
                  <a:pt x="132" y="95"/>
                  <a:pt x="128" y="95"/>
                </a:cubicBezTo>
                <a:cubicBezTo>
                  <a:pt x="128" y="74"/>
                  <a:pt x="124" y="58"/>
                  <a:pt x="124" y="58"/>
                </a:cubicBezTo>
                <a:cubicBezTo>
                  <a:pt x="128" y="54"/>
                  <a:pt x="128" y="54"/>
                  <a:pt x="128" y="54"/>
                </a:cubicBezTo>
                <a:cubicBezTo>
                  <a:pt x="128" y="50"/>
                  <a:pt x="128" y="50"/>
                  <a:pt x="128" y="50"/>
                </a:cubicBezTo>
                <a:cubicBezTo>
                  <a:pt x="112" y="50"/>
                  <a:pt x="112" y="50"/>
                  <a:pt x="112" y="50"/>
                </a:cubicBezTo>
                <a:cubicBezTo>
                  <a:pt x="112" y="54"/>
                  <a:pt x="112" y="54"/>
                  <a:pt x="112" y="54"/>
                </a:cubicBezTo>
                <a:cubicBezTo>
                  <a:pt x="116" y="58"/>
                  <a:pt x="116" y="58"/>
                  <a:pt x="116" y="58"/>
                </a:cubicBezTo>
                <a:cubicBezTo>
                  <a:pt x="116" y="58"/>
                  <a:pt x="112" y="74"/>
                  <a:pt x="112" y="95"/>
                </a:cubicBezTo>
                <a:cubicBezTo>
                  <a:pt x="108" y="95"/>
                  <a:pt x="108" y="99"/>
                  <a:pt x="108" y="99"/>
                </a:cubicBezTo>
                <a:cubicBezTo>
                  <a:pt x="108" y="103"/>
                  <a:pt x="108" y="103"/>
                  <a:pt x="108" y="103"/>
                </a:cubicBezTo>
                <a:cubicBezTo>
                  <a:pt x="132" y="103"/>
                  <a:pt x="132" y="103"/>
                  <a:pt x="132" y="103"/>
                </a:cubicBezTo>
                <a:lnTo>
                  <a:pt x="132" y="99"/>
                </a:lnTo>
                <a:close/>
                <a:moveTo>
                  <a:pt x="75" y="99"/>
                </a:moveTo>
                <a:cubicBezTo>
                  <a:pt x="75" y="103"/>
                  <a:pt x="75" y="103"/>
                  <a:pt x="75" y="103"/>
                </a:cubicBezTo>
                <a:cubicBezTo>
                  <a:pt x="99" y="103"/>
                  <a:pt x="99" y="103"/>
                  <a:pt x="99" y="103"/>
                </a:cubicBezTo>
                <a:cubicBezTo>
                  <a:pt x="99" y="99"/>
                  <a:pt x="99" y="99"/>
                  <a:pt x="99" y="99"/>
                </a:cubicBezTo>
                <a:cubicBezTo>
                  <a:pt x="99" y="99"/>
                  <a:pt x="99" y="95"/>
                  <a:pt x="95" y="95"/>
                </a:cubicBezTo>
                <a:cubicBezTo>
                  <a:pt x="95" y="74"/>
                  <a:pt x="91" y="58"/>
                  <a:pt x="91" y="58"/>
                </a:cubicBezTo>
                <a:cubicBezTo>
                  <a:pt x="95" y="54"/>
                  <a:pt x="95" y="54"/>
                  <a:pt x="95" y="54"/>
                </a:cubicBezTo>
                <a:cubicBezTo>
                  <a:pt x="95" y="50"/>
                  <a:pt x="95" y="50"/>
                  <a:pt x="95" y="50"/>
                </a:cubicBezTo>
                <a:cubicBezTo>
                  <a:pt x="79" y="50"/>
                  <a:pt x="79" y="50"/>
                  <a:pt x="79" y="50"/>
                </a:cubicBezTo>
                <a:cubicBezTo>
                  <a:pt x="79" y="54"/>
                  <a:pt x="79" y="54"/>
                  <a:pt x="79" y="54"/>
                </a:cubicBezTo>
                <a:cubicBezTo>
                  <a:pt x="83" y="58"/>
                  <a:pt x="83" y="58"/>
                  <a:pt x="83" y="58"/>
                </a:cubicBezTo>
                <a:cubicBezTo>
                  <a:pt x="83" y="58"/>
                  <a:pt x="79" y="74"/>
                  <a:pt x="79" y="95"/>
                </a:cubicBezTo>
                <a:cubicBezTo>
                  <a:pt x="75" y="95"/>
                  <a:pt x="75" y="99"/>
                  <a:pt x="75" y="99"/>
                </a:cubicBezTo>
                <a:close/>
                <a:moveTo>
                  <a:pt x="42" y="99"/>
                </a:moveTo>
                <a:cubicBezTo>
                  <a:pt x="42" y="103"/>
                  <a:pt x="42" y="103"/>
                  <a:pt x="42" y="103"/>
                </a:cubicBezTo>
                <a:cubicBezTo>
                  <a:pt x="66" y="103"/>
                  <a:pt x="66" y="103"/>
                  <a:pt x="66" y="103"/>
                </a:cubicBezTo>
                <a:cubicBezTo>
                  <a:pt x="66" y="99"/>
                  <a:pt x="66" y="99"/>
                  <a:pt x="66" y="99"/>
                </a:cubicBezTo>
                <a:cubicBezTo>
                  <a:pt x="66" y="99"/>
                  <a:pt x="66" y="95"/>
                  <a:pt x="62" y="95"/>
                </a:cubicBezTo>
                <a:cubicBezTo>
                  <a:pt x="62" y="74"/>
                  <a:pt x="58" y="58"/>
                  <a:pt x="58" y="58"/>
                </a:cubicBezTo>
                <a:cubicBezTo>
                  <a:pt x="62" y="54"/>
                  <a:pt x="62" y="54"/>
                  <a:pt x="62" y="54"/>
                </a:cubicBezTo>
                <a:cubicBezTo>
                  <a:pt x="62" y="50"/>
                  <a:pt x="62" y="50"/>
                  <a:pt x="62" y="50"/>
                </a:cubicBezTo>
                <a:cubicBezTo>
                  <a:pt x="46" y="50"/>
                  <a:pt x="46" y="50"/>
                  <a:pt x="46" y="50"/>
                </a:cubicBezTo>
                <a:cubicBezTo>
                  <a:pt x="46" y="54"/>
                  <a:pt x="46" y="54"/>
                  <a:pt x="46" y="54"/>
                </a:cubicBezTo>
                <a:cubicBezTo>
                  <a:pt x="50" y="58"/>
                  <a:pt x="50" y="58"/>
                  <a:pt x="50" y="58"/>
                </a:cubicBezTo>
                <a:cubicBezTo>
                  <a:pt x="50" y="58"/>
                  <a:pt x="46" y="74"/>
                  <a:pt x="46" y="95"/>
                </a:cubicBezTo>
                <a:cubicBezTo>
                  <a:pt x="42" y="95"/>
                  <a:pt x="42" y="99"/>
                  <a:pt x="42" y="99"/>
                </a:cubicBezTo>
                <a:close/>
                <a:moveTo>
                  <a:pt x="1" y="120"/>
                </a:moveTo>
                <a:cubicBezTo>
                  <a:pt x="1" y="132"/>
                  <a:pt x="1" y="132"/>
                  <a:pt x="1" y="132"/>
                </a:cubicBezTo>
                <a:cubicBezTo>
                  <a:pt x="141" y="132"/>
                  <a:pt x="141" y="132"/>
                  <a:pt x="141" y="132"/>
                </a:cubicBezTo>
                <a:cubicBezTo>
                  <a:pt x="141" y="120"/>
                  <a:pt x="141" y="120"/>
                  <a:pt x="141" y="120"/>
                </a:cubicBezTo>
                <a:lnTo>
                  <a:pt x="1" y="120"/>
                </a:lnTo>
                <a:close/>
                <a:moveTo>
                  <a:pt x="9" y="115"/>
                </a:moveTo>
                <a:cubicBezTo>
                  <a:pt x="132" y="115"/>
                  <a:pt x="132" y="115"/>
                  <a:pt x="132" y="115"/>
                </a:cubicBezTo>
                <a:cubicBezTo>
                  <a:pt x="132" y="107"/>
                  <a:pt x="132" y="107"/>
                  <a:pt x="132" y="107"/>
                </a:cubicBezTo>
                <a:cubicBezTo>
                  <a:pt x="9" y="107"/>
                  <a:pt x="9" y="107"/>
                  <a:pt x="9" y="107"/>
                </a:cubicBezTo>
                <a:lnTo>
                  <a:pt x="9" y="115"/>
                </a:lnTo>
                <a:close/>
                <a:moveTo>
                  <a:pt x="9" y="99"/>
                </a:moveTo>
                <a:cubicBezTo>
                  <a:pt x="9" y="103"/>
                  <a:pt x="9" y="103"/>
                  <a:pt x="9" y="103"/>
                </a:cubicBezTo>
                <a:cubicBezTo>
                  <a:pt x="33" y="103"/>
                  <a:pt x="33" y="103"/>
                  <a:pt x="33" y="103"/>
                </a:cubicBezTo>
                <a:cubicBezTo>
                  <a:pt x="33" y="99"/>
                  <a:pt x="33" y="99"/>
                  <a:pt x="33" y="99"/>
                </a:cubicBezTo>
                <a:cubicBezTo>
                  <a:pt x="33" y="99"/>
                  <a:pt x="33" y="95"/>
                  <a:pt x="29" y="95"/>
                </a:cubicBezTo>
                <a:cubicBezTo>
                  <a:pt x="29" y="74"/>
                  <a:pt x="25" y="58"/>
                  <a:pt x="25" y="58"/>
                </a:cubicBezTo>
                <a:cubicBezTo>
                  <a:pt x="29" y="54"/>
                  <a:pt x="29" y="54"/>
                  <a:pt x="29" y="54"/>
                </a:cubicBezTo>
                <a:cubicBezTo>
                  <a:pt x="29" y="50"/>
                  <a:pt x="29" y="50"/>
                  <a:pt x="29" y="50"/>
                </a:cubicBezTo>
                <a:cubicBezTo>
                  <a:pt x="13" y="50"/>
                  <a:pt x="13" y="50"/>
                  <a:pt x="13" y="50"/>
                </a:cubicBezTo>
                <a:cubicBezTo>
                  <a:pt x="13" y="54"/>
                  <a:pt x="13" y="54"/>
                  <a:pt x="13" y="54"/>
                </a:cubicBezTo>
                <a:cubicBezTo>
                  <a:pt x="17" y="58"/>
                  <a:pt x="17" y="58"/>
                  <a:pt x="17" y="58"/>
                </a:cubicBezTo>
                <a:cubicBezTo>
                  <a:pt x="17" y="58"/>
                  <a:pt x="13" y="74"/>
                  <a:pt x="13" y="95"/>
                </a:cubicBezTo>
                <a:cubicBezTo>
                  <a:pt x="9" y="95"/>
                  <a:pt x="9" y="99"/>
                  <a:pt x="9" y="99"/>
                </a:cubicBezTo>
                <a:close/>
                <a:moveTo>
                  <a:pt x="71" y="0"/>
                </a:moveTo>
                <a:cubicBezTo>
                  <a:pt x="0" y="33"/>
                  <a:pt x="0" y="33"/>
                  <a:pt x="0" y="33"/>
                </a:cubicBezTo>
                <a:cubicBezTo>
                  <a:pt x="141" y="33"/>
                  <a:pt x="141" y="33"/>
                  <a:pt x="141" y="33"/>
                </a:cubicBezTo>
                <a:lnTo>
                  <a:pt x="71"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5" name="Freeform 96">
            <a:extLst>
              <a:ext uri="{FF2B5EF4-FFF2-40B4-BE49-F238E27FC236}">
                <a16:creationId xmlns:a16="http://schemas.microsoft.com/office/drawing/2014/main" id="{8FA267A0-42E6-4B14-BA50-415E7AF7977E}"/>
              </a:ext>
            </a:extLst>
          </p:cNvPr>
          <p:cNvSpPr>
            <a:spLocks noEditPoints="1"/>
          </p:cNvSpPr>
          <p:nvPr/>
        </p:nvSpPr>
        <p:spPr bwMode="auto">
          <a:xfrm>
            <a:off x="1930554" y="5639602"/>
            <a:ext cx="443188" cy="455996"/>
          </a:xfrm>
          <a:custGeom>
            <a:avLst/>
            <a:gdLst>
              <a:gd name="T0" fmla="*/ 119 w 131"/>
              <a:gd name="T1" fmla="*/ 119 h 135"/>
              <a:gd name="T2" fmla="*/ 16 w 131"/>
              <a:gd name="T3" fmla="*/ 119 h 135"/>
              <a:gd name="T4" fmla="*/ 8 w 131"/>
              <a:gd name="T5" fmla="*/ 127 h 135"/>
              <a:gd name="T6" fmla="*/ 16 w 131"/>
              <a:gd name="T7" fmla="*/ 135 h 135"/>
              <a:gd name="T8" fmla="*/ 119 w 131"/>
              <a:gd name="T9" fmla="*/ 135 h 135"/>
              <a:gd name="T10" fmla="*/ 127 w 131"/>
              <a:gd name="T11" fmla="*/ 127 h 135"/>
              <a:gd name="T12" fmla="*/ 119 w 131"/>
              <a:gd name="T13" fmla="*/ 119 h 135"/>
              <a:gd name="T14" fmla="*/ 20 w 131"/>
              <a:gd name="T15" fmla="*/ 111 h 135"/>
              <a:gd name="T16" fmla="*/ 115 w 131"/>
              <a:gd name="T17" fmla="*/ 111 h 135"/>
              <a:gd name="T18" fmla="*/ 115 w 131"/>
              <a:gd name="T19" fmla="*/ 102 h 135"/>
              <a:gd name="T20" fmla="*/ 20 w 131"/>
              <a:gd name="T21" fmla="*/ 102 h 135"/>
              <a:gd name="T22" fmla="*/ 20 w 131"/>
              <a:gd name="T23" fmla="*/ 111 h 135"/>
              <a:gd name="T24" fmla="*/ 29 w 131"/>
              <a:gd name="T25" fmla="*/ 39 h 135"/>
              <a:gd name="T26" fmla="*/ 29 w 131"/>
              <a:gd name="T27" fmla="*/ 94 h 135"/>
              <a:gd name="T28" fmla="*/ 37 w 131"/>
              <a:gd name="T29" fmla="*/ 94 h 135"/>
              <a:gd name="T30" fmla="*/ 37 w 131"/>
              <a:gd name="T31" fmla="*/ 30 h 135"/>
              <a:gd name="T32" fmla="*/ 43 w 131"/>
              <a:gd name="T33" fmla="*/ 24 h 135"/>
              <a:gd name="T34" fmla="*/ 49 w 131"/>
              <a:gd name="T35" fmla="*/ 30 h 135"/>
              <a:gd name="T36" fmla="*/ 49 w 131"/>
              <a:gd name="T37" fmla="*/ 94 h 135"/>
              <a:gd name="T38" fmla="*/ 62 w 131"/>
              <a:gd name="T39" fmla="*/ 94 h 135"/>
              <a:gd name="T40" fmla="*/ 62 w 131"/>
              <a:gd name="T41" fmla="*/ 30 h 135"/>
              <a:gd name="T42" fmla="*/ 68 w 131"/>
              <a:gd name="T43" fmla="*/ 24 h 135"/>
              <a:gd name="T44" fmla="*/ 74 w 131"/>
              <a:gd name="T45" fmla="*/ 30 h 135"/>
              <a:gd name="T46" fmla="*/ 74 w 131"/>
              <a:gd name="T47" fmla="*/ 94 h 135"/>
              <a:gd name="T48" fmla="*/ 86 w 131"/>
              <a:gd name="T49" fmla="*/ 94 h 135"/>
              <a:gd name="T50" fmla="*/ 86 w 131"/>
              <a:gd name="T51" fmla="*/ 30 h 135"/>
              <a:gd name="T52" fmla="*/ 92 w 131"/>
              <a:gd name="T53" fmla="*/ 24 h 135"/>
              <a:gd name="T54" fmla="*/ 99 w 131"/>
              <a:gd name="T55" fmla="*/ 30 h 135"/>
              <a:gd name="T56" fmla="*/ 99 w 131"/>
              <a:gd name="T57" fmla="*/ 94 h 135"/>
              <a:gd name="T58" fmla="*/ 107 w 131"/>
              <a:gd name="T59" fmla="*/ 94 h 135"/>
              <a:gd name="T60" fmla="*/ 107 w 131"/>
              <a:gd name="T61" fmla="*/ 40 h 135"/>
              <a:gd name="T62" fmla="*/ 111 w 131"/>
              <a:gd name="T63" fmla="*/ 41 h 135"/>
              <a:gd name="T64" fmla="*/ 131 w 131"/>
              <a:gd name="T65" fmla="*/ 20 h 135"/>
              <a:gd name="T66" fmla="*/ 111 w 131"/>
              <a:gd name="T67" fmla="*/ 0 h 135"/>
              <a:gd name="T68" fmla="*/ 111 w 131"/>
              <a:gd name="T69" fmla="*/ 0 h 135"/>
              <a:gd name="T70" fmla="*/ 20 w 131"/>
              <a:gd name="T71" fmla="*/ 0 h 135"/>
              <a:gd name="T72" fmla="*/ 20 w 131"/>
              <a:gd name="T73" fmla="*/ 0 h 135"/>
              <a:gd name="T74" fmla="*/ 0 w 131"/>
              <a:gd name="T75" fmla="*/ 20 h 135"/>
              <a:gd name="T76" fmla="*/ 20 w 131"/>
              <a:gd name="T77" fmla="*/ 41 h 135"/>
              <a:gd name="T78" fmla="*/ 29 w 131"/>
              <a:gd name="T79" fmla="*/ 39 h 135"/>
              <a:gd name="T80" fmla="*/ 8 w 131"/>
              <a:gd name="T81" fmla="*/ 20 h 135"/>
              <a:gd name="T82" fmla="*/ 20 w 131"/>
              <a:gd name="T83" fmla="*/ 8 h 135"/>
              <a:gd name="T84" fmla="*/ 111 w 131"/>
              <a:gd name="T85" fmla="*/ 8 h 135"/>
              <a:gd name="T86" fmla="*/ 123 w 131"/>
              <a:gd name="T87" fmla="*/ 20 h 135"/>
              <a:gd name="T88" fmla="*/ 111 w 131"/>
              <a:gd name="T89" fmla="*/ 32 h 135"/>
              <a:gd name="T90" fmla="*/ 107 w 131"/>
              <a:gd name="T91" fmla="*/ 28 h 135"/>
              <a:gd name="T92" fmla="*/ 111 w 131"/>
              <a:gd name="T93" fmla="*/ 24 h 135"/>
              <a:gd name="T94" fmla="*/ 115 w 131"/>
              <a:gd name="T95" fmla="*/ 20 h 135"/>
              <a:gd name="T96" fmla="*/ 111 w 131"/>
              <a:gd name="T97" fmla="*/ 16 h 135"/>
              <a:gd name="T98" fmla="*/ 20 w 131"/>
              <a:gd name="T99" fmla="*/ 16 h 135"/>
              <a:gd name="T100" fmla="*/ 16 w 131"/>
              <a:gd name="T101" fmla="*/ 20 h 135"/>
              <a:gd name="T102" fmla="*/ 20 w 131"/>
              <a:gd name="T103" fmla="*/ 24 h 135"/>
              <a:gd name="T104" fmla="*/ 25 w 131"/>
              <a:gd name="T105" fmla="*/ 28 h 135"/>
              <a:gd name="T106" fmla="*/ 20 w 131"/>
              <a:gd name="T107" fmla="*/ 32 h 135"/>
              <a:gd name="T108" fmla="*/ 8 w 131"/>
              <a:gd name="T109" fmla="*/ 2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135">
                <a:moveTo>
                  <a:pt x="119" y="119"/>
                </a:moveTo>
                <a:cubicBezTo>
                  <a:pt x="16" y="119"/>
                  <a:pt x="16" y="119"/>
                  <a:pt x="16" y="119"/>
                </a:cubicBezTo>
                <a:cubicBezTo>
                  <a:pt x="12" y="119"/>
                  <a:pt x="8" y="123"/>
                  <a:pt x="8" y="127"/>
                </a:cubicBezTo>
                <a:cubicBezTo>
                  <a:pt x="8" y="132"/>
                  <a:pt x="12" y="135"/>
                  <a:pt x="16" y="135"/>
                </a:cubicBezTo>
                <a:cubicBezTo>
                  <a:pt x="119" y="135"/>
                  <a:pt x="119" y="135"/>
                  <a:pt x="119" y="135"/>
                </a:cubicBezTo>
                <a:cubicBezTo>
                  <a:pt x="124" y="135"/>
                  <a:pt x="127" y="132"/>
                  <a:pt x="127" y="127"/>
                </a:cubicBezTo>
                <a:cubicBezTo>
                  <a:pt x="127" y="123"/>
                  <a:pt x="124" y="119"/>
                  <a:pt x="119" y="119"/>
                </a:cubicBezTo>
                <a:close/>
                <a:moveTo>
                  <a:pt x="20" y="111"/>
                </a:moveTo>
                <a:cubicBezTo>
                  <a:pt x="115" y="111"/>
                  <a:pt x="115" y="111"/>
                  <a:pt x="115" y="111"/>
                </a:cubicBezTo>
                <a:cubicBezTo>
                  <a:pt x="115" y="102"/>
                  <a:pt x="115" y="102"/>
                  <a:pt x="115" y="102"/>
                </a:cubicBezTo>
                <a:cubicBezTo>
                  <a:pt x="20" y="102"/>
                  <a:pt x="20" y="102"/>
                  <a:pt x="20" y="102"/>
                </a:cubicBezTo>
                <a:lnTo>
                  <a:pt x="20" y="111"/>
                </a:lnTo>
                <a:close/>
                <a:moveTo>
                  <a:pt x="29" y="39"/>
                </a:moveTo>
                <a:cubicBezTo>
                  <a:pt x="29" y="94"/>
                  <a:pt x="29" y="94"/>
                  <a:pt x="29" y="94"/>
                </a:cubicBezTo>
                <a:cubicBezTo>
                  <a:pt x="37" y="94"/>
                  <a:pt x="37" y="94"/>
                  <a:pt x="37" y="94"/>
                </a:cubicBezTo>
                <a:cubicBezTo>
                  <a:pt x="37" y="30"/>
                  <a:pt x="37" y="30"/>
                  <a:pt x="37" y="30"/>
                </a:cubicBezTo>
                <a:cubicBezTo>
                  <a:pt x="37" y="27"/>
                  <a:pt x="40" y="24"/>
                  <a:pt x="43" y="24"/>
                </a:cubicBezTo>
                <a:cubicBezTo>
                  <a:pt x="46" y="24"/>
                  <a:pt x="49" y="27"/>
                  <a:pt x="49" y="30"/>
                </a:cubicBezTo>
                <a:cubicBezTo>
                  <a:pt x="49" y="94"/>
                  <a:pt x="49" y="94"/>
                  <a:pt x="49" y="94"/>
                </a:cubicBezTo>
                <a:cubicBezTo>
                  <a:pt x="62" y="94"/>
                  <a:pt x="62" y="94"/>
                  <a:pt x="62" y="94"/>
                </a:cubicBezTo>
                <a:cubicBezTo>
                  <a:pt x="62" y="30"/>
                  <a:pt x="62" y="30"/>
                  <a:pt x="62" y="30"/>
                </a:cubicBezTo>
                <a:cubicBezTo>
                  <a:pt x="62" y="27"/>
                  <a:pt x="64" y="24"/>
                  <a:pt x="68" y="24"/>
                </a:cubicBezTo>
                <a:cubicBezTo>
                  <a:pt x="71" y="24"/>
                  <a:pt x="74" y="27"/>
                  <a:pt x="74" y="30"/>
                </a:cubicBezTo>
                <a:cubicBezTo>
                  <a:pt x="74" y="94"/>
                  <a:pt x="74" y="94"/>
                  <a:pt x="74" y="94"/>
                </a:cubicBezTo>
                <a:cubicBezTo>
                  <a:pt x="86" y="94"/>
                  <a:pt x="86" y="94"/>
                  <a:pt x="86" y="94"/>
                </a:cubicBezTo>
                <a:cubicBezTo>
                  <a:pt x="86" y="30"/>
                  <a:pt x="86" y="30"/>
                  <a:pt x="86" y="30"/>
                </a:cubicBezTo>
                <a:cubicBezTo>
                  <a:pt x="86" y="27"/>
                  <a:pt x="89" y="24"/>
                  <a:pt x="92" y="24"/>
                </a:cubicBezTo>
                <a:cubicBezTo>
                  <a:pt x="96" y="24"/>
                  <a:pt x="99" y="27"/>
                  <a:pt x="99" y="30"/>
                </a:cubicBezTo>
                <a:cubicBezTo>
                  <a:pt x="99" y="94"/>
                  <a:pt x="99" y="94"/>
                  <a:pt x="99" y="94"/>
                </a:cubicBezTo>
                <a:cubicBezTo>
                  <a:pt x="107" y="94"/>
                  <a:pt x="107" y="94"/>
                  <a:pt x="107" y="94"/>
                </a:cubicBezTo>
                <a:cubicBezTo>
                  <a:pt x="107" y="40"/>
                  <a:pt x="107" y="40"/>
                  <a:pt x="107" y="40"/>
                </a:cubicBezTo>
                <a:cubicBezTo>
                  <a:pt x="108" y="40"/>
                  <a:pt x="109" y="41"/>
                  <a:pt x="111" y="41"/>
                </a:cubicBezTo>
                <a:cubicBezTo>
                  <a:pt x="122" y="41"/>
                  <a:pt x="131" y="31"/>
                  <a:pt x="131" y="20"/>
                </a:cubicBezTo>
                <a:cubicBezTo>
                  <a:pt x="131" y="9"/>
                  <a:pt x="122" y="0"/>
                  <a:pt x="111" y="0"/>
                </a:cubicBezTo>
                <a:cubicBezTo>
                  <a:pt x="111" y="0"/>
                  <a:pt x="111" y="0"/>
                  <a:pt x="111" y="0"/>
                </a:cubicBezTo>
                <a:cubicBezTo>
                  <a:pt x="20" y="0"/>
                  <a:pt x="20" y="0"/>
                  <a:pt x="20" y="0"/>
                </a:cubicBezTo>
                <a:cubicBezTo>
                  <a:pt x="20" y="0"/>
                  <a:pt x="20" y="0"/>
                  <a:pt x="20" y="0"/>
                </a:cubicBezTo>
                <a:cubicBezTo>
                  <a:pt x="9" y="0"/>
                  <a:pt x="0" y="9"/>
                  <a:pt x="0" y="20"/>
                </a:cubicBezTo>
                <a:cubicBezTo>
                  <a:pt x="0" y="31"/>
                  <a:pt x="9" y="41"/>
                  <a:pt x="20" y="41"/>
                </a:cubicBezTo>
                <a:cubicBezTo>
                  <a:pt x="23" y="41"/>
                  <a:pt x="26" y="40"/>
                  <a:pt x="29" y="39"/>
                </a:cubicBezTo>
                <a:close/>
                <a:moveTo>
                  <a:pt x="8" y="20"/>
                </a:moveTo>
                <a:cubicBezTo>
                  <a:pt x="8" y="13"/>
                  <a:pt x="14" y="8"/>
                  <a:pt x="20" y="8"/>
                </a:cubicBezTo>
                <a:cubicBezTo>
                  <a:pt x="111" y="8"/>
                  <a:pt x="111" y="8"/>
                  <a:pt x="111" y="8"/>
                </a:cubicBezTo>
                <a:cubicBezTo>
                  <a:pt x="118" y="8"/>
                  <a:pt x="123" y="13"/>
                  <a:pt x="123" y="20"/>
                </a:cubicBezTo>
                <a:cubicBezTo>
                  <a:pt x="123" y="27"/>
                  <a:pt x="118" y="32"/>
                  <a:pt x="111" y="32"/>
                </a:cubicBezTo>
                <a:cubicBezTo>
                  <a:pt x="109" y="32"/>
                  <a:pt x="107" y="31"/>
                  <a:pt x="107" y="28"/>
                </a:cubicBezTo>
                <a:cubicBezTo>
                  <a:pt x="107" y="26"/>
                  <a:pt x="109" y="24"/>
                  <a:pt x="111" y="24"/>
                </a:cubicBezTo>
                <a:cubicBezTo>
                  <a:pt x="113" y="24"/>
                  <a:pt x="115" y="22"/>
                  <a:pt x="115" y="20"/>
                </a:cubicBezTo>
                <a:cubicBezTo>
                  <a:pt x="115" y="18"/>
                  <a:pt x="113" y="16"/>
                  <a:pt x="111" y="16"/>
                </a:cubicBezTo>
                <a:cubicBezTo>
                  <a:pt x="20" y="16"/>
                  <a:pt x="20" y="16"/>
                  <a:pt x="20" y="16"/>
                </a:cubicBezTo>
                <a:cubicBezTo>
                  <a:pt x="18" y="16"/>
                  <a:pt x="16" y="18"/>
                  <a:pt x="16" y="20"/>
                </a:cubicBezTo>
                <a:cubicBezTo>
                  <a:pt x="16" y="22"/>
                  <a:pt x="18" y="24"/>
                  <a:pt x="20" y="24"/>
                </a:cubicBezTo>
                <a:cubicBezTo>
                  <a:pt x="23" y="24"/>
                  <a:pt x="25" y="26"/>
                  <a:pt x="25" y="28"/>
                </a:cubicBezTo>
                <a:cubicBezTo>
                  <a:pt x="25" y="31"/>
                  <a:pt x="23" y="32"/>
                  <a:pt x="20" y="32"/>
                </a:cubicBezTo>
                <a:cubicBezTo>
                  <a:pt x="14" y="32"/>
                  <a:pt x="8" y="27"/>
                  <a:pt x="8" y="2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6" name="Freeform 97">
            <a:extLst>
              <a:ext uri="{FF2B5EF4-FFF2-40B4-BE49-F238E27FC236}">
                <a16:creationId xmlns:a16="http://schemas.microsoft.com/office/drawing/2014/main" id="{6EDA993C-367D-4F6A-9DD2-81BD363F8992}"/>
              </a:ext>
            </a:extLst>
          </p:cNvPr>
          <p:cNvSpPr>
            <a:spLocks noEditPoints="1"/>
          </p:cNvSpPr>
          <p:nvPr/>
        </p:nvSpPr>
        <p:spPr bwMode="auto">
          <a:xfrm>
            <a:off x="3073106" y="5639602"/>
            <a:ext cx="389390" cy="468805"/>
          </a:xfrm>
          <a:custGeom>
            <a:avLst/>
            <a:gdLst>
              <a:gd name="T0" fmla="*/ 99 w 115"/>
              <a:gd name="T1" fmla="*/ 4 h 139"/>
              <a:gd name="T2" fmla="*/ 99 w 115"/>
              <a:gd name="T3" fmla="*/ 16 h 139"/>
              <a:gd name="T4" fmla="*/ 83 w 115"/>
              <a:gd name="T5" fmla="*/ 13 h 139"/>
              <a:gd name="T6" fmla="*/ 83 w 115"/>
              <a:gd name="T7" fmla="*/ 1 h 139"/>
              <a:gd name="T8" fmla="*/ 66 w 115"/>
              <a:gd name="T9" fmla="*/ 0 h 139"/>
              <a:gd name="T10" fmla="*/ 66 w 115"/>
              <a:gd name="T11" fmla="*/ 12 h 139"/>
              <a:gd name="T12" fmla="*/ 50 w 115"/>
              <a:gd name="T13" fmla="*/ 12 h 139"/>
              <a:gd name="T14" fmla="*/ 50 w 115"/>
              <a:gd name="T15" fmla="*/ 0 h 139"/>
              <a:gd name="T16" fmla="*/ 33 w 115"/>
              <a:gd name="T17" fmla="*/ 1 h 139"/>
              <a:gd name="T18" fmla="*/ 33 w 115"/>
              <a:gd name="T19" fmla="*/ 13 h 139"/>
              <a:gd name="T20" fmla="*/ 16 w 115"/>
              <a:gd name="T21" fmla="*/ 16 h 139"/>
              <a:gd name="T22" fmla="*/ 16 w 115"/>
              <a:gd name="T23" fmla="*/ 4 h 139"/>
              <a:gd name="T24" fmla="*/ 0 w 115"/>
              <a:gd name="T25" fmla="*/ 8 h 139"/>
              <a:gd name="T26" fmla="*/ 0 w 115"/>
              <a:gd name="T27" fmla="*/ 37 h 139"/>
              <a:gd name="T28" fmla="*/ 16 w 115"/>
              <a:gd name="T29" fmla="*/ 53 h 139"/>
              <a:gd name="T30" fmla="*/ 58 w 115"/>
              <a:gd name="T31" fmla="*/ 57 h 139"/>
              <a:gd name="T32" fmla="*/ 100 w 115"/>
              <a:gd name="T33" fmla="*/ 53 h 139"/>
              <a:gd name="T34" fmla="*/ 115 w 115"/>
              <a:gd name="T35" fmla="*/ 37 h 139"/>
              <a:gd name="T36" fmla="*/ 115 w 115"/>
              <a:gd name="T37" fmla="*/ 8 h 139"/>
              <a:gd name="T38" fmla="*/ 99 w 115"/>
              <a:gd name="T39" fmla="*/ 4 h 139"/>
              <a:gd name="T40" fmla="*/ 17 w 115"/>
              <a:gd name="T41" fmla="*/ 61 h 139"/>
              <a:gd name="T42" fmla="*/ 17 w 115"/>
              <a:gd name="T43" fmla="*/ 131 h 139"/>
              <a:gd name="T44" fmla="*/ 58 w 115"/>
              <a:gd name="T45" fmla="*/ 139 h 139"/>
              <a:gd name="T46" fmla="*/ 99 w 115"/>
              <a:gd name="T47" fmla="*/ 131 h 139"/>
              <a:gd name="T48" fmla="*/ 99 w 115"/>
              <a:gd name="T49" fmla="*/ 61 h 139"/>
              <a:gd name="T50" fmla="*/ 58 w 115"/>
              <a:gd name="T51" fmla="*/ 65 h 139"/>
              <a:gd name="T52" fmla="*/ 17 w 115"/>
              <a:gd name="T53" fmla="*/ 61 h 139"/>
              <a:gd name="T54" fmla="*/ 66 w 115"/>
              <a:gd name="T55" fmla="*/ 104 h 139"/>
              <a:gd name="T56" fmla="*/ 66 w 115"/>
              <a:gd name="T57" fmla="*/ 119 h 139"/>
              <a:gd name="T58" fmla="*/ 50 w 115"/>
              <a:gd name="T59" fmla="*/ 119 h 139"/>
              <a:gd name="T60" fmla="*/ 50 w 115"/>
              <a:gd name="T61" fmla="*/ 104 h 139"/>
              <a:gd name="T62" fmla="*/ 58 w 115"/>
              <a:gd name="T63" fmla="*/ 78 h 139"/>
              <a:gd name="T64" fmla="*/ 66 w 115"/>
              <a:gd name="T65"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139">
                <a:moveTo>
                  <a:pt x="99" y="4"/>
                </a:moveTo>
                <a:cubicBezTo>
                  <a:pt x="99" y="16"/>
                  <a:pt x="99" y="16"/>
                  <a:pt x="99" y="16"/>
                </a:cubicBezTo>
                <a:cubicBezTo>
                  <a:pt x="94" y="15"/>
                  <a:pt x="88" y="14"/>
                  <a:pt x="83" y="13"/>
                </a:cubicBezTo>
                <a:cubicBezTo>
                  <a:pt x="83" y="1"/>
                  <a:pt x="83" y="1"/>
                  <a:pt x="83" y="1"/>
                </a:cubicBezTo>
                <a:cubicBezTo>
                  <a:pt x="77" y="0"/>
                  <a:pt x="72" y="0"/>
                  <a:pt x="66" y="0"/>
                </a:cubicBezTo>
                <a:cubicBezTo>
                  <a:pt x="66" y="12"/>
                  <a:pt x="66" y="12"/>
                  <a:pt x="66" y="12"/>
                </a:cubicBezTo>
                <a:cubicBezTo>
                  <a:pt x="61" y="12"/>
                  <a:pt x="55" y="12"/>
                  <a:pt x="50" y="12"/>
                </a:cubicBezTo>
                <a:cubicBezTo>
                  <a:pt x="50" y="0"/>
                  <a:pt x="50" y="0"/>
                  <a:pt x="50" y="0"/>
                </a:cubicBezTo>
                <a:cubicBezTo>
                  <a:pt x="44" y="0"/>
                  <a:pt x="38" y="0"/>
                  <a:pt x="33" y="1"/>
                </a:cubicBezTo>
                <a:cubicBezTo>
                  <a:pt x="33" y="13"/>
                  <a:pt x="33" y="13"/>
                  <a:pt x="33" y="13"/>
                </a:cubicBezTo>
                <a:cubicBezTo>
                  <a:pt x="27" y="14"/>
                  <a:pt x="22" y="15"/>
                  <a:pt x="16" y="16"/>
                </a:cubicBezTo>
                <a:cubicBezTo>
                  <a:pt x="16" y="4"/>
                  <a:pt x="16" y="4"/>
                  <a:pt x="16" y="4"/>
                </a:cubicBezTo>
                <a:cubicBezTo>
                  <a:pt x="11" y="5"/>
                  <a:pt x="6" y="6"/>
                  <a:pt x="0" y="8"/>
                </a:cubicBezTo>
                <a:cubicBezTo>
                  <a:pt x="0" y="37"/>
                  <a:pt x="0" y="37"/>
                  <a:pt x="0" y="37"/>
                </a:cubicBezTo>
                <a:cubicBezTo>
                  <a:pt x="16" y="53"/>
                  <a:pt x="16" y="53"/>
                  <a:pt x="16" y="53"/>
                </a:cubicBezTo>
                <a:cubicBezTo>
                  <a:pt x="16" y="53"/>
                  <a:pt x="37" y="57"/>
                  <a:pt x="58" y="57"/>
                </a:cubicBezTo>
                <a:cubicBezTo>
                  <a:pt x="79" y="57"/>
                  <a:pt x="100" y="53"/>
                  <a:pt x="100" y="53"/>
                </a:cubicBezTo>
                <a:cubicBezTo>
                  <a:pt x="115" y="37"/>
                  <a:pt x="115" y="37"/>
                  <a:pt x="115" y="37"/>
                </a:cubicBezTo>
                <a:cubicBezTo>
                  <a:pt x="115" y="8"/>
                  <a:pt x="115" y="8"/>
                  <a:pt x="115" y="8"/>
                </a:cubicBezTo>
                <a:cubicBezTo>
                  <a:pt x="110" y="6"/>
                  <a:pt x="105" y="5"/>
                  <a:pt x="99" y="4"/>
                </a:cubicBezTo>
                <a:close/>
                <a:moveTo>
                  <a:pt x="17" y="61"/>
                </a:moveTo>
                <a:cubicBezTo>
                  <a:pt x="17" y="131"/>
                  <a:pt x="17" y="131"/>
                  <a:pt x="17" y="131"/>
                </a:cubicBezTo>
                <a:cubicBezTo>
                  <a:pt x="17" y="136"/>
                  <a:pt x="35" y="139"/>
                  <a:pt x="58" y="139"/>
                </a:cubicBezTo>
                <a:cubicBezTo>
                  <a:pt x="81" y="139"/>
                  <a:pt x="99" y="136"/>
                  <a:pt x="99" y="131"/>
                </a:cubicBezTo>
                <a:cubicBezTo>
                  <a:pt x="99" y="61"/>
                  <a:pt x="99" y="61"/>
                  <a:pt x="99" y="61"/>
                </a:cubicBezTo>
                <a:cubicBezTo>
                  <a:pt x="99" y="61"/>
                  <a:pt x="78" y="65"/>
                  <a:pt x="58" y="65"/>
                </a:cubicBezTo>
                <a:cubicBezTo>
                  <a:pt x="37" y="65"/>
                  <a:pt x="17" y="61"/>
                  <a:pt x="17" y="61"/>
                </a:cubicBezTo>
                <a:close/>
                <a:moveTo>
                  <a:pt x="66" y="104"/>
                </a:moveTo>
                <a:cubicBezTo>
                  <a:pt x="66" y="119"/>
                  <a:pt x="66" y="119"/>
                  <a:pt x="66" y="119"/>
                </a:cubicBezTo>
                <a:cubicBezTo>
                  <a:pt x="50" y="119"/>
                  <a:pt x="50" y="119"/>
                  <a:pt x="50" y="119"/>
                </a:cubicBezTo>
                <a:cubicBezTo>
                  <a:pt x="50" y="104"/>
                  <a:pt x="50" y="104"/>
                  <a:pt x="50" y="104"/>
                </a:cubicBezTo>
                <a:cubicBezTo>
                  <a:pt x="50" y="86"/>
                  <a:pt x="58" y="78"/>
                  <a:pt x="58" y="78"/>
                </a:cubicBezTo>
                <a:cubicBezTo>
                  <a:pt x="58" y="78"/>
                  <a:pt x="66" y="86"/>
                  <a:pt x="66" y="10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7" name="Freeform 98">
            <a:extLst>
              <a:ext uri="{FF2B5EF4-FFF2-40B4-BE49-F238E27FC236}">
                <a16:creationId xmlns:a16="http://schemas.microsoft.com/office/drawing/2014/main" id="{14236E52-C19A-4C39-8FE2-EFF9D3F94BCF}"/>
              </a:ext>
            </a:extLst>
          </p:cNvPr>
          <p:cNvSpPr>
            <a:spLocks noEditPoints="1"/>
          </p:cNvSpPr>
          <p:nvPr/>
        </p:nvSpPr>
        <p:spPr bwMode="auto">
          <a:xfrm>
            <a:off x="4113187" y="5580680"/>
            <a:ext cx="468805" cy="573838"/>
          </a:xfrm>
          <a:custGeom>
            <a:avLst/>
            <a:gdLst>
              <a:gd name="T0" fmla="*/ 43 w 138"/>
              <a:gd name="T1" fmla="*/ 169 h 169"/>
              <a:gd name="T2" fmla="*/ 51 w 138"/>
              <a:gd name="T3" fmla="*/ 111 h 169"/>
              <a:gd name="T4" fmla="*/ 35 w 138"/>
              <a:gd name="T5" fmla="*/ 160 h 169"/>
              <a:gd name="T6" fmla="*/ 68 w 138"/>
              <a:gd name="T7" fmla="*/ 169 h 169"/>
              <a:gd name="T8" fmla="*/ 76 w 138"/>
              <a:gd name="T9" fmla="*/ 111 h 169"/>
              <a:gd name="T10" fmla="*/ 59 w 138"/>
              <a:gd name="T11" fmla="*/ 160 h 169"/>
              <a:gd name="T12" fmla="*/ 76 w 138"/>
              <a:gd name="T13" fmla="*/ 21 h 169"/>
              <a:gd name="T14" fmla="*/ 35 w 138"/>
              <a:gd name="T15" fmla="*/ 21 h 169"/>
              <a:gd name="T16" fmla="*/ 106 w 138"/>
              <a:gd name="T17" fmla="*/ 106 h 169"/>
              <a:gd name="T18" fmla="*/ 82 w 138"/>
              <a:gd name="T19" fmla="*/ 49 h 169"/>
              <a:gd name="T20" fmla="*/ 67 w 138"/>
              <a:gd name="T21" fmla="*/ 45 h 169"/>
              <a:gd name="T22" fmla="*/ 44 w 138"/>
              <a:gd name="T23" fmla="*/ 45 h 169"/>
              <a:gd name="T24" fmla="*/ 29 w 138"/>
              <a:gd name="T25" fmla="*/ 49 h 169"/>
              <a:gd name="T26" fmla="*/ 5 w 138"/>
              <a:gd name="T27" fmla="*/ 106 h 169"/>
              <a:gd name="T28" fmla="*/ 31 w 138"/>
              <a:gd name="T29" fmla="*/ 78 h 169"/>
              <a:gd name="T30" fmla="*/ 80 w 138"/>
              <a:gd name="T31" fmla="*/ 103 h 169"/>
              <a:gd name="T32" fmla="*/ 94 w 138"/>
              <a:gd name="T33" fmla="*/ 103 h 169"/>
              <a:gd name="T34" fmla="*/ 121 w 138"/>
              <a:gd name="T35" fmla="*/ 165 h 169"/>
              <a:gd name="T36" fmla="*/ 109 w 138"/>
              <a:gd name="T37" fmla="*/ 159 h 169"/>
              <a:gd name="T38" fmla="*/ 92 w 138"/>
              <a:gd name="T39" fmla="*/ 165 h 169"/>
              <a:gd name="T40" fmla="*/ 133 w 138"/>
              <a:gd name="T41" fmla="*/ 169 h 169"/>
              <a:gd name="T42" fmla="*/ 138 w 138"/>
              <a:gd name="T43" fmla="*/ 155 h 169"/>
              <a:gd name="T44" fmla="*/ 121 w 138"/>
              <a:gd name="T45" fmla="*/ 165 h 169"/>
              <a:gd name="T46" fmla="*/ 129 w 138"/>
              <a:gd name="T47" fmla="*/ 132 h 169"/>
              <a:gd name="T48" fmla="*/ 96 w 138"/>
              <a:gd name="T49" fmla="*/ 132 h 169"/>
              <a:gd name="T50" fmla="*/ 92 w 138"/>
              <a:gd name="T51" fmla="*/ 149 h 169"/>
              <a:gd name="T52" fmla="*/ 109 w 138"/>
              <a:gd name="T53" fmla="*/ 148 h 169"/>
              <a:gd name="T54" fmla="*/ 121 w 138"/>
              <a:gd name="T55" fmla="*/ 154 h 169"/>
              <a:gd name="T56" fmla="*/ 138 w 138"/>
              <a:gd name="T57" fmla="*/ 136 h 169"/>
              <a:gd name="T58" fmla="*/ 106 w 138"/>
              <a:gd name="T59" fmla="*/ 132 h 169"/>
              <a:gd name="T60" fmla="*/ 106 w 138"/>
              <a:gd name="T61" fmla="*/ 132 h 169"/>
              <a:gd name="T62" fmla="*/ 113 w 138"/>
              <a:gd name="T63" fmla="*/ 161 h 169"/>
              <a:gd name="T64" fmla="*/ 117 w 138"/>
              <a:gd name="T65" fmla="*/ 1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69">
                <a:moveTo>
                  <a:pt x="35" y="160"/>
                </a:moveTo>
                <a:cubicBezTo>
                  <a:pt x="35" y="165"/>
                  <a:pt x="38" y="169"/>
                  <a:pt x="43" y="169"/>
                </a:cubicBezTo>
                <a:cubicBezTo>
                  <a:pt x="47" y="169"/>
                  <a:pt x="51" y="165"/>
                  <a:pt x="51" y="160"/>
                </a:cubicBezTo>
                <a:cubicBezTo>
                  <a:pt x="51" y="111"/>
                  <a:pt x="51" y="111"/>
                  <a:pt x="51" y="111"/>
                </a:cubicBezTo>
                <a:cubicBezTo>
                  <a:pt x="35" y="111"/>
                  <a:pt x="35" y="111"/>
                  <a:pt x="35" y="111"/>
                </a:cubicBezTo>
                <a:lnTo>
                  <a:pt x="35" y="160"/>
                </a:lnTo>
                <a:close/>
                <a:moveTo>
                  <a:pt x="59" y="160"/>
                </a:moveTo>
                <a:cubicBezTo>
                  <a:pt x="59" y="165"/>
                  <a:pt x="63" y="169"/>
                  <a:pt x="68" y="169"/>
                </a:cubicBezTo>
                <a:cubicBezTo>
                  <a:pt x="72" y="169"/>
                  <a:pt x="76" y="165"/>
                  <a:pt x="76" y="160"/>
                </a:cubicBezTo>
                <a:cubicBezTo>
                  <a:pt x="76" y="111"/>
                  <a:pt x="76" y="111"/>
                  <a:pt x="76" y="111"/>
                </a:cubicBezTo>
                <a:cubicBezTo>
                  <a:pt x="59" y="111"/>
                  <a:pt x="59" y="111"/>
                  <a:pt x="59" y="111"/>
                </a:cubicBezTo>
                <a:lnTo>
                  <a:pt x="59" y="160"/>
                </a:lnTo>
                <a:close/>
                <a:moveTo>
                  <a:pt x="55" y="41"/>
                </a:moveTo>
                <a:cubicBezTo>
                  <a:pt x="67" y="41"/>
                  <a:pt x="76" y="32"/>
                  <a:pt x="76" y="21"/>
                </a:cubicBezTo>
                <a:cubicBezTo>
                  <a:pt x="76" y="9"/>
                  <a:pt x="67" y="0"/>
                  <a:pt x="55" y="0"/>
                </a:cubicBezTo>
                <a:cubicBezTo>
                  <a:pt x="44" y="0"/>
                  <a:pt x="35" y="9"/>
                  <a:pt x="35" y="21"/>
                </a:cubicBezTo>
                <a:cubicBezTo>
                  <a:pt x="35" y="32"/>
                  <a:pt x="44" y="41"/>
                  <a:pt x="55" y="41"/>
                </a:cubicBezTo>
                <a:close/>
                <a:moveTo>
                  <a:pt x="106" y="106"/>
                </a:moveTo>
                <a:cubicBezTo>
                  <a:pt x="110" y="104"/>
                  <a:pt x="111" y="99"/>
                  <a:pt x="109" y="95"/>
                </a:cubicBezTo>
                <a:cubicBezTo>
                  <a:pt x="82" y="49"/>
                  <a:pt x="82" y="49"/>
                  <a:pt x="82" y="49"/>
                </a:cubicBezTo>
                <a:cubicBezTo>
                  <a:pt x="80" y="45"/>
                  <a:pt x="70" y="45"/>
                  <a:pt x="69" y="45"/>
                </a:cubicBezTo>
                <a:cubicBezTo>
                  <a:pt x="67" y="45"/>
                  <a:pt x="67" y="45"/>
                  <a:pt x="67" y="45"/>
                </a:cubicBezTo>
                <a:cubicBezTo>
                  <a:pt x="55" y="61"/>
                  <a:pt x="55" y="61"/>
                  <a:pt x="55" y="61"/>
                </a:cubicBezTo>
                <a:cubicBezTo>
                  <a:pt x="44" y="45"/>
                  <a:pt x="44" y="45"/>
                  <a:pt x="44" y="45"/>
                </a:cubicBezTo>
                <a:cubicBezTo>
                  <a:pt x="42" y="45"/>
                  <a:pt x="42" y="45"/>
                  <a:pt x="42" y="45"/>
                </a:cubicBezTo>
                <a:cubicBezTo>
                  <a:pt x="41" y="45"/>
                  <a:pt x="31" y="45"/>
                  <a:pt x="29" y="49"/>
                </a:cubicBezTo>
                <a:cubicBezTo>
                  <a:pt x="2" y="95"/>
                  <a:pt x="2" y="95"/>
                  <a:pt x="2" y="95"/>
                </a:cubicBezTo>
                <a:cubicBezTo>
                  <a:pt x="0" y="99"/>
                  <a:pt x="1" y="104"/>
                  <a:pt x="5" y="106"/>
                </a:cubicBezTo>
                <a:cubicBezTo>
                  <a:pt x="9" y="109"/>
                  <a:pt x="14" y="107"/>
                  <a:pt x="16" y="103"/>
                </a:cubicBezTo>
                <a:cubicBezTo>
                  <a:pt x="31" y="78"/>
                  <a:pt x="31" y="78"/>
                  <a:pt x="31" y="78"/>
                </a:cubicBezTo>
                <a:cubicBezTo>
                  <a:pt x="31" y="103"/>
                  <a:pt x="31" y="103"/>
                  <a:pt x="31" y="103"/>
                </a:cubicBezTo>
                <a:cubicBezTo>
                  <a:pt x="80" y="103"/>
                  <a:pt x="80" y="103"/>
                  <a:pt x="80" y="103"/>
                </a:cubicBezTo>
                <a:cubicBezTo>
                  <a:pt x="80" y="78"/>
                  <a:pt x="80" y="78"/>
                  <a:pt x="80" y="78"/>
                </a:cubicBezTo>
                <a:cubicBezTo>
                  <a:pt x="94" y="103"/>
                  <a:pt x="94" y="103"/>
                  <a:pt x="94" y="103"/>
                </a:cubicBezTo>
                <a:cubicBezTo>
                  <a:pt x="97" y="107"/>
                  <a:pt x="102" y="109"/>
                  <a:pt x="106" y="106"/>
                </a:cubicBezTo>
                <a:close/>
                <a:moveTo>
                  <a:pt x="121" y="165"/>
                </a:moveTo>
                <a:cubicBezTo>
                  <a:pt x="109" y="165"/>
                  <a:pt x="109" y="165"/>
                  <a:pt x="109" y="165"/>
                </a:cubicBezTo>
                <a:cubicBezTo>
                  <a:pt x="109" y="159"/>
                  <a:pt x="109" y="159"/>
                  <a:pt x="109" y="159"/>
                </a:cubicBezTo>
                <a:cubicBezTo>
                  <a:pt x="103" y="159"/>
                  <a:pt x="98" y="157"/>
                  <a:pt x="92" y="155"/>
                </a:cubicBezTo>
                <a:cubicBezTo>
                  <a:pt x="92" y="165"/>
                  <a:pt x="92" y="165"/>
                  <a:pt x="92" y="165"/>
                </a:cubicBezTo>
                <a:cubicBezTo>
                  <a:pt x="92" y="167"/>
                  <a:pt x="94" y="169"/>
                  <a:pt x="96" y="169"/>
                </a:cubicBezTo>
                <a:cubicBezTo>
                  <a:pt x="133" y="169"/>
                  <a:pt x="133" y="169"/>
                  <a:pt x="133" y="169"/>
                </a:cubicBezTo>
                <a:cubicBezTo>
                  <a:pt x="136" y="169"/>
                  <a:pt x="138" y="167"/>
                  <a:pt x="138" y="165"/>
                </a:cubicBezTo>
                <a:cubicBezTo>
                  <a:pt x="138" y="155"/>
                  <a:pt x="138" y="155"/>
                  <a:pt x="138" y="155"/>
                </a:cubicBezTo>
                <a:cubicBezTo>
                  <a:pt x="132" y="157"/>
                  <a:pt x="127" y="159"/>
                  <a:pt x="121" y="159"/>
                </a:cubicBezTo>
                <a:lnTo>
                  <a:pt x="121" y="165"/>
                </a:lnTo>
                <a:close/>
                <a:moveTo>
                  <a:pt x="133" y="132"/>
                </a:moveTo>
                <a:cubicBezTo>
                  <a:pt x="129" y="132"/>
                  <a:pt x="129" y="132"/>
                  <a:pt x="129" y="132"/>
                </a:cubicBezTo>
                <a:cubicBezTo>
                  <a:pt x="126" y="116"/>
                  <a:pt x="104" y="116"/>
                  <a:pt x="101" y="132"/>
                </a:cubicBezTo>
                <a:cubicBezTo>
                  <a:pt x="96" y="132"/>
                  <a:pt x="96" y="132"/>
                  <a:pt x="96" y="132"/>
                </a:cubicBezTo>
                <a:cubicBezTo>
                  <a:pt x="94" y="132"/>
                  <a:pt x="92" y="134"/>
                  <a:pt x="92" y="136"/>
                </a:cubicBezTo>
                <a:cubicBezTo>
                  <a:pt x="92" y="149"/>
                  <a:pt x="92" y="149"/>
                  <a:pt x="92" y="149"/>
                </a:cubicBezTo>
                <a:cubicBezTo>
                  <a:pt x="98" y="152"/>
                  <a:pt x="103" y="153"/>
                  <a:pt x="109" y="154"/>
                </a:cubicBezTo>
                <a:cubicBezTo>
                  <a:pt x="109" y="148"/>
                  <a:pt x="109" y="148"/>
                  <a:pt x="109" y="148"/>
                </a:cubicBezTo>
                <a:cubicBezTo>
                  <a:pt x="121" y="148"/>
                  <a:pt x="121" y="148"/>
                  <a:pt x="121" y="148"/>
                </a:cubicBezTo>
                <a:cubicBezTo>
                  <a:pt x="121" y="154"/>
                  <a:pt x="121" y="154"/>
                  <a:pt x="121" y="154"/>
                </a:cubicBezTo>
                <a:cubicBezTo>
                  <a:pt x="127" y="153"/>
                  <a:pt x="132" y="152"/>
                  <a:pt x="138" y="149"/>
                </a:cubicBezTo>
                <a:cubicBezTo>
                  <a:pt x="138" y="136"/>
                  <a:pt x="138" y="136"/>
                  <a:pt x="138" y="136"/>
                </a:cubicBezTo>
                <a:cubicBezTo>
                  <a:pt x="138" y="134"/>
                  <a:pt x="136" y="132"/>
                  <a:pt x="133" y="132"/>
                </a:cubicBezTo>
                <a:close/>
                <a:moveTo>
                  <a:pt x="106" y="132"/>
                </a:moveTo>
                <a:cubicBezTo>
                  <a:pt x="109" y="123"/>
                  <a:pt x="121" y="123"/>
                  <a:pt x="124" y="132"/>
                </a:cubicBezTo>
                <a:lnTo>
                  <a:pt x="106" y="132"/>
                </a:lnTo>
                <a:close/>
                <a:moveTo>
                  <a:pt x="113" y="152"/>
                </a:moveTo>
                <a:cubicBezTo>
                  <a:pt x="113" y="161"/>
                  <a:pt x="113" y="161"/>
                  <a:pt x="113" y="161"/>
                </a:cubicBezTo>
                <a:cubicBezTo>
                  <a:pt x="117" y="161"/>
                  <a:pt x="117" y="161"/>
                  <a:pt x="117" y="161"/>
                </a:cubicBezTo>
                <a:cubicBezTo>
                  <a:pt x="117" y="152"/>
                  <a:pt x="117" y="152"/>
                  <a:pt x="117" y="152"/>
                </a:cubicBezTo>
                <a:lnTo>
                  <a:pt x="113" y="15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8" name="Freeform 99">
            <a:extLst>
              <a:ext uri="{FF2B5EF4-FFF2-40B4-BE49-F238E27FC236}">
                <a16:creationId xmlns:a16="http://schemas.microsoft.com/office/drawing/2014/main" id="{F714D082-D663-4F8F-A93C-7EA7BCB6FB9F}"/>
              </a:ext>
            </a:extLst>
          </p:cNvPr>
          <p:cNvSpPr>
            <a:spLocks noEditPoints="1"/>
          </p:cNvSpPr>
          <p:nvPr/>
        </p:nvSpPr>
        <p:spPr bwMode="auto">
          <a:xfrm>
            <a:off x="5166075" y="5580680"/>
            <a:ext cx="543096" cy="573838"/>
          </a:xfrm>
          <a:custGeom>
            <a:avLst/>
            <a:gdLst>
              <a:gd name="T0" fmla="*/ 50 w 160"/>
              <a:gd name="T1" fmla="*/ 25 h 169"/>
              <a:gd name="T2" fmla="*/ 90 w 160"/>
              <a:gd name="T3" fmla="*/ 21 h 169"/>
              <a:gd name="T4" fmla="*/ 49 w 160"/>
              <a:gd name="T5" fmla="*/ 20 h 169"/>
              <a:gd name="T6" fmla="*/ 0 w 160"/>
              <a:gd name="T7" fmla="*/ 56 h 169"/>
              <a:gd name="T8" fmla="*/ 49 w 160"/>
              <a:gd name="T9" fmla="*/ 160 h 169"/>
              <a:gd name="T10" fmla="*/ 65 w 160"/>
              <a:gd name="T11" fmla="*/ 160 h 169"/>
              <a:gd name="T12" fmla="*/ 49 w 160"/>
              <a:gd name="T13" fmla="*/ 152 h 169"/>
              <a:gd name="T14" fmla="*/ 73 w 160"/>
              <a:gd name="T15" fmla="*/ 160 h 169"/>
              <a:gd name="T16" fmla="*/ 90 w 160"/>
              <a:gd name="T17" fmla="*/ 160 h 169"/>
              <a:gd name="T18" fmla="*/ 73 w 160"/>
              <a:gd name="T19" fmla="*/ 152 h 169"/>
              <a:gd name="T20" fmla="*/ 120 w 160"/>
              <a:gd name="T21" fmla="*/ 106 h 169"/>
              <a:gd name="T22" fmla="*/ 96 w 160"/>
              <a:gd name="T23" fmla="*/ 49 h 169"/>
              <a:gd name="T24" fmla="*/ 82 w 160"/>
              <a:gd name="T25" fmla="*/ 45 h 169"/>
              <a:gd name="T26" fmla="*/ 58 w 160"/>
              <a:gd name="T27" fmla="*/ 45 h 169"/>
              <a:gd name="T28" fmla="*/ 43 w 160"/>
              <a:gd name="T29" fmla="*/ 49 h 169"/>
              <a:gd name="T30" fmla="*/ 19 w 160"/>
              <a:gd name="T31" fmla="*/ 106 h 169"/>
              <a:gd name="T32" fmla="*/ 50 w 160"/>
              <a:gd name="T33" fmla="*/ 69 h 169"/>
              <a:gd name="T34" fmla="*/ 32 w 160"/>
              <a:gd name="T35" fmla="*/ 144 h 169"/>
              <a:gd name="T36" fmla="*/ 86 w 160"/>
              <a:gd name="T37" fmla="*/ 74 h 169"/>
              <a:gd name="T38" fmla="*/ 108 w 160"/>
              <a:gd name="T39" fmla="*/ 103 h 169"/>
              <a:gd name="T40" fmla="*/ 156 w 160"/>
              <a:gd name="T41" fmla="*/ 132 h 169"/>
              <a:gd name="T42" fmla="*/ 123 w 160"/>
              <a:gd name="T43" fmla="*/ 132 h 169"/>
              <a:gd name="T44" fmla="*/ 115 w 160"/>
              <a:gd name="T45" fmla="*/ 136 h 169"/>
              <a:gd name="T46" fmla="*/ 131 w 160"/>
              <a:gd name="T47" fmla="*/ 154 h 169"/>
              <a:gd name="T48" fmla="*/ 143 w 160"/>
              <a:gd name="T49" fmla="*/ 148 h 169"/>
              <a:gd name="T50" fmla="*/ 160 w 160"/>
              <a:gd name="T51" fmla="*/ 149 h 169"/>
              <a:gd name="T52" fmla="*/ 156 w 160"/>
              <a:gd name="T53" fmla="*/ 132 h 169"/>
              <a:gd name="T54" fmla="*/ 146 w 160"/>
              <a:gd name="T55" fmla="*/ 132 h 169"/>
              <a:gd name="T56" fmla="*/ 135 w 160"/>
              <a:gd name="T57" fmla="*/ 152 h 169"/>
              <a:gd name="T58" fmla="*/ 139 w 160"/>
              <a:gd name="T59" fmla="*/ 161 h 169"/>
              <a:gd name="T60" fmla="*/ 135 w 160"/>
              <a:gd name="T61" fmla="*/ 152 h 169"/>
              <a:gd name="T62" fmla="*/ 131 w 160"/>
              <a:gd name="T63" fmla="*/ 165 h 169"/>
              <a:gd name="T64" fmla="*/ 115 w 160"/>
              <a:gd name="T65" fmla="*/ 155 h 169"/>
              <a:gd name="T66" fmla="*/ 119 w 160"/>
              <a:gd name="T67" fmla="*/ 169 h 169"/>
              <a:gd name="T68" fmla="*/ 160 w 160"/>
              <a:gd name="T69" fmla="*/ 165 h 169"/>
              <a:gd name="T70" fmla="*/ 143 w 160"/>
              <a:gd name="T71" fmla="*/ 15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69">
                <a:moveTo>
                  <a:pt x="25" y="48"/>
                </a:moveTo>
                <a:cubicBezTo>
                  <a:pt x="36" y="31"/>
                  <a:pt x="39" y="24"/>
                  <a:pt x="50" y="25"/>
                </a:cubicBezTo>
                <a:cubicBezTo>
                  <a:pt x="52" y="34"/>
                  <a:pt x="60" y="41"/>
                  <a:pt x="69" y="41"/>
                </a:cubicBezTo>
                <a:cubicBezTo>
                  <a:pt x="81" y="41"/>
                  <a:pt x="90" y="32"/>
                  <a:pt x="90" y="21"/>
                </a:cubicBezTo>
                <a:cubicBezTo>
                  <a:pt x="90" y="9"/>
                  <a:pt x="81" y="0"/>
                  <a:pt x="69" y="0"/>
                </a:cubicBezTo>
                <a:cubicBezTo>
                  <a:pt x="58" y="0"/>
                  <a:pt x="49" y="9"/>
                  <a:pt x="49" y="20"/>
                </a:cubicBezTo>
                <a:cubicBezTo>
                  <a:pt x="36" y="12"/>
                  <a:pt x="14" y="20"/>
                  <a:pt x="11" y="44"/>
                </a:cubicBezTo>
                <a:cubicBezTo>
                  <a:pt x="7" y="58"/>
                  <a:pt x="0" y="56"/>
                  <a:pt x="0" y="56"/>
                </a:cubicBezTo>
                <a:cubicBezTo>
                  <a:pt x="0" y="56"/>
                  <a:pt x="12" y="67"/>
                  <a:pt x="25" y="48"/>
                </a:cubicBezTo>
                <a:close/>
                <a:moveTo>
                  <a:pt x="49" y="160"/>
                </a:moveTo>
                <a:cubicBezTo>
                  <a:pt x="49" y="165"/>
                  <a:pt x="52" y="169"/>
                  <a:pt x="57" y="169"/>
                </a:cubicBezTo>
                <a:cubicBezTo>
                  <a:pt x="62" y="169"/>
                  <a:pt x="65" y="165"/>
                  <a:pt x="65" y="160"/>
                </a:cubicBezTo>
                <a:cubicBezTo>
                  <a:pt x="65" y="152"/>
                  <a:pt x="65" y="152"/>
                  <a:pt x="65" y="152"/>
                </a:cubicBezTo>
                <a:cubicBezTo>
                  <a:pt x="49" y="152"/>
                  <a:pt x="49" y="152"/>
                  <a:pt x="49" y="152"/>
                </a:cubicBezTo>
                <a:lnTo>
                  <a:pt x="49" y="160"/>
                </a:lnTo>
                <a:close/>
                <a:moveTo>
                  <a:pt x="73" y="160"/>
                </a:moveTo>
                <a:cubicBezTo>
                  <a:pt x="73" y="165"/>
                  <a:pt x="77" y="169"/>
                  <a:pt x="82" y="169"/>
                </a:cubicBezTo>
                <a:cubicBezTo>
                  <a:pt x="86" y="169"/>
                  <a:pt x="90" y="165"/>
                  <a:pt x="90" y="160"/>
                </a:cubicBezTo>
                <a:cubicBezTo>
                  <a:pt x="90" y="152"/>
                  <a:pt x="90" y="152"/>
                  <a:pt x="90" y="152"/>
                </a:cubicBezTo>
                <a:cubicBezTo>
                  <a:pt x="73" y="152"/>
                  <a:pt x="73" y="152"/>
                  <a:pt x="73" y="152"/>
                </a:cubicBezTo>
                <a:lnTo>
                  <a:pt x="73" y="160"/>
                </a:lnTo>
                <a:close/>
                <a:moveTo>
                  <a:pt x="120" y="106"/>
                </a:moveTo>
                <a:cubicBezTo>
                  <a:pt x="124" y="104"/>
                  <a:pt x="125" y="99"/>
                  <a:pt x="123" y="95"/>
                </a:cubicBezTo>
                <a:cubicBezTo>
                  <a:pt x="96" y="49"/>
                  <a:pt x="96" y="49"/>
                  <a:pt x="96" y="49"/>
                </a:cubicBezTo>
                <a:cubicBezTo>
                  <a:pt x="94" y="45"/>
                  <a:pt x="84" y="45"/>
                  <a:pt x="83" y="45"/>
                </a:cubicBezTo>
                <a:cubicBezTo>
                  <a:pt x="82" y="45"/>
                  <a:pt x="82" y="45"/>
                  <a:pt x="82" y="45"/>
                </a:cubicBezTo>
                <a:cubicBezTo>
                  <a:pt x="70" y="61"/>
                  <a:pt x="70" y="61"/>
                  <a:pt x="70" y="61"/>
                </a:cubicBezTo>
                <a:cubicBezTo>
                  <a:pt x="58" y="45"/>
                  <a:pt x="58" y="45"/>
                  <a:pt x="58" y="45"/>
                </a:cubicBezTo>
                <a:cubicBezTo>
                  <a:pt x="56" y="45"/>
                  <a:pt x="56" y="45"/>
                  <a:pt x="56" y="45"/>
                </a:cubicBezTo>
                <a:cubicBezTo>
                  <a:pt x="55" y="45"/>
                  <a:pt x="45" y="45"/>
                  <a:pt x="43" y="49"/>
                </a:cubicBezTo>
                <a:cubicBezTo>
                  <a:pt x="16" y="95"/>
                  <a:pt x="16" y="95"/>
                  <a:pt x="16" y="95"/>
                </a:cubicBezTo>
                <a:cubicBezTo>
                  <a:pt x="14" y="99"/>
                  <a:pt x="15" y="104"/>
                  <a:pt x="19" y="106"/>
                </a:cubicBezTo>
                <a:cubicBezTo>
                  <a:pt x="23" y="109"/>
                  <a:pt x="28" y="107"/>
                  <a:pt x="30" y="103"/>
                </a:cubicBezTo>
                <a:cubicBezTo>
                  <a:pt x="50" y="69"/>
                  <a:pt x="50" y="69"/>
                  <a:pt x="50" y="69"/>
                </a:cubicBezTo>
                <a:cubicBezTo>
                  <a:pt x="53" y="74"/>
                  <a:pt x="53" y="74"/>
                  <a:pt x="53" y="74"/>
                </a:cubicBezTo>
                <a:cubicBezTo>
                  <a:pt x="32" y="144"/>
                  <a:pt x="32" y="144"/>
                  <a:pt x="32" y="144"/>
                </a:cubicBezTo>
                <a:cubicBezTo>
                  <a:pt x="106" y="144"/>
                  <a:pt x="106" y="144"/>
                  <a:pt x="106" y="144"/>
                </a:cubicBezTo>
                <a:cubicBezTo>
                  <a:pt x="86" y="74"/>
                  <a:pt x="86" y="74"/>
                  <a:pt x="86" y="74"/>
                </a:cubicBezTo>
                <a:cubicBezTo>
                  <a:pt x="88" y="69"/>
                  <a:pt x="88" y="69"/>
                  <a:pt x="88" y="69"/>
                </a:cubicBezTo>
                <a:cubicBezTo>
                  <a:pt x="108" y="103"/>
                  <a:pt x="108" y="103"/>
                  <a:pt x="108" y="103"/>
                </a:cubicBezTo>
                <a:cubicBezTo>
                  <a:pt x="111" y="107"/>
                  <a:pt x="116" y="109"/>
                  <a:pt x="120" y="106"/>
                </a:cubicBezTo>
                <a:close/>
                <a:moveTo>
                  <a:pt x="156" y="132"/>
                </a:moveTo>
                <a:cubicBezTo>
                  <a:pt x="151" y="132"/>
                  <a:pt x="151" y="132"/>
                  <a:pt x="151" y="132"/>
                </a:cubicBezTo>
                <a:cubicBezTo>
                  <a:pt x="148" y="116"/>
                  <a:pt x="126" y="116"/>
                  <a:pt x="123" y="132"/>
                </a:cubicBezTo>
                <a:cubicBezTo>
                  <a:pt x="119" y="132"/>
                  <a:pt x="119" y="132"/>
                  <a:pt x="119" y="132"/>
                </a:cubicBezTo>
                <a:cubicBezTo>
                  <a:pt x="116" y="132"/>
                  <a:pt x="115" y="134"/>
                  <a:pt x="115" y="136"/>
                </a:cubicBezTo>
                <a:cubicBezTo>
                  <a:pt x="115" y="149"/>
                  <a:pt x="115" y="149"/>
                  <a:pt x="115" y="149"/>
                </a:cubicBezTo>
                <a:cubicBezTo>
                  <a:pt x="120" y="152"/>
                  <a:pt x="125" y="153"/>
                  <a:pt x="131" y="154"/>
                </a:cubicBezTo>
                <a:cubicBezTo>
                  <a:pt x="131" y="148"/>
                  <a:pt x="131" y="148"/>
                  <a:pt x="131" y="148"/>
                </a:cubicBezTo>
                <a:cubicBezTo>
                  <a:pt x="143" y="148"/>
                  <a:pt x="143" y="148"/>
                  <a:pt x="143" y="148"/>
                </a:cubicBezTo>
                <a:cubicBezTo>
                  <a:pt x="143" y="154"/>
                  <a:pt x="143" y="154"/>
                  <a:pt x="143" y="154"/>
                </a:cubicBezTo>
                <a:cubicBezTo>
                  <a:pt x="149" y="153"/>
                  <a:pt x="155" y="152"/>
                  <a:pt x="160" y="149"/>
                </a:cubicBezTo>
                <a:cubicBezTo>
                  <a:pt x="160" y="136"/>
                  <a:pt x="160" y="136"/>
                  <a:pt x="160" y="136"/>
                </a:cubicBezTo>
                <a:cubicBezTo>
                  <a:pt x="160" y="134"/>
                  <a:pt x="158" y="132"/>
                  <a:pt x="156" y="132"/>
                </a:cubicBezTo>
                <a:close/>
                <a:moveTo>
                  <a:pt x="129" y="132"/>
                </a:moveTo>
                <a:cubicBezTo>
                  <a:pt x="131" y="123"/>
                  <a:pt x="143" y="123"/>
                  <a:pt x="146" y="132"/>
                </a:cubicBezTo>
                <a:lnTo>
                  <a:pt x="129" y="132"/>
                </a:lnTo>
                <a:close/>
                <a:moveTo>
                  <a:pt x="135" y="152"/>
                </a:moveTo>
                <a:cubicBezTo>
                  <a:pt x="135" y="161"/>
                  <a:pt x="135" y="161"/>
                  <a:pt x="135" y="161"/>
                </a:cubicBezTo>
                <a:cubicBezTo>
                  <a:pt x="139" y="161"/>
                  <a:pt x="139" y="161"/>
                  <a:pt x="139" y="161"/>
                </a:cubicBezTo>
                <a:cubicBezTo>
                  <a:pt x="139" y="152"/>
                  <a:pt x="139" y="152"/>
                  <a:pt x="139" y="152"/>
                </a:cubicBezTo>
                <a:lnTo>
                  <a:pt x="135" y="152"/>
                </a:lnTo>
                <a:close/>
                <a:moveTo>
                  <a:pt x="143" y="165"/>
                </a:moveTo>
                <a:cubicBezTo>
                  <a:pt x="131" y="165"/>
                  <a:pt x="131" y="165"/>
                  <a:pt x="131" y="165"/>
                </a:cubicBezTo>
                <a:cubicBezTo>
                  <a:pt x="131" y="159"/>
                  <a:pt x="131" y="159"/>
                  <a:pt x="131" y="159"/>
                </a:cubicBezTo>
                <a:cubicBezTo>
                  <a:pt x="125" y="159"/>
                  <a:pt x="120" y="157"/>
                  <a:pt x="115" y="155"/>
                </a:cubicBezTo>
                <a:cubicBezTo>
                  <a:pt x="115" y="165"/>
                  <a:pt x="115" y="165"/>
                  <a:pt x="115" y="165"/>
                </a:cubicBezTo>
                <a:cubicBezTo>
                  <a:pt x="115" y="167"/>
                  <a:pt x="116" y="169"/>
                  <a:pt x="119" y="169"/>
                </a:cubicBezTo>
                <a:cubicBezTo>
                  <a:pt x="156" y="169"/>
                  <a:pt x="156" y="169"/>
                  <a:pt x="156" y="169"/>
                </a:cubicBezTo>
                <a:cubicBezTo>
                  <a:pt x="158" y="169"/>
                  <a:pt x="160" y="167"/>
                  <a:pt x="160" y="165"/>
                </a:cubicBezTo>
                <a:cubicBezTo>
                  <a:pt x="160" y="155"/>
                  <a:pt x="160" y="155"/>
                  <a:pt x="160" y="155"/>
                </a:cubicBezTo>
                <a:cubicBezTo>
                  <a:pt x="155" y="157"/>
                  <a:pt x="149" y="159"/>
                  <a:pt x="143" y="159"/>
                </a:cubicBezTo>
                <a:lnTo>
                  <a:pt x="143" y="165"/>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49" name="Freeform 100">
            <a:extLst>
              <a:ext uri="{FF2B5EF4-FFF2-40B4-BE49-F238E27FC236}">
                <a16:creationId xmlns:a16="http://schemas.microsoft.com/office/drawing/2014/main" id="{426E5703-AD55-4831-8287-CCF162F6A67D}"/>
              </a:ext>
            </a:extLst>
          </p:cNvPr>
          <p:cNvSpPr>
            <a:spLocks noEditPoints="1"/>
          </p:cNvSpPr>
          <p:nvPr/>
        </p:nvSpPr>
        <p:spPr bwMode="auto">
          <a:xfrm>
            <a:off x="6298379" y="5652410"/>
            <a:ext cx="668624" cy="443188"/>
          </a:xfrm>
          <a:custGeom>
            <a:avLst/>
            <a:gdLst>
              <a:gd name="T0" fmla="*/ 42 w 197"/>
              <a:gd name="T1" fmla="*/ 131 h 131"/>
              <a:gd name="T2" fmla="*/ 48 w 197"/>
              <a:gd name="T3" fmla="*/ 90 h 131"/>
              <a:gd name="T4" fmla="*/ 36 w 197"/>
              <a:gd name="T5" fmla="*/ 125 h 131"/>
              <a:gd name="T6" fmla="*/ 58 w 197"/>
              <a:gd name="T7" fmla="*/ 131 h 131"/>
              <a:gd name="T8" fmla="*/ 64 w 197"/>
              <a:gd name="T9" fmla="*/ 90 h 131"/>
              <a:gd name="T10" fmla="*/ 52 w 197"/>
              <a:gd name="T11" fmla="*/ 125 h 131"/>
              <a:gd name="T12" fmla="*/ 128 w 197"/>
              <a:gd name="T13" fmla="*/ 131 h 131"/>
              <a:gd name="T14" fmla="*/ 134 w 197"/>
              <a:gd name="T15" fmla="*/ 119 h 131"/>
              <a:gd name="T16" fmla="*/ 122 w 197"/>
              <a:gd name="T17" fmla="*/ 125 h 131"/>
              <a:gd name="T18" fmla="*/ 150 w 197"/>
              <a:gd name="T19" fmla="*/ 10 h 131"/>
              <a:gd name="T20" fmla="*/ 122 w 197"/>
              <a:gd name="T21" fmla="*/ 14 h 131"/>
              <a:gd name="T22" fmla="*/ 151 w 197"/>
              <a:gd name="T23" fmla="*/ 14 h 131"/>
              <a:gd name="T24" fmla="*/ 176 w 197"/>
              <a:gd name="T25" fmla="*/ 26 h 131"/>
              <a:gd name="T26" fmla="*/ 186 w 197"/>
              <a:gd name="T27" fmla="*/ 20 h 131"/>
              <a:gd name="T28" fmla="*/ 147 w 197"/>
              <a:gd name="T29" fmla="*/ 33 h 131"/>
              <a:gd name="T30" fmla="*/ 118 w 197"/>
              <a:gd name="T31" fmla="*/ 34 h 131"/>
              <a:gd name="T32" fmla="*/ 69 w 197"/>
              <a:gd name="T33" fmla="*/ 34 h 131"/>
              <a:gd name="T34" fmla="*/ 60 w 197"/>
              <a:gd name="T35" fmla="*/ 33 h 131"/>
              <a:gd name="T36" fmla="*/ 40 w 197"/>
              <a:gd name="T37" fmla="*/ 33 h 131"/>
              <a:gd name="T38" fmla="*/ 31 w 197"/>
              <a:gd name="T39" fmla="*/ 34 h 131"/>
              <a:gd name="T40" fmla="*/ 2 w 197"/>
              <a:gd name="T41" fmla="*/ 72 h 131"/>
              <a:gd name="T42" fmla="*/ 32 w 197"/>
              <a:gd name="T43" fmla="*/ 52 h 131"/>
              <a:gd name="T44" fmla="*/ 69 w 197"/>
              <a:gd name="T45" fmla="*/ 86 h 131"/>
              <a:gd name="T46" fmla="*/ 89 w 197"/>
              <a:gd name="T47" fmla="*/ 72 h 131"/>
              <a:gd name="T48" fmla="*/ 98 w 197"/>
              <a:gd name="T49" fmla="*/ 72 h 131"/>
              <a:gd name="T50" fmla="*/ 124 w 197"/>
              <a:gd name="T51" fmla="*/ 55 h 131"/>
              <a:gd name="T52" fmla="*/ 169 w 197"/>
              <a:gd name="T53" fmla="*/ 115 h 131"/>
              <a:gd name="T54" fmla="*/ 152 w 197"/>
              <a:gd name="T55" fmla="*/ 48 h 131"/>
              <a:gd name="T56" fmla="*/ 184 w 197"/>
              <a:gd name="T57" fmla="*/ 72 h 131"/>
              <a:gd name="T58" fmla="*/ 155 w 197"/>
              <a:gd name="T59" fmla="*/ 34 h 131"/>
              <a:gd name="T60" fmla="*/ 145 w 197"/>
              <a:gd name="T61" fmla="*/ 131 h 131"/>
              <a:gd name="T62" fmla="*/ 151 w 197"/>
              <a:gd name="T63" fmla="*/ 119 h 131"/>
              <a:gd name="T64" fmla="*/ 139 w 197"/>
              <a:gd name="T65" fmla="*/ 125 h 131"/>
              <a:gd name="T66" fmla="*/ 64 w 197"/>
              <a:gd name="T67" fmla="*/ 14 h 131"/>
              <a:gd name="T68" fmla="*/ 36 w 197"/>
              <a:gd name="T69" fmla="*/ 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7" h="131">
                <a:moveTo>
                  <a:pt x="36" y="125"/>
                </a:moveTo>
                <a:cubicBezTo>
                  <a:pt x="36" y="129"/>
                  <a:pt x="38" y="131"/>
                  <a:pt x="42" y="131"/>
                </a:cubicBezTo>
                <a:cubicBezTo>
                  <a:pt x="45" y="131"/>
                  <a:pt x="48" y="129"/>
                  <a:pt x="48" y="125"/>
                </a:cubicBezTo>
                <a:cubicBezTo>
                  <a:pt x="48" y="90"/>
                  <a:pt x="48" y="90"/>
                  <a:pt x="48" y="90"/>
                </a:cubicBezTo>
                <a:cubicBezTo>
                  <a:pt x="36" y="90"/>
                  <a:pt x="36" y="90"/>
                  <a:pt x="36" y="90"/>
                </a:cubicBezTo>
                <a:lnTo>
                  <a:pt x="36" y="125"/>
                </a:lnTo>
                <a:close/>
                <a:moveTo>
                  <a:pt x="52" y="125"/>
                </a:moveTo>
                <a:cubicBezTo>
                  <a:pt x="52" y="129"/>
                  <a:pt x="55" y="131"/>
                  <a:pt x="58" y="131"/>
                </a:cubicBezTo>
                <a:cubicBezTo>
                  <a:pt x="62" y="131"/>
                  <a:pt x="64" y="129"/>
                  <a:pt x="64" y="125"/>
                </a:cubicBezTo>
                <a:cubicBezTo>
                  <a:pt x="64" y="90"/>
                  <a:pt x="64" y="90"/>
                  <a:pt x="64" y="90"/>
                </a:cubicBezTo>
                <a:cubicBezTo>
                  <a:pt x="52" y="90"/>
                  <a:pt x="52" y="90"/>
                  <a:pt x="52" y="90"/>
                </a:cubicBezTo>
                <a:lnTo>
                  <a:pt x="52" y="125"/>
                </a:lnTo>
                <a:close/>
                <a:moveTo>
                  <a:pt x="122" y="125"/>
                </a:moveTo>
                <a:cubicBezTo>
                  <a:pt x="122" y="129"/>
                  <a:pt x="125" y="131"/>
                  <a:pt x="128" y="131"/>
                </a:cubicBezTo>
                <a:cubicBezTo>
                  <a:pt x="132" y="131"/>
                  <a:pt x="134" y="129"/>
                  <a:pt x="134" y="125"/>
                </a:cubicBezTo>
                <a:cubicBezTo>
                  <a:pt x="134" y="119"/>
                  <a:pt x="134" y="119"/>
                  <a:pt x="134" y="119"/>
                </a:cubicBezTo>
                <a:cubicBezTo>
                  <a:pt x="122" y="119"/>
                  <a:pt x="122" y="119"/>
                  <a:pt x="122" y="119"/>
                </a:cubicBezTo>
                <a:lnTo>
                  <a:pt x="122" y="125"/>
                </a:lnTo>
                <a:close/>
                <a:moveTo>
                  <a:pt x="186" y="20"/>
                </a:moveTo>
                <a:cubicBezTo>
                  <a:pt x="178" y="1"/>
                  <a:pt x="157" y="0"/>
                  <a:pt x="150" y="10"/>
                </a:cubicBezTo>
                <a:cubicBezTo>
                  <a:pt x="148" y="4"/>
                  <a:pt x="143" y="0"/>
                  <a:pt x="137" y="0"/>
                </a:cubicBezTo>
                <a:cubicBezTo>
                  <a:pt x="129" y="0"/>
                  <a:pt x="122" y="6"/>
                  <a:pt x="122" y="14"/>
                </a:cubicBezTo>
                <a:cubicBezTo>
                  <a:pt x="122" y="22"/>
                  <a:pt x="129" y="28"/>
                  <a:pt x="137" y="28"/>
                </a:cubicBezTo>
                <a:cubicBezTo>
                  <a:pt x="144" y="28"/>
                  <a:pt x="151" y="22"/>
                  <a:pt x="151" y="14"/>
                </a:cubicBezTo>
                <a:cubicBezTo>
                  <a:pt x="151" y="14"/>
                  <a:pt x="151" y="14"/>
                  <a:pt x="151" y="14"/>
                </a:cubicBezTo>
                <a:cubicBezTo>
                  <a:pt x="159" y="10"/>
                  <a:pt x="163" y="15"/>
                  <a:pt x="176" y="26"/>
                </a:cubicBezTo>
                <a:cubicBezTo>
                  <a:pt x="189" y="38"/>
                  <a:pt x="197" y="27"/>
                  <a:pt x="197" y="27"/>
                </a:cubicBezTo>
                <a:cubicBezTo>
                  <a:pt x="197" y="27"/>
                  <a:pt x="192" y="30"/>
                  <a:pt x="186" y="20"/>
                </a:cubicBezTo>
                <a:close/>
                <a:moveTo>
                  <a:pt x="155" y="34"/>
                </a:moveTo>
                <a:cubicBezTo>
                  <a:pt x="154" y="33"/>
                  <a:pt x="148" y="33"/>
                  <a:pt x="147" y="33"/>
                </a:cubicBezTo>
                <a:cubicBezTo>
                  <a:pt x="126" y="33"/>
                  <a:pt x="126" y="33"/>
                  <a:pt x="126" y="33"/>
                </a:cubicBezTo>
                <a:cubicBezTo>
                  <a:pt x="125" y="33"/>
                  <a:pt x="119" y="33"/>
                  <a:pt x="118" y="34"/>
                </a:cubicBezTo>
                <a:cubicBezTo>
                  <a:pt x="93" y="59"/>
                  <a:pt x="93" y="59"/>
                  <a:pt x="93" y="59"/>
                </a:cubicBezTo>
                <a:cubicBezTo>
                  <a:pt x="69" y="34"/>
                  <a:pt x="69" y="34"/>
                  <a:pt x="69" y="34"/>
                </a:cubicBezTo>
                <a:cubicBezTo>
                  <a:pt x="67" y="33"/>
                  <a:pt x="61" y="33"/>
                  <a:pt x="60" y="33"/>
                </a:cubicBezTo>
                <a:cubicBezTo>
                  <a:pt x="60" y="33"/>
                  <a:pt x="60" y="33"/>
                  <a:pt x="60" y="33"/>
                </a:cubicBezTo>
                <a:cubicBezTo>
                  <a:pt x="50" y="41"/>
                  <a:pt x="50" y="41"/>
                  <a:pt x="50" y="41"/>
                </a:cubicBezTo>
                <a:cubicBezTo>
                  <a:pt x="40" y="33"/>
                  <a:pt x="40" y="33"/>
                  <a:pt x="40" y="33"/>
                </a:cubicBezTo>
                <a:cubicBezTo>
                  <a:pt x="40" y="33"/>
                  <a:pt x="40" y="33"/>
                  <a:pt x="40" y="33"/>
                </a:cubicBezTo>
                <a:cubicBezTo>
                  <a:pt x="39" y="33"/>
                  <a:pt x="33" y="33"/>
                  <a:pt x="31" y="34"/>
                </a:cubicBezTo>
                <a:cubicBezTo>
                  <a:pt x="2" y="64"/>
                  <a:pt x="2" y="64"/>
                  <a:pt x="2" y="64"/>
                </a:cubicBezTo>
                <a:cubicBezTo>
                  <a:pt x="0" y="66"/>
                  <a:pt x="0" y="70"/>
                  <a:pt x="2" y="72"/>
                </a:cubicBezTo>
                <a:cubicBezTo>
                  <a:pt x="5" y="75"/>
                  <a:pt x="9" y="75"/>
                  <a:pt x="11" y="72"/>
                </a:cubicBezTo>
                <a:cubicBezTo>
                  <a:pt x="32" y="52"/>
                  <a:pt x="32" y="52"/>
                  <a:pt x="32" y="52"/>
                </a:cubicBezTo>
                <a:cubicBezTo>
                  <a:pt x="32" y="86"/>
                  <a:pt x="32" y="86"/>
                  <a:pt x="32" y="86"/>
                </a:cubicBezTo>
                <a:cubicBezTo>
                  <a:pt x="69" y="86"/>
                  <a:pt x="69" y="86"/>
                  <a:pt x="69" y="86"/>
                </a:cubicBezTo>
                <a:cubicBezTo>
                  <a:pt x="69" y="52"/>
                  <a:pt x="69" y="52"/>
                  <a:pt x="69" y="52"/>
                </a:cubicBezTo>
                <a:cubicBezTo>
                  <a:pt x="69" y="52"/>
                  <a:pt x="89" y="72"/>
                  <a:pt x="89" y="72"/>
                </a:cubicBezTo>
                <a:cubicBezTo>
                  <a:pt x="90" y="74"/>
                  <a:pt x="92" y="74"/>
                  <a:pt x="93" y="74"/>
                </a:cubicBezTo>
                <a:cubicBezTo>
                  <a:pt x="95" y="74"/>
                  <a:pt x="97" y="74"/>
                  <a:pt x="98" y="72"/>
                </a:cubicBezTo>
                <a:cubicBezTo>
                  <a:pt x="98" y="72"/>
                  <a:pt x="121" y="48"/>
                  <a:pt x="121" y="48"/>
                </a:cubicBezTo>
                <a:cubicBezTo>
                  <a:pt x="124" y="55"/>
                  <a:pt x="124" y="55"/>
                  <a:pt x="124" y="55"/>
                </a:cubicBezTo>
                <a:cubicBezTo>
                  <a:pt x="104" y="115"/>
                  <a:pt x="104" y="115"/>
                  <a:pt x="104" y="115"/>
                </a:cubicBezTo>
                <a:cubicBezTo>
                  <a:pt x="169" y="115"/>
                  <a:pt x="169" y="115"/>
                  <a:pt x="169" y="115"/>
                </a:cubicBezTo>
                <a:cubicBezTo>
                  <a:pt x="149" y="55"/>
                  <a:pt x="149" y="55"/>
                  <a:pt x="149" y="55"/>
                </a:cubicBezTo>
                <a:cubicBezTo>
                  <a:pt x="152" y="48"/>
                  <a:pt x="152" y="48"/>
                  <a:pt x="152" y="48"/>
                </a:cubicBezTo>
                <a:cubicBezTo>
                  <a:pt x="175" y="72"/>
                  <a:pt x="175" y="72"/>
                  <a:pt x="175" y="72"/>
                </a:cubicBezTo>
                <a:cubicBezTo>
                  <a:pt x="178" y="75"/>
                  <a:pt x="182" y="75"/>
                  <a:pt x="184" y="72"/>
                </a:cubicBezTo>
                <a:cubicBezTo>
                  <a:pt x="187" y="70"/>
                  <a:pt x="187" y="66"/>
                  <a:pt x="184" y="64"/>
                </a:cubicBezTo>
                <a:lnTo>
                  <a:pt x="155" y="34"/>
                </a:lnTo>
                <a:close/>
                <a:moveTo>
                  <a:pt x="139" y="125"/>
                </a:moveTo>
                <a:cubicBezTo>
                  <a:pt x="139" y="129"/>
                  <a:pt x="141" y="131"/>
                  <a:pt x="145" y="131"/>
                </a:cubicBezTo>
                <a:cubicBezTo>
                  <a:pt x="148" y="131"/>
                  <a:pt x="151" y="129"/>
                  <a:pt x="151" y="125"/>
                </a:cubicBezTo>
                <a:cubicBezTo>
                  <a:pt x="151" y="119"/>
                  <a:pt x="151" y="119"/>
                  <a:pt x="151" y="119"/>
                </a:cubicBezTo>
                <a:cubicBezTo>
                  <a:pt x="139" y="119"/>
                  <a:pt x="139" y="119"/>
                  <a:pt x="139" y="119"/>
                </a:cubicBezTo>
                <a:lnTo>
                  <a:pt x="139" y="125"/>
                </a:lnTo>
                <a:close/>
                <a:moveTo>
                  <a:pt x="50" y="28"/>
                </a:moveTo>
                <a:cubicBezTo>
                  <a:pt x="58" y="28"/>
                  <a:pt x="64" y="22"/>
                  <a:pt x="64" y="14"/>
                </a:cubicBezTo>
                <a:cubicBezTo>
                  <a:pt x="64" y="6"/>
                  <a:pt x="58" y="0"/>
                  <a:pt x="50" y="0"/>
                </a:cubicBezTo>
                <a:cubicBezTo>
                  <a:pt x="42" y="0"/>
                  <a:pt x="36" y="6"/>
                  <a:pt x="36" y="14"/>
                </a:cubicBezTo>
                <a:cubicBezTo>
                  <a:pt x="36" y="22"/>
                  <a:pt x="42" y="28"/>
                  <a:pt x="50" y="2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0" name="Freeform 101">
            <a:extLst>
              <a:ext uri="{FF2B5EF4-FFF2-40B4-BE49-F238E27FC236}">
                <a16:creationId xmlns:a16="http://schemas.microsoft.com/office/drawing/2014/main" id="{6900369D-396D-4DE0-8C92-7BFA27095205}"/>
              </a:ext>
            </a:extLst>
          </p:cNvPr>
          <p:cNvSpPr>
            <a:spLocks noEditPoints="1"/>
          </p:cNvSpPr>
          <p:nvPr/>
        </p:nvSpPr>
        <p:spPr bwMode="auto">
          <a:xfrm>
            <a:off x="7481920" y="5678028"/>
            <a:ext cx="499546" cy="422694"/>
          </a:xfrm>
          <a:custGeom>
            <a:avLst/>
            <a:gdLst>
              <a:gd name="T0" fmla="*/ 86 w 147"/>
              <a:gd name="T1" fmla="*/ 66 h 124"/>
              <a:gd name="T2" fmla="*/ 86 w 147"/>
              <a:gd name="T3" fmla="*/ 78 h 124"/>
              <a:gd name="T4" fmla="*/ 129 w 147"/>
              <a:gd name="T5" fmla="*/ 78 h 124"/>
              <a:gd name="T6" fmla="*/ 115 w 147"/>
              <a:gd name="T7" fmla="*/ 111 h 124"/>
              <a:gd name="T8" fmla="*/ 102 w 147"/>
              <a:gd name="T9" fmla="*/ 111 h 124"/>
              <a:gd name="T10" fmla="*/ 102 w 147"/>
              <a:gd name="T11" fmla="*/ 123 h 124"/>
              <a:gd name="T12" fmla="*/ 135 w 147"/>
              <a:gd name="T13" fmla="*/ 123 h 124"/>
              <a:gd name="T14" fmla="*/ 135 w 147"/>
              <a:gd name="T15" fmla="*/ 111 h 124"/>
              <a:gd name="T16" fmla="*/ 127 w 147"/>
              <a:gd name="T17" fmla="*/ 111 h 124"/>
              <a:gd name="T18" fmla="*/ 142 w 147"/>
              <a:gd name="T19" fmla="*/ 78 h 124"/>
              <a:gd name="T20" fmla="*/ 147 w 147"/>
              <a:gd name="T21" fmla="*/ 78 h 124"/>
              <a:gd name="T22" fmla="*/ 147 w 147"/>
              <a:gd name="T23" fmla="*/ 66 h 124"/>
              <a:gd name="T24" fmla="*/ 86 w 147"/>
              <a:gd name="T25" fmla="*/ 66 h 124"/>
              <a:gd name="T26" fmla="*/ 15 w 147"/>
              <a:gd name="T27" fmla="*/ 73 h 124"/>
              <a:gd name="T28" fmla="*/ 19 w 147"/>
              <a:gd name="T29" fmla="*/ 66 h 124"/>
              <a:gd name="T30" fmla="*/ 17 w 147"/>
              <a:gd name="T31" fmla="*/ 45 h 124"/>
              <a:gd name="T32" fmla="*/ 8 w 147"/>
              <a:gd name="T33" fmla="*/ 37 h 124"/>
              <a:gd name="T34" fmla="*/ 0 w 147"/>
              <a:gd name="T35" fmla="*/ 45 h 124"/>
              <a:gd name="T36" fmla="*/ 2 w 147"/>
              <a:gd name="T37" fmla="*/ 66 h 124"/>
              <a:gd name="T38" fmla="*/ 7 w 147"/>
              <a:gd name="T39" fmla="*/ 73 h 124"/>
              <a:gd name="T40" fmla="*/ 10 w 147"/>
              <a:gd name="T41" fmla="*/ 103 h 124"/>
              <a:gd name="T42" fmla="*/ 28 w 147"/>
              <a:gd name="T43" fmla="*/ 103 h 124"/>
              <a:gd name="T44" fmla="*/ 28 w 147"/>
              <a:gd name="T45" fmla="*/ 115 h 124"/>
              <a:gd name="T46" fmla="*/ 16 w 147"/>
              <a:gd name="T47" fmla="*/ 115 h 124"/>
              <a:gd name="T48" fmla="*/ 16 w 147"/>
              <a:gd name="T49" fmla="*/ 123 h 124"/>
              <a:gd name="T50" fmla="*/ 49 w 147"/>
              <a:gd name="T51" fmla="*/ 123 h 124"/>
              <a:gd name="T52" fmla="*/ 49 w 147"/>
              <a:gd name="T53" fmla="*/ 115 h 124"/>
              <a:gd name="T54" fmla="*/ 36 w 147"/>
              <a:gd name="T55" fmla="*/ 115 h 124"/>
              <a:gd name="T56" fmla="*/ 36 w 147"/>
              <a:gd name="T57" fmla="*/ 103 h 124"/>
              <a:gd name="T58" fmla="*/ 49 w 147"/>
              <a:gd name="T59" fmla="*/ 103 h 124"/>
              <a:gd name="T60" fmla="*/ 49 w 147"/>
              <a:gd name="T61" fmla="*/ 94 h 124"/>
              <a:gd name="T62" fmla="*/ 18 w 147"/>
              <a:gd name="T63" fmla="*/ 94 h 124"/>
              <a:gd name="T64" fmla="*/ 15 w 147"/>
              <a:gd name="T65" fmla="*/ 73 h 124"/>
              <a:gd name="T66" fmla="*/ 55 w 147"/>
              <a:gd name="T67" fmla="*/ 29 h 124"/>
              <a:gd name="T68" fmla="*/ 69 w 147"/>
              <a:gd name="T69" fmla="*/ 14 h 124"/>
              <a:gd name="T70" fmla="*/ 55 w 147"/>
              <a:gd name="T71" fmla="*/ 0 h 124"/>
              <a:gd name="T72" fmla="*/ 41 w 147"/>
              <a:gd name="T73" fmla="*/ 14 h 124"/>
              <a:gd name="T74" fmla="*/ 55 w 147"/>
              <a:gd name="T75" fmla="*/ 29 h 124"/>
              <a:gd name="T76" fmla="*/ 72 w 147"/>
              <a:gd name="T77" fmla="*/ 82 h 124"/>
              <a:gd name="T78" fmla="*/ 64 w 147"/>
              <a:gd name="T79" fmla="*/ 74 h 124"/>
              <a:gd name="T80" fmla="*/ 54 w 147"/>
              <a:gd name="T81" fmla="*/ 74 h 124"/>
              <a:gd name="T82" fmla="*/ 59 w 147"/>
              <a:gd name="T83" fmla="*/ 56 h 124"/>
              <a:gd name="T84" fmla="*/ 63 w 147"/>
              <a:gd name="T85" fmla="*/ 60 h 124"/>
              <a:gd name="T86" fmla="*/ 68 w 147"/>
              <a:gd name="T87" fmla="*/ 61 h 124"/>
              <a:gd name="T88" fmla="*/ 92 w 147"/>
              <a:gd name="T89" fmla="*/ 61 h 124"/>
              <a:gd name="T90" fmla="*/ 98 w 147"/>
              <a:gd name="T91" fmla="*/ 55 h 124"/>
              <a:gd name="T92" fmla="*/ 92 w 147"/>
              <a:gd name="T93" fmla="*/ 49 h 124"/>
              <a:gd name="T94" fmla="*/ 69 w 147"/>
              <a:gd name="T95" fmla="*/ 49 h 124"/>
              <a:gd name="T96" fmla="*/ 56 w 147"/>
              <a:gd name="T97" fmla="*/ 35 h 124"/>
              <a:gd name="T98" fmla="*/ 48 w 147"/>
              <a:gd name="T99" fmla="*/ 33 h 124"/>
              <a:gd name="T100" fmla="*/ 38 w 147"/>
              <a:gd name="T101" fmla="*/ 38 h 124"/>
              <a:gd name="T102" fmla="*/ 28 w 147"/>
              <a:gd name="T103" fmla="*/ 79 h 124"/>
              <a:gd name="T104" fmla="*/ 27 w 147"/>
              <a:gd name="T105" fmla="*/ 80 h 124"/>
              <a:gd name="T106" fmla="*/ 27 w 147"/>
              <a:gd name="T107" fmla="*/ 82 h 124"/>
              <a:gd name="T108" fmla="*/ 27 w 147"/>
              <a:gd name="T109" fmla="*/ 82 h 124"/>
              <a:gd name="T110" fmla="*/ 35 w 147"/>
              <a:gd name="T111" fmla="*/ 90 h 124"/>
              <a:gd name="T112" fmla="*/ 58 w 147"/>
              <a:gd name="T113" fmla="*/ 90 h 124"/>
              <a:gd name="T114" fmla="*/ 58 w 147"/>
              <a:gd name="T115" fmla="*/ 90 h 124"/>
              <a:gd name="T116" fmla="*/ 74 w 147"/>
              <a:gd name="T117" fmla="*/ 119 h 124"/>
              <a:gd name="T118" fmla="*/ 86 w 147"/>
              <a:gd name="T119" fmla="*/ 122 h 124"/>
              <a:gd name="T120" fmla="*/ 89 w 147"/>
              <a:gd name="T121" fmla="*/ 111 h 124"/>
              <a:gd name="T122" fmla="*/ 72 w 147"/>
              <a:gd name="T123" fmla="*/ 8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7" h="124">
                <a:moveTo>
                  <a:pt x="86" y="66"/>
                </a:moveTo>
                <a:cubicBezTo>
                  <a:pt x="86" y="78"/>
                  <a:pt x="86" y="78"/>
                  <a:pt x="86" y="78"/>
                </a:cubicBezTo>
                <a:cubicBezTo>
                  <a:pt x="129" y="78"/>
                  <a:pt x="129" y="78"/>
                  <a:pt x="129" y="78"/>
                </a:cubicBezTo>
                <a:cubicBezTo>
                  <a:pt x="115" y="111"/>
                  <a:pt x="115" y="111"/>
                  <a:pt x="115" y="111"/>
                </a:cubicBezTo>
                <a:cubicBezTo>
                  <a:pt x="102" y="111"/>
                  <a:pt x="102" y="111"/>
                  <a:pt x="102" y="111"/>
                </a:cubicBezTo>
                <a:cubicBezTo>
                  <a:pt x="102" y="123"/>
                  <a:pt x="102" y="123"/>
                  <a:pt x="102" y="123"/>
                </a:cubicBezTo>
                <a:cubicBezTo>
                  <a:pt x="135" y="123"/>
                  <a:pt x="135" y="123"/>
                  <a:pt x="135" y="123"/>
                </a:cubicBezTo>
                <a:cubicBezTo>
                  <a:pt x="135" y="111"/>
                  <a:pt x="135" y="111"/>
                  <a:pt x="135" y="111"/>
                </a:cubicBezTo>
                <a:cubicBezTo>
                  <a:pt x="127" y="111"/>
                  <a:pt x="127" y="111"/>
                  <a:pt x="127" y="111"/>
                </a:cubicBezTo>
                <a:cubicBezTo>
                  <a:pt x="142" y="78"/>
                  <a:pt x="142" y="78"/>
                  <a:pt x="142" y="78"/>
                </a:cubicBezTo>
                <a:cubicBezTo>
                  <a:pt x="147" y="78"/>
                  <a:pt x="147" y="78"/>
                  <a:pt x="147" y="78"/>
                </a:cubicBezTo>
                <a:cubicBezTo>
                  <a:pt x="147" y="66"/>
                  <a:pt x="147" y="66"/>
                  <a:pt x="147" y="66"/>
                </a:cubicBezTo>
                <a:lnTo>
                  <a:pt x="86" y="66"/>
                </a:lnTo>
                <a:close/>
                <a:moveTo>
                  <a:pt x="15" y="73"/>
                </a:moveTo>
                <a:cubicBezTo>
                  <a:pt x="18" y="71"/>
                  <a:pt x="19" y="69"/>
                  <a:pt x="19" y="66"/>
                </a:cubicBezTo>
                <a:cubicBezTo>
                  <a:pt x="17" y="45"/>
                  <a:pt x="17" y="45"/>
                  <a:pt x="17" y="45"/>
                </a:cubicBezTo>
                <a:cubicBezTo>
                  <a:pt x="16" y="41"/>
                  <a:pt x="12" y="37"/>
                  <a:pt x="8" y="37"/>
                </a:cubicBezTo>
                <a:cubicBezTo>
                  <a:pt x="3" y="37"/>
                  <a:pt x="0" y="41"/>
                  <a:pt x="0" y="45"/>
                </a:cubicBezTo>
                <a:cubicBezTo>
                  <a:pt x="2" y="66"/>
                  <a:pt x="2" y="66"/>
                  <a:pt x="2" y="66"/>
                </a:cubicBezTo>
                <a:cubicBezTo>
                  <a:pt x="3" y="69"/>
                  <a:pt x="5" y="71"/>
                  <a:pt x="7" y="73"/>
                </a:cubicBezTo>
                <a:cubicBezTo>
                  <a:pt x="10" y="103"/>
                  <a:pt x="10" y="103"/>
                  <a:pt x="10" y="103"/>
                </a:cubicBezTo>
                <a:cubicBezTo>
                  <a:pt x="28" y="103"/>
                  <a:pt x="28" y="103"/>
                  <a:pt x="28" y="103"/>
                </a:cubicBezTo>
                <a:cubicBezTo>
                  <a:pt x="28" y="115"/>
                  <a:pt x="28" y="115"/>
                  <a:pt x="28" y="115"/>
                </a:cubicBezTo>
                <a:cubicBezTo>
                  <a:pt x="16" y="115"/>
                  <a:pt x="16" y="115"/>
                  <a:pt x="16" y="115"/>
                </a:cubicBezTo>
                <a:cubicBezTo>
                  <a:pt x="16" y="123"/>
                  <a:pt x="16" y="123"/>
                  <a:pt x="16" y="123"/>
                </a:cubicBezTo>
                <a:cubicBezTo>
                  <a:pt x="49" y="123"/>
                  <a:pt x="49" y="123"/>
                  <a:pt x="49" y="123"/>
                </a:cubicBezTo>
                <a:cubicBezTo>
                  <a:pt x="49" y="115"/>
                  <a:pt x="49" y="115"/>
                  <a:pt x="49" y="115"/>
                </a:cubicBezTo>
                <a:cubicBezTo>
                  <a:pt x="36" y="115"/>
                  <a:pt x="36" y="115"/>
                  <a:pt x="36" y="115"/>
                </a:cubicBezTo>
                <a:cubicBezTo>
                  <a:pt x="36" y="103"/>
                  <a:pt x="36" y="103"/>
                  <a:pt x="36" y="103"/>
                </a:cubicBezTo>
                <a:cubicBezTo>
                  <a:pt x="49" y="103"/>
                  <a:pt x="49" y="103"/>
                  <a:pt x="49" y="103"/>
                </a:cubicBezTo>
                <a:cubicBezTo>
                  <a:pt x="49" y="94"/>
                  <a:pt x="49" y="94"/>
                  <a:pt x="49" y="94"/>
                </a:cubicBezTo>
                <a:cubicBezTo>
                  <a:pt x="18" y="94"/>
                  <a:pt x="18" y="94"/>
                  <a:pt x="18" y="94"/>
                </a:cubicBezTo>
                <a:lnTo>
                  <a:pt x="15" y="73"/>
                </a:lnTo>
                <a:close/>
                <a:moveTo>
                  <a:pt x="55" y="29"/>
                </a:moveTo>
                <a:cubicBezTo>
                  <a:pt x="63" y="29"/>
                  <a:pt x="69" y="22"/>
                  <a:pt x="69" y="14"/>
                </a:cubicBezTo>
                <a:cubicBezTo>
                  <a:pt x="69" y="6"/>
                  <a:pt x="63" y="0"/>
                  <a:pt x="55" y="0"/>
                </a:cubicBezTo>
                <a:cubicBezTo>
                  <a:pt x="47" y="0"/>
                  <a:pt x="41" y="6"/>
                  <a:pt x="41" y="14"/>
                </a:cubicBezTo>
                <a:cubicBezTo>
                  <a:pt x="41" y="22"/>
                  <a:pt x="47" y="29"/>
                  <a:pt x="55" y="29"/>
                </a:cubicBezTo>
                <a:close/>
                <a:moveTo>
                  <a:pt x="72" y="82"/>
                </a:moveTo>
                <a:cubicBezTo>
                  <a:pt x="72" y="82"/>
                  <a:pt x="68" y="74"/>
                  <a:pt x="64" y="74"/>
                </a:cubicBezTo>
                <a:cubicBezTo>
                  <a:pt x="54" y="74"/>
                  <a:pt x="54" y="74"/>
                  <a:pt x="54" y="74"/>
                </a:cubicBezTo>
                <a:cubicBezTo>
                  <a:pt x="59" y="56"/>
                  <a:pt x="59" y="56"/>
                  <a:pt x="59" y="56"/>
                </a:cubicBezTo>
                <a:cubicBezTo>
                  <a:pt x="63" y="60"/>
                  <a:pt x="63" y="60"/>
                  <a:pt x="63" y="60"/>
                </a:cubicBezTo>
                <a:cubicBezTo>
                  <a:pt x="64" y="62"/>
                  <a:pt x="66" y="62"/>
                  <a:pt x="68" y="61"/>
                </a:cubicBezTo>
                <a:cubicBezTo>
                  <a:pt x="92" y="61"/>
                  <a:pt x="92" y="61"/>
                  <a:pt x="92" y="61"/>
                </a:cubicBezTo>
                <a:cubicBezTo>
                  <a:pt x="95" y="61"/>
                  <a:pt x="98" y="59"/>
                  <a:pt x="98" y="55"/>
                </a:cubicBezTo>
                <a:cubicBezTo>
                  <a:pt x="98" y="52"/>
                  <a:pt x="95" y="49"/>
                  <a:pt x="92" y="49"/>
                </a:cubicBezTo>
                <a:cubicBezTo>
                  <a:pt x="69" y="49"/>
                  <a:pt x="69" y="49"/>
                  <a:pt x="69" y="49"/>
                </a:cubicBezTo>
                <a:cubicBezTo>
                  <a:pt x="69" y="49"/>
                  <a:pt x="60" y="36"/>
                  <a:pt x="56" y="35"/>
                </a:cubicBezTo>
                <a:cubicBezTo>
                  <a:pt x="48" y="33"/>
                  <a:pt x="48" y="33"/>
                  <a:pt x="48" y="33"/>
                </a:cubicBezTo>
                <a:cubicBezTo>
                  <a:pt x="44" y="31"/>
                  <a:pt x="40" y="34"/>
                  <a:pt x="38" y="38"/>
                </a:cubicBezTo>
                <a:cubicBezTo>
                  <a:pt x="28" y="79"/>
                  <a:pt x="28" y="79"/>
                  <a:pt x="28" y="79"/>
                </a:cubicBezTo>
                <a:cubicBezTo>
                  <a:pt x="27" y="79"/>
                  <a:pt x="27" y="80"/>
                  <a:pt x="27" y="80"/>
                </a:cubicBezTo>
                <a:cubicBezTo>
                  <a:pt x="27" y="82"/>
                  <a:pt x="27" y="82"/>
                  <a:pt x="27" y="82"/>
                </a:cubicBezTo>
                <a:cubicBezTo>
                  <a:pt x="27" y="82"/>
                  <a:pt x="27" y="82"/>
                  <a:pt x="27" y="82"/>
                </a:cubicBezTo>
                <a:cubicBezTo>
                  <a:pt x="27" y="87"/>
                  <a:pt x="31" y="90"/>
                  <a:pt x="35" y="90"/>
                </a:cubicBezTo>
                <a:cubicBezTo>
                  <a:pt x="58" y="90"/>
                  <a:pt x="58" y="90"/>
                  <a:pt x="58" y="90"/>
                </a:cubicBezTo>
                <a:cubicBezTo>
                  <a:pt x="58" y="90"/>
                  <a:pt x="58" y="90"/>
                  <a:pt x="58" y="90"/>
                </a:cubicBezTo>
                <a:cubicBezTo>
                  <a:pt x="74" y="119"/>
                  <a:pt x="74" y="119"/>
                  <a:pt x="74" y="119"/>
                </a:cubicBezTo>
                <a:cubicBezTo>
                  <a:pt x="77" y="123"/>
                  <a:pt x="82" y="124"/>
                  <a:pt x="86" y="122"/>
                </a:cubicBezTo>
                <a:cubicBezTo>
                  <a:pt x="90" y="120"/>
                  <a:pt x="91" y="115"/>
                  <a:pt x="89" y="111"/>
                </a:cubicBezTo>
                <a:lnTo>
                  <a:pt x="72" y="8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1" name="Freeform 102">
            <a:extLst>
              <a:ext uri="{FF2B5EF4-FFF2-40B4-BE49-F238E27FC236}">
                <a16:creationId xmlns:a16="http://schemas.microsoft.com/office/drawing/2014/main" id="{E056D6F8-81F0-4CB8-932F-3AF48AFB107E}"/>
              </a:ext>
            </a:extLst>
          </p:cNvPr>
          <p:cNvSpPr>
            <a:spLocks noEditPoints="1"/>
          </p:cNvSpPr>
          <p:nvPr/>
        </p:nvSpPr>
        <p:spPr bwMode="auto">
          <a:xfrm>
            <a:off x="8552741" y="5744634"/>
            <a:ext cx="599455" cy="256178"/>
          </a:xfrm>
          <a:custGeom>
            <a:avLst/>
            <a:gdLst>
              <a:gd name="T0" fmla="*/ 169 w 177"/>
              <a:gd name="T1" fmla="*/ 1 h 76"/>
              <a:gd name="T2" fmla="*/ 147 w 177"/>
              <a:gd name="T3" fmla="*/ 25 h 76"/>
              <a:gd name="T4" fmla="*/ 91 w 177"/>
              <a:gd name="T5" fmla="*/ 26 h 76"/>
              <a:gd name="T6" fmla="*/ 86 w 177"/>
              <a:gd name="T7" fmla="*/ 26 h 76"/>
              <a:gd name="T8" fmla="*/ 30 w 177"/>
              <a:gd name="T9" fmla="*/ 25 h 76"/>
              <a:gd name="T10" fmla="*/ 8 w 177"/>
              <a:gd name="T11" fmla="*/ 1 h 76"/>
              <a:gd name="T12" fmla="*/ 0 w 177"/>
              <a:gd name="T13" fmla="*/ 28 h 76"/>
              <a:gd name="T14" fmla="*/ 9 w 177"/>
              <a:gd name="T15" fmla="*/ 28 h 76"/>
              <a:gd name="T16" fmla="*/ 14 w 177"/>
              <a:gd name="T17" fmla="*/ 15 h 76"/>
              <a:gd name="T18" fmla="*/ 22 w 177"/>
              <a:gd name="T19" fmla="*/ 32 h 76"/>
              <a:gd name="T20" fmla="*/ 22 w 177"/>
              <a:gd name="T21" fmla="*/ 33 h 76"/>
              <a:gd name="T22" fmla="*/ 28 w 177"/>
              <a:gd name="T23" fmla="*/ 69 h 76"/>
              <a:gd name="T24" fmla="*/ 32 w 177"/>
              <a:gd name="T25" fmla="*/ 73 h 76"/>
              <a:gd name="T26" fmla="*/ 72 w 177"/>
              <a:gd name="T27" fmla="*/ 74 h 76"/>
              <a:gd name="T28" fmla="*/ 77 w 177"/>
              <a:gd name="T29" fmla="*/ 70 h 76"/>
              <a:gd name="T30" fmla="*/ 89 w 177"/>
              <a:gd name="T31" fmla="*/ 44 h 76"/>
              <a:gd name="T32" fmla="*/ 101 w 177"/>
              <a:gd name="T33" fmla="*/ 70 h 76"/>
              <a:gd name="T34" fmla="*/ 105 w 177"/>
              <a:gd name="T35" fmla="*/ 74 h 76"/>
              <a:gd name="T36" fmla="*/ 145 w 177"/>
              <a:gd name="T37" fmla="*/ 73 h 76"/>
              <a:gd name="T38" fmla="*/ 149 w 177"/>
              <a:gd name="T39" fmla="*/ 69 h 76"/>
              <a:gd name="T40" fmla="*/ 155 w 177"/>
              <a:gd name="T41" fmla="*/ 33 h 76"/>
              <a:gd name="T42" fmla="*/ 155 w 177"/>
              <a:gd name="T43" fmla="*/ 32 h 76"/>
              <a:gd name="T44" fmla="*/ 163 w 177"/>
              <a:gd name="T45" fmla="*/ 15 h 76"/>
              <a:gd name="T46" fmla="*/ 169 w 177"/>
              <a:gd name="T47" fmla="*/ 28 h 76"/>
              <a:gd name="T48" fmla="*/ 177 w 177"/>
              <a:gd name="T49" fmla="*/ 28 h 76"/>
              <a:gd name="T50" fmla="*/ 169 w 177"/>
              <a:gd name="T51" fmla="*/ 1 h 76"/>
              <a:gd name="T52" fmla="*/ 72 w 177"/>
              <a:gd name="T53" fmla="*/ 64 h 76"/>
              <a:gd name="T54" fmla="*/ 68 w 177"/>
              <a:gd name="T55" fmla="*/ 67 h 76"/>
              <a:gd name="T56" fmla="*/ 38 w 177"/>
              <a:gd name="T57" fmla="*/ 65 h 76"/>
              <a:gd name="T58" fmla="*/ 34 w 177"/>
              <a:gd name="T59" fmla="*/ 63 h 76"/>
              <a:gd name="T60" fmla="*/ 30 w 177"/>
              <a:gd name="T61" fmla="*/ 38 h 76"/>
              <a:gd name="T62" fmla="*/ 34 w 177"/>
              <a:gd name="T63" fmla="*/ 33 h 76"/>
              <a:gd name="T64" fmla="*/ 79 w 177"/>
              <a:gd name="T65" fmla="*/ 33 h 76"/>
              <a:gd name="T66" fmla="*/ 81 w 177"/>
              <a:gd name="T67" fmla="*/ 35 h 76"/>
              <a:gd name="T68" fmla="*/ 82 w 177"/>
              <a:gd name="T69" fmla="*/ 36 h 76"/>
              <a:gd name="T70" fmla="*/ 82 w 177"/>
              <a:gd name="T71" fmla="*/ 38 h 76"/>
              <a:gd name="T72" fmla="*/ 72 w 177"/>
              <a:gd name="T73" fmla="*/ 64 h 76"/>
              <a:gd name="T74" fmla="*/ 143 w 177"/>
              <a:gd name="T75" fmla="*/ 62 h 76"/>
              <a:gd name="T76" fmla="*/ 139 w 177"/>
              <a:gd name="T77" fmla="*/ 65 h 76"/>
              <a:gd name="T78" fmla="*/ 109 w 177"/>
              <a:gd name="T79" fmla="*/ 66 h 76"/>
              <a:gd name="T80" fmla="*/ 105 w 177"/>
              <a:gd name="T81" fmla="*/ 63 h 76"/>
              <a:gd name="T82" fmla="*/ 95 w 177"/>
              <a:gd name="T83" fmla="*/ 38 h 76"/>
              <a:gd name="T84" fmla="*/ 95 w 177"/>
              <a:gd name="T85" fmla="*/ 36 h 76"/>
              <a:gd name="T86" fmla="*/ 96 w 177"/>
              <a:gd name="T87" fmla="*/ 35 h 76"/>
              <a:gd name="T88" fmla="*/ 98 w 177"/>
              <a:gd name="T89" fmla="*/ 33 h 76"/>
              <a:gd name="T90" fmla="*/ 143 w 177"/>
              <a:gd name="T91" fmla="*/ 33 h 76"/>
              <a:gd name="T92" fmla="*/ 147 w 177"/>
              <a:gd name="T93" fmla="*/ 38 h 76"/>
              <a:gd name="T94" fmla="*/ 143 w 177"/>
              <a:gd name="T95" fmla="*/ 6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7" h="76">
                <a:moveTo>
                  <a:pt x="169" y="1"/>
                </a:moveTo>
                <a:cubicBezTo>
                  <a:pt x="161" y="3"/>
                  <a:pt x="152" y="9"/>
                  <a:pt x="147" y="25"/>
                </a:cubicBezTo>
                <a:cubicBezTo>
                  <a:pt x="128" y="21"/>
                  <a:pt x="110" y="21"/>
                  <a:pt x="91" y="26"/>
                </a:cubicBezTo>
                <a:cubicBezTo>
                  <a:pt x="90" y="26"/>
                  <a:pt x="87" y="26"/>
                  <a:pt x="86" y="26"/>
                </a:cubicBezTo>
                <a:cubicBezTo>
                  <a:pt x="67" y="21"/>
                  <a:pt x="49" y="21"/>
                  <a:pt x="30" y="25"/>
                </a:cubicBezTo>
                <a:cubicBezTo>
                  <a:pt x="25" y="9"/>
                  <a:pt x="16" y="3"/>
                  <a:pt x="8" y="1"/>
                </a:cubicBezTo>
                <a:cubicBezTo>
                  <a:pt x="0" y="0"/>
                  <a:pt x="0" y="24"/>
                  <a:pt x="0" y="28"/>
                </a:cubicBezTo>
                <a:cubicBezTo>
                  <a:pt x="0" y="32"/>
                  <a:pt x="9" y="41"/>
                  <a:pt x="9" y="28"/>
                </a:cubicBezTo>
                <a:cubicBezTo>
                  <a:pt x="9" y="16"/>
                  <a:pt x="7" y="3"/>
                  <a:pt x="14" y="15"/>
                </a:cubicBezTo>
                <a:cubicBezTo>
                  <a:pt x="19" y="23"/>
                  <a:pt x="21" y="28"/>
                  <a:pt x="22" y="32"/>
                </a:cubicBezTo>
                <a:cubicBezTo>
                  <a:pt x="22" y="32"/>
                  <a:pt x="22" y="32"/>
                  <a:pt x="22" y="33"/>
                </a:cubicBezTo>
                <a:cubicBezTo>
                  <a:pt x="19" y="45"/>
                  <a:pt x="22" y="55"/>
                  <a:pt x="28" y="69"/>
                </a:cubicBezTo>
                <a:cubicBezTo>
                  <a:pt x="29" y="71"/>
                  <a:pt x="31" y="73"/>
                  <a:pt x="32" y="73"/>
                </a:cubicBezTo>
                <a:cubicBezTo>
                  <a:pt x="46" y="76"/>
                  <a:pt x="59" y="76"/>
                  <a:pt x="72" y="74"/>
                </a:cubicBezTo>
                <a:cubicBezTo>
                  <a:pt x="74" y="74"/>
                  <a:pt x="76" y="72"/>
                  <a:pt x="77" y="70"/>
                </a:cubicBezTo>
                <a:cubicBezTo>
                  <a:pt x="82" y="60"/>
                  <a:pt x="86" y="52"/>
                  <a:pt x="89" y="44"/>
                </a:cubicBezTo>
                <a:cubicBezTo>
                  <a:pt x="91" y="52"/>
                  <a:pt x="95" y="60"/>
                  <a:pt x="101" y="70"/>
                </a:cubicBezTo>
                <a:cubicBezTo>
                  <a:pt x="102" y="72"/>
                  <a:pt x="104" y="74"/>
                  <a:pt x="105" y="74"/>
                </a:cubicBezTo>
                <a:cubicBezTo>
                  <a:pt x="118" y="76"/>
                  <a:pt x="132" y="76"/>
                  <a:pt x="145" y="73"/>
                </a:cubicBezTo>
                <a:cubicBezTo>
                  <a:pt x="146" y="73"/>
                  <a:pt x="148" y="71"/>
                  <a:pt x="149" y="69"/>
                </a:cubicBezTo>
                <a:cubicBezTo>
                  <a:pt x="156" y="55"/>
                  <a:pt x="158" y="45"/>
                  <a:pt x="155" y="33"/>
                </a:cubicBezTo>
                <a:cubicBezTo>
                  <a:pt x="155" y="32"/>
                  <a:pt x="155" y="32"/>
                  <a:pt x="155" y="32"/>
                </a:cubicBezTo>
                <a:cubicBezTo>
                  <a:pt x="156" y="28"/>
                  <a:pt x="158" y="23"/>
                  <a:pt x="163" y="15"/>
                </a:cubicBezTo>
                <a:cubicBezTo>
                  <a:pt x="171" y="3"/>
                  <a:pt x="169" y="16"/>
                  <a:pt x="169" y="28"/>
                </a:cubicBezTo>
                <a:cubicBezTo>
                  <a:pt x="169" y="41"/>
                  <a:pt x="177" y="32"/>
                  <a:pt x="177" y="28"/>
                </a:cubicBezTo>
                <a:cubicBezTo>
                  <a:pt x="177" y="24"/>
                  <a:pt x="177" y="0"/>
                  <a:pt x="169" y="1"/>
                </a:cubicBezTo>
                <a:close/>
                <a:moveTo>
                  <a:pt x="72" y="64"/>
                </a:moveTo>
                <a:cubicBezTo>
                  <a:pt x="71" y="65"/>
                  <a:pt x="69" y="66"/>
                  <a:pt x="68" y="67"/>
                </a:cubicBezTo>
                <a:cubicBezTo>
                  <a:pt x="58" y="68"/>
                  <a:pt x="48" y="67"/>
                  <a:pt x="38" y="65"/>
                </a:cubicBezTo>
                <a:cubicBezTo>
                  <a:pt x="37" y="65"/>
                  <a:pt x="35" y="64"/>
                  <a:pt x="34" y="63"/>
                </a:cubicBezTo>
                <a:cubicBezTo>
                  <a:pt x="30" y="53"/>
                  <a:pt x="28" y="47"/>
                  <a:pt x="30" y="38"/>
                </a:cubicBezTo>
                <a:cubicBezTo>
                  <a:pt x="30" y="35"/>
                  <a:pt x="33" y="33"/>
                  <a:pt x="34" y="33"/>
                </a:cubicBezTo>
                <a:cubicBezTo>
                  <a:pt x="49" y="29"/>
                  <a:pt x="64" y="29"/>
                  <a:pt x="79" y="33"/>
                </a:cubicBezTo>
                <a:cubicBezTo>
                  <a:pt x="80" y="33"/>
                  <a:pt x="81" y="34"/>
                  <a:pt x="81" y="35"/>
                </a:cubicBezTo>
                <a:cubicBezTo>
                  <a:pt x="82" y="35"/>
                  <a:pt x="82" y="36"/>
                  <a:pt x="82" y="36"/>
                </a:cubicBezTo>
                <a:cubicBezTo>
                  <a:pt x="82" y="37"/>
                  <a:pt x="82" y="37"/>
                  <a:pt x="82" y="38"/>
                </a:cubicBezTo>
                <a:cubicBezTo>
                  <a:pt x="83" y="47"/>
                  <a:pt x="78" y="53"/>
                  <a:pt x="72" y="64"/>
                </a:cubicBezTo>
                <a:close/>
                <a:moveTo>
                  <a:pt x="143" y="62"/>
                </a:moveTo>
                <a:cubicBezTo>
                  <a:pt x="142" y="64"/>
                  <a:pt x="141" y="65"/>
                  <a:pt x="139" y="65"/>
                </a:cubicBezTo>
                <a:cubicBezTo>
                  <a:pt x="129" y="67"/>
                  <a:pt x="119" y="68"/>
                  <a:pt x="109" y="66"/>
                </a:cubicBezTo>
                <a:cubicBezTo>
                  <a:pt x="108" y="66"/>
                  <a:pt x="106" y="65"/>
                  <a:pt x="105" y="63"/>
                </a:cubicBezTo>
                <a:cubicBezTo>
                  <a:pt x="100" y="53"/>
                  <a:pt x="95" y="47"/>
                  <a:pt x="95" y="38"/>
                </a:cubicBezTo>
                <a:cubicBezTo>
                  <a:pt x="95" y="37"/>
                  <a:pt x="95" y="37"/>
                  <a:pt x="95" y="36"/>
                </a:cubicBezTo>
                <a:cubicBezTo>
                  <a:pt x="95" y="36"/>
                  <a:pt x="96" y="35"/>
                  <a:pt x="96" y="35"/>
                </a:cubicBezTo>
                <a:cubicBezTo>
                  <a:pt x="97" y="34"/>
                  <a:pt x="98" y="33"/>
                  <a:pt x="98" y="33"/>
                </a:cubicBezTo>
                <a:cubicBezTo>
                  <a:pt x="113" y="29"/>
                  <a:pt x="128" y="29"/>
                  <a:pt x="143" y="33"/>
                </a:cubicBezTo>
                <a:cubicBezTo>
                  <a:pt x="145" y="33"/>
                  <a:pt x="147" y="35"/>
                  <a:pt x="147" y="38"/>
                </a:cubicBezTo>
                <a:cubicBezTo>
                  <a:pt x="150" y="47"/>
                  <a:pt x="148" y="52"/>
                  <a:pt x="143" y="6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2" name="Freeform 103">
            <a:extLst>
              <a:ext uri="{FF2B5EF4-FFF2-40B4-BE49-F238E27FC236}">
                <a16:creationId xmlns:a16="http://schemas.microsoft.com/office/drawing/2014/main" id="{AE31CB33-7506-4E06-8B93-F9BD450028D4}"/>
              </a:ext>
            </a:extLst>
          </p:cNvPr>
          <p:cNvSpPr>
            <a:spLocks noEditPoints="1"/>
          </p:cNvSpPr>
          <p:nvPr/>
        </p:nvSpPr>
        <p:spPr bwMode="auto">
          <a:xfrm>
            <a:off x="9787516" y="5593490"/>
            <a:ext cx="358648" cy="576400"/>
          </a:xfrm>
          <a:custGeom>
            <a:avLst/>
            <a:gdLst>
              <a:gd name="T0" fmla="*/ 88 w 106"/>
              <a:gd name="T1" fmla="*/ 94 h 170"/>
              <a:gd name="T2" fmla="*/ 55 w 106"/>
              <a:gd name="T3" fmla="*/ 107 h 170"/>
              <a:gd name="T4" fmla="*/ 72 w 106"/>
              <a:gd name="T5" fmla="*/ 170 h 170"/>
              <a:gd name="T6" fmla="*/ 84 w 106"/>
              <a:gd name="T7" fmla="*/ 149 h 170"/>
              <a:gd name="T8" fmla="*/ 106 w 106"/>
              <a:gd name="T9" fmla="*/ 161 h 170"/>
              <a:gd name="T10" fmla="*/ 88 w 106"/>
              <a:gd name="T11" fmla="*/ 94 h 170"/>
              <a:gd name="T12" fmla="*/ 52 w 106"/>
              <a:gd name="T13" fmla="*/ 21 h 170"/>
              <a:gd name="T14" fmla="*/ 23 w 106"/>
              <a:gd name="T15" fmla="*/ 50 h 170"/>
              <a:gd name="T16" fmla="*/ 52 w 106"/>
              <a:gd name="T17" fmla="*/ 78 h 170"/>
              <a:gd name="T18" fmla="*/ 81 w 106"/>
              <a:gd name="T19" fmla="*/ 50 h 170"/>
              <a:gd name="T20" fmla="*/ 52 w 106"/>
              <a:gd name="T21" fmla="*/ 21 h 170"/>
              <a:gd name="T22" fmla="*/ 101 w 106"/>
              <a:gd name="T23" fmla="*/ 50 h 170"/>
              <a:gd name="T24" fmla="*/ 52 w 106"/>
              <a:gd name="T25" fmla="*/ 0 h 170"/>
              <a:gd name="T26" fmla="*/ 2 w 106"/>
              <a:gd name="T27" fmla="*/ 50 h 170"/>
              <a:gd name="T28" fmla="*/ 52 w 106"/>
              <a:gd name="T29" fmla="*/ 99 h 170"/>
              <a:gd name="T30" fmla="*/ 101 w 106"/>
              <a:gd name="T31" fmla="*/ 50 h 170"/>
              <a:gd name="T32" fmla="*/ 52 w 106"/>
              <a:gd name="T33" fmla="*/ 87 h 170"/>
              <a:gd name="T34" fmla="*/ 15 w 106"/>
              <a:gd name="T35" fmla="*/ 50 h 170"/>
              <a:gd name="T36" fmla="*/ 52 w 106"/>
              <a:gd name="T37" fmla="*/ 13 h 170"/>
              <a:gd name="T38" fmla="*/ 89 w 106"/>
              <a:gd name="T39" fmla="*/ 50 h 170"/>
              <a:gd name="T40" fmla="*/ 52 w 106"/>
              <a:gd name="T41" fmla="*/ 87 h 170"/>
              <a:gd name="T42" fmla="*/ 0 w 106"/>
              <a:gd name="T43" fmla="*/ 148 h 170"/>
              <a:gd name="T44" fmla="*/ 21 w 106"/>
              <a:gd name="T45" fmla="*/ 135 h 170"/>
              <a:gd name="T46" fmla="*/ 34 w 106"/>
              <a:gd name="T47" fmla="*/ 157 h 170"/>
              <a:gd name="T48" fmla="*/ 47 w 106"/>
              <a:gd name="T49" fmla="*/ 107 h 170"/>
              <a:gd name="T50" fmla="*/ 14 w 106"/>
              <a:gd name="T51" fmla="*/ 93 h 170"/>
              <a:gd name="T52" fmla="*/ 0 w 106"/>
              <a:gd name="T53" fmla="*/ 14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70">
                <a:moveTo>
                  <a:pt x="88" y="94"/>
                </a:moveTo>
                <a:cubicBezTo>
                  <a:pt x="79" y="101"/>
                  <a:pt x="68" y="106"/>
                  <a:pt x="55" y="107"/>
                </a:cubicBezTo>
                <a:cubicBezTo>
                  <a:pt x="72" y="170"/>
                  <a:pt x="72" y="170"/>
                  <a:pt x="72" y="170"/>
                </a:cubicBezTo>
                <a:cubicBezTo>
                  <a:pt x="84" y="149"/>
                  <a:pt x="84" y="149"/>
                  <a:pt x="84" y="149"/>
                </a:cubicBezTo>
                <a:cubicBezTo>
                  <a:pt x="106" y="161"/>
                  <a:pt x="106" y="161"/>
                  <a:pt x="106" y="161"/>
                </a:cubicBezTo>
                <a:lnTo>
                  <a:pt x="88" y="94"/>
                </a:lnTo>
                <a:close/>
                <a:moveTo>
                  <a:pt x="52" y="21"/>
                </a:moveTo>
                <a:cubicBezTo>
                  <a:pt x="36" y="21"/>
                  <a:pt x="23" y="34"/>
                  <a:pt x="23" y="50"/>
                </a:cubicBezTo>
                <a:cubicBezTo>
                  <a:pt x="23" y="65"/>
                  <a:pt x="36" y="78"/>
                  <a:pt x="52" y="78"/>
                </a:cubicBezTo>
                <a:cubicBezTo>
                  <a:pt x="68" y="78"/>
                  <a:pt x="81" y="65"/>
                  <a:pt x="81" y="50"/>
                </a:cubicBezTo>
                <a:cubicBezTo>
                  <a:pt x="81" y="34"/>
                  <a:pt x="68" y="21"/>
                  <a:pt x="52" y="21"/>
                </a:cubicBezTo>
                <a:close/>
                <a:moveTo>
                  <a:pt x="101" y="50"/>
                </a:moveTo>
                <a:cubicBezTo>
                  <a:pt x="101" y="22"/>
                  <a:pt x="79" y="0"/>
                  <a:pt x="52" y="0"/>
                </a:cubicBezTo>
                <a:cubicBezTo>
                  <a:pt x="24" y="0"/>
                  <a:pt x="2" y="22"/>
                  <a:pt x="2" y="50"/>
                </a:cubicBezTo>
                <a:cubicBezTo>
                  <a:pt x="2" y="77"/>
                  <a:pt x="24" y="99"/>
                  <a:pt x="52" y="99"/>
                </a:cubicBezTo>
                <a:cubicBezTo>
                  <a:pt x="79" y="99"/>
                  <a:pt x="101" y="77"/>
                  <a:pt x="101" y="50"/>
                </a:cubicBezTo>
                <a:close/>
                <a:moveTo>
                  <a:pt x="52" y="87"/>
                </a:moveTo>
                <a:cubicBezTo>
                  <a:pt x="31" y="87"/>
                  <a:pt x="15" y="70"/>
                  <a:pt x="15" y="50"/>
                </a:cubicBezTo>
                <a:cubicBezTo>
                  <a:pt x="15" y="29"/>
                  <a:pt x="31" y="13"/>
                  <a:pt x="52" y="13"/>
                </a:cubicBezTo>
                <a:cubicBezTo>
                  <a:pt x="72" y="13"/>
                  <a:pt x="89" y="29"/>
                  <a:pt x="89" y="50"/>
                </a:cubicBezTo>
                <a:cubicBezTo>
                  <a:pt x="89" y="70"/>
                  <a:pt x="72" y="87"/>
                  <a:pt x="52" y="87"/>
                </a:cubicBezTo>
                <a:close/>
                <a:moveTo>
                  <a:pt x="0" y="148"/>
                </a:moveTo>
                <a:cubicBezTo>
                  <a:pt x="21" y="135"/>
                  <a:pt x="21" y="135"/>
                  <a:pt x="21" y="135"/>
                </a:cubicBezTo>
                <a:cubicBezTo>
                  <a:pt x="34" y="157"/>
                  <a:pt x="34" y="157"/>
                  <a:pt x="34" y="157"/>
                </a:cubicBezTo>
                <a:cubicBezTo>
                  <a:pt x="47" y="107"/>
                  <a:pt x="47" y="107"/>
                  <a:pt x="47" y="107"/>
                </a:cubicBezTo>
                <a:cubicBezTo>
                  <a:pt x="35" y="106"/>
                  <a:pt x="23" y="101"/>
                  <a:pt x="14" y="93"/>
                </a:cubicBezTo>
                <a:lnTo>
                  <a:pt x="0" y="14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3" name="Freeform 104">
            <a:extLst>
              <a:ext uri="{FF2B5EF4-FFF2-40B4-BE49-F238E27FC236}">
                <a16:creationId xmlns:a16="http://schemas.microsoft.com/office/drawing/2014/main" id="{63DF4772-DEE1-4AAE-965E-0E0ACDDFDE03}"/>
              </a:ext>
            </a:extLst>
          </p:cNvPr>
          <p:cNvSpPr>
            <a:spLocks noEditPoints="1"/>
          </p:cNvSpPr>
          <p:nvPr/>
        </p:nvSpPr>
        <p:spPr bwMode="auto">
          <a:xfrm>
            <a:off x="10840406" y="5678028"/>
            <a:ext cx="476490" cy="479053"/>
          </a:xfrm>
          <a:custGeom>
            <a:avLst/>
            <a:gdLst>
              <a:gd name="T0" fmla="*/ 25 w 140"/>
              <a:gd name="T1" fmla="*/ 70 h 141"/>
              <a:gd name="T2" fmla="*/ 84 w 140"/>
              <a:gd name="T3" fmla="*/ 74 h 141"/>
              <a:gd name="T4" fmla="*/ 90 w 140"/>
              <a:gd name="T5" fmla="*/ 62 h 141"/>
              <a:gd name="T6" fmla="*/ 25 w 140"/>
              <a:gd name="T7" fmla="*/ 66 h 141"/>
              <a:gd name="T8" fmla="*/ 90 w 140"/>
              <a:gd name="T9" fmla="*/ 62 h 141"/>
              <a:gd name="T10" fmla="*/ 83 w 140"/>
              <a:gd name="T11" fmla="*/ 82 h 141"/>
              <a:gd name="T12" fmla="*/ 25 w 140"/>
              <a:gd name="T13" fmla="*/ 78 h 141"/>
              <a:gd name="T14" fmla="*/ 87 w 140"/>
              <a:gd name="T15" fmla="*/ 99 h 141"/>
              <a:gd name="T16" fmla="*/ 8 w 140"/>
              <a:gd name="T17" fmla="*/ 8 h 141"/>
              <a:gd name="T18" fmla="*/ 132 w 140"/>
              <a:gd name="T19" fmla="*/ 54 h 141"/>
              <a:gd name="T20" fmla="*/ 140 w 140"/>
              <a:gd name="T21" fmla="*/ 0 h 141"/>
              <a:gd name="T22" fmla="*/ 0 w 140"/>
              <a:gd name="T23" fmla="*/ 107 h 141"/>
              <a:gd name="T24" fmla="*/ 87 w 140"/>
              <a:gd name="T25" fmla="*/ 99 h 141"/>
              <a:gd name="T26" fmla="*/ 140 w 140"/>
              <a:gd name="T27" fmla="*/ 103 h 141"/>
              <a:gd name="T28" fmla="*/ 140 w 140"/>
              <a:gd name="T29" fmla="*/ 107 h 141"/>
              <a:gd name="T30" fmla="*/ 119 w 140"/>
              <a:gd name="T31" fmla="*/ 115 h 141"/>
              <a:gd name="T32" fmla="*/ 130 w 140"/>
              <a:gd name="T33" fmla="*/ 124 h 141"/>
              <a:gd name="T34" fmla="*/ 135 w 140"/>
              <a:gd name="T35" fmla="*/ 108 h 141"/>
              <a:gd name="T36" fmla="*/ 99 w 140"/>
              <a:gd name="T37" fmla="*/ 131 h 141"/>
              <a:gd name="T38" fmla="*/ 112 w 140"/>
              <a:gd name="T39" fmla="*/ 115 h 141"/>
              <a:gd name="T40" fmla="*/ 89 w 140"/>
              <a:gd name="T41" fmla="*/ 137 h 141"/>
              <a:gd name="T42" fmla="*/ 25 w 140"/>
              <a:gd name="T43" fmla="*/ 37 h 141"/>
              <a:gd name="T44" fmla="*/ 115 w 140"/>
              <a:gd name="T45" fmla="*/ 41 h 141"/>
              <a:gd name="T46" fmla="*/ 100 w 140"/>
              <a:gd name="T47" fmla="*/ 53 h 141"/>
              <a:gd name="T48" fmla="*/ 25 w 140"/>
              <a:gd name="T49" fmla="*/ 57 h 141"/>
              <a:gd name="T50" fmla="*/ 100 w 140"/>
              <a:gd name="T51" fmla="*/ 53 h 141"/>
              <a:gd name="T52" fmla="*/ 25 w 140"/>
              <a:gd name="T53" fmla="*/ 45 h 141"/>
              <a:gd name="T54" fmla="*/ 115 w 140"/>
              <a:gd name="T55" fmla="*/ 49 h 141"/>
              <a:gd name="T56" fmla="*/ 37 w 140"/>
              <a:gd name="T57" fmla="*/ 16 h 141"/>
              <a:gd name="T58" fmla="*/ 107 w 140"/>
              <a:gd name="T59" fmla="*/ 29 h 141"/>
              <a:gd name="T60" fmla="*/ 37 w 140"/>
              <a:gd name="T61" fmla="*/ 16 h 141"/>
              <a:gd name="T62" fmla="*/ 101 w 140"/>
              <a:gd name="T63" fmla="*/ 82 h 141"/>
              <a:gd name="T64" fmla="*/ 129 w 140"/>
              <a:gd name="T65" fmla="*/ 82 h 141"/>
              <a:gd name="T66" fmla="*/ 139 w 140"/>
              <a:gd name="T67" fmla="*/ 82 h 141"/>
              <a:gd name="T68" fmla="*/ 91 w 140"/>
              <a:gd name="T69" fmla="*/ 82 h 141"/>
              <a:gd name="T70" fmla="*/ 139 w 140"/>
              <a:gd name="T71" fmla="*/ 82 h 141"/>
              <a:gd name="T72" fmla="*/ 97 w 140"/>
              <a:gd name="T73" fmla="*/ 82 h 141"/>
              <a:gd name="T74" fmla="*/ 133 w 140"/>
              <a:gd name="T75" fmla="*/ 8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1">
                <a:moveTo>
                  <a:pt x="85" y="70"/>
                </a:moveTo>
                <a:cubicBezTo>
                  <a:pt x="25" y="70"/>
                  <a:pt x="25" y="70"/>
                  <a:pt x="25" y="70"/>
                </a:cubicBezTo>
                <a:cubicBezTo>
                  <a:pt x="25" y="74"/>
                  <a:pt x="25" y="74"/>
                  <a:pt x="25" y="74"/>
                </a:cubicBezTo>
                <a:cubicBezTo>
                  <a:pt x="84" y="74"/>
                  <a:pt x="84" y="74"/>
                  <a:pt x="84" y="74"/>
                </a:cubicBezTo>
                <a:cubicBezTo>
                  <a:pt x="84" y="73"/>
                  <a:pt x="84" y="71"/>
                  <a:pt x="85" y="70"/>
                </a:cubicBezTo>
                <a:close/>
                <a:moveTo>
                  <a:pt x="90" y="62"/>
                </a:moveTo>
                <a:cubicBezTo>
                  <a:pt x="25" y="62"/>
                  <a:pt x="25" y="62"/>
                  <a:pt x="25" y="62"/>
                </a:cubicBezTo>
                <a:cubicBezTo>
                  <a:pt x="25" y="66"/>
                  <a:pt x="25" y="66"/>
                  <a:pt x="25" y="66"/>
                </a:cubicBezTo>
                <a:cubicBezTo>
                  <a:pt x="87" y="66"/>
                  <a:pt x="87" y="66"/>
                  <a:pt x="87" y="66"/>
                </a:cubicBezTo>
                <a:cubicBezTo>
                  <a:pt x="88" y="64"/>
                  <a:pt x="89" y="63"/>
                  <a:pt x="90" y="62"/>
                </a:cubicBezTo>
                <a:close/>
                <a:moveTo>
                  <a:pt x="25" y="82"/>
                </a:moveTo>
                <a:cubicBezTo>
                  <a:pt x="83" y="82"/>
                  <a:pt x="83" y="82"/>
                  <a:pt x="83" y="82"/>
                </a:cubicBezTo>
                <a:cubicBezTo>
                  <a:pt x="83" y="81"/>
                  <a:pt x="83" y="79"/>
                  <a:pt x="83" y="78"/>
                </a:cubicBezTo>
                <a:cubicBezTo>
                  <a:pt x="25" y="78"/>
                  <a:pt x="25" y="78"/>
                  <a:pt x="25" y="78"/>
                </a:cubicBezTo>
                <a:lnTo>
                  <a:pt x="25" y="82"/>
                </a:lnTo>
                <a:close/>
                <a:moveTo>
                  <a:pt x="87" y="99"/>
                </a:moveTo>
                <a:cubicBezTo>
                  <a:pt x="8" y="99"/>
                  <a:pt x="8" y="99"/>
                  <a:pt x="8" y="99"/>
                </a:cubicBezTo>
                <a:cubicBezTo>
                  <a:pt x="8" y="8"/>
                  <a:pt x="8" y="8"/>
                  <a:pt x="8" y="8"/>
                </a:cubicBezTo>
                <a:cubicBezTo>
                  <a:pt x="132" y="8"/>
                  <a:pt x="132" y="8"/>
                  <a:pt x="132" y="8"/>
                </a:cubicBezTo>
                <a:cubicBezTo>
                  <a:pt x="132" y="54"/>
                  <a:pt x="132" y="54"/>
                  <a:pt x="132" y="54"/>
                </a:cubicBezTo>
                <a:cubicBezTo>
                  <a:pt x="135" y="56"/>
                  <a:pt x="138" y="58"/>
                  <a:pt x="140" y="61"/>
                </a:cubicBezTo>
                <a:cubicBezTo>
                  <a:pt x="140" y="0"/>
                  <a:pt x="140" y="0"/>
                  <a:pt x="140" y="0"/>
                </a:cubicBezTo>
                <a:cubicBezTo>
                  <a:pt x="0" y="0"/>
                  <a:pt x="0" y="0"/>
                  <a:pt x="0" y="0"/>
                </a:cubicBezTo>
                <a:cubicBezTo>
                  <a:pt x="0" y="107"/>
                  <a:pt x="0" y="107"/>
                  <a:pt x="0" y="107"/>
                </a:cubicBezTo>
                <a:cubicBezTo>
                  <a:pt x="94" y="107"/>
                  <a:pt x="94" y="107"/>
                  <a:pt x="94" y="107"/>
                </a:cubicBezTo>
                <a:cubicBezTo>
                  <a:pt x="91" y="104"/>
                  <a:pt x="89" y="102"/>
                  <a:pt x="87" y="99"/>
                </a:cubicBezTo>
                <a:close/>
                <a:moveTo>
                  <a:pt x="140" y="107"/>
                </a:moveTo>
                <a:cubicBezTo>
                  <a:pt x="140" y="103"/>
                  <a:pt x="140" y="103"/>
                  <a:pt x="140" y="103"/>
                </a:cubicBezTo>
                <a:cubicBezTo>
                  <a:pt x="139" y="105"/>
                  <a:pt x="138" y="106"/>
                  <a:pt x="136" y="107"/>
                </a:cubicBezTo>
                <a:lnTo>
                  <a:pt x="140" y="107"/>
                </a:lnTo>
                <a:close/>
                <a:moveTo>
                  <a:pt x="135" y="108"/>
                </a:moveTo>
                <a:cubicBezTo>
                  <a:pt x="130" y="112"/>
                  <a:pt x="125" y="114"/>
                  <a:pt x="119" y="115"/>
                </a:cubicBezTo>
                <a:cubicBezTo>
                  <a:pt x="124" y="134"/>
                  <a:pt x="124" y="134"/>
                  <a:pt x="124" y="134"/>
                </a:cubicBezTo>
                <a:cubicBezTo>
                  <a:pt x="130" y="124"/>
                  <a:pt x="130" y="124"/>
                  <a:pt x="130" y="124"/>
                </a:cubicBezTo>
                <a:cubicBezTo>
                  <a:pt x="140" y="130"/>
                  <a:pt x="140" y="130"/>
                  <a:pt x="140" y="130"/>
                </a:cubicBezTo>
                <a:lnTo>
                  <a:pt x="135" y="108"/>
                </a:lnTo>
                <a:close/>
                <a:moveTo>
                  <a:pt x="89" y="137"/>
                </a:moveTo>
                <a:cubicBezTo>
                  <a:pt x="99" y="131"/>
                  <a:pt x="99" y="131"/>
                  <a:pt x="99" y="131"/>
                </a:cubicBezTo>
                <a:cubicBezTo>
                  <a:pt x="105" y="141"/>
                  <a:pt x="105" y="141"/>
                  <a:pt x="105" y="141"/>
                </a:cubicBezTo>
                <a:cubicBezTo>
                  <a:pt x="112" y="115"/>
                  <a:pt x="112" y="115"/>
                  <a:pt x="112" y="115"/>
                </a:cubicBezTo>
                <a:cubicBezTo>
                  <a:pt x="106" y="114"/>
                  <a:pt x="101" y="112"/>
                  <a:pt x="96" y="109"/>
                </a:cubicBezTo>
                <a:lnTo>
                  <a:pt x="89" y="137"/>
                </a:lnTo>
                <a:close/>
                <a:moveTo>
                  <a:pt x="115" y="37"/>
                </a:moveTo>
                <a:cubicBezTo>
                  <a:pt x="25" y="37"/>
                  <a:pt x="25" y="37"/>
                  <a:pt x="25" y="37"/>
                </a:cubicBezTo>
                <a:cubicBezTo>
                  <a:pt x="25" y="41"/>
                  <a:pt x="25" y="41"/>
                  <a:pt x="25" y="41"/>
                </a:cubicBezTo>
                <a:cubicBezTo>
                  <a:pt x="115" y="41"/>
                  <a:pt x="115" y="41"/>
                  <a:pt x="115" y="41"/>
                </a:cubicBezTo>
                <a:lnTo>
                  <a:pt x="115" y="37"/>
                </a:lnTo>
                <a:close/>
                <a:moveTo>
                  <a:pt x="100" y="53"/>
                </a:moveTo>
                <a:cubicBezTo>
                  <a:pt x="25" y="53"/>
                  <a:pt x="25" y="53"/>
                  <a:pt x="25" y="53"/>
                </a:cubicBezTo>
                <a:cubicBezTo>
                  <a:pt x="25" y="57"/>
                  <a:pt x="25" y="57"/>
                  <a:pt x="25" y="57"/>
                </a:cubicBezTo>
                <a:cubicBezTo>
                  <a:pt x="94" y="57"/>
                  <a:pt x="94" y="57"/>
                  <a:pt x="94" y="57"/>
                </a:cubicBezTo>
                <a:cubicBezTo>
                  <a:pt x="96" y="56"/>
                  <a:pt x="98" y="54"/>
                  <a:pt x="100" y="53"/>
                </a:cubicBezTo>
                <a:close/>
                <a:moveTo>
                  <a:pt x="115" y="45"/>
                </a:moveTo>
                <a:cubicBezTo>
                  <a:pt x="25" y="45"/>
                  <a:pt x="25" y="45"/>
                  <a:pt x="25" y="45"/>
                </a:cubicBezTo>
                <a:cubicBezTo>
                  <a:pt x="25" y="49"/>
                  <a:pt x="25" y="49"/>
                  <a:pt x="25" y="49"/>
                </a:cubicBezTo>
                <a:cubicBezTo>
                  <a:pt x="115" y="49"/>
                  <a:pt x="115" y="49"/>
                  <a:pt x="115" y="49"/>
                </a:cubicBezTo>
                <a:lnTo>
                  <a:pt x="115" y="45"/>
                </a:lnTo>
                <a:close/>
                <a:moveTo>
                  <a:pt x="37" y="16"/>
                </a:moveTo>
                <a:cubicBezTo>
                  <a:pt x="37" y="29"/>
                  <a:pt x="37" y="29"/>
                  <a:pt x="37" y="29"/>
                </a:cubicBezTo>
                <a:cubicBezTo>
                  <a:pt x="107" y="29"/>
                  <a:pt x="107" y="29"/>
                  <a:pt x="107" y="29"/>
                </a:cubicBezTo>
                <a:cubicBezTo>
                  <a:pt x="107" y="16"/>
                  <a:pt x="107" y="16"/>
                  <a:pt x="107" y="16"/>
                </a:cubicBezTo>
                <a:lnTo>
                  <a:pt x="37" y="16"/>
                </a:lnTo>
                <a:close/>
                <a:moveTo>
                  <a:pt x="115" y="68"/>
                </a:moveTo>
                <a:cubicBezTo>
                  <a:pt x="107" y="68"/>
                  <a:pt x="101" y="75"/>
                  <a:pt x="101" y="82"/>
                </a:cubicBezTo>
                <a:cubicBezTo>
                  <a:pt x="101" y="90"/>
                  <a:pt x="107" y="96"/>
                  <a:pt x="115" y="96"/>
                </a:cubicBezTo>
                <a:cubicBezTo>
                  <a:pt x="123" y="96"/>
                  <a:pt x="129" y="90"/>
                  <a:pt x="129" y="82"/>
                </a:cubicBezTo>
                <a:cubicBezTo>
                  <a:pt x="129" y="75"/>
                  <a:pt x="123" y="68"/>
                  <a:pt x="115" y="68"/>
                </a:cubicBezTo>
                <a:close/>
                <a:moveTo>
                  <a:pt x="139" y="82"/>
                </a:moveTo>
                <a:cubicBezTo>
                  <a:pt x="139" y="69"/>
                  <a:pt x="128" y="58"/>
                  <a:pt x="115" y="58"/>
                </a:cubicBezTo>
                <a:cubicBezTo>
                  <a:pt x="102" y="58"/>
                  <a:pt x="91" y="69"/>
                  <a:pt x="91" y="82"/>
                </a:cubicBezTo>
                <a:cubicBezTo>
                  <a:pt x="91" y="96"/>
                  <a:pt x="102" y="106"/>
                  <a:pt x="115" y="106"/>
                </a:cubicBezTo>
                <a:cubicBezTo>
                  <a:pt x="128" y="106"/>
                  <a:pt x="139" y="96"/>
                  <a:pt x="139" y="82"/>
                </a:cubicBezTo>
                <a:close/>
                <a:moveTo>
                  <a:pt x="115" y="100"/>
                </a:moveTo>
                <a:cubicBezTo>
                  <a:pt x="105" y="100"/>
                  <a:pt x="97" y="92"/>
                  <a:pt x="97" y="82"/>
                </a:cubicBezTo>
                <a:cubicBezTo>
                  <a:pt x="97" y="72"/>
                  <a:pt x="105" y="64"/>
                  <a:pt x="115" y="64"/>
                </a:cubicBezTo>
                <a:cubicBezTo>
                  <a:pt x="125" y="64"/>
                  <a:pt x="133" y="72"/>
                  <a:pt x="133" y="82"/>
                </a:cubicBezTo>
                <a:cubicBezTo>
                  <a:pt x="133" y="92"/>
                  <a:pt x="125" y="100"/>
                  <a:pt x="115" y="10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Tree>
    <p:extLst>
      <p:ext uri="{BB962C8B-B14F-4D97-AF65-F5344CB8AC3E}">
        <p14:creationId xmlns:p14="http://schemas.microsoft.com/office/powerpoint/2010/main" val="17925313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D67DE4B-426E-4327-BC61-D55DC36501BA}"/>
              </a:ext>
            </a:extLst>
          </p:cNvPr>
          <p:cNvSpPr>
            <a:spLocks noGrp="1"/>
          </p:cNvSpPr>
          <p:nvPr>
            <p:ph type="title"/>
          </p:nvPr>
        </p:nvSpPr>
        <p:spPr/>
        <p:txBody>
          <a:bodyPr/>
          <a:lstStyle/>
          <a:p>
            <a:r>
              <a:rPr lang="zh-CN" altLang="en-US" dirty="0">
                <a:latin typeface="+mn-lt"/>
                <a:ea typeface="+mn-ea"/>
                <a:cs typeface="+mn-ea"/>
                <a:sym typeface="+mn-lt"/>
              </a:rPr>
              <a:t>学术类图标素材分享（单色版）</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68E78044-1846-4618-A30A-BC0C3846A444}"/>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83</a:t>
            </a:fld>
            <a:endParaRPr lang="en-US" dirty="0">
              <a:solidFill>
                <a:srgbClr val="000000">
                  <a:tint val="75000"/>
                </a:srgbClr>
              </a:solidFill>
              <a:cs typeface="+mn-ea"/>
              <a:sym typeface="+mn-lt"/>
            </a:endParaRPr>
          </a:p>
        </p:txBody>
      </p:sp>
      <p:sp>
        <p:nvSpPr>
          <p:cNvPr id="54" name="Freeform 5">
            <a:extLst>
              <a:ext uri="{FF2B5EF4-FFF2-40B4-BE49-F238E27FC236}">
                <a16:creationId xmlns:a16="http://schemas.microsoft.com/office/drawing/2014/main" id="{EB8F7BB2-C5E1-4AC7-BDF1-88215390D8BA}"/>
              </a:ext>
            </a:extLst>
          </p:cNvPr>
          <p:cNvSpPr>
            <a:spLocks noEditPoints="1"/>
          </p:cNvSpPr>
          <p:nvPr/>
        </p:nvSpPr>
        <p:spPr bwMode="auto">
          <a:xfrm>
            <a:off x="828949" y="1354487"/>
            <a:ext cx="475115" cy="276291"/>
          </a:xfrm>
          <a:custGeom>
            <a:avLst/>
            <a:gdLst>
              <a:gd name="T0" fmla="*/ 135 w 139"/>
              <a:gd name="T1" fmla="*/ 61 h 81"/>
              <a:gd name="T2" fmla="*/ 131 w 139"/>
              <a:gd name="T3" fmla="*/ 56 h 81"/>
              <a:gd name="T4" fmla="*/ 131 w 139"/>
              <a:gd name="T5" fmla="*/ 27 h 81"/>
              <a:gd name="T6" fmla="*/ 139 w 139"/>
              <a:gd name="T7" fmla="*/ 24 h 81"/>
              <a:gd name="T8" fmla="*/ 70 w 139"/>
              <a:gd name="T9" fmla="*/ 0 h 81"/>
              <a:gd name="T10" fmla="*/ 0 w 139"/>
              <a:gd name="T11" fmla="*/ 24 h 81"/>
              <a:gd name="T12" fmla="*/ 70 w 139"/>
              <a:gd name="T13" fmla="*/ 48 h 81"/>
              <a:gd name="T14" fmla="*/ 127 w 139"/>
              <a:gd name="T15" fmla="*/ 28 h 81"/>
              <a:gd name="T16" fmla="*/ 127 w 139"/>
              <a:gd name="T17" fmla="*/ 56 h 81"/>
              <a:gd name="T18" fmla="*/ 123 w 139"/>
              <a:gd name="T19" fmla="*/ 61 h 81"/>
              <a:gd name="T20" fmla="*/ 126 w 139"/>
              <a:gd name="T21" fmla="*/ 64 h 81"/>
              <a:gd name="T22" fmla="*/ 123 w 139"/>
              <a:gd name="T23" fmla="*/ 81 h 81"/>
              <a:gd name="T24" fmla="*/ 135 w 139"/>
              <a:gd name="T25" fmla="*/ 81 h 81"/>
              <a:gd name="T26" fmla="*/ 132 w 139"/>
              <a:gd name="T27" fmla="*/ 64 h 81"/>
              <a:gd name="T28" fmla="*/ 135 w 139"/>
              <a:gd name="T29" fmla="*/ 61 h 81"/>
              <a:gd name="T30" fmla="*/ 28 w 139"/>
              <a:gd name="T31" fmla="*/ 42 h 81"/>
              <a:gd name="T32" fmla="*/ 28 w 139"/>
              <a:gd name="T33" fmla="*/ 69 h 81"/>
              <a:gd name="T34" fmla="*/ 70 w 139"/>
              <a:gd name="T35" fmla="*/ 81 h 81"/>
              <a:gd name="T36" fmla="*/ 111 w 139"/>
              <a:gd name="T37" fmla="*/ 69 h 81"/>
              <a:gd name="T38" fmla="*/ 111 w 139"/>
              <a:gd name="T39" fmla="*/ 42 h 81"/>
              <a:gd name="T40" fmla="*/ 70 w 139"/>
              <a:gd name="T41" fmla="*/ 56 h 81"/>
              <a:gd name="T42" fmla="*/ 28 w 139"/>
              <a:gd name="T43" fmla="*/ 4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81">
                <a:moveTo>
                  <a:pt x="135" y="61"/>
                </a:moveTo>
                <a:cubicBezTo>
                  <a:pt x="135" y="58"/>
                  <a:pt x="134" y="56"/>
                  <a:pt x="131" y="56"/>
                </a:cubicBezTo>
                <a:cubicBezTo>
                  <a:pt x="131" y="27"/>
                  <a:pt x="131" y="27"/>
                  <a:pt x="131" y="27"/>
                </a:cubicBezTo>
                <a:cubicBezTo>
                  <a:pt x="139" y="24"/>
                  <a:pt x="139" y="24"/>
                  <a:pt x="139" y="24"/>
                </a:cubicBezTo>
                <a:cubicBezTo>
                  <a:pt x="70" y="0"/>
                  <a:pt x="70" y="0"/>
                  <a:pt x="70" y="0"/>
                </a:cubicBezTo>
                <a:cubicBezTo>
                  <a:pt x="0" y="24"/>
                  <a:pt x="0" y="24"/>
                  <a:pt x="0" y="24"/>
                </a:cubicBezTo>
                <a:cubicBezTo>
                  <a:pt x="70" y="48"/>
                  <a:pt x="70" y="48"/>
                  <a:pt x="70" y="48"/>
                </a:cubicBezTo>
                <a:cubicBezTo>
                  <a:pt x="127" y="28"/>
                  <a:pt x="127" y="28"/>
                  <a:pt x="127" y="28"/>
                </a:cubicBezTo>
                <a:cubicBezTo>
                  <a:pt x="127" y="56"/>
                  <a:pt x="127" y="56"/>
                  <a:pt x="127" y="56"/>
                </a:cubicBezTo>
                <a:cubicBezTo>
                  <a:pt x="125" y="56"/>
                  <a:pt x="123" y="58"/>
                  <a:pt x="123" y="61"/>
                </a:cubicBezTo>
                <a:cubicBezTo>
                  <a:pt x="123" y="63"/>
                  <a:pt x="125" y="64"/>
                  <a:pt x="126" y="64"/>
                </a:cubicBezTo>
                <a:cubicBezTo>
                  <a:pt x="123" y="81"/>
                  <a:pt x="123" y="81"/>
                  <a:pt x="123" y="81"/>
                </a:cubicBezTo>
                <a:cubicBezTo>
                  <a:pt x="135" y="81"/>
                  <a:pt x="135" y="81"/>
                  <a:pt x="135" y="81"/>
                </a:cubicBezTo>
                <a:cubicBezTo>
                  <a:pt x="132" y="64"/>
                  <a:pt x="132" y="64"/>
                  <a:pt x="132" y="64"/>
                </a:cubicBezTo>
                <a:cubicBezTo>
                  <a:pt x="134" y="64"/>
                  <a:pt x="135" y="63"/>
                  <a:pt x="135" y="61"/>
                </a:cubicBezTo>
                <a:close/>
                <a:moveTo>
                  <a:pt x="28" y="42"/>
                </a:moveTo>
                <a:cubicBezTo>
                  <a:pt x="28" y="69"/>
                  <a:pt x="28" y="69"/>
                  <a:pt x="28" y="69"/>
                </a:cubicBezTo>
                <a:cubicBezTo>
                  <a:pt x="28" y="76"/>
                  <a:pt x="47" y="81"/>
                  <a:pt x="70" y="81"/>
                </a:cubicBezTo>
                <a:cubicBezTo>
                  <a:pt x="92" y="81"/>
                  <a:pt x="111" y="76"/>
                  <a:pt x="111" y="69"/>
                </a:cubicBezTo>
                <a:cubicBezTo>
                  <a:pt x="111" y="42"/>
                  <a:pt x="111" y="42"/>
                  <a:pt x="111" y="42"/>
                </a:cubicBezTo>
                <a:cubicBezTo>
                  <a:pt x="70" y="56"/>
                  <a:pt x="70" y="56"/>
                  <a:pt x="70" y="56"/>
                </a:cubicBezTo>
                <a:lnTo>
                  <a:pt x="28" y="4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5" name="Freeform 6">
            <a:extLst>
              <a:ext uri="{FF2B5EF4-FFF2-40B4-BE49-F238E27FC236}">
                <a16:creationId xmlns:a16="http://schemas.microsoft.com/office/drawing/2014/main" id="{C8E39EDD-8FFE-4DE8-A954-7F55541E0F65}"/>
              </a:ext>
            </a:extLst>
          </p:cNvPr>
          <p:cNvSpPr>
            <a:spLocks noEditPoints="1"/>
          </p:cNvSpPr>
          <p:nvPr/>
        </p:nvSpPr>
        <p:spPr bwMode="auto">
          <a:xfrm>
            <a:off x="1980587" y="1258946"/>
            <a:ext cx="420891" cy="472534"/>
          </a:xfrm>
          <a:custGeom>
            <a:avLst/>
            <a:gdLst>
              <a:gd name="T0" fmla="*/ 112 w 123"/>
              <a:gd name="T1" fmla="*/ 108 h 139"/>
              <a:gd name="T2" fmla="*/ 111 w 123"/>
              <a:gd name="T3" fmla="*/ 105 h 139"/>
              <a:gd name="T4" fmla="*/ 123 w 123"/>
              <a:gd name="T5" fmla="*/ 68 h 139"/>
              <a:gd name="T6" fmla="*/ 108 w 123"/>
              <a:gd name="T7" fmla="*/ 28 h 139"/>
              <a:gd name="T8" fmla="*/ 110 w 123"/>
              <a:gd name="T9" fmla="*/ 29 h 139"/>
              <a:gd name="T10" fmla="*/ 114 w 123"/>
              <a:gd name="T11" fmla="*/ 28 h 139"/>
              <a:gd name="T12" fmla="*/ 114 w 123"/>
              <a:gd name="T13" fmla="*/ 28 h 139"/>
              <a:gd name="T14" fmla="*/ 115 w 123"/>
              <a:gd name="T15" fmla="*/ 27 h 139"/>
              <a:gd name="T16" fmla="*/ 112 w 123"/>
              <a:gd name="T17" fmla="*/ 10 h 139"/>
              <a:gd name="T18" fmla="*/ 103 w 123"/>
              <a:gd name="T19" fmla="*/ 4 h 139"/>
              <a:gd name="T20" fmla="*/ 86 w 123"/>
              <a:gd name="T21" fmla="*/ 7 h 139"/>
              <a:gd name="T22" fmla="*/ 85 w 123"/>
              <a:gd name="T23" fmla="*/ 7 h 139"/>
              <a:gd name="T24" fmla="*/ 85 w 123"/>
              <a:gd name="T25" fmla="*/ 8 h 139"/>
              <a:gd name="T26" fmla="*/ 85 w 123"/>
              <a:gd name="T27" fmla="*/ 11 h 139"/>
              <a:gd name="T28" fmla="*/ 62 w 123"/>
              <a:gd name="T29" fmla="*/ 6 h 139"/>
              <a:gd name="T30" fmla="*/ 39 w 123"/>
              <a:gd name="T31" fmla="*/ 11 h 139"/>
              <a:gd name="T32" fmla="*/ 39 w 123"/>
              <a:gd name="T33" fmla="*/ 8 h 139"/>
              <a:gd name="T34" fmla="*/ 39 w 123"/>
              <a:gd name="T35" fmla="*/ 7 h 139"/>
              <a:gd name="T36" fmla="*/ 38 w 123"/>
              <a:gd name="T37" fmla="*/ 7 h 139"/>
              <a:gd name="T38" fmla="*/ 21 w 123"/>
              <a:gd name="T39" fmla="*/ 4 h 139"/>
              <a:gd name="T40" fmla="*/ 12 w 123"/>
              <a:gd name="T41" fmla="*/ 10 h 139"/>
              <a:gd name="T42" fmla="*/ 9 w 123"/>
              <a:gd name="T43" fmla="*/ 27 h 139"/>
              <a:gd name="T44" fmla="*/ 10 w 123"/>
              <a:gd name="T45" fmla="*/ 28 h 139"/>
              <a:gd name="T46" fmla="*/ 10 w 123"/>
              <a:gd name="T47" fmla="*/ 28 h 139"/>
              <a:gd name="T48" fmla="*/ 14 w 123"/>
              <a:gd name="T49" fmla="*/ 29 h 139"/>
              <a:gd name="T50" fmla="*/ 15 w 123"/>
              <a:gd name="T51" fmla="*/ 28 h 139"/>
              <a:gd name="T52" fmla="*/ 0 w 123"/>
              <a:gd name="T53" fmla="*/ 68 h 139"/>
              <a:gd name="T54" fmla="*/ 13 w 123"/>
              <a:gd name="T55" fmla="*/ 105 h 139"/>
              <a:gd name="T56" fmla="*/ 12 w 123"/>
              <a:gd name="T57" fmla="*/ 108 h 139"/>
              <a:gd name="T58" fmla="*/ 4 w 123"/>
              <a:gd name="T59" fmla="*/ 128 h 139"/>
              <a:gd name="T60" fmla="*/ 10 w 123"/>
              <a:gd name="T61" fmla="*/ 138 h 139"/>
              <a:gd name="T62" fmla="*/ 20 w 123"/>
              <a:gd name="T63" fmla="*/ 132 h 139"/>
              <a:gd name="T64" fmla="*/ 25 w 123"/>
              <a:gd name="T65" fmla="*/ 118 h 139"/>
              <a:gd name="T66" fmla="*/ 62 w 123"/>
              <a:gd name="T67" fmla="*/ 130 h 139"/>
              <a:gd name="T68" fmla="*/ 98 w 123"/>
              <a:gd name="T69" fmla="*/ 118 h 139"/>
              <a:gd name="T70" fmla="*/ 103 w 123"/>
              <a:gd name="T71" fmla="*/ 132 h 139"/>
              <a:gd name="T72" fmla="*/ 113 w 123"/>
              <a:gd name="T73" fmla="*/ 138 h 139"/>
              <a:gd name="T74" fmla="*/ 119 w 123"/>
              <a:gd name="T75" fmla="*/ 128 h 139"/>
              <a:gd name="T76" fmla="*/ 112 w 123"/>
              <a:gd name="T77" fmla="*/ 108 h 139"/>
              <a:gd name="T78" fmla="*/ 62 w 123"/>
              <a:gd name="T79" fmla="*/ 117 h 139"/>
              <a:gd name="T80" fmla="*/ 12 w 123"/>
              <a:gd name="T81" fmla="*/ 68 h 139"/>
              <a:gd name="T82" fmla="*/ 62 w 123"/>
              <a:gd name="T83" fmla="*/ 19 h 139"/>
              <a:gd name="T84" fmla="*/ 111 w 123"/>
              <a:gd name="T85" fmla="*/ 68 h 139"/>
              <a:gd name="T86" fmla="*/ 62 w 123"/>
              <a:gd name="T87" fmla="*/ 117 h 139"/>
              <a:gd name="T88" fmla="*/ 82 w 123"/>
              <a:gd name="T89" fmla="*/ 41 h 139"/>
              <a:gd name="T90" fmla="*/ 63 w 123"/>
              <a:gd name="T91" fmla="*/ 64 h 139"/>
              <a:gd name="T92" fmla="*/ 62 w 123"/>
              <a:gd name="T93" fmla="*/ 64 h 139"/>
              <a:gd name="T94" fmla="*/ 58 w 123"/>
              <a:gd name="T95" fmla="*/ 65 h 139"/>
              <a:gd name="T96" fmla="*/ 45 w 123"/>
              <a:gd name="T97" fmla="*/ 54 h 139"/>
              <a:gd name="T98" fmla="*/ 39 w 123"/>
              <a:gd name="T99" fmla="*/ 54 h 139"/>
              <a:gd name="T100" fmla="*/ 40 w 123"/>
              <a:gd name="T101" fmla="*/ 60 h 139"/>
              <a:gd name="T102" fmla="*/ 54 w 123"/>
              <a:gd name="T103" fmla="*/ 71 h 139"/>
              <a:gd name="T104" fmla="*/ 53 w 123"/>
              <a:gd name="T105" fmla="*/ 72 h 139"/>
              <a:gd name="T106" fmla="*/ 62 w 123"/>
              <a:gd name="T107" fmla="*/ 80 h 139"/>
              <a:gd name="T108" fmla="*/ 70 w 123"/>
              <a:gd name="T109" fmla="*/ 72 h 139"/>
              <a:gd name="T110" fmla="*/ 69 w 123"/>
              <a:gd name="T111" fmla="*/ 69 h 139"/>
              <a:gd name="T112" fmla="*/ 88 w 123"/>
              <a:gd name="T113" fmla="*/ 46 h 139"/>
              <a:gd name="T114" fmla="*/ 88 w 123"/>
              <a:gd name="T115" fmla="*/ 41 h 139"/>
              <a:gd name="T116" fmla="*/ 82 w 123"/>
              <a:gd name="T117" fmla="*/ 4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3" h="139">
                <a:moveTo>
                  <a:pt x="112" y="108"/>
                </a:moveTo>
                <a:cubicBezTo>
                  <a:pt x="112" y="107"/>
                  <a:pt x="111" y="106"/>
                  <a:pt x="111" y="105"/>
                </a:cubicBezTo>
                <a:cubicBezTo>
                  <a:pt x="119" y="95"/>
                  <a:pt x="123" y="82"/>
                  <a:pt x="123" y="68"/>
                </a:cubicBezTo>
                <a:cubicBezTo>
                  <a:pt x="123" y="53"/>
                  <a:pt x="118" y="39"/>
                  <a:pt x="108" y="28"/>
                </a:cubicBezTo>
                <a:cubicBezTo>
                  <a:pt x="110" y="29"/>
                  <a:pt x="110" y="29"/>
                  <a:pt x="110" y="29"/>
                </a:cubicBezTo>
                <a:cubicBezTo>
                  <a:pt x="111" y="30"/>
                  <a:pt x="113" y="30"/>
                  <a:pt x="114" y="28"/>
                </a:cubicBezTo>
                <a:cubicBezTo>
                  <a:pt x="114" y="28"/>
                  <a:pt x="114" y="28"/>
                  <a:pt x="114" y="28"/>
                </a:cubicBezTo>
                <a:cubicBezTo>
                  <a:pt x="114" y="28"/>
                  <a:pt x="114" y="28"/>
                  <a:pt x="115" y="27"/>
                </a:cubicBezTo>
                <a:cubicBezTo>
                  <a:pt x="118" y="22"/>
                  <a:pt x="117" y="14"/>
                  <a:pt x="112" y="10"/>
                </a:cubicBezTo>
                <a:cubicBezTo>
                  <a:pt x="103" y="4"/>
                  <a:pt x="103" y="4"/>
                  <a:pt x="103" y="4"/>
                </a:cubicBezTo>
                <a:cubicBezTo>
                  <a:pt x="97" y="0"/>
                  <a:pt x="89" y="1"/>
                  <a:pt x="86" y="7"/>
                </a:cubicBezTo>
                <a:cubicBezTo>
                  <a:pt x="85" y="7"/>
                  <a:pt x="85" y="7"/>
                  <a:pt x="85" y="7"/>
                </a:cubicBezTo>
                <a:cubicBezTo>
                  <a:pt x="85" y="8"/>
                  <a:pt x="85" y="8"/>
                  <a:pt x="85" y="8"/>
                </a:cubicBezTo>
                <a:cubicBezTo>
                  <a:pt x="84" y="9"/>
                  <a:pt x="84" y="10"/>
                  <a:pt x="85" y="11"/>
                </a:cubicBezTo>
                <a:cubicBezTo>
                  <a:pt x="78" y="8"/>
                  <a:pt x="70" y="6"/>
                  <a:pt x="62" y="6"/>
                </a:cubicBezTo>
                <a:cubicBezTo>
                  <a:pt x="54" y="6"/>
                  <a:pt x="46" y="8"/>
                  <a:pt x="39" y="11"/>
                </a:cubicBezTo>
                <a:cubicBezTo>
                  <a:pt x="39" y="10"/>
                  <a:pt x="40" y="9"/>
                  <a:pt x="39" y="8"/>
                </a:cubicBezTo>
                <a:cubicBezTo>
                  <a:pt x="39" y="8"/>
                  <a:pt x="39" y="8"/>
                  <a:pt x="39" y="7"/>
                </a:cubicBezTo>
                <a:cubicBezTo>
                  <a:pt x="38" y="7"/>
                  <a:pt x="38" y="7"/>
                  <a:pt x="38" y="7"/>
                </a:cubicBezTo>
                <a:cubicBezTo>
                  <a:pt x="34" y="1"/>
                  <a:pt x="27" y="0"/>
                  <a:pt x="21" y="4"/>
                </a:cubicBezTo>
                <a:cubicBezTo>
                  <a:pt x="12" y="10"/>
                  <a:pt x="12" y="10"/>
                  <a:pt x="12" y="10"/>
                </a:cubicBezTo>
                <a:cubicBezTo>
                  <a:pt x="6" y="14"/>
                  <a:pt x="5" y="22"/>
                  <a:pt x="9" y="27"/>
                </a:cubicBezTo>
                <a:cubicBezTo>
                  <a:pt x="9" y="28"/>
                  <a:pt x="10" y="28"/>
                  <a:pt x="10" y="28"/>
                </a:cubicBezTo>
                <a:cubicBezTo>
                  <a:pt x="10" y="28"/>
                  <a:pt x="10" y="28"/>
                  <a:pt x="10" y="28"/>
                </a:cubicBezTo>
                <a:cubicBezTo>
                  <a:pt x="11" y="30"/>
                  <a:pt x="13" y="30"/>
                  <a:pt x="14" y="29"/>
                </a:cubicBezTo>
                <a:cubicBezTo>
                  <a:pt x="15" y="28"/>
                  <a:pt x="15" y="28"/>
                  <a:pt x="15" y="28"/>
                </a:cubicBezTo>
                <a:cubicBezTo>
                  <a:pt x="6" y="39"/>
                  <a:pt x="0" y="53"/>
                  <a:pt x="0" y="68"/>
                </a:cubicBezTo>
                <a:cubicBezTo>
                  <a:pt x="0" y="82"/>
                  <a:pt x="5" y="95"/>
                  <a:pt x="13" y="105"/>
                </a:cubicBezTo>
                <a:cubicBezTo>
                  <a:pt x="12" y="106"/>
                  <a:pt x="12" y="107"/>
                  <a:pt x="12" y="108"/>
                </a:cubicBezTo>
                <a:cubicBezTo>
                  <a:pt x="4" y="128"/>
                  <a:pt x="4" y="128"/>
                  <a:pt x="4" y="128"/>
                </a:cubicBezTo>
                <a:cubicBezTo>
                  <a:pt x="3" y="132"/>
                  <a:pt x="6" y="137"/>
                  <a:pt x="10" y="138"/>
                </a:cubicBezTo>
                <a:cubicBezTo>
                  <a:pt x="15" y="139"/>
                  <a:pt x="19" y="136"/>
                  <a:pt x="20" y="132"/>
                </a:cubicBezTo>
                <a:cubicBezTo>
                  <a:pt x="25" y="118"/>
                  <a:pt x="25" y="118"/>
                  <a:pt x="25" y="118"/>
                </a:cubicBezTo>
                <a:cubicBezTo>
                  <a:pt x="36" y="125"/>
                  <a:pt x="48" y="130"/>
                  <a:pt x="62" y="130"/>
                </a:cubicBezTo>
                <a:cubicBezTo>
                  <a:pt x="75" y="130"/>
                  <a:pt x="88" y="125"/>
                  <a:pt x="98" y="118"/>
                </a:cubicBezTo>
                <a:cubicBezTo>
                  <a:pt x="103" y="132"/>
                  <a:pt x="103" y="132"/>
                  <a:pt x="103" y="132"/>
                </a:cubicBezTo>
                <a:cubicBezTo>
                  <a:pt x="104" y="136"/>
                  <a:pt x="109" y="139"/>
                  <a:pt x="113" y="138"/>
                </a:cubicBezTo>
                <a:cubicBezTo>
                  <a:pt x="118" y="137"/>
                  <a:pt x="120" y="132"/>
                  <a:pt x="119" y="128"/>
                </a:cubicBezTo>
                <a:lnTo>
                  <a:pt x="112" y="108"/>
                </a:lnTo>
                <a:close/>
                <a:moveTo>
                  <a:pt x="62" y="117"/>
                </a:moveTo>
                <a:cubicBezTo>
                  <a:pt x="34" y="117"/>
                  <a:pt x="12" y="95"/>
                  <a:pt x="12" y="68"/>
                </a:cubicBezTo>
                <a:cubicBezTo>
                  <a:pt x="12" y="41"/>
                  <a:pt x="34" y="19"/>
                  <a:pt x="62" y="19"/>
                </a:cubicBezTo>
                <a:cubicBezTo>
                  <a:pt x="89" y="19"/>
                  <a:pt x="111" y="41"/>
                  <a:pt x="111" y="68"/>
                </a:cubicBezTo>
                <a:cubicBezTo>
                  <a:pt x="111" y="95"/>
                  <a:pt x="89" y="117"/>
                  <a:pt x="62" y="117"/>
                </a:cubicBezTo>
                <a:close/>
                <a:moveTo>
                  <a:pt x="82" y="41"/>
                </a:moveTo>
                <a:cubicBezTo>
                  <a:pt x="63" y="64"/>
                  <a:pt x="63" y="64"/>
                  <a:pt x="63" y="64"/>
                </a:cubicBezTo>
                <a:cubicBezTo>
                  <a:pt x="63" y="64"/>
                  <a:pt x="62" y="64"/>
                  <a:pt x="62" y="64"/>
                </a:cubicBezTo>
                <a:cubicBezTo>
                  <a:pt x="61" y="64"/>
                  <a:pt x="59" y="64"/>
                  <a:pt x="58" y="65"/>
                </a:cubicBezTo>
                <a:cubicBezTo>
                  <a:pt x="45" y="54"/>
                  <a:pt x="45" y="54"/>
                  <a:pt x="45" y="54"/>
                </a:cubicBezTo>
                <a:cubicBezTo>
                  <a:pt x="43" y="52"/>
                  <a:pt x="41" y="52"/>
                  <a:pt x="39" y="54"/>
                </a:cubicBezTo>
                <a:cubicBezTo>
                  <a:pt x="38" y="56"/>
                  <a:pt x="38" y="58"/>
                  <a:pt x="40" y="60"/>
                </a:cubicBezTo>
                <a:cubicBezTo>
                  <a:pt x="54" y="71"/>
                  <a:pt x="54" y="71"/>
                  <a:pt x="54" y="71"/>
                </a:cubicBezTo>
                <a:cubicBezTo>
                  <a:pt x="54" y="72"/>
                  <a:pt x="53" y="72"/>
                  <a:pt x="53" y="72"/>
                </a:cubicBezTo>
                <a:cubicBezTo>
                  <a:pt x="53" y="77"/>
                  <a:pt x="57" y="80"/>
                  <a:pt x="62" y="80"/>
                </a:cubicBezTo>
                <a:cubicBezTo>
                  <a:pt x="66" y="80"/>
                  <a:pt x="70" y="77"/>
                  <a:pt x="70" y="72"/>
                </a:cubicBezTo>
                <a:cubicBezTo>
                  <a:pt x="70" y="71"/>
                  <a:pt x="70" y="70"/>
                  <a:pt x="69" y="69"/>
                </a:cubicBezTo>
                <a:cubicBezTo>
                  <a:pt x="88" y="46"/>
                  <a:pt x="88" y="46"/>
                  <a:pt x="88" y="46"/>
                </a:cubicBezTo>
                <a:cubicBezTo>
                  <a:pt x="90" y="45"/>
                  <a:pt x="89" y="42"/>
                  <a:pt x="88" y="41"/>
                </a:cubicBezTo>
                <a:cubicBezTo>
                  <a:pt x="86" y="39"/>
                  <a:pt x="83" y="39"/>
                  <a:pt x="82" y="4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6" name="Freeform 7">
            <a:extLst>
              <a:ext uri="{FF2B5EF4-FFF2-40B4-BE49-F238E27FC236}">
                <a16:creationId xmlns:a16="http://schemas.microsoft.com/office/drawing/2014/main" id="{E380E44A-2992-4E6E-B360-EFA3BDE47179}"/>
              </a:ext>
            </a:extLst>
          </p:cNvPr>
          <p:cNvSpPr>
            <a:spLocks noEditPoints="1"/>
          </p:cNvSpPr>
          <p:nvPr/>
        </p:nvSpPr>
        <p:spPr bwMode="auto">
          <a:xfrm>
            <a:off x="3088330" y="1282187"/>
            <a:ext cx="457041" cy="485444"/>
          </a:xfrm>
          <a:custGeom>
            <a:avLst/>
            <a:gdLst>
              <a:gd name="T0" fmla="*/ 96 w 134"/>
              <a:gd name="T1" fmla="*/ 119 h 142"/>
              <a:gd name="T2" fmla="*/ 79 w 134"/>
              <a:gd name="T3" fmla="*/ 131 h 142"/>
              <a:gd name="T4" fmla="*/ 84 w 134"/>
              <a:gd name="T5" fmla="*/ 137 h 142"/>
              <a:gd name="T6" fmla="*/ 95 w 134"/>
              <a:gd name="T7" fmla="*/ 140 h 142"/>
              <a:gd name="T8" fmla="*/ 98 w 134"/>
              <a:gd name="T9" fmla="*/ 138 h 142"/>
              <a:gd name="T10" fmla="*/ 101 w 134"/>
              <a:gd name="T11" fmla="*/ 127 h 142"/>
              <a:gd name="T12" fmla="*/ 96 w 134"/>
              <a:gd name="T13" fmla="*/ 119 h 142"/>
              <a:gd name="T14" fmla="*/ 126 w 134"/>
              <a:gd name="T15" fmla="*/ 51 h 142"/>
              <a:gd name="T16" fmla="*/ 123 w 134"/>
              <a:gd name="T17" fmla="*/ 48 h 142"/>
              <a:gd name="T18" fmla="*/ 70 w 134"/>
              <a:gd name="T19" fmla="*/ 30 h 142"/>
              <a:gd name="T20" fmla="*/ 34 w 134"/>
              <a:gd name="T21" fmla="*/ 22 h 142"/>
              <a:gd name="T22" fmla="*/ 30 w 134"/>
              <a:gd name="T23" fmla="*/ 7 h 142"/>
              <a:gd name="T24" fmla="*/ 6 w 134"/>
              <a:gd name="T25" fmla="*/ 7 h 142"/>
              <a:gd name="T26" fmla="*/ 6 w 134"/>
              <a:gd name="T27" fmla="*/ 30 h 142"/>
              <a:gd name="T28" fmla="*/ 21 w 134"/>
              <a:gd name="T29" fmla="*/ 34 h 142"/>
              <a:gd name="T30" fmla="*/ 30 w 134"/>
              <a:gd name="T31" fmla="*/ 71 h 142"/>
              <a:gd name="T32" fmla="*/ 47 w 134"/>
              <a:gd name="T33" fmla="*/ 123 h 142"/>
              <a:gd name="T34" fmla="*/ 51 w 134"/>
              <a:gd name="T35" fmla="*/ 127 h 142"/>
              <a:gd name="T36" fmla="*/ 102 w 134"/>
              <a:gd name="T37" fmla="*/ 103 h 142"/>
              <a:gd name="T38" fmla="*/ 126 w 134"/>
              <a:gd name="T39" fmla="*/ 51 h 142"/>
              <a:gd name="T40" fmla="*/ 24 w 134"/>
              <a:gd name="T41" fmla="*/ 24 h 142"/>
              <a:gd name="T42" fmla="*/ 12 w 134"/>
              <a:gd name="T43" fmla="*/ 24 h 142"/>
              <a:gd name="T44" fmla="*/ 12 w 134"/>
              <a:gd name="T45" fmla="*/ 13 h 142"/>
              <a:gd name="T46" fmla="*/ 24 w 134"/>
              <a:gd name="T47" fmla="*/ 13 h 142"/>
              <a:gd name="T48" fmla="*/ 24 w 134"/>
              <a:gd name="T49" fmla="*/ 24 h 142"/>
              <a:gd name="T50" fmla="*/ 58 w 134"/>
              <a:gd name="T51" fmla="*/ 112 h 142"/>
              <a:gd name="T52" fmla="*/ 55 w 134"/>
              <a:gd name="T53" fmla="*/ 109 h 142"/>
              <a:gd name="T54" fmla="*/ 38 w 134"/>
              <a:gd name="T55" fmla="*/ 67 h 142"/>
              <a:gd name="T56" fmla="*/ 31 w 134"/>
              <a:gd name="T57" fmla="*/ 35 h 142"/>
              <a:gd name="T58" fmla="*/ 44 w 134"/>
              <a:gd name="T59" fmla="*/ 62 h 142"/>
              <a:gd name="T60" fmla="*/ 65 w 134"/>
              <a:gd name="T61" fmla="*/ 112 h 142"/>
              <a:gd name="T62" fmla="*/ 68 w 134"/>
              <a:gd name="T63" fmla="*/ 114 h 142"/>
              <a:gd name="T64" fmla="*/ 58 w 134"/>
              <a:gd name="T65" fmla="*/ 1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142">
                <a:moveTo>
                  <a:pt x="96" y="119"/>
                </a:moveTo>
                <a:cubicBezTo>
                  <a:pt x="90" y="124"/>
                  <a:pt x="85" y="127"/>
                  <a:pt x="79" y="131"/>
                </a:cubicBezTo>
                <a:cubicBezTo>
                  <a:pt x="84" y="137"/>
                  <a:pt x="84" y="137"/>
                  <a:pt x="84" y="137"/>
                </a:cubicBezTo>
                <a:cubicBezTo>
                  <a:pt x="86" y="141"/>
                  <a:pt x="91" y="142"/>
                  <a:pt x="95" y="140"/>
                </a:cubicBezTo>
                <a:cubicBezTo>
                  <a:pt x="98" y="138"/>
                  <a:pt x="98" y="138"/>
                  <a:pt x="98" y="138"/>
                </a:cubicBezTo>
                <a:cubicBezTo>
                  <a:pt x="102" y="136"/>
                  <a:pt x="104" y="131"/>
                  <a:pt x="101" y="127"/>
                </a:cubicBezTo>
                <a:lnTo>
                  <a:pt x="96" y="119"/>
                </a:lnTo>
                <a:close/>
                <a:moveTo>
                  <a:pt x="126" y="51"/>
                </a:moveTo>
                <a:cubicBezTo>
                  <a:pt x="127" y="51"/>
                  <a:pt x="124" y="49"/>
                  <a:pt x="123" y="48"/>
                </a:cubicBezTo>
                <a:cubicBezTo>
                  <a:pt x="114" y="39"/>
                  <a:pt x="88" y="48"/>
                  <a:pt x="70" y="30"/>
                </a:cubicBezTo>
                <a:cubicBezTo>
                  <a:pt x="56" y="16"/>
                  <a:pt x="44" y="15"/>
                  <a:pt x="34" y="22"/>
                </a:cubicBezTo>
                <a:cubicBezTo>
                  <a:pt x="35" y="16"/>
                  <a:pt x="34" y="11"/>
                  <a:pt x="30" y="7"/>
                </a:cubicBezTo>
                <a:cubicBezTo>
                  <a:pt x="23" y="0"/>
                  <a:pt x="13" y="0"/>
                  <a:pt x="6" y="7"/>
                </a:cubicBezTo>
                <a:cubicBezTo>
                  <a:pt x="0" y="13"/>
                  <a:pt x="0" y="24"/>
                  <a:pt x="6" y="30"/>
                </a:cubicBezTo>
                <a:cubicBezTo>
                  <a:pt x="11" y="34"/>
                  <a:pt x="16" y="35"/>
                  <a:pt x="21" y="34"/>
                </a:cubicBezTo>
                <a:cubicBezTo>
                  <a:pt x="15" y="45"/>
                  <a:pt x="16" y="57"/>
                  <a:pt x="30" y="71"/>
                </a:cubicBezTo>
                <a:cubicBezTo>
                  <a:pt x="47" y="88"/>
                  <a:pt x="38" y="114"/>
                  <a:pt x="47" y="123"/>
                </a:cubicBezTo>
                <a:cubicBezTo>
                  <a:pt x="49" y="125"/>
                  <a:pt x="51" y="127"/>
                  <a:pt x="51" y="127"/>
                </a:cubicBezTo>
                <a:cubicBezTo>
                  <a:pt x="58" y="134"/>
                  <a:pt x="82" y="124"/>
                  <a:pt x="102" y="103"/>
                </a:cubicBezTo>
                <a:cubicBezTo>
                  <a:pt x="123" y="82"/>
                  <a:pt x="134" y="59"/>
                  <a:pt x="126" y="51"/>
                </a:cubicBezTo>
                <a:close/>
                <a:moveTo>
                  <a:pt x="24" y="24"/>
                </a:moveTo>
                <a:cubicBezTo>
                  <a:pt x="21" y="27"/>
                  <a:pt x="16" y="27"/>
                  <a:pt x="12" y="24"/>
                </a:cubicBezTo>
                <a:cubicBezTo>
                  <a:pt x="9" y="21"/>
                  <a:pt x="9" y="16"/>
                  <a:pt x="12" y="13"/>
                </a:cubicBezTo>
                <a:cubicBezTo>
                  <a:pt x="16" y="9"/>
                  <a:pt x="21" y="9"/>
                  <a:pt x="24" y="13"/>
                </a:cubicBezTo>
                <a:cubicBezTo>
                  <a:pt x="27" y="16"/>
                  <a:pt x="27" y="21"/>
                  <a:pt x="24" y="24"/>
                </a:cubicBezTo>
                <a:close/>
                <a:moveTo>
                  <a:pt x="58" y="112"/>
                </a:moveTo>
                <a:cubicBezTo>
                  <a:pt x="58" y="112"/>
                  <a:pt x="56" y="110"/>
                  <a:pt x="55" y="109"/>
                </a:cubicBezTo>
                <a:cubicBezTo>
                  <a:pt x="48" y="102"/>
                  <a:pt x="52" y="82"/>
                  <a:pt x="38" y="67"/>
                </a:cubicBezTo>
                <a:cubicBezTo>
                  <a:pt x="24" y="53"/>
                  <a:pt x="24" y="43"/>
                  <a:pt x="31" y="35"/>
                </a:cubicBezTo>
                <a:cubicBezTo>
                  <a:pt x="30" y="42"/>
                  <a:pt x="34" y="51"/>
                  <a:pt x="44" y="62"/>
                </a:cubicBezTo>
                <a:cubicBezTo>
                  <a:pt x="62" y="80"/>
                  <a:pt x="56" y="103"/>
                  <a:pt x="65" y="112"/>
                </a:cubicBezTo>
                <a:cubicBezTo>
                  <a:pt x="66" y="113"/>
                  <a:pt x="67" y="114"/>
                  <a:pt x="68" y="114"/>
                </a:cubicBezTo>
                <a:cubicBezTo>
                  <a:pt x="63" y="115"/>
                  <a:pt x="60" y="114"/>
                  <a:pt x="58" y="11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7" name="Freeform 8">
            <a:extLst>
              <a:ext uri="{FF2B5EF4-FFF2-40B4-BE49-F238E27FC236}">
                <a16:creationId xmlns:a16="http://schemas.microsoft.com/office/drawing/2014/main" id="{925E6B3D-0B85-4FAA-AAB8-05F955D2585C}"/>
              </a:ext>
            </a:extLst>
          </p:cNvPr>
          <p:cNvSpPr>
            <a:spLocks noEditPoints="1"/>
          </p:cNvSpPr>
          <p:nvPr/>
        </p:nvSpPr>
        <p:spPr bwMode="auto">
          <a:xfrm>
            <a:off x="4159922" y="1292515"/>
            <a:ext cx="624880" cy="464787"/>
          </a:xfrm>
          <a:custGeom>
            <a:avLst/>
            <a:gdLst>
              <a:gd name="T0" fmla="*/ 115 w 183"/>
              <a:gd name="T1" fmla="*/ 58 h 136"/>
              <a:gd name="T2" fmla="*/ 57 w 183"/>
              <a:gd name="T3" fmla="*/ 0 h 136"/>
              <a:gd name="T4" fmla="*/ 0 w 183"/>
              <a:gd name="T5" fmla="*/ 58 h 136"/>
              <a:gd name="T6" fmla="*/ 57 w 183"/>
              <a:gd name="T7" fmla="*/ 116 h 136"/>
              <a:gd name="T8" fmla="*/ 115 w 183"/>
              <a:gd name="T9" fmla="*/ 58 h 136"/>
              <a:gd name="T10" fmla="*/ 17 w 183"/>
              <a:gd name="T11" fmla="*/ 56 h 136"/>
              <a:gd name="T12" fmla="*/ 17 w 183"/>
              <a:gd name="T13" fmla="*/ 57 h 136"/>
              <a:gd name="T14" fmla="*/ 13 w 183"/>
              <a:gd name="T15" fmla="*/ 62 h 136"/>
              <a:gd name="T16" fmla="*/ 8 w 183"/>
              <a:gd name="T17" fmla="*/ 57 h 136"/>
              <a:gd name="T18" fmla="*/ 8 w 183"/>
              <a:gd name="T19" fmla="*/ 54 h 136"/>
              <a:gd name="T20" fmla="*/ 8 w 183"/>
              <a:gd name="T21" fmla="*/ 54 h 136"/>
              <a:gd name="T22" fmla="*/ 50 w 183"/>
              <a:gd name="T23" fmla="*/ 11 h 136"/>
              <a:gd name="T24" fmla="*/ 50 w 183"/>
              <a:gd name="T25" fmla="*/ 11 h 136"/>
              <a:gd name="T26" fmla="*/ 57 w 183"/>
              <a:gd name="T27" fmla="*/ 11 h 136"/>
              <a:gd name="T28" fmla="*/ 61 w 183"/>
              <a:gd name="T29" fmla="*/ 16 h 136"/>
              <a:gd name="T30" fmla="*/ 57 w 183"/>
              <a:gd name="T31" fmla="*/ 21 h 136"/>
              <a:gd name="T32" fmla="*/ 52 w 183"/>
              <a:gd name="T33" fmla="*/ 21 h 136"/>
              <a:gd name="T34" fmla="*/ 17 w 183"/>
              <a:gd name="T35" fmla="*/ 56 h 136"/>
              <a:gd name="T36" fmla="*/ 45 w 183"/>
              <a:gd name="T37" fmla="*/ 58 h 136"/>
              <a:gd name="T38" fmla="*/ 57 w 183"/>
              <a:gd name="T39" fmla="*/ 46 h 136"/>
              <a:gd name="T40" fmla="*/ 70 w 183"/>
              <a:gd name="T41" fmla="*/ 58 h 136"/>
              <a:gd name="T42" fmla="*/ 57 w 183"/>
              <a:gd name="T43" fmla="*/ 70 h 136"/>
              <a:gd name="T44" fmla="*/ 45 w 183"/>
              <a:gd name="T45" fmla="*/ 58 h 136"/>
              <a:gd name="T46" fmla="*/ 172 w 183"/>
              <a:gd name="T47" fmla="*/ 51 h 136"/>
              <a:gd name="T48" fmla="*/ 150 w 183"/>
              <a:gd name="T49" fmla="*/ 57 h 136"/>
              <a:gd name="T50" fmla="*/ 156 w 183"/>
              <a:gd name="T51" fmla="*/ 80 h 136"/>
              <a:gd name="T52" fmla="*/ 156 w 183"/>
              <a:gd name="T53" fmla="*/ 80 h 136"/>
              <a:gd name="T54" fmla="*/ 90 w 183"/>
              <a:gd name="T55" fmla="*/ 120 h 136"/>
              <a:gd name="T56" fmla="*/ 90 w 183"/>
              <a:gd name="T57" fmla="*/ 115 h 136"/>
              <a:gd name="T58" fmla="*/ 57 w 183"/>
              <a:gd name="T59" fmla="*/ 124 h 136"/>
              <a:gd name="T60" fmla="*/ 24 w 183"/>
              <a:gd name="T61" fmla="*/ 115 h 136"/>
              <a:gd name="T62" fmla="*/ 24 w 183"/>
              <a:gd name="T63" fmla="*/ 128 h 136"/>
              <a:gd name="T64" fmla="*/ 33 w 183"/>
              <a:gd name="T65" fmla="*/ 136 h 136"/>
              <a:gd name="T66" fmla="*/ 82 w 183"/>
              <a:gd name="T67" fmla="*/ 136 h 136"/>
              <a:gd name="T68" fmla="*/ 90 w 183"/>
              <a:gd name="T69" fmla="*/ 128 h 136"/>
              <a:gd name="T70" fmla="*/ 90 w 183"/>
              <a:gd name="T71" fmla="*/ 128 h 136"/>
              <a:gd name="T72" fmla="*/ 164 w 183"/>
              <a:gd name="T73" fmla="*/ 82 h 136"/>
              <a:gd name="T74" fmla="*/ 178 w 183"/>
              <a:gd name="T75" fmla="*/ 74 h 136"/>
              <a:gd name="T76" fmla="*/ 172 w 183"/>
              <a:gd name="T77" fmla="*/ 51 h 136"/>
              <a:gd name="T78" fmla="*/ 162 w 183"/>
              <a:gd name="T79" fmla="*/ 65 h 136"/>
              <a:gd name="T80" fmla="*/ 158 w 183"/>
              <a:gd name="T81" fmla="*/ 60 h 136"/>
              <a:gd name="T82" fmla="*/ 162 w 183"/>
              <a:gd name="T83" fmla="*/ 56 h 136"/>
              <a:gd name="T84" fmla="*/ 167 w 183"/>
              <a:gd name="T85" fmla="*/ 60 h 136"/>
              <a:gd name="T86" fmla="*/ 162 w 183"/>
              <a:gd name="T87" fmla="*/ 6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36">
                <a:moveTo>
                  <a:pt x="115" y="58"/>
                </a:moveTo>
                <a:cubicBezTo>
                  <a:pt x="115" y="26"/>
                  <a:pt x="89" y="0"/>
                  <a:pt x="57" y="0"/>
                </a:cubicBezTo>
                <a:cubicBezTo>
                  <a:pt x="25" y="0"/>
                  <a:pt x="0" y="26"/>
                  <a:pt x="0" y="58"/>
                </a:cubicBezTo>
                <a:cubicBezTo>
                  <a:pt x="0" y="90"/>
                  <a:pt x="25" y="116"/>
                  <a:pt x="57" y="116"/>
                </a:cubicBezTo>
                <a:cubicBezTo>
                  <a:pt x="89" y="116"/>
                  <a:pt x="115" y="90"/>
                  <a:pt x="115" y="58"/>
                </a:cubicBezTo>
                <a:close/>
                <a:moveTo>
                  <a:pt x="17" y="56"/>
                </a:moveTo>
                <a:cubicBezTo>
                  <a:pt x="17" y="57"/>
                  <a:pt x="17" y="57"/>
                  <a:pt x="17" y="57"/>
                </a:cubicBezTo>
                <a:cubicBezTo>
                  <a:pt x="17" y="60"/>
                  <a:pt x="15" y="62"/>
                  <a:pt x="13" y="62"/>
                </a:cubicBezTo>
                <a:cubicBezTo>
                  <a:pt x="10" y="62"/>
                  <a:pt x="8" y="60"/>
                  <a:pt x="8" y="57"/>
                </a:cubicBezTo>
                <a:cubicBezTo>
                  <a:pt x="8" y="54"/>
                  <a:pt x="8" y="54"/>
                  <a:pt x="8" y="54"/>
                </a:cubicBezTo>
                <a:cubicBezTo>
                  <a:pt x="8" y="54"/>
                  <a:pt x="8" y="54"/>
                  <a:pt x="8" y="54"/>
                </a:cubicBezTo>
                <a:cubicBezTo>
                  <a:pt x="9" y="31"/>
                  <a:pt x="27" y="12"/>
                  <a:pt x="50" y="11"/>
                </a:cubicBezTo>
                <a:cubicBezTo>
                  <a:pt x="50" y="11"/>
                  <a:pt x="50" y="11"/>
                  <a:pt x="50" y="11"/>
                </a:cubicBezTo>
                <a:cubicBezTo>
                  <a:pt x="57" y="11"/>
                  <a:pt x="57" y="11"/>
                  <a:pt x="57" y="11"/>
                </a:cubicBezTo>
                <a:cubicBezTo>
                  <a:pt x="59" y="11"/>
                  <a:pt x="61" y="13"/>
                  <a:pt x="61" y="16"/>
                </a:cubicBezTo>
                <a:cubicBezTo>
                  <a:pt x="61" y="19"/>
                  <a:pt x="59" y="21"/>
                  <a:pt x="57" y="21"/>
                </a:cubicBezTo>
                <a:cubicBezTo>
                  <a:pt x="52" y="21"/>
                  <a:pt x="52" y="21"/>
                  <a:pt x="52" y="21"/>
                </a:cubicBezTo>
                <a:cubicBezTo>
                  <a:pt x="33" y="21"/>
                  <a:pt x="17" y="36"/>
                  <a:pt x="17" y="56"/>
                </a:cubicBezTo>
                <a:close/>
                <a:moveTo>
                  <a:pt x="45" y="58"/>
                </a:moveTo>
                <a:cubicBezTo>
                  <a:pt x="45" y="51"/>
                  <a:pt x="50" y="46"/>
                  <a:pt x="57" y="46"/>
                </a:cubicBezTo>
                <a:cubicBezTo>
                  <a:pt x="64" y="46"/>
                  <a:pt x="70" y="51"/>
                  <a:pt x="70" y="58"/>
                </a:cubicBezTo>
                <a:cubicBezTo>
                  <a:pt x="70" y="65"/>
                  <a:pt x="64" y="70"/>
                  <a:pt x="57" y="70"/>
                </a:cubicBezTo>
                <a:cubicBezTo>
                  <a:pt x="50" y="70"/>
                  <a:pt x="45" y="65"/>
                  <a:pt x="45" y="58"/>
                </a:cubicBezTo>
                <a:close/>
                <a:moveTo>
                  <a:pt x="172" y="51"/>
                </a:moveTo>
                <a:cubicBezTo>
                  <a:pt x="164" y="47"/>
                  <a:pt x="154" y="50"/>
                  <a:pt x="150" y="57"/>
                </a:cubicBezTo>
                <a:cubicBezTo>
                  <a:pt x="145" y="65"/>
                  <a:pt x="148" y="75"/>
                  <a:pt x="156" y="80"/>
                </a:cubicBezTo>
                <a:cubicBezTo>
                  <a:pt x="156" y="80"/>
                  <a:pt x="156" y="80"/>
                  <a:pt x="156" y="80"/>
                </a:cubicBezTo>
                <a:cubicBezTo>
                  <a:pt x="143" y="104"/>
                  <a:pt x="118" y="120"/>
                  <a:pt x="90" y="120"/>
                </a:cubicBezTo>
                <a:cubicBezTo>
                  <a:pt x="90" y="115"/>
                  <a:pt x="90" y="115"/>
                  <a:pt x="90" y="115"/>
                </a:cubicBezTo>
                <a:cubicBezTo>
                  <a:pt x="80" y="120"/>
                  <a:pt x="69" y="124"/>
                  <a:pt x="57" y="124"/>
                </a:cubicBezTo>
                <a:cubicBezTo>
                  <a:pt x="45" y="124"/>
                  <a:pt x="34" y="120"/>
                  <a:pt x="24" y="115"/>
                </a:cubicBezTo>
                <a:cubicBezTo>
                  <a:pt x="24" y="128"/>
                  <a:pt x="24" y="128"/>
                  <a:pt x="24" y="128"/>
                </a:cubicBezTo>
                <a:cubicBezTo>
                  <a:pt x="24" y="132"/>
                  <a:pt x="28" y="136"/>
                  <a:pt x="33" y="136"/>
                </a:cubicBezTo>
                <a:cubicBezTo>
                  <a:pt x="82" y="136"/>
                  <a:pt x="82" y="136"/>
                  <a:pt x="82" y="136"/>
                </a:cubicBezTo>
                <a:cubicBezTo>
                  <a:pt x="87" y="136"/>
                  <a:pt x="90" y="132"/>
                  <a:pt x="90" y="128"/>
                </a:cubicBezTo>
                <a:cubicBezTo>
                  <a:pt x="90" y="128"/>
                  <a:pt x="90" y="128"/>
                  <a:pt x="90" y="128"/>
                </a:cubicBezTo>
                <a:cubicBezTo>
                  <a:pt x="121" y="128"/>
                  <a:pt x="150" y="110"/>
                  <a:pt x="164" y="82"/>
                </a:cubicBezTo>
                <a:cubicBezTo>
                  <a:pt x="170" y="82"/>
                  <a:pt x="175" y="79"/>
                  <a:pt x="178" y="74"/>
                </a:cubicBezTo>
                <a:cubicBezTo>
                  <a:pt x="183" y="66"/>
                  <a:pt x="180" y="56"/>
                  <a:pt x="172" y="51"/>
                </a:cubicBezTo>
                <a:close/>
                <a:moveTo>
                  <a:pt x="162" y="65"/>
                </a:moveTo>
                <a:cubicBezTo>
                  <a:pt x="160" y="65"/>
                  <a:pt x="158" y="63"/>
                  <a:pt x="158" y="60"/>
                </a:cubicBezTo>
                <a:cubicBezTo>
                  <a:pt x="158" y="58"/>
                  <a:pt x="160" y="56"/>
                  <a:pt x="162" y="56"/>
                </a:cubicBezTo>
                <a:cubicBezTo>
                  <a:pt x="165" y="56"/>
                  <a:pt x="167" y="58"/>
                  <a:pt x="167" y="60"/>
                </a:cubicBezTo>
                <a:cubicBezTo>
                  <a:pt x="167" y="63"/>
                  <a:pt x="165" y="65"/>
                  <a:pt x="162" y="6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8" name="Freeform 9">
            <a:extLst>
              <a:ext uri="{FF2B5EF4-FFF2-40B4-BE49-F238E27FC236}">
                <a16:creationId xmlns:a16="http://schemas.microsoft.com/office/drawing/2014/main" id="{8B31F22B-1C3D-49D0-98A8-67891B4170AE}"/>
              </a:ext>
            </a:extLst>
          </p:cNvPr>
          <p:cNvSpPr>
            <a:spLocks/>
          </p:cNvSpPr>
          <p:nvPr/>
        </p:nvSpPr>
        <p:spPr bwMode="auto">
          <a:xfrm>
            <a:off x="5308980" y="1261530"/>
            <a:ext cx="521594" cy="464787"/>
          </a:xfrm>
          <a:custGeom>
            <a:avLst/>
            <a:gdLst>
              <a:gd name="T0" fmla="*/ 30 w 153"/>
              <a:gd name="T1" fmla="*/ 130 h 136"/>
              <a:gd name="T2" fmla="*/ 64 w 153"/>
              <a:gd name="T3" fmla="*/ 117 h 136"/>
              <a:gd name="T4" fmla="*/ 67 w 153"/>
              <a:gd name="T5" fmla="*/ 135 h 136"/>
              <a:gd name="T6" fmla="*/ 106 w 153"/>
              <a:gd name="T7" fmla="*/ 111 h 136"/>
              <a:gd name="T8" fmla="*/ 67 w 153"/>
              <a:gd name="T9" fmla="*/ 65 h 136"/>
              <a:gd name="T10" fmla="*/ 110 w 153"/>
              <a:gd name="T11" fmla="*/ 107 h 136"/>
              <a:gd name="T12" fmla="*/ 146 w 153"/>
              <a:gd name="T13" fmla="*/ 121 h 136"/>
              <a:gd name="T14" fmla="*/ 150 w 153"/>
              <a:gd name="T15" fmla="*/ 120 h 136"/>
              <a:gd name="T16" fmla="*/ 152 w 153"/>
              <a:gd name="T17" fmla="*/ 118 h 136"/>
              <a:gd name="T18" fmla="*/ 152 w 153"/>
              <a:gd name="T19" fmla="*/ 118 h 136"/>
              <a:gd name="T20" fmla="*/ 152 w 153"/>
              <a:gd name="T21" fmla="*/ 117 h 136"/>
              <a:gd name="T22" fmla="*/ 152 w 153"/>
              <a:gd name="T23" fmla="*/ 116 h 136"/>
              <a:gd name="T24" fmla="*/ 147 w 153"/>
              <a:gd name="T25" fmla="*/ 113 h 136"/>
              <a:gd name="T26" fmla="*/ 111 w 153"/>
              <a:gd name="T27" fmla="*/ 100 h 136"/>
              <a:gd name="T28" fmla="*/ 135 w 153"/>
              <a:gd name="T29" fmla="*/ 59 h 136"/>
              <a:gd name="T30" fmla="*/ 118 w 153"/>
              <a:gd name="T31" fmla="*/ 56 h 136"/>
              <a:gd name="T32" fmla="*/ 128 w 153"/>
              <a:gd name="T33" fmla="*/ 32 h 136"/>
              <a:gd name="T34" fmla="*/ 110 w 153"/>
              <a:gd name="T35" fmla="*/ 32 h 136"/>
              <a:gd name="T36" fmla="*/ 105 w 153"/>
              <a:gd name="T37" fmla="*/ 3 h 136"/>
              <a:gd name="T38" fmla="*/ 92 w 153"/>
              <a:gd name="T39" fmla="*/ 18 h 136"/>
              <a:gd name="T40" fmla="*/ 84 w 153"/>
              <a:gd name="T41" fmla="*/ 11 h 136"/>
              <a:gd name="T42" fmla="*/ 77 w 153"/>
              <a:gd name="T43" fmla="*/ 41 h 136"/>
              <a:gd name="T44" fmla="*/ 60 w 153"/>
              <a:gd name="T45" fmla="*/ 10 h 136"/>
              <a:gd name="T46" fmla="*/ 49 w 153"/>
              <a:gd name="T47" fmla="*/ 23 h 136"/>
              <a:gd name="T48" fmla="*/ 21 w 153"/>
              <a:gd name="T49" fmla="*/ 0 h 136"/>
              <a:gd name="T50" fmla="*/ 31 w 153"/>
              <a:gd name="T51" fmla="*/ 37 h 136"/>
              <a:gd name="T52" fmla="*/ 14 w 153"/>
              <a:gd name="T53" fmla="*/ 42 h 136"/>
              <a:gd name="T54" fmla="*/ 44 w 153"/>
              <a:gd name="T55" fmla="*/ 71 h 136"/>
              <a:gd name="T56" fmla="*/ 12 w 153"/>
              <a:gd name="T57" fmla="*/ 71 h 136"/>
              <a:gd name="T58" fmla="*/ 18 w 153"/>
              <a:gd name="T59" fmla="*/ 82 h 136"/>
              <a:gd name="T60" fmla="*/ 0 w 153"/>
              <a:gd name="T61" fmla="*/ 91 h 136"/>
              <a:gd name="T62" fmla="*/ 35 w 153"/>
              <a:gd name="T63" fmla="*/ 106 h 136"/>
              <a:gd name="T64" fmla="*/ 30 w 153"/>
              <a:gd name="T65"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136">
                <a:moveTo>
                  <a:pt x="30" y="130"/>
                </a:moveTo>
                <a:cubicBezTo>
                  <a:pt x="30" y="130"/>
                  <a:pt x="55" y="114"/>
                  <a:pt x="64" y="117"/>
                </a:cubicBezTo>
                <a:cubicBezTo>
                  <a:pt x="72" y="121"/>
                  <a:pt x="66" y="135"/>
                  <a:pt x="67" y="135"/>
                </a:cubicBezTo>
                <a:cubicBezTo>
                  <a:pt x="67" y="136"/>
                  <a:pt x="97" y="135"/>
                  <a:pt x="106" y="111"/>
                </a:cubicBezTo>
                <a:cubicBezTo>
                  <a:pt x="98" y="105"/>
                  <a:pt x="82" y="92"/>
                  <a:pt x="67" y="65"/>
                </a:cubicBezTo>
                <a:cubicBezTo>
                  <a:pt x="83" y="87"/>
                  <a:pt x="102" y="101"/>
                  <a:pt x="110" y="107"/>
                </a:cubicBezTo>
                <a:cubicBezTo>
                  <a:pt x="120" y="113"/>
                  <a:pt x="134" y="119"/>
                  <a:pt x="146" y="121"/>
                </a:cubicBezTo>
                <a:cubicBezTo>
                  <a:pt x="147" y="121"/>
                  <a:pt x="149" y="121"/>
                  <a:pt x="150" y="120"/>
                </a:cubicBezTo>
                <a:cubicBezTo>
                  <a:pt x="151" y="119"/>
                  <a:pt x="151" y="119"/>
                  <a:pt x="152" y="118"/>
                </a:cubicBezTo>
                <a:cubicBezTo>
                  <a:pt x="152" y="118"/>
                  <a:pt x="152" y="118"/>
                  <a:pt x="152" y="118"/>
                </a:cubicBezTo>
                <a:cubicBezTo>
                  <a:pt x="152" y="117"/>
                  <a:pt x="152" y="117"/>
                  <a:pt x="152" y="117"/>
                </a:cubicBezTo>
                <a:cubicBezTo>
                  <a:pt x="152" y="117"/>
                  <a:pt x="152" y="117"/>
                  <a:pt x="152" y="116"/>
                </a:cubicBezTo>
                <a:cubicBezTo>
                  <a:pt x="153" y="114"/>
                  <a:pt x="152" y="112"/>
                  <a:pt x="147" y="113"/>
                </a:cubicBezTo>
                <a:cubicBezTo>
                  <a:pt x="140" y="115"/>
                  <a:pt x="123" y="109"/>
                  <a:pt x="111" y="100"/>
                </a:cubicBezTo>
                <a:cubicBezTo>
                  <a:pt x="137" y="86"/>
                  <a:pt x="134" y="59"/>
                  <a:pt x="135" y="59"/>
                </a:cubicBezTo>
                <a:cubicBezTo>
                  <a:pt x="135" y="60"/>
                  <a:pt x="124" y="63"/>
                  <a:pt x="118" y="56"/>
                </a:cubicBezTo>
                <a:cubicBezTo>
                  <a:pt x="111" y="50"/>
                  <a:pt x="128" y="32"/>
                  <a:pt x="128" y="32"/>
                </a:cubicBezTo>
                <a:cubicBezTo>
                  <a:pt x="128" y="32"/>
                  <a:pt x="117" y="40"/>
                  <a:pt x="110" y="32"/>
                </a:cubicBezTo>
                <a:cubicBezTo>
                  <a:pt x="103" y="25"/>
                  <a:pt x="105" y="3"/>
                  <a:pt x="105" y="3"/>
                </a:cubicBezTo>
                <a:cubicBezTo>
                  <a:pt x="105" y="3"/>
                  <a:pt x="100" y="18"/>
                  <a:pt x="92" y="18"/>
                </a:cubicBezTo>
                <a:cubicBezTo>
                  <a:pt x="84" y="17"/>
                  <a:pt x="84" y="11"/>
                  <a:pt x="84" y="11"/>
                </a:cubicBezTo>
                <a:cubicBezTo>
                  <a:pt x="84" y="11"/>
                  <a:pt x="84" y="40"/>
                  <a:pt x="77" y="41"/>
                </a:cubicBezTo>
                <a:cubicBezTo>
                  <a:pt x="68" y="43"/>
                  <a:pt x="59" y="10"/>
                  <a:pt x="60" y="10"/>
                </a:cubicBezTo>
                <a:cubicBezTo>
                  <a:pt x="59" y="9"/>
                  <a:pt x="61" y="25"/>
                  <a:pt x="49" y="23"/>
                </a:cubicBezTo>
                <a:cubicBezTo>
                  <a:pt x="37" y="21"/>
                  <a:pt x="21" y="0"/>
                  <a:pt x="21" y="0"/>
                </a:cubicBezTo>
                <a:cubicBezTo>
                  <a:pt x="21" y="0"/>
                  <a:pt x="31" y="26"/>
                  <a:pt x="31" y="37"/>
                </a:cubicBezTo>
                <a:cubicBezTo>
                  <a:pt x="30" y="48"/>
                  <a:pt x="14" y="42"/>
                  <a:pt x="14" y="42"/>
                </a:cubicBezTo>
                <a:cubicBezTo>
                  <a:pt x="14" y="43"/>
                  <a:pt x="43" y="59"/>
                  <a:pt x="44" y="71"/>
                </a:cubicBezTo>
                <a:cubicBezTo>
                  <a:pt x="44" y="83"/>
                  <a:pt x="19" y="74"/>
                  <a:pt x="12" y="71"/>
                </a:cubicBezTo>
                <a:cubicBezTo>
                  <a:pt x="14" y="72"/>
                  <a:pt x="17" y="75"/>
                  <a:pt x="18" y="82"/>
                </a:cubicBezTo>
                <a:cubicBezTo>
                  <a:pt x="18" y="92"/>
                  <a:pt x="0" y="91"/>
                  <a:pt x="0" y="91"/>
                </a:cubicBezTo>
                <a:cubicBezTo>
                  <a:pt x="0" y="91"/>
                  <a:pt x="27" y="99"/>
                  <a:pt x="35" y="106"/>
                </a:cubicBezTo>
                <a:cubicBezTo>
                  <a:pt x="42" y="114"/>
                  <a:pt x="30" y="130"/>
                  <a:pt x="30" y="13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59" name="Freeform 10">
            <a:extLst>
              <a:ext uri="{FF2B5EF4-FFF2-40B4-BE49-F238E27FC236}">
                <a16:creationId xmlns:a16="http://schemas.microsoft.com/office/drawing/2014/main" id="{DD52D3AF-5446-4289-BAF1-04BA35FBB57B}"/>
              </a:ext>
            </a:extLst>
          </p:cNvPr>
          <p:cNvSpPr>
            <a:spLocks noEditPoints="1"/>
          </p:cNvSpPr>
          <p:nvPr/>
        </p:nvSpPr>
        <p:spPr bwMode="auto">
          <a:xfrm>
            <a:off x="6507097" y="1209887"/>
            <a:ext cx="366665" cy="519012"/>
          </a:xfrm>
          <a:custGeom>
            <a:avLst/>
            <a:gdLst>
              <a:gd name="T0" fmla="*/ 90 w 107"/>
              <a:gd name="T1" fmla="*/ 24 h 152"/>
              <a:gd name="T2" fmla="*/ 78 w 107"/>
              <a:gd name="T3" fmla="*/ 16 h 152"/>
              <a:gd name="T4" fmla="*/ 74 w 107"/>
              <a:gd name="T5" fmla="*/ 0 h 152"/>
              <a:gd name="T6" fmla="*/ 29 w 107"/>
              <a:gd name="T7" fmla="*/ 4 h 152"/>
              <a:gd name="T8" fmla="*/ 16 w 107"/>
              <a:gd name="T9" fmla="*/ 16 h 152"/>
              <a:gd name="T10" fmla="*/ 3 w 107"/>
              <a:gd name="T11" fmla="*/ 24 h 152"/>
              <a:gd name="T12" fmla="*/ 0 w 107"/>
              <a:gd name="T13" fmla="*/ 148 h 152"/>
              <a:gd name="T14" fmla="*/ 103 w 107"/>
              <a:gd name="T15" fmla="*/ 152 h 152"/>
              <a:gd name="T16" fmla="*/ 107 w 107"/>
              <a:gd name="T17" fmla="*/ 28 h 152"/>
              <a:gd name="T18" fmla="*/ 37 w 107"/>
              <a:gd name="T19" fmla="*/ 12 h 152"/>
              <a:gd name="T20" fmla="*/ 66 w 107"/>
              <a:gd name="T21" fmla="*/ 8 h 152"/>
              <a:gd name="T22" fmla="*/ 70 w 107"/>
              <a:gd name="T23" fmla="*/ 16 h 152"/>
              <a:gd name="T24" fmla="*/ 41 w 107"/>
              <a:gd name="T25" fmla="*/ 20 h 152"/>
              <a:gd name="T26" fmla="*/ 37 w 107"/>
              <a:gd name="T27" fmla="*/ 12 h 152"/>
              <a:gd name="T28" fmla="*/ 82 w 107"/>
              <a:gd name="T29" fmla="*/ 127 h 152"/>
              <a:gd name="T30" fmla="*/ 8 w 107"/>
              <a:gd name="T31" fmla="*/ 144 h 152"/>
              <a:gd name="T32" fmla="*/ 16 w 107"/>
              <a:gd name="T33" fmla="*/ 33 h 152"/>
              <a:gd name="T34" fmla="*/ 90 w 107"/>
              <a:gd name="T35" fmla="*/ 37 h 152"/>
              <a:gd name="T36" fmla="*/ 99 w 107"/>
              <a:gd name="T37" fmla="*/ 33 h 152"/>
              <a:gd name="T38" fmla="*/ 35 w 107"/>
              <a:gd name="T39" fmla="*/ 104 h 152"/>
              <a:gd name="T40" fmla="*/ 23 w 107"/>
              <a:gd name="T41" fmla="*/ 111 h 152"/>
              <a:gd name="T42" fmla="*/ 17 w 107"/>
              <a:gd name="T43" fmla="*/ 113 h 152"/>
              <a:gd name="T44" fmla="*/ 24 w 107"/>
              <a:gd name="T45" fmla="*/ 127 h 152"/>
              <a:gd name="T46" fmla="*/ 25 w 107"/>
              <a:gd name="T47" fmla="*/ 127 h 152"/>
              <a:gd name="T48" fmla="*/ 26 w 107"/>
              <a:gd name="T49" fmla="*/ 127 h 152"/>
              <a:gd name="T50" fmla="*/ 27 w 107"/>
              <a:gd name="T51" fmla="*/ 126 h 152"/>
              <a:gd name="T52" fmla="*/ 40 w 107"/>
              <a:gd name="T53" fmla="*/ 103 h 152"/>
              <a:gd name="T54" fmla="*/ 35 w 107"/>
              <a:gd name="T55" fmla="*/ 75 h 152"/>
              <a:gd name="T56" fmla="*/ 23 w 107"/>
              <a:gd name="T57" fmla="*/ 82 h 152"/>
              <a:gd name="T58" fmla="*/ 17 w 107"/>
              <a:gd name="T59" fmla="*/ 84 h 152"/>
              <a:gd name="T60" fmla="*/ 24 w 107"/>
              <a:gd name="T61" fmla="*/ 98 h 152"/>
              <a:gd name="T62" fmla="*/ 25 w 107"/>
              <a:gd name="T63" fmla="*/ 98 h 152"/>
              <a:gd name="T64" fmla="*/ 26 w 107"/>
              <a:gd name="T65" fmla="*/ 98 h 152"/>
              <a:gd name="T66" fmla="*/ 27 w 107"/>
              <a:gd name="T67" fmla="*/ 97 h 152"/>
              <a:gd name="T68" fmla="*/ 40 w 107"/>
              <a:gd name="T69" fmla="*/ 75 h 152"/>
              <a:gd name="T70" fmla="*/ 86 w 107"/>
              <a:gd name="T71" fmla="*/ 82 h 152"/>
              <a:gd name="T72" fmla="*/ 45 w 107"/>
              <a:gd name="T73" fmla="*/ 86 h 152"/>
              <a:gd name="T74" fmla="*/ 86 w 107"/>
              <a:gd name="T75" fmla="*/ 90 h 152"/>
              <a:gd name="T76" fmla="*/ 86 w 107"/>
              <a:gd name="T77" fmla="*/ 82 h 152"/>
              <a:gd name="T78" fmla="*/ 49 w 107"/>
              <a:gd name="T79" fmla="*/ 53 h 152"/>
              <a:gd name="T80" fmla="*/ 49 w 107"/>
              <a:gd name="T81" fmla="*/ 61 h 152"/>
              <a:gd name="T82" fmla="*/ 90 w 107"/>
              <a:gd name="T83" fmla="*/ 57 h 152"/>
              <a:gd name="T84" fmla="*/ 35 w 107"/>
              <a:gd name="T85" fmla="*/ 46 h 152"/>
              <a:gd name="T86" fmla="*/ 23 w 107"/>
              <a:gd name="T87" fmla="*/ 53 h 152"/>
              <a:gd name="T88" fmla="*/ 17 w 107"/>
              <a:gd name="T89" fmla="*/ 55 h 152"/>
              <a:gd name="T90" fmla="*/ 24 w 107"/>
              <a:gd name="T91" fmla="*/ 69 h 152"/>
              <a:gd name="T92" fmla="*/ 25 w 107"/>
              <a:gd name="T93" fmla="*/ 69 h 152"/>
              <a:gd name="T94" fmla="*/ 26 w 107"/>
              <a:gd name="T95" fmla="*/ 69 h 152"/>
              <a:gd name="T96" fmla="*/ 27 w 107"/>
              <a:gd name="T97" fmla="*/ 68 h 152"/>
              <a:gd name="T98" fmla="*/ 40 w 107"/>
              <a:gd name="T99" fmla="*/ 46 h 152"/>
              <a:gd name="T100" fmla="*/ 86 w 107"/>
              <a:gd name="T101" fmla="*/ 111 h 152"/>
              <a:gd name="T102" fmla="*/ 45 w 107"/>
              <a:gd name="T103" fmla="*/ 115 h 152"/>
              <a:gd name="T104" fmla="*/ 86 w 107"/>
              <a:gd name="T105" fmla="*/ 119 h 152"/>
              <a:gd name="T106" fmla="*/ 86 w 107"/>
              <a:gd name="T107" fmla="*/ 11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7" h="152">
                <a:moveTo>
                  <a:pt x="103" y="24"/>
                </a:moveTo>
                <a:cubicBezTo>
                  <a:pt x="90" y="24"/>
                  <a:pt x="90" y="24"/>
                  <a:pt x="90" y="24"/>
                </a:cubicBezTo>
                <a:cubicBezTo>
                  <a:pt x="90" y="16"/>
                  <a:pt x="90" y="16"/>
                  <a:pt x="90" y="16"/>
                </a:cubicBezTo>
                <a:cubicBezTo>
                  <a:pt x="78" y="16"/>
                  <a:pt x="78" y="16"/>
                  <a:pt x="78" y="16"/>
                </a:cubicBezTo>
                <a:cubicBezTo>
                  <a:pt x="78" y="4"/>
                  <a:pt x="78" y="4"/>
                  <a:pt x="78" y="4"/>
                </a:cubicBezTo>
                <a:cubicBezTo>
                  <a:pt x="78" y="2"/>
                  <a:pt x="76" y="0"/>
                  <a:pt x="74" y="0"/>
                </a:cubicBezTo>
                <a:cubicBezTo>
                  <a:pt x="33" y="0"/>
                  <a:pt x="33" y="0"/>
                  <a:pt x="33" y="0"/>
                </a:cubicBezTo>
                <a:cubicBezTo>
                  <a:pt x="30" y="0"/>
                  <a:pt x="29" y="2"/>
                  <a:pt x="29" y="4"/>
                </a:cubicBezTo>
                <a:cubicBezTo>
                  <a:pt x="29" y="16"/>
                  <a:pt x="29" y="16"/>
                  <a:pt x="29" y="16"/>
                </a:cubicBezTo>
                <a:cubicBezTo>
                  <a:pt x="16" y="16"/>
                  <a:pt x="16" y="16"/>
                  <a:pt x="16" y="16"/>
                </a:cubicBezTo>
                <a:cubicBezTo>
                  <a:pt x="16" y="24"/>
                  <a:pt x="16" y="24"/>
                  <a:pt x="16" y="24"/>
                </a:cubicBezTo>
                <a:cubicBezTo>
                  <a:pt x="3" y="24"/>
                  <a:pt x="3" y="24"/>
                  <a:pt x="3" y="24"/>
                </a:cubicBezTo>
                <a:cubicBezTo>
                  <a:pt x="1" y="24"/>
                  <a:pt x="0" y="26"/>
                  <a:pt x="0" y="28"/>
                </a:cubicBezTo>
                <a:cubicBezTo>
                  <a:pt x="0" y="148"/>
                  <a:pt x="0" y="148"/>
                  <a:pt x="0" y="148"/>
                </a:cubicBezTo>
                <a:cubicBezTo>
                  <a:pt x="0" y="150"/>
                  <a:pt x="1" y="152"/>
                  <a:pt x="3" y="152"/>
                </a:cubicBezTo>
                <a:cubicBezTo>
                  <a:pt x="103" y="152"/>
                  <a:pt x="103" y="152"/>
                  <a:pt x="103" y="152"/>
                </a:cubicBezTo>
                <a:cubicBezTo>
                  <a:pt x="105" y="152"/>
                  <a:pt x="107" y="150"/>
                  <a:pt x="107" y="148"/>
                </a:cubicBezTo>
                <a:cubicBezTo>
                  <a:pt x="107" y="28"/>
                  <a:pt x="107" y="28"/>
                  <a:pt x="107" y="28"/>
                </a:cubicBezTo>
                <a:cubicBezTo>
                  <a:pt x="107" y="26"/>
                  <a:pt x="105" y="24"/>
                  <a:pt x="103" y="24"/>
                </a:cubicBezTo>
                <a:close/>
                <a:moveTo>
                  <a:pt x="37" y="12"/>
                </a:moveTo>
                <a:cubicBezTo>
                  <a:pt x="37" y="10"/>
                  <a:pt x="39" y="8"/>
                  <a:pt x="41" y="8"/>
                </a:cubicBezTo>
                <a:cubicBezTo>
                  <a:pt x="66" y="8"/>
                  <a:pt x="66" y="8"/>
                  <a:pt x="66" y="8"/>
                </a:cubicBezTo>
                <a:cubicBezTo>
                  <a:pt x="68" y="8"/>
                  <a:pt x="70" y="10"/>
                  <a:pt x="70" y="12"/>
                </a:cubicBezTo>
                <a:cubicBezTo>
                  <a:pt x="70" y="16"/>
                  <a:pt x="70" y="16"/>
                  <a:pt x="70" y="16"/>
                </a:cubicBezTo>
                <a:cubicBezTo>
                  <a:pt x="70" y="18"/>
                  <a:pt x="68" y="20"/>
                  <a:pt x="66" y="20"/>
                </a:cubicBezTo>
                <a:cubicBezTo>
                  <a:pt x="41" y="20"/>
                  <a:pt x="41" y="20"/>
                  <a:pt x="41" y="20"/>
                </a:cubicBezTo>
                <a:cubicBezTo>
                  <a:pt x="39" y="20"/>
                  <a:pt x="37" y="18"/>
                  <a:pt x="37" y="16"/>
                </a:cubicBezTo>
                <a:lnTo>
                  <a:pt x="37" y="12"/>
                </a:lnTo>
                <a:close/>
                <a:moveTo>
                  <a:pt x="99" y="116"/>
                </a:moveTo>
                <a:cubicBezTo>
                  <a:pt x="99" y="132"/>
                  <a:pt x="82" y="127"/>
                  <a:pt x="82" y="127"/>
                </a:cubicBezTo>
                <a:cubicBezTo>
                  <a:pt x="82" y="127"/>
                  <a:pt x="88" y="144"/>
                  <a:pt x="74" y="144"/>
                </a:cubicBezTo>
                <a:cubicBezTo>
                  <a:pt x="47" y="144"/>
                  <a:pt x="8" y="144"/>
                  <a:pt x="8" y="144"/>
                </a:cubicBezTo>
                <a:cubicBezTo>
                  <a:pt x="8" y="33"/>
                  <a:pt x="8" y="33"/>
                  <a:pt x="8" y="33"/>
                </a:cubicBezTo>
                <a:cubicBezTo>
                  <a:pt x="16" y="33"/>
                  <a:pt x="16" y="33"/>
                  <a:pt x="16" y="33"/>
                </a:cubicBezTo>
                <a:cubicBezTo>
                  <a:pt x="16" y="37"/>
                  <a:pt x="16" y="37"/>
                  <a:pt x="16" y="37"/>
                </a:cubicBezTo>
                <a:cubicBezTo>
                  <a:pt x="90" y="37"/>
                  <a:pt x="90" y="37"/>
                  <a:pt x="90" y="37"/>
                </a:cubicBezTo>
                <a:cubicBezTo>
                  <a:pt x="90" y="33"/>
                  <a:pt x="90" y="33"/>
                  <a:pt x="90" y="33"/>
                </a:cubicBezTo>
                <a:cubicBezTo>
                  <a:pt x="99" y="33"/>
                  <a:pt x="99" y="33"/>
                  <a:pt x="99" y="33"/>
                </a:cubicBezTo>
                <a:cubicBezTo>
                  <a:pt x="99" y="33"/>
                  <a:pt x="99" y="82"/>
                  <a:pt x="99" y="116"/>
                </a:cubicBezTo>
                <a:close/>
                <a:moveTo>
                  <a:pt x="35" y="104"/>
                </a:moveTo>
                <a:cubicBezTo>
                  <a:pt x="25" y="117"/>
                  <a:pt x="25" y="117"/>
                  <a:pt x="25" y="117"/>
                </a:cubicBezTo>
                <a:cubicBezTo>
                  <a:pt x="23" y="111"/>
                  <a:pt x="23" y="111"/>
                  <a:pt x="23" y="111"/>
                </a:cubicBezTo>
                <a:cubicBezTo>
                  <a:pt x="22" y="109"/>
                  <a:pt x="20" y="108"/>
                  <a:pt x="18" y="109"/>
                </a:cubicBezTo>
                <a:cubicBezTo>
                  <a:pt x="17" y="110"/>
                  <a:pt x="16" y="111"/>
                  <a:pt x="17" y="113"/>
                </a:cubicBezTo>
                <a:cubicBezTo>
                  <a:pt x="21" y="125"/>
                  <a:pt x="21" y="125"/>
                  <a:pt x="21" y="125"/>
                </a:cubicBezTo>
                <a:cubicBezTo>
                  <a:pt x="22" y="126"/>
                  <a:pt x="23" y="127"/>
                  <a:pt x="24" y="127"/>
                </a:cubicBezTo>
                <a:cubicBezTo>
                  <a:pt x="24" y="127"/>
                  <a:pt x="24" y="127"/>
                  <a:pt x="24" y="127"/>
                </a:cubicBezTo>
                <a:cubicBezTo>
                  <a:pt x="24" y="127"/>
                  <a:pt x="24" y="127"/>
                  <a:pt x="25" y="127"/>
                </a:cubicBezTo>
                <a:cubicBezTo>
                  <a:pt x="25" y="127"/>
                  <a:pt x="25" y="127"/>
                  <a:pt x="25" y="127"/>
                </a:cubicBezTo>
                <a:cubicBezTo>
                  <a:pt x="26" y="127"/>
                  <a:pt x="26" y="127"/>
                  <a:pt x="26" y="127"/>
                </a:cubicBezTo>
                <a:cubicBezTo>
                  <a:pt x="26" y="127"/>
                  <a:pt x="26" y="127"/>
                  <a:pt x="26" y="127"/>
                </a:cubicBezTo>
                <a:cubicBezTo>
                  <a:pt x="26" y="127"/>
                  <a:pt x="27" y="126"/>
                  <a:pt x="27" y="126"/>
                </a:cubicBezTo>
                <a:cubicBezTo>
                  <a:pt x="40" y="108"/>
                  <a:pt x="40" y="108"/>
                  <a:pt x="40" y="108"/>
                </a:cubicBezTo>
                <a:cubicBezTo>
                  <a:pt x="41" y="106"/>
                  <a:pt x="41" y="104"/>
                  <a:pt x="40" y="103"/>
                </a:cubicBezTo>
                <a:cubicBezTo>
                  <a:pt x="38" y="102"/>
                  <a:pt x="36" y="102"/>
                  <a:pt x="35" y="104"/>
                </a:cubicBezTo>
                <a:close/>
                <a:moveTo>
                  <a:pt x="35" y="75"/>
                </a:moveTo>
                <a:cubicBezTo>
                  <a:pt x="25" y="88"/>
                  <a:pt x="25" y="88"/>
                  <a:pt x="25" y="88"/>
                </a:cubicBezTo>
                <a:cubicBezTo>
                  <a:pt x="23" y="82"/>
                  <a:pt x="23" y="82"/>
                  <a:pt x="23" y="82"/>
                </a:cubicBezTo>
                <a:cubicBezTo>
                  <a:pt x="22" y="80"/>
                  <a:pt x="20" y="79"/>
                  <a:pt x="18" y="80"/>
                </a:cubicBezTo>
                <a:cubicBezTo>
                  <a:pt x="17" y="81"/>
                  <a:pt x="16" y="83"/>
                  <a:pt x="17" y="84"/>
                </a:cubicBezTo>
                <a:cubicBezTo>
                  <a:pt x="21" y="96"/>
                  <a:pt x="21" y="96"/>
                  <a:pt x="21" y="96"/>
                </a:cubicBezTo>
                <a:cubicBezTo>
                  <a:pt x="22" y="97"/>
                  <a:pt x="23" y="98"/>
                  <a:pt x="24" y="98"/>
                </a:cubicBezTo>
                <a:cubicBezTo>
                  <a:pt x="24" y="98"/>
                  <a:pt x="24" y="98"/>
                  <a:pt x="24" y="98"/>
                </a:cubicBezTo>
                <a:cubicBezTo>
                  <a:pt x="24" y="98"/>
                  <a:pt x="24" y="98"/>
                  <a:pt x="25" y="98"/>
                </a:cubicBezTo>
                <a:cubicBezTo>
                  <a:pt x="25" y="98"/>
                  <a:pt x="25" y="98"/>
                  <a:pt x="25" y="98"/>
                </a:cubicBezTo>
                <a:cubicBezTo>
                  <a:pt x="26" y="98"/>
                  <a:pt x="26" y="98"/>
                  <a:pt x="26" y="98"/>
                </a:cubicBezTo>
                <a:cubicBezTo>
                  <a:pt x="26" y="98"/>
                  <a:pt x="26" y="98"/>
                  <a:pt x="26" y="98"/>
                </a:cubicBezTo>
                <a:cubicBezTo>
                  <a:pt x="26" y="98"/>
                  <a:pt x="27" y="98"/>
                  <a:pt x="27" y="97"/>
                </a:cubicBezTo>
                <a:cubicBezTo>
                  <a:pt x="40" y="79"/>
                  <a:pt x="40" y="79"/>
                  <a:pt x="40" y="79"/>
                </a:cubicBezTo>
                <a:cubicBezTo>
                  <a:pt x="41" y="78"/>
                  <a:pt x="41" y="76"/>
                  <a:pt x="40" y="75"/>
                </a:cubicBezTo>
                <a:cubicBezTo>
                  <a:pt x="38" y="73"/>
                  <a:pt x="36" y="74"/>
                  <a:pt x="35" y="75"/>
                </a:cubicBezTo>
                <a:close/>
                <a:moveTo>
                  <a:pt x="86" y="82"/>
                </a:moveTo>
                <a:cubicBezTo>
                  <a:pt x="49" y="82"/>
                  <a:pt x="49" y="82"/>
                  <a:pt x="49" y="82"/>
                </a:cubicBezTo>
                <a:cubicBezTo>
                  <a:pt x="47" y="82"/>
                  <a:pt x="45" y="84"/>
                  <a:pt x="45" y="86"/>
                </a:cubicBezTo>
                <a:cubicBezTo>
                  <a:pt x="45" y="88"/>
                  <a:pt x="47" y="90"/>
                  <a:pt x="49" y="90"/>
                </a:cubicBezTo>
                <a:cubicBezTo>
                  <a:pt x="86" y="90"/>
                  <a:pt x="86" y="90"/>
                  <a:pt x="86" y="90"/>
                </a:cubicBezTo>
                <a:cubicBezTo>
                  <a:pt x="88" y="90"/>
                  <a:pt x="90" y="88"/>
                  <a:pt x="90" y="86"/>
                </a:cubicBezTo>
                <a:cubicBezTo>
                  <a:pt x="90" y="84"/>
                  <a:pt x="88" y="82"/>
                  <a:pt x="86" y="82"/>
                </a:cubicBezTo>
                <a:close/>
                <a:moveTo>
                  <a:pt x="86" y="53"/>
                </a:moveTo>
                <a:cubicBezTo>
                  <a:pt x="49" y="53"/>
                  <a:pt x="49" y="53"/>
                  <a:pt x="49" y="53"/>
                </a:cubicBezTo>
                <a:cubicBezTo>
                  <a:pt x="47" y="53"/>
                  <a:pt x="45" y="55"/>
                  <a:pt x="45" y="57"/>
                </a:cubicBezTo>
                <a:cubicBezTo>
                  <a:pt x="45" y="60"/>
                  <a:pt x="47" y="61"/>
                  <a:pt x="49" y="61"/>
                </a:cubicBezTo>
                <a:cubicBezTo>
                  <a:pt x="86" y="61"/>
                  <a:pt x="86" y="61"/>
                  <a:pt x="86" y="61"/>
                </a:cubicBezTo>
                <a:cubicBezTo>
                  <a:pt x="88" y="61"/>
                  <a:pt x="90" y="60"/>
                  <a:pt x="90" y="57"/>
                </a:cubicBezTo>
                <a:cubicBezTo>
                  <a:pt x="90" y="55"/>
                  <a:pt x="88" y="53"/>
                  <a:pt x="86" y="53"/>
                </a:cubicBezTo>
                <a:close/>
                <a:moveTo>
                  <a:pt x="35" y="46"/>
                </a:moveTo>
                <a:cubicBezTo>
                  <a:pt x="25" y="60"/>
                  <a:pt x="25" y="60"/>
                  <a:pt x="25" y="60"/>
                </a:cubicBezTo>
                <a:cubicBezTo>
                  <a:pt x="23" y="53"/>
                  <a:pt x="23" y="53"/>
                  <a:pt x="23" y="53"/>
                </a:cubicBezTo>
                <a:cubicBezTo>
                  <a:pt x="22" y="51"/>
                  <a:pt x="20" y="51"/>
                  <a:pt x="18" y="51"/>
                </a:cubicBezTo>
                <a:cubicBezTo>
                  <a:pt x="17" y="52"/>
                  <a:pt x="16" y="54"/>
                  <a:pt x="17" y="55"/>
                </a:cubicBezTo>
                <a:cubicBezTo>
                  <a:pt x="21" y="67"/>
                  <a:pt x="21" y="67"/>
                  <a:pt x="21" y="67"/>
                </a:cubicBezTo>
                <a:cubicBezTo>
                  <a:pt x="22" y="68"/>
                  <a:pt x="23" y="69"/>
                  <a:pt x="24" y="69"/>
                </a:cubicBezTo>
                <a:cubicBezTo>
                  <a:pt x="24" y="69"/>
                  <a:pt x="24" y="69"/>
                  <a:pt x="24" y="69"/>
                </a:cubicBezTo>
                <a:cubicBezTo>
                  <a:pt x="24" y="69"/>
                  <a:pt x="24" y="70"/>
                  <a:pt x="25" y="69"/>
                </a:cubicBezTo>
                <a:cubicBezTo>
                  <a:pt x="25" y="69"/>
                  <a:pt x="25" y="69"/>
                  <a:pt x="25" y="69"/>
                </a:cubicBezTo>
                <a:cubicBezTo>
                  <a:pt x="26" y="69"/>
                  <a:pt x="26" y="69"/>
                  <a:pt x="26" y="69"/>
                </a:cubicBezTo>
                <a:cubicBezTo>
                  <a:pt x="26" y="69"/>
                  <a:pt x="26" y="69"/>
                  <a:pt x="26" y="69"/>
                </a:cubicBezTo>
                <a:cubicBezTo>
                  <a:pt x="26" y="69"/>
                  <a:pt x="27" y="69"/>
                  <a:pt x="27" y="68"/>
                </a:cubicBezTo>
                <a:cubicBezTo>
                  <a:pt x="40" y="50"/>
                  <a:pt x="40" y="50"/>
                  <a:pt x="40" y="50"/>
                </a:cubicBezTo>
                <a:cubicBezTo>
                  <a:pt x="41" y="49"/>
                  <a:pt x="41" y="47"/>
                  <a:pt x="40" y="46"/>
                </a:cubicBezTo>
                <a:cubicBezTo>
                  <a:pt x="38" y="45"/>
                  <a:pt x="36" y="45"/>
                  <a:pt x="35" y="46"/>
                </a:cubicBezTo>
                <a:close/>
                <a:moveTo>
                  <a:pt x="86" y="111"/>
                </a:moveTo>
                <a:cubicBezTo>
                  <a:pt x="49" y="111"/>
                  <a:pt x="49" y="111"/>
                  <a:pt x="49" y="111"/>
                </a:cubicBezTo>
                <a:cubicBezTo>
                  <a:pt x="47" y="111"/>
                  <a:pt x="45" y="113"/>
                  <a:pt x="45" y="115"/>
                </a:cubicBezTo>
                <a:cubicBezTo>
                  <a:pt x="45" y="117"/>
                  <a:pt x="47" y="119"/>
                  <a:pt x="49" y="119"/>
                </a:cubicBezTo>
                <a:cubicBezTo>
                  <a:pt x="86" y="119"/>
                  <a:pt x="86" y="119"/>
                  <a:pt x="86" y="119"/>
                </a:cubicBezTo>
                <a:cubicBezTo>
                  <a:pt x="88" y="119"/>
                  <a:pt x="90" y="117"/>
                  <a:pt x="90" y="115"/>
                </a:cubicBezTo>
                <a:cubicBezTo>
                  <a:pt x="90" y="113"/>
                  <a:pt x="88" y="111"/>
                  <a:pt x="86" y="11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0" name="Freeform 11">
            <a:extLst>
              <a:ext uri="{FF2B5EF4-FFF2-40B4-BE49-F238E27FC236}">
                <a16:creationId xmlns:a16="http://schemas.microsoft.com/office/drawing/2014/main" id="{CFC5D16C-9746-4074-8F9F-DB1518937893}"/>
              </a:ext>
            </a:extLst>
          </p:cNvPr>
          <p:cNvSpPr>
            <a:spLocks noEditPoints="1"/>
          </p:cNvSpPr>
          <p:nvPr/>
        </p:nvSpPr>
        <p:spPr bwMode="auto">
          <a:xfrm>
            <a:off x="7604510" y="1264110"/>
            <a:ext cx="420891" cy="438965"/>
          </a:xfrm>
          <a:custGeom>
            <a:avLst/>
            <a:gdLst>
              <a:gd name="T0" fmla="*/ 40 w 123"/>
              <a:gd name="T1" fmla="*/ 93 h 128"/>
              <a:gd name="T2" fmla="*/ 24 w 123"/>
              <a:gd name="T3" fmla="*/ 87 h 128"/>
              <a:gd name="T4" fmla="*/ 34 w 123"/>
              <a:gd name="T5" fmla="*/ 101 h 128"/>
              <a:gd name="T6" fmla="*/ 54 w 123"/>
              <a:gd name="T7" fmla="*/ 101 h 128"/>
              <a:gd name="T8" fmla="*/ 62 w 123"/>
              <a:gd name="T9" fmla="*/ 87 h 128"/>
              <a:gd name="T10" fmla="*/ 58 w 123"/>
              <a:gd name="T11" fmla="*/ 77 h 128"/>
              <a:gd name="T12" fmla="*/ 58 w 123"/>
              <a:gd name="T13" fmla="*/ 71 h 128"/>
              <a:gd name="T14" fmla="*/ 56 w 123"/>
              <a:gd name="T15" fmla="*/ 57 h 128"/>
              <a:gd name="T16" fmla="*/ 31 w 123"/>
              <a:gd name="T17" fmla="*/ 57 h 128"/>
              <a:gd name="T18" fmla="*/ 37 w 123"/>
              <a:gd name="T19" fmla="*/ 66 h 128"/>
              <a:gd name="T20" fmla="*/ 46 w 123"/>
              <a:gd name="T21" fmla="*/ 63 h 128"/>
              <a:gd name="T22" fmla="*/ 46 w 123"/>
              <a:gd name="T23" fmla="*/ 71 h 128"/>
              <a:gd name="T24" fmla="*/ 41 w 123"/>
              <a:gd name="T25" fmla="*/ 81 h 128"/>
              <a:gd name="T26" fmla="*/ 48 w 123"/>
              <a:gd name="T27" fmla="*/ 83 h 128"/>
              <a:gd name="T28" fmla="*/ 48 w 123"/>
              <a:gd name="T29" fmla="*/ 93 h 128"/>
              <a:gd name="T30" fmla="*/ 82 w 123"/>
              <a:gd name="T31" fmla="*/ 103 h 128"/>
              <a:gd name="T32" fmla="*/ 94 w 123"/>
              <a:gd name="T33" fmla="*/ 54 h 128"/>
              <a:gd name="T34" fmla="*/ 70 w 123"/>
              <a:gd name="T35" fmla="*/ 66 h 128"/>
              <a:gd name="T36" fmla="*/ 82 w 123"/>
              <a:gd name="T37" fmla="*/ 70 h 128"/>
              <a:gd name="T38" fmla="*/ 119 w 123"/>
              <a:gd name="T39" fmla="*/ 8 h 128"/>
              <a:gd name="T40" fmla="*/ 111 w 123"/>
              <a:gd name="T41" fmla="*/ 22 h 128"/>
              <a:gd name="T42" fmla="*/ 105 w 123"/>
              <a:gd name="T43" fmla="*/ 33 h 128"/>
              <a:gd name="T44" fmla="*/ 95 w 123"/>
              <a:gd name="T45" fmla="*/ 25 h 128"/>
              <a:gd name="T46" fmla="*/ 107 w 123"/>
              <a:gd name="T47" fmla="*/ 0 h 128"/>
              <a:gd name="T48" fmla="*/ 94 w 123"/>
              <a:gd name="T49" fmla="*/ 8 h 128"/>
              <a:gd name="T50" fmla="*/ 82 w 123"/>
              <a:gd name="T51" fmla="*/ 22 h 128"/>
              <a:gd name="T52" fmla="*/ 76 w 123"/>
              <a:gd name="T53" fmla="*/ 33 h 128"/>
              <a:gd name="T54" fmla="*/ 66 w 123"/>
              <a:gd name="T55" fmla="*/ 25 h 128"/>
              <a:gd name="T56" fmla="*/ 78 w 123"/>
              <a:gd name="T57" fmla="*/ 0 h 128"/>
              <a:gd name="T58" fmla="*/ 66 w 123"/>
              <a:gd name="T59" fmla="*/ 8 h 128"/>
              <a:gd name="T60" fmla="*/ 53 w 123"/>
              <a:gd name="T61" fmla="*/ 22 h 128"/>
              <a:gd name="T62" fmla="*/ 47 w 123"/>
              <a:gd name="T63" fmla="*/ 33 h 128"/>
              <a:gd name="T64" fmla="*/ 37 w 123"/>
              <a:gd name="T65" fmla="*/ 25 h 128"/>
              <a:gd name="T66" fmla="*/ 49 w 123"/>
              <a:gd name="T67" fmla="*/ 0 h 128"/>
              <a:gd name="T68" fmla="*/ 37 w 123"/>
              <a:gd name="T69" fmla="*/ 8 h 128"/>
              <a:gd name="T70" fmla="*/ 24 w 123"/>
              <a:gd name="T71" fmla="*/ 22 h 128"/>
              <a:gd name="T72" fmla="*/ 18 w 123"/>
              <a:gd name="T73" fmla="*/ 33 h 128"/>
              <a:gd name="T74" fmla="*/ 9 w 123"/>
              <a:gd name="T75" fmla="*/ 25 h 128"/>
              <a:gd name="T76" fmla="*/ 20 w 123"/>
              <a:gd name="T77" fmla="*/ 0 h 128"/>
              <a:gd name="T78" fmla="*/ 8 w 123"/>
              <a:gd name="T79" fmla="*/ 8 h 128"/>
              <a:gd name="T80" fmla="*/ 0 w 123"/>
              <a:gd name="T81" fmla="*/ 12 h 128"/>
              <a:gd name="T82" fmla="*/ 4 w 123"/>
              <a:gd name="T83" fmla="*/ 128 h 128"/>
              <a:gd name="T84" fmla="*/ 123 w 123"/>
              <a:gd name="T85" fmla="*/ 124 h 128"/>
              <a:gd name="T86" fmla="*/ 119 w 123"/>
              <a:gd name="T87" fmla="*/ 8 h 128"/>
              <a:gd name="T88" fmla="*/ 8 w 123"/>
              <a:gd name="T89" fmla="*/ 119 h 128"/>
              <a:gd name="T90" fmla="*/ 115 w 123"/>
              <a:gd name="T91" fmla="*/ 3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3" h="128">
                <a:moveTo>
                  <a:pt x="44" y="95"/>
                </a:moveTo>
                <a:cubicBezTo>
                  <a:pt x="42" y="95"/>
                  <a:pt x="41" y="94"/>
                  <a:pt x="40" y="93"/>
                </a:cubicBezTo>
                <a:cubicBezTo>
                  <a:pt x="39" y="92"/>
                  <a:pt x="37" y="89"/>
                  <a:pt x="37" y="87"/>
                </a:cubicBezTo>
                <a:cubicBezTo>
                  <a:pt x="24" y="87"/>
                  <a:pt x="24" y="87"/>
                  <a:pt x="24" y="87"/>
                </a:cubicBezTo>
                <a:cubicBezTo>
                  <a:pt x="24" y="91"/>
                  <a:pt x="27" y="95"/>
                  <a:pt x="28" y="97"/>
                </a:cubicBezTo>
                <a:cubicBezTo>
                  <a:pt x="30" y="99"/>
                  <a:pt x="32" y="100"/>
                  <a:pt x="34" y="101"/>
                </a:cubicBezTo>
                <a:cubicBezTo>
                  <a:pt x="37" y="102"/>
                  <a:pt x="40" y="103"/>
                  <a:pt x="44" y="103"/>
                </a:cubicBezTo>
                <a:cubicBezTo>
                  <a:pt x="48" y="103"/>
                  <a:pt x="52" y="102"/>
                  <a:pt x="54" y="101"/>
                </a:cubicBezTo>
                <a:cubicBezTo>
                  <a:pt x="57" y="99"/>
                  <a:pt x="59" y="98"/>
                  <a:pt x="60" y="95"/>
                </a:cubicBezTo>
                <a:cubicBezTo>
                  <a:pt x="62" y="92"/>
                  <a:pt x="62" y="90"/>
                  <a:pt x="62" y="87"/>
                </a:cubicBezTo>
                <a:cubicBezTo>
                  <a:pt x="62" y="85"/>
                  <a:pt x="62" y="83"/>
                  <a:pt x="61" y="81"/>
                </a:cubicBezTo>
                <a:cubicBezTo>
                  <a:pt x="60" y="80"/>
                  <a:pt x="59" y="78"/>
                  <a:pt x="58" y="77"/>
                </a:cubicBezTo>
                <a:cubicBezTo>
                  <a:pt x="57" y="77"/>
                  <a:pt x="55" y="76"/>
                  <a:pt x="53" y="76"/>
                </a:cubicBezTo>
                <a:cubicBezTo>
                  <a:pt x="56" y="75"/>
                  <a:pt x="57" y="73"/>
                  <a:pt x="58" y="71"/>
                </a:cubicBezTo>
                <a:cubicBezTo>
                  <a:pt x="59" y="70"/>
                  <a:pt x="60" y="68"/>
                  <a:pt x="60" y="66"/>
                </a:cubicBezTo>
                <a:cubicBezTo>
                  <a:pt x="60" y="62"/>
                  <a:pt x="59" y="59"/>
                  <a:pt x="56" y="57"/>
                </a:cubicBezTo>
                <a:cubicBezTo>
                  <a:pt x="53" y="55"/>
                  <a:pt x="49" y="54"/>
                  <a:pt x="43" y="54"/>
                </a:cubicBezTo>
                <a:cubicBezTo>
                  <a:pt x="38" y="54"/>
                  <a:pt x="34" y="55"/>
                  <a:pt x="31" y="57"/>
                </a:cubicBezTo>
                <a:cubicBezTo>
                  <a:pt x="28" y="59"/>
                  <a:pt x="25" y="62"/>
                  <a:pt x="24" y="66"/>
                </a:cubicBezTo>
                <a:cubicBezTo>
                  <a:pt x="37" y="66"/>
                  <a:pt x="37" y="66"/>
                  <a:pt x="37" y="66"/>
                </a:cubicBezTo>
                <a:cubicBezTo>
                  <a:pt x="37" y="64"/>
                  <a:pt x="41" y="62"/>
                  <a:pt x="43" y="62"/>
                </a:cubicBezTo>
                <a:cubicBezTo>
                  <a:pt x="44" y="62"/>
                  <a:pt x="45" y="62"/>
                  <a:pt x="46" y="63"/>
                </a:cubicBezTo>
                <a:cubicBezTo>
                  <a:pt x="47" y="64"/>
                  <a:pt x="48" y="65"/>
                  <a:pt x="48" y="67"/>
                </a:cubicBezTo>
                <a:cubicBezTo>
                  <a:pt x="48" y="68"/>
                  <a:pt x="47" y="69"/>
                  <a:pt x="46" y="71"/>
                </a:cubicBezTo>
                <a:cubicBezTo>
                  <a:pt x="43" y="73"/>
                  <a:pt x="41" y="73"/>
                  <a:pt x="41" y="73"/>
                </a:cubicBezTo>
                <a:cubicBezTo>
                  <a:pt x="41" y="81"/>
                  <a:pt x="41" y="81"/>
                  <a:pt x="41" y="81"/>
                </a:cubicBezTo>
                <a:cubicBezTo>
                  <a:pt x="43" y="81"/>
                  <a:pt x="43" y="81"/>
                  <a:pt x="43" y="81"/>
                </a:cubicBezTo>
                <a:cubicBezTo>
                  <a:pt x="45" y="81"/>
                  <a:pt x="47" y="81"/>
                  <a:pt x="48" y="83"/>
                </a:cubicBezTo>
                <a:cubicBezTo>
                  <a:pt x="49" y="84"/>
                  <a:pt x="50" y="85"/>
                  <a:pt x="50" y="88"/>
                </a:cubicBezTo>
                <a:cubicBezTo>
                  <a:pt x="50" y="90"/>
                  <a:pt x="49" y="92"/>
                  <a:pt x="48" y="93"/>
                </a:cubicBezTo>
                <a:cubicBezTo>
                  <a:pt x="47" y="94"/>
                  <a:pt x="45" y="95"/>
                  <a:pt x="44" y="95"/>
                </a:cubicBezTo>
                <a:close/>
                <a:moveTo>
                  <a:pt x="82" y="103"/>
                </a:moveTo>
                <a:cubicBezTo>
                  <a:pt x="94" y="103"/>
                  <a:pt x="94" y="103"/>
                  <a:pt x="94" y="103"/>
                </a:cubicBezTo>
                <a:cubicBezTo>
                  <a:pt x="94" y="54"/>
                  <a:pt x="94" y="54"/>
                  <a:pt x="94" y="54"/>
                </a:cubicBezTo>
                <a:cubicBezTo>
                  <a:pt x="84" y="54"/>
                  <a:pt x="84" y="54"/>
                  <a:pt x="84" y="54"/>
                </a:cubicBezTo>
                <a:cubicBezTo>
                  <a:pt x="81" y="60"/>
                  <a:pt x="78" y="64"/>
                  <a:pt x="70" y="66"/>
                </a:cubicBezTo>
                <a:cubicBezTo>
                  <a:pt x="70" y="77"/>
                  <a:pt x="70" y="77"/>
                  <a:pt x="70" y="77"/>
                </a:cubicBezTo>
                <a:cubicBezTo>
                  <a:pt x="75" y="76"/>
                  <a:pt x="78" y="74"/>
                  <a:pt x="82" y="70"/>
                </a:cubicBezTo>
                <a:lnTo>
                  <a:pt x="82" y="103"/>
                </a:lnTo>
                <a:close/>
                <a:moveTo>
                  <a:pt x="119" y="8"/>
                </a:moveTo>
                <a:cubicBezTo>
                  <a:pt x="111" y="8"/>
                  <a:pt x="111" y="8"/>
                  <a:pt x="111" y="8"/>
                </a:cubicBezTo>
                <a:cubicBezTo>
                  <a:pt x="111" y="22"/>
                  <a:pt x="111" y="22"/>
                  <a:pt x="111" y="22"/>
                </a:cubicBezTo>
                <a:cubicBezTo>
                  <a:pt x="113" y="23"/>
                  <a:pt x="115" y="25"/>
                  <a:pt x="115" y="27"/>
                </a:cubicBezTo>
                <a:cubicBezTo>
                  <a:pt x="115" y="30"/>
                  <a:pt x="110" y="33"/>
                  <a:pt x="105" y="33"/>
                </a:cubicBezTo>
                <a:cubicBezTo>
                  <a:pt x="99" y="33"/>
                  <a:pt x="94" y="30"/>
                  <a:pt x="94" y="27"/>
                </a:cubicBezTo>
                <a:cubicBezTo>
                  <a:pt x="94" y="26"/>
                  <a:pt x="95" y="25"/>
                  <a:pt x="95" y="25"/>
                </a:cubicBezTo>
                <a:cubicBezTo>
                  <a:pt x="107" y="25"/>
                  <a:pt x="107" y="25"/>
                  <a:pt x="107" y="25"/>
                </a:cubicBezTo>
                <a:cubicBezTo>
                  <a:pt x="107" y="0"/>
                  <a:pt x="107" y="0"/>
                  <a:pt x="107" y="0"/>
                </a:cubicBezTo>
                <a:cubicBezTo>
                  <a:pt x="94" y="0"/>
                  <a:pt x="94" y="0"/>
                  <a:pt x="94" y="0"/>
                </a:cubicBezTo>
                <a:cubicBezTo>
                  <a:pt x="94" y="8"/>
                  <a:pt x="94" y="8"/>
                  <a:pt x="94" y="8"/>
                </a:cubicBezTo>
                <a:cubicBezTo>
                  <a:pt x="82" y="8"/>
                  <a:pt x="82" y="8"/>
                  <a:pt x="82" y="8"/>
                </a:cubicBezTo>
                <a:cubicBezTo>
                  <a:pt x="82" y="22"/>
                  <a:pt x="82" y="22"/>
                  <a:pt x="82" y="22"/>
                </a:cubicBezTo>
                <a:cubicBezTo>
                  <a:pt x="84" y="23"/>
                  <a:pt x="86" y="25"/>
                  <a:pt x="86" y="27"/>
                </a:cubicBezTo>
                <a:cubicBezTo>
                  <a:pt x="86" y="30"/>
                  <a:pt x="82" y="33"/>
                  <a:pt x="76" y="33"/>
                </a:cubicBezTo>
                <a:cubicBezTo>
                  <a:pt x="70" y="33"/>
                  <a:pt x="66" y="30"/>
                  <a:pt x="66" y="27"/>
                </a:cubicBezTo>
                <a:cubicBezTo>
                  <a:pt x="66" y="26"/>
                  <a:pt x="66" y="25"/>
                  <a:pt x="66" y="25"/>
                </a:cubicBezTo>
                <a:cubicBezTo>
                  <a:pt x="78" y="25"/>
                  <a:pt x="78" y="25"/>
                  <a:pt x="78" y="25"/>
                </a:cubicBezTo>
                <a:cubicBezTo>
                  <a:pt x="78" y="0"/>
                  <a:pt x="78" y="0"/>
                  <a:pt x="78" y="0"/>
                </a:cubicBezTo>
                <a:cubicBezTo>
                  <a:pt x="66" y="0"/>
                  <a:pt x="66" y="0"/>
                  <a:pt x="66" y="0"/>
                </a:cubicBezTo>
                <a:cubicBezTo>
                  <a:pt x="66" y="8"/>
                  <a:pt x="66" y="8"/>
                  <a:pt x="66" y="8"/>
                </a:cubicBezTo>
                <a:cubicBezTo>
                  <a:pt x="53" y="8"/>
                  <a:pt x="53" y="8"/>
                  <a:pt x="53" y="8"/>
                </a:cubicBezTo>
                <a:cubicBezTo>
                  <a:pt x="53" y="22"/>
                  <a:pt x="53" y="22"/>
                  <a:pt x="53" y="22"/>
                </a:cubicBezTo>
                <a:cubicBezTo>
                  <a:pt x="56" y="23"/>
                  <a:pt x="57" y="25"/>
                  <a:pt x="57" y="27"/>
                </a:cubicBezTo>
                <a:cubicBezTo>
                  <a:pt x="57" y="30"/>
                  <a:pt x="53" y="33"/>
                  <a:pt x="47" y="33"/>
                </a:cubicBezTo>
                <a:cubicBezTo>
                  <a:pt x="41" y="33"/>
                  <a:pt x="37" y="30"/>
                  <a:pt x="37" y="27"/>
                </a:cubicBezTo>
                <a:cubicBezTo>
                  <a:pt x="37" y="26"/>
                  <a:pt x="37" y="25"/>
                  <a:pt x="37" y="25"/>
                </a:cubicBezTo>
                <a:cubicBezTo>
                  <a:pt x="49" y="25"/>
                  <a:pt x="49" y="25"/>
                  <a:pt x="49" y="25"/>
                </a:cubicBezTo>
                <a:cubicBezTo>
                  <a:pt x="49" y="0"/>
                  <a:pt x="49" y="0"/>
                  <a:pt x="49" y="0"/>
                </a:cubicBezTo>
                <a:cubicBezTo>
                  <a:pt x="37" y="0"/>
                  <a:pt x="37" y="0"/>
                  <a:pt x="37" y="0"/>
                </a:cubicBezTo>
                <a:cubicBezTo>
                  <a:pt x="37" y="8"/>
                  <a:pt x="37" y="8"/>
                  <a:pt x="37" y="8"/>
                </a:cubicBezTo>
                <a:cubicBezTo>
                  <a:pt x="24" y="8"/>
                  <a:pt x="24" y="8"/>
                  <a:pt x="24" y="8"/>
                </a:cubicBezTo>
                <a:cubicBezTo>
                  <a:pt x="24" y="22"/>
                  <a:pt x="24" y="22"/>
                  <a:pt x="24" y="22"/>
                </a:cubicBezTo>
                <a:cubicBezTo>
                  <a:pt x="27" y="23"/>
                  <a:pt x="29" y="25"/>
                  <a:pt x="29" y="27"/>
                </a:cubicBezTo>
                <a:cubicBezTo>
                  <a:pt x="29" y="30"/>
                  <a:pt x="24" y="33"/>
                  <a:pt x="18" y="33"/>
                </a:cubicBezTo>
                <a:cubicBezTo>
                  <a:pt x="13" y="33"/>
                  <a:pt x="8" y="30"/>
                  <a:pt x="8" y="27"/>
                </a:cubicBezTo>
                <a:cubicBezTo>
                  <a:pt x="8" y="26"/>
                  <a:pt x="8" y="25"/>
                  <a:pt x="9" y="25"/>
                </a:cubicBezTo>
                <a:cubicBezTo>
                  <a:pt x="20" y="25"/>
                  <a:pt x="20" y="25"/>
                  <a:pt x="20" y="25"/>
                </a:cubicBezTo>
                <a:cubicBezTo>
                  <a:pt x="20" y="0"/>
                  <a:pt x="20" y="0"/>
                  <a:pt x="20" y="0"/>
                </a:cubicBezTo>
                <a:cubicBezTo>
                  <a:pt x="8" y="0"/>
                  <a:pt x="8" y="0"/>
                  <a:pt x="8" y="0"/>
                </a:cubicBezTo>
                <a:cubicBezTo>
                  <a:pt x="8" y="8"/>
                  <a:pt x="8" y="8"/>
                  <a:pt x="8" y="8"/>
                </a:cubicBezTo>
                <a:cubicBezTo>
                  <a:pt x="4" y="8"/>
                  <a:pt x="4" y="8"/>
                  <a:pt x="4" y="8"/>
                </a:cubicBezTo>
                <a:cubicBezTo>
                  <a:pt x="2" y="8"/>
                  <a:pt x="0" y="10"/>
                  <a:pt x="0" y="12"/>
                </a:cubicBezTo>
                <a:cubicBezTo>
                  <a:pt x="0" y="124"/>
                  <a:pt x="0" y="124"/>
                  <a:pt x="0" y="124"/>
                </a:cubicBezTo>
                <a:cubicBezTo>
                  <a:pt x="0" y="126"/>
                  <a:pt x="2" y="128"/>
                  <a:pt x="4" y="128"/>
                </a:cubicBezTo>
                <a:cubicBezTo>
                  <a:pt x="119" y="128"/>
                  <a:pt x="119" y="128"/>
                  <a:pt x="119" y="128"/>
                </a:cubicBezTo>
                <a:cubicBezTo>
                  <a:pt x="121" y="128"/>
                  <a:pt x="123" y="126"/>
                  <a:pt x="123" y="124"/>
                </a:cubicBezTo>
                <a:cubicBezTo>
                  <a:pt x="123" y="12"/>
                  <a:pt x="123" y="12"/>
                  <a:pt x="123" y="12"/>
                </a:cubicBezTo>
                <a:cubicBezTo>
                  <a:pt x="123" y="10"/>
                  <a:pt x="121" y="8"/>
                  <a:pt x="119" y="8"/>
                </a:cubicBezTo>
                <a:close/>
                <a:moveTo>
                  <a:pt x="115" y="119"/>
                </a:moveTo>
                <a:cubicBezTo>
                  <a:pt x="8" y="119"/>
                  <a:pt x="8" y="119"/>
                  <a:pt x="8" y="119"/>
                </a:cubicBezTo>
                <a:cubicBezTo>
                  <a:pt x="8" y="37"/>
                  <a:pt x="8" y="37"/>
                  <a:pt x="8" y="37"/>
                </a:cubicBezTo>
                <a:cubicBezTo>
                  <a:pt x="115" y="37"/>
                  <a:pt x="115" y="37"/>
                  <a:pt x="115" y="37"/>
                </a:cubicBezTo>
                <a:lnTo>
                  <a:pt x="115" y="11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1" name="Freeform 12">
            <a:extLst>
              <a:ext uri="{FF2B5EF4-FFF2-40B4-BE49-F238E27FC236}">
                <a16:creationId xmlns:a16="http://schemas.microsoft.com/office/drawing/2014/main" id="{B9B3E4D8-1B34-43A7-AA0C-455DB64E6FDA}"/>
              </a:ext>
            </a:extLst>
          </p:cNvPr>
          <p:cNvSpPr>
            <a:spLocks/>
          </p:cNvSpPr>
          <p:nvPr/>
        </p:nvSpPr>
        <p:spPr bwMode="auto">
          <a:xfrm>
            <a:off x="8689013" y="1264110"/>
            <a:ext cx="503520" cy="438965"/>
          </a:xfrm>
          <a:custGeom>
            <a:avLst/>
            <a:gdLst>
              <a:gd name="T0" fmla="*/ 64 w 148"/>
              <a:gd name="T1" fmla="*/ 121 h 128"/>
              <a:gd name="T2" fmla="*/ 64 w 148"/>
              <a:gd name="T3" fmla="*/ 123 h 128"/>
              <a:gd name="T4" fmla="*/ 74 w 148"/>
              <a:gd name="T5" fmla="*/ 128 h 128"/>
              <a:gd name="T6" fmla="*/ 83 w 148"/>
              <a:gd name="T7" fmla="*/ 123 h 128"/>
              <a:gd name="T8" fmla="*/ 83 w 148"/>
              <a:gd name="T9" fmla="*/ 121 h 128"/>
              <a:gd name="T10" fmla="*/ 93 w 148"/>
              <a:gd name="T11" fmla="*/ 118 h 128"/>
              <a:gd name="T12" fmla="*/ 148 w 148"/>
              <a:gd name="T13" fmla="*/ 123 h 128"/>
              <a:gd name="T14" fmla="*/ 148 w 148"/>
              <a:gd name="T15" fmla="*/ 24 h 128"/>
              <a:gd name="T16" fmla="*/ 139 w 148"/>
              <a:gd name="T17" fmla="*/ 23 h 128"/>
              <a:gd name="T18" fmla="*/ 139 w 148"/>
              <a:gd name="T19" fmla="*/ 109 h 128"/>
              <a:gd name="T20" fmla="*/ 94 w 148"/>
              <a:gd name="T21" fmla="*/ 104 h 128"/>
              <a:gd name="T22" fmla="*/ 77 w 148"/>
              <a:gd name="T23" fmla="*/ 119 h 128"/>
              <a:gd name="T24" fmla="*/ 75 w 148"/>
              <a:gd name="T25" fmla="*/ 118 h 128"/>
              <a:gd name="T26" fmla="*/ 89 w 148"/>
              <a:gd name="T27" fmla="*/ 99 h 128"/>
              <a:gd name="T28" fmla="*/ 131 w 148"/>
              <a:gd name="T29" fmla="*/ 96 h 128"/>
              <a:gd name="T30" fmla="*/ 131 w 148"/>
              <a:gd name="T31" fmla="*/ 0 h 128"/>
              <a:gd name="T32" fmla="*/ 111 w 148"/>
              <a:gd name="T33" fmla="*/ 5 h 128"/>
              <a:gd name="T34" fmla="*/ 111 w 148"/>
              <a:gd name="T35" fmla="*/ 76 h 128"/>
              <a:gd name="T36" fmla="*/ 100 w 148"/>
              <a:gd name="T37" fmla="*/ 70 h 128"/>
              <a:gd name="T38" fmla="*/ 90 w 148"/>
              <a:gd name="T39" fmla="*/ 83 h 128"/>
              <a:gd name="T40" fmla="*/ 90 w 148"/>
              <a:gd name="T41" fmla="*/ 11 h 128"/>
              <a:gd name="T42" fmla="*/ 90 w 148"/>
              <a:gd name="T43" fmla="*/ 12 h 128"/>
              <a:gd name="T44" fmla="*/ 74 w 148"/>
              <a:gd name="T45" fmla="*/ 26 h 128"/>
              <a:gd name="T46" fmla="*/ 57 w 148"/>
              <a:gd name="T47" fmla="*/ 12 h 128"/>
              <a:gd name="T48" fmla="*/ 16 w 148"/>
              <a:gd name="T49" fmla="*/ 0 h 128"/>
              <a:gd name="T50" fmla="*/ 16 w 148"/>
              <a:gd name="T51" fmla="*/ 96 h 128"/>
              <a:gd name="T52" fmla="*/ 57 w 148"/>
              <a:gd name="T53" fmla="*/ 99 h 128"/>
              <a:gd name="T54" fmla="*/ 72 w 148"/>
              <a:gd name="T55" fmla="*/ 118 h 128"/>
              <a:gd name="T56" fmla="*/ 70 w 148"/>
              <a:gd name="T57" fmla="*/ 119 h 128"/>
              <a:gd name="T58" fmla="*/ 53 w 148"/>
              <a:gd name="T59" fmla="*/ 104 h 128"/>
              <a:gd name="T60" fmla="*/ 8 w 148"/>
              <a:gd name="T61" fmla="*/ 109 h 128"/>
              <a:gd name="T62" fmla="*/ 8 w 148"/>
              <a:gd name="T63" fmla="*/ 23 h 128"/>
              <a:gd name="T64" fmla="*/ 0 w 148"/>
              <a:gd name="T65" fmla="*/ 24 h 128"/>
              <a:gd name="T66" fmla="*/ 0 w 148"/>
              <a:gd name="T67" fmla="*/ 123 h 128"/>
              <a:gd name="T68" fmla="*/ 54 w 148"/>
              <a:gd name="T69" fmla="*/ 118 h 128"/>
              <a:gd name="T70" fmla="*/ 64 w 148"/>
              <a:gd name="T71" fmla="*/ 1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128">
                <a:moveTo>
                  <a:pt x="64" y="121"/>
                </a:moveTo>
                <a:cubicBezTo>
                  <a:pt x="64" y="122"/>
                  <a:pt x="64" y="122"/>
                  <a:pt x="64" y="123"/>
                </a:cubicBezTo>
                <a:cubicBezTo>
                  <a:pt x="64" y="126"/>
                  <a:pt x="68" y="128"/>
                  <a:pt x="74" y="128"/>
                </a:cubicBezTo>
                <a:cubicBezTo>
                  <a:pt x="79" y="128"/>
                  <a:pt x="83" y="126"/>
                  <a:pt x="83" y="123"/>
                </a:cubicBezTo>
                <a:cubicBezTo>
                  <a:pt x="83" y="122"/>
                  <a:pt x="83" y="122"/>
                  <a:pt x="83" y="121"/>
                </a:cubicBezTo>
                <a:cubicBezTo>
                  <a:pt x="86" y="120"/>
                  <a:pt x="89" y="118"/>
                  <a:pt x="93" y="118"/>
                </a:cubicBezTo>
                <a:cubicBezTo>
                  <a:pt x="115" y="118"/>
                  <a:pt x="148" y="123"/>
                  <a:pt x="148" y="123"/>
                </a:cubicBezTo>
                <a:cubicBezTo>
                  <a:pt x="148" y="24"/>
                  <a:pt x="148" y="24"/>
                  <a:pt x="148" y="24"/>
                </a:cubicBezTo>
                <a:cubicBezTo>
                  <a:pt x="148" y="24"/>
                  <a:pt x="144" y="23"/>
                  <a:pt x="139" y="23"/>
                </a:cubicBezTo>
                <a:cubicBezTo>
                  <a:pt x="139" y="109"/>
                  <a:pt x="139" y="109"/>
                  <a:pt x="139" y="109"/>
                </a:cubicBezTo>
                <a:cubicBezTo>
                  <a:pt x="139" y="109"/>
                  <a:pt x="113" y="98"/>
                  <a:pt x="94" y="104"/>
                </a:cubicBezTo>
                <a:cubicBezTo>
                  <a:pt x="87" y="106"/>
                  <a:pt x="81" y="114"/>
                  <a:pt x="77" y="119"/>
                </a:cubicBezTo>
                <a:cubicBezTo>
                  <a:pt x="76" y="118"/>
                  <a:pt x="76" y="118"/>
                  <a:pt x="75" y="118"/>
                </a:cubicBezTo>
                <a:cubicBezTo>
                  <a:pt x="78" y="113"/>
                  <a:pt x="83" y="103"/>
                  <a:pt x="89" y="99"/>
                </a:cubicBezTo>
                <a:cubicBezTo>
                  <a:pt x="107" y="91"/>
                  <a:pt x="131" y="96"/>
                  <a:pt x="131" y="96"/>
                </a:cubicBezTo>
                <a:cubicBezTo>
                  <a:pt x="131" y="0"/>
                  <a:pt x="131" y="0"/>
                  <a:pt x="131" y="0"/>
                </a:cubicBezTo>
                <a:cubicBezTo>
                  <a:pt x="131" y="0"/>
                  <a:pt x="122" y="2"/>
                  <a:pt x="111" y="5"/>
                </a:cubicBezTo>
                <a:cubicBezTo>
                  <a:pt x="111" y="76"/>
                  <a:pt x="111" y="76"/>
                  <a:pt x="111" y="76"/>
                </a:cubicBezTo>
                <a:cubicBezTo>
                  <a:pt x="100" y="70"/>
                  <a:pt x="100" y="70"/>
                  <a:pt x="100" y="70"/>
                </a:cubicBezTo>
                <a:cubicBezTo>
                  <a:pt x="90" y="83"/>
                  <a:pt x="90" y="83"/>
                  <a:pt x="90" y="83"/>
                </a:cubicBezTo>
                <a:cubicBezTo>
                  <a:pt x="90" y="11"/>
                  <a:pt x="90" y="11"/>
                  <a:pt x="90" y="11"/>
                </a:cubicBezTo>
                <a:cubicBezTo>
                  <a:pt x="90" y="11"/>
                  <a:pt x="90" y="11"/>
                  <a:pt x="90" y="12"/>
                </a:cubicBezTo>
                <a:cubicBezTo>
                  <a:pt x="81" y="15"/>
                  <a:pt x="74" y="26"/>
                  <a:pt x="74" y="26"/>
                </a:cubicBezTo>
                <a:cubicBezTo>
                  <a:pt x="74" y="26"/>
                  <a:pt x="66" y="15"/>
                  <a:pt x="57" y="12"/>
                </a:cubicBezTo>
                <a:cubicBezTo>
                  <a:pt x="40" y="5"/>
                  <a:pt x="16" y="0"/>
                  <a:pt x="16" y="0"/>
                </a:cubicBezTo>
                <a:cubicBezTo>
                  <a:pt x="16" y="96"/>
                  <a:pt x="16" y="96"/>
                  <a:pt x="16" y="96"/>
                </a:cubicBezTo>
                <a:cubicBezTo>
                  <a:pt x="16" y="96"/>
                  <a:pt x="40" y="91"/>
                  <a:pt x="57" y="99"/>
                </a:cubicBezTo>
                <a:cubicBezTo>
                  <a:pt x="64" y="103"/>
                  <a:pt x="69" y="113"/>
                  <a:pt x="72" y="118"/>
                </a:cubicBezTo>
                <a:cubicBezTo>
                  <a:pt x="71" y="118"/>
                  <a:pt x="71" y="118"/>
                  <a:pt x="70" y="119"/>
                </a:cubicBezTo>
                <a:cubicBezTo>
                  <a:pt x="67" y="114"/>
                  <a:pt x="60" y="106"/>
                  <a:pt x="53" y="104"/>
                </a:cubicBezTo>
                <a:cubicBezTo>
                  <a:pt x="34" y="98"/>
                  <a:pt x="8" y="109"/>
                  <a:pt x="8" y="109"/>
                </a:cubicBezTo>
                <a:cubicBezTo>
                  <a:pt x="8" y="23"/>
                  <a:pt x="8" y="23"/>
                  <a:pt x="8" y="23"/>
                </a:cubicBezTo>
                <a:cubicBezTo>
                  <a:pt x="3" y="23"/>
                  <a:pt x="0" y="24"/>
                  <a:pt x="0" y="24"/>
                </a:cubicBezTo>
                <a:cubicBezTo>
                  <a:pt x="0" y="123"/>
                  <a:pt x="0" y="123"/>
                  <a:pt x="0" y="123"/>
                </a:cubicBezTo>
                <a:cubicBezTo>
                  <a:pt x="0" y="123"/>
                  <a:pt x="32" y="118"/>
                  <a:pt x="54" y="118"/>
                </a:cubicBezTo>
                <a:cubicBezTo>
                  <a:pt x="58" y="118"/>
                  <a:pt x="61" y="120"/>
                  <a:pt x="64" y="12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2" name="Freeform 13">
            <a:extLst>
              <a:ext uri="{FF2B5EF4-FFF2-40B4-BE49-F238E27FC236}">
                <a16:creationId xmlns:a16="http://schemas.microsoft.com/office/drawing/2014/main" id="{E74C9D5B-7E16-4972-BB0F-1C1677B5C730}"/>
              </a:ext>
            </a:extLst>
          </p:cNvPr>
          <p:cNvSpPr>
            <a:spLocks noEditPoints="1"/>
          </p:cNvSpPr>
          <p:nvPr/>
        </p:nvSpPr>
        <p:spPr bwMode="auto">
          <a:xfrm>
            <a:off x="9812249" y="1277022"/>
            <a:ext cx="506102" cy="410562"/>
          </a:xfrm>
          <a:custGeom>
            <a:avLst/>
            <a:gdLst>
              <a:gd name="T0" fmla="*/ 12 w 148"/>
              <a:gd name="T1" fmla="*/ 66 h 120"/>
              <a:gd name="T2" fmla="*/ 52 w 148"/>
              <a:gd name="T3" fmla="*/ 66 h 120"/>
              <a:gd name="T4" fmla="*/ 66 w 148"/>
              <a:gd name="T5" fmla="*/ 66 h 120"/>
              <a:gd name="T6" fmla="*/ 52 w 148"/>
              <a:gd name="T7" fmla="*/ 70 h 120"/>
              <a:gd name="T8" fmla="*/ 12 w 148"/>
              <a:gd name="T9" fmla="*/ 87 h 120"/>
              <a:gd name="T10" fmla="*/ 66 w 148"/>
              <a:gd name="T11" fmla="*/ 87 h 120"/>
              <a:gd name="T12" fmla="*/ 52 w 148"/>
              <a:gd name="T13" fmla="*/ 70 h 120"/>
              <a:gd name="T14" fmla="*/ 12 w 148"/>
              <a:gd name="T15" fmla="*/ 41 h 120"/>
              <a:gd name="T16" fmla="*/ 52 w 148"/>
              <a:gd name="T17" fmla="*/ 41 h 120"/>
              <a:gd name="T18" fmla="*/ 66 w 148"/>
              <a:gd name="T19" fmla="*/ 41 h 120"/>
              <a:gd name="T20" fmla="*/ 52 w 148"/>
              <a:gd name="T21" fmla="*/ 46 h 120"/>
              <a:gd name="T22" fmla="*/ 12 w 148"/>
              <a:gd name="T23" fmla="*/ 62 h 120"/>
              <a:gd name="T24" fmla="*/ 66 w 148"/>
              <a:gd name="T25" fmla="*/ 62 h 120"/>
              <a:gd name="T26" fmla="*/ 52 w 148"/>
              <a:gd name="T27" fmla="*/ 46 h 120"/>
              <a:gd name="T28" fmla="*/ 12 w 148"/>
              <a:gd name="T29" fmla="*/ 29 h 120"/>
              <a:gd name="T30" fmla="*/ 52 w 148"/>
              <a:gd name="T31" fmla="*/ 29 h 120"/>
              <a:gd name="T32" fmla="*/ 66 w 148"/>
              <a:gd name="T33" fmla="*/ 29 h 120"/>
              <a:gd name="T34" fmla="*/ 82 w 148"/>
              <a:gd name="T35" fmla="*/ 29 h 120"/>
              <a:gd name="T36" fmla="*/ 95 w 148"/>
              <a:gd name="T37" fmla="*/ 29 h 120"/>
              <a:gd name="T38" fmla="*/ 135 w 148"/>
              <a:gd name="T39" fmla="*/ 29 h 120"/>
              <a:gd name="T40" fmla="*/ 82 w 148"/>
              <a:gd name="T41" fmla="*/ 29 h 120"/>
              <a:gd name="T42" fmla="*/ 82 w 148"/>
              <a:gd name="T43" fmla="*/ 50 h 120"/>
              <a:gd name="T44" fmla="*/ 135 w 148"/>
              <a:gd name="T45" fmla="*/ 50 h 120"/>
              <a:gd name="T46" fmla="*/ 95 w 148"/>
              <a:gd name="T47" fmla="*/ 33 h 120"/>
              <a:gd name="T48" fmla="*/ 82 w 148"/>
              <a:gd name="T49" fmla="*/ 54 h 120"/>
              <a:gd name="T50" fmla="*/ 95 w 148"/>
              <a:gd name="T51" fmla="*/ 54 h 120"/>
              <a:gd name="T52" fmla="*/ 135 w 148"/>
              <a:gd name="T53" fmla="*/ 54 h 120"/>
              <a:gd name="T54" fmla="*/ 82 w 148"/>
              <a:gd name="T55" fmla="*/ 54 h 120"/>
              <a:gd name="T56" fmla="*/ 82 w 148"/>
              <a:gd name="T57" fmla="*/ 87 h 120"/>
              <a:gd name="T58" fmla="*/ 135 w 148"/>
              <a:gd name="T59" fmla="*/ 87 h 120"/>
              <a:gd name="T60" fmla="*/ 95 w 148"/>
              <a:gd name="T61" fmla="*/ 70 h 120"/>
              <a:gd name="T62" fmla="*/ 82 w 148"/>
              <a:gd name="T63" fmla="*/ 66 h 120"/>
              <a:gd name="T64" fmla="*/ 95 w 148"/>
              <a:gd name="T65" fmla="*/ 66 h 120"/>
              <a:gd name="T66" fmla="*/ 135 w 148"/>
              <a:gd name="T67" fmla="*/ 66 h 120"/>
              <a:gd name="T68" fmla="*/ 82 w 148"/>
              <a:gd name="T69" fmla="*/ 66 h 120"/>
              <a:gd name="T70" fmla="*/ 74 w 148"/>
              <a:gd name="T71" fmla="*/ 17 h 120"/>
              <a:gd name="T72" fmla="*/ 0 w 148"/>
              <a:gd name="T73" fmla="*/ 13 h 120"/>
              <a:gd name="T74" fmla="*/ 54 w 148"/>
              <a:gd name="T75" fmla="*/ 111 h 120"/>
              <a:gd name="T76" fmla="*/ 64 w 148"/>
              <a:gd name="T77" fmla="*/ 115 h 120"/>
              <a:gd name="T78" fmla="*/ 84 w 148"/>
              <a:gd name="T79" fmla="*/ 115 h 120"/>
              <a:gd name="T80" fmla="*/ 93 w 148"/>
              <a:gd name="T81" fmla="*/ 111 h 120"/>
              <a:gd name="T82" fmla="*/ 148 w 148"/>
              <a:gd name="T83" fmla="*/ 13 h 120"/>
              <a:gd name="T84" fmla="*/ 70 w 148"/>
              <a:gd name="T85" fmla="*/ 111 h 120"/>
              <a:gd name="T86" fmla="*/ 8 w 148"/>
              <a:gd name="T87" fmla="*/ 107 h 120"/>
              <a:gd name="T88" fmla="*/ 53 w 148"/>
              <a:gd name="T89" fmla="*/ 7 h 120"/>
              <a:gd name="T90" fmla="*/ 70 w 148"/>
              <a:gd name="T91" fmla="*/ 111 h 120"/>
              <a:gd name="T92" fmla="*/ 98 w 148"/>
              <a:gd name="T93" fmla="*/ 96 h 120"/>
              <a:gd name="T94" fmla="*/ 78 w 148"/>
              <a:gd name="T95" fmla="*/ 23 h 120"/>
              <a:gd name="T96" fmla="*/ 140 w 148"/>
              <a:gd name="T97" fmla="*/ 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20">
                <a:moveTo>
                  <a:pt x="52" y="58"/>
                </a:moveTo>
                <a:cubicBezTo>
                  <a:pt x="36" y="58"/>
                  <a:pt x="12" y="66"/>
                  <a:pt x="12" y="66"/>
                </a:cubicBezTo>
                <a:cubicBezTo>
                  <a:pt x="12" y="74"/>
                  <a:pt x="12" y="74"/>
                  <a:pt x="12" y="74"/>
                </a:cubicBezTo>
                <a:cubicBezTo>
                  <a:pt x="12" y="74"/>
                  <a:pt x="36" y="66"/>
                  <a:pt x="52" y="66"/>
                </a:cubicBezTo>
                <a:cubicBezTo>
                  <a:pt x="60" y="66"/>
                  <a:pt x="66" y="74"/>
                  <a:pt x="66" y="74"/>
                </a:cubicBezTo>
                <a:cubicBezTo>
                  <a:pt x="66" y="66"/>
                  <a:pt x="66" y="66"/>
                  <a:pt x="66" y="66"/>
                </a:cubicBezTo>
                <a:cubicBezTo>
                  <a:pt x="66" y="66"/>
                  <a:pt x="60" y="58"/>
                  <a:pt x="52" y="58"/>
                </a:cubicBezTo>
                <a:close/>
                <a:moveTo>
                  <a:pt x="52" y="70"/>
                </a:moveTo>
                <a:cubicBezTo>
                  <a:pt x="36" y="70"/>
                  <a:pt x="12" y="78"/>
                  <a:pt x="12" y="78"/>
                </a:cubicBezTo>
                <a:cubicBezTo>
                  <a:pt x="12" y="87"/>
                  <a:pt x="12" y="87"/>
                  <a:pt x="12" y="87"/>
                </a:cubicBezTo>
                <a:cubicBezTo>
                  <a:pt x="12" y="87"/>
                  <a:pt x="36" y="78"/>
                  <a:pt x="52" y="78"/>
                </a:cubicBezTo>
                <a:cubicBezTo>
                  <a:pt x="60" y="78"/>
                  <a:pt x="66" y="87"/>
                  <a:pt x="66" y="87"/>
                </a:cubicBezTo>
                <a:cubicBezTo>
                  <a:pt x="66" y="78"/>
                  <a:pt x="66" y="78"/>
                  <a:pt x="66" y="78"/>
                </a:cubicBezTo>
                <a:cubicBezTo>
                  <a:pt x="66" y="78"/>
                  <a:pt x="60" y="70"/>
                  <a:pt x="52" y="70"/>
                </a:cubicBezTo>
                <a:close/>
                <a:moveTo>
                  <a:pt x="52" y="33"/>
                </a:moveTo>
                <a:cubicBezTo>
                  <a:pt x="36" y="33"/>
                  <a:pt x="12" y="41"/>
                  <a:pt x="12" y="41"/>
                </a:cubicBezTo>
                <a:cubicBezTo>
                  <a:pt x="12" y="50"/>
                  <a:pt x="12" y="50"/>
                  <a:pt x="12" y="50"/>
                </a:cubicBezTo>
                <a:cubicBezTo>
                  <a:pt x="12" y="50"/>
                  <a:pt x="36" y="41"/>
                  <a:pt x="52" y="41"/>
                </a:cubicBezTo>
                <a:cubicBezTo>
                  <a:pt x="60" y="41"/>
                  <a:pt x="66" y="50"/>
                  <a:pt x="66" y="50"/>
                </a:cubicBezTo>
                <a:cubicBezTo>
                  <a:pt x="66" y="41"/>
                  <a:pt x="66" y="41"/>
                  <a:pt x="66" y="41"/>
                </a:cubicBezTo>
                <a:cubicBezTo>
                  <a:pt x="66" y="41"/>
                  <a:pt x="60" y="33"/>
                  <a:pt x="52" y="33"/>
                </a:cubicBezTo>
                <a:close/>
                <a:moveTo>
                  <a:pt x="52" y="46"/>
                </a:moveTo>
                <a:cubicBezTo>
                  <a:pt x="36" y="46"/>
                  <a:pt x="12" y="54"/>
                  <a:pt x="12" y="54"/>
                </a:cubicBezTo>
                <a:cubicBezTo>
                  <a:pt x="12" y="62"/>
                  <a:pt x="12" y="62"/>
                  <a:pt x="12" y="62"/>
                </a:cubicBezTo>
                <a:cubicBezTo>
                  <a:pt x="12" y="62"/>
                  <a:pt x="36" y="54"/>
                  <a:pt x="52" y="54"/>
                </a:cubicBezTo>
                <a:cubicBezTo>
                  <a:pt x="60" y="54"/>
                  <a:pt x="66" y="62"/>
                  <a:pt x="66" y="62"/>
                </a:cubicBezTo>
                <a:cubicBezTo>
                  <a:pt x="66" y="54"/>
                  <a:pt x="66" y="54"/>
                  <a:pt x="66" y="54"/>
                </a:cubicBezTo>
                <a:cubicBezTo>
                  <a:pt x="66" y="54"/>
                  <a:pt x="60" y="46"/>
                  <a:pt x="52" y="46"/>
                </a:cubicBezTo>
                <a:close/>
                <a:moveTo>
                  <a:pt x="52" y="21"/>
                </a:moveTo>
                <a:cubicBezTo>
                  <a:pt x="36" y="21"/>
                  <a:pt x="12" y="29"/>
                  <a:pt x="12" y="29"/>
                </a:cubicBezTo>
                <a:cubicBezTo>
                  <a:pt x="12" y="37"/>
                  <a:pt x="12" y="37"/>
                  <a:pt x="12" y="37"/>
                </a:cubicBezTo>
                <a:cubicBezTo>
                  <a:pt x="12" y="37"/>
                  <a:pt x="36" y="29"/>
                  <a:pt x="52" y="29"/>
                </a:cubicBezTo>
                <a:cubicBezTo>
                  <a:pt x="60" y="29"/>
                  <a:pt x="66" y="37"/>
                  <a:pt x="66" y="37"/>
                </a:cubicBezTo>
                <a:cubicBezTo>
                  <a:pt x="66" y="29"/>
                  <a:pt x="66" y="29"/>
                  <a:pt x="66" y="29"/>
                </a:cubicBezTo>
                <a:cubicBezTo>
                  <a:pt x="66" y="29"/>
                  <a:pt x="60" y="21"/>
                  <a:pt x="52" y="21"/>
                </a:cubicBezTo>
                <a:close/>
                <a:moveTo>
                  <a:pt x="82" y="29"/>
                </a:moveTo>
                <a:cubicBezTo>
                  <a:pt x="82" y="37"/>
                  <a:pt x="82" y="37"/>
                  <a:pt x="82" y="37"/>
                </a:cubicBezTo>
                <a:cubicBezTo>
                  <a:pt x="82" y="37"/>
                  <a:pt x="88" y="29"/>
                  <a:pt x="95" y="29"/>
                </a:cubicBezTo>
                <a:cubicBezTo>
                  <a:pt x="111" y="29"/>
                  <a:pt x="135" y="37"/>
                  <a:pt x="135" y="37"/>
                </a:cubicBezTo>
                <a:cubicBezTo>
                  <a:pt x="135" y="29"/>
                  <a:pt x="135" y="29"/>
                  <a:pt x="135" y="29"/>
                </a:cubicBezTo>
                <a:cubicBezTo>
                  <a:pt x="135" y="29"/>
                  <a:pt x="111" y="21"/>
                  <a:pt x="95" y="21"/>
                </a:cubicBezTo>
                <a:cubicBezTo>
                  <a:pt x="88" y="21"/>
                  <a:pt x="82" y="29"/>
                  <a:pt x="82" y="29"/>
                </a:cubicBezTo>
                <a:close/>
                <a:moveTo>
                  <a:pt x="82" y="41"/>
                </a:moveTo>
                <a:cubicBezTo>
                  <a:pt x="82" y="50"/>
                  <a:pt x="82" y="50"/>
                  <a:pt x="82" y="50"/>
                </a:cubicBezTo>
                <a:cubicBezTo>
                  <a:pt x="82" y="50"/>
                  <a:pt x="88" y="41"/>
                  <a:pt x="95" y="41"/>
                </a:cubicBezTo>
                <a:cubicBezTo>
                  <a:pt x="111" y="41"/>
                  <a:pt x="135" y="50"/>
                  <a:pt x="135" y="50"/>
                </a:cubicBezTo>
                <a:cubicBezTo>
                  <a:pt x="135" y="41"/>
                  <a:pt x="135" y="41"/>
                  <a:pt x="135" y="41"/>
                </a:cubicBezTo>
                <a:cubicBezTo>
                  <a:pt x="135" y="41"/>
                  <a:pt x="111" y="33"/>
                  <a:pt x="95" y="33"/>
                </a:cubicBezTo>
                <a:cubicBezTo>
                  <a:pt x="88" y="33"/>
                  <a:pt x="82" y="41"/>
                  <a:pt x="82" y="41"/>
                </a:cubicBezTo>
                <a:close/>
                <a:moveTo>
                  <a:pt x="82" y="54"/>
                </a:moveTo>
                <a:cubicBezTo>
                  <a:pt x="82" y="62"/>
                  <a:pt x="82" y="62"/>
                  <a:pt x="82" y="62"/>
                </a:cubicBezTo>
                <a:cubicBezTo>
                  <a:pt x="82" y="62"/>
                  <a:pt x="88" y="54"/>
                  <a:pt x="95" y="54"/>
                </a:cubicBezTo>
                <a:cubicBezTo>
                  <a:pt x="111" y="54"/>
                  <a:pt x="135" y="62"/>
                  <a:pt x="135" y="62"/>
                </a:cubicBezTo>
                <a:cubicBezTo>
                  <a:pt x="135" y="54"/>
                  <a:pt x="135" y="54"/>
                  <a:pt x="135" y="54"/>
                </a:cubicBezTo>
                <a:cubicBezTo>
                  <a:pt x="135" y="54"/>
                  <a:pt x="111" y="46"/>
                  <a:pt x="95" y="46"/>
                </a:cubicBezTo>
                <a:cubicBezTo>
                  <a:pt x="88" y="46"/>
                  <a:pt x="82" y="54"/>
                  <a:pt x="82" y="54"/>
                </a:cubicBezTo>
                <a:close/>
                <a:moveTo>
                  <a:pt x="82" y="78"/>
                </a:moveTo>
                <a:cubicBezTo>
                  <a:pt x="82" y="87"/>
                  <a:pt x="82" y="87"/>
                  <a:pt x="82" y="87"/>
                </a:cubicBezTo>
                <a:cubicBezTo>
                  <a:pt x="82" y="87"/>
                  <a:pt x="88" y="78"/>
                  <a:pt x="95" y="78"/>
                </a:cubicBezTo>
                <a:cubicBezTo>
                  <a:pt x="111" y="78"/>
                  <a:pt x="135" y="87"/>
                  <a:pt x="135" y="87"/>
                </a:cubicBezTo>
                <a:cubicBezTo>
                  <a:pt x="135" y="78"/>
                  <a:pt x="135" y="78"/>
                  <a:pt x="135" y="78"/>
                </a:cubicBezTo>
                <a:cubicBezTo>
                  <a:pt x="135" y="78"/>
                  <a:pt x="111" y="70"/>
                  <a:pt x="95" y="70"/>
                </a:cubicBezTo>
                <a:cubicBezTo>
                  <a:pt x="88" y="70"/>
                  <a:pt x="82" y="78"/>
                  <a:pt x="82" y="78"/>
                </a:cubicBezTo>
                <a:close/>
                <a:moveTo>
                  <a:pt x="82" y="66"/>
                </a:moveTo>
                <a:cubicBezTo>
                  <a:pt x="82" y="74"/>
                  <a:pt x="82" y="74"/>
                  <a:pt x="82" y="74"/>
                </a:cubicBezTo>
                <a:cubicBezTo>
                  <a:pt x="82" y="74"/>
                  <a:pt x="88" y="66"/>
                  <a:pt x="95" y="66"/>
                </a:cubicBezTo>
                <a:cubicBezTo>
                  <a:pt x="111" y="66"/>
                  <a:pt x="135" y="74"/>
                  <a:pt x="135" y="74"/>
                </a:cubicBezTo>
                <a:cubicBezTo>
                  <a:pt x="135" y="66"/>
                  <a:pt x="135" y="66"/>
                  <a:pt x="135" y="66"/>
                </a:cubicBezTo>
                <a:cubicBezTo>
                  <a:pt x="135" y="66"/>
                  <a:pt x="111" y="58"/>
                  <a:pt x="95" y="58"/>
                </a:cubicBezTo>
                <a:cubicBezTo>
                  <a:pt x="88" y="58"/>
                  <a:pt x="82" y="66"/>
                  <a:pt x="82" y="66"/>
                </a:cubicBezTo>
                <a:close/>
                <a:moveTo>
                  <a:pt x="93" y="0"/>
                </a:moveTo>
                <a:cubicBezTo>
                  <a:pt x="78" y="0"/>
                  <a:pt x="74" y="17"/>
                  <a:pt x="74" y="17"/>
                </a:cubicBezTo>
                <a:cubicBezTo>
                  <a:pt x="74" y="17"/>
                  <a:pt x="70" y="0"/>
                  <a:pt x="54" y="0"/>
                </a:cubicBezTo>
                <a:cubicBezTo>
                  <a:pt x="20" y="0"/>
                  <a:pt x="0" y="13"/>
                  <a:pt x="0" y="13"/>
                </a:cubicBezTo>
                <a:cubicBezTo>
                  <a:pt x="0" y="115"/>
                  <a:pt x="0" y="115"/>
                  <a:pt x="0" y="115"/>
                </a:cubicBezTo>
                <a:cubicBezTo>
                  <a:pt x="0" y="115"/>
                  <a:pt x="32" y="111"/>
                  <a:pt x="54" y="111"/>
                </a:cubicBezTo>
                <a:cubicBezTo>
                  <a:pt x="58" y="111"/>
                  <a:pt x="62" y="112"/>
                  <a:pt x="65" y="113"/>
                </a:cubicBezTo>
                <a:cubicBezTo>
                  <a:pt x="64" y="114"/>
                  <a:pt x="64" y="114"/>
                  <a:pt x="64" y="115"/>
                </a:cubicBezTo>
                <a:cubicBezTo>
                  <a:pt x="64" y="118"/>
                  <a:pt x="68" y="120"/>
                  <a:pt x="74" y="120"/>
                </a:cubicBezTo>
                <a:cubicBezTo>
                  <a:pt x="79" y="120"/>
                  <a:pt x="84" y="118"/>
                  <a:pt x="84" y="115"/>
                </a:cubicBezTo>
                <a:cubicBezTo>
                  <a:pt x="84" y="114"/>
                  <a:pt x="83" y="114"/>
                  <a:pt x="83" y="113"/>
                </a:cubicBezTo>
                <a:cubicBezTo>
                  <a:pt x="86" y="112"/>
                  <a:pt x="89" y="111"/>
                  <a:pt x="93" y="111"/>
                </a:cubicBezTo>
                <a:cubicBezTo>
                  <a:pt x="115" y="111"/>
                  <a:pt x="148" y="115"/>
                  <a:pt x="148" y="115"/>
                </a:cubicBezTo>
                <a:cubicBezTo>
                  <a:pt x="148" y="13"/>
                  <a:pt x="148" y="13"/>
                  <a:pt x="148" y="13"/>
                </a:cubicBezTo>
                <a:cubicBezTo>
                  <a:pt x="148" y="13"/>
                  <a:pt x="127" y="0"/>
                  <a:pt x="93" y="0"/>
                </a:cubicBezTo>
                <a:close/>
                <a:moveTo>
                  <a:pt x="70" y="111"/>
                </a:moveTo>
                <a:cubicBezTo>
                  <a:pt x="70" y="111"/>
                  <a:pt x="66" y="96"/>
                  <a:pt x="49" y="96"/>
                </a:cubicBezTo>
                <a:cubicBezTo>
                  <a:pt x="33" y="96"/>
                  <a:pt x="8" y="107"/>
                  <a:pt x="8" y="107"/>
                </a:cubicBezTo>
                <a:cubicBezTo>
                  <a:pt x="8" y="19"/>
                  <a:pt x="8" y="19"/>
                  <a:pt x="8" y="19"/>
                </a:cubicBezTo>
                <a:cubicBezTo>
                  <a:pt x="8" y="19"/>
                  <a:pt x="20" y="7"/>
                  <a:pt x="53" y="7"/>
                </a:cubicBezTo>
                <a:cubicBezTo>
                  <a:pt x="66" y="7"/>
                  <a:pt x="70" y="23"/>
                  <a:pt x="70" y="23"/>
                </a:cubicBezTo>
                <a:lnTo>
                  <a:pt x="70" y="111"/>
                </a:lnTo>
                <a:close/>
                <a:moveTo>
                  <a:pt x="140" y="107"/>
                </a:moveTo>
                <a:cubicBezTo>
                  <a:pt x="140" y="107"/>
                  <a:pt x="115" y="96"/>
                  <a:pt x="98" y="96"/>
                </a:cubicBezTo>
                <a:cubicBezTo>
                  <a:pt x="82" y="96"/>
                  <a:pt x="78" y="111"/>
                  <a:pt x="78" y="111"/>
                </a:cubicBezTo>
                <a:cubicBezTo>
                  <a:pt x="78" y="23"/>
                  <a:pt x="78" y="23"/>
                  <a:pt x="78" y="23"/>
                </a:cubicBezTo>
                <a:cubicBezTo>
                  <a:pt x="78" y="23"/>
                  <a:pt x="82" y="7"/>
                  <a:pt x="94" y="7"/>
                </a:cubicBezTo>
                <a:cubicBezTo>
                  <a:pt x="127" y="7"/>
                  <a:pt x="140" y="19"/>
                  <a:pt x="140" y="19"/>
                </a:cubicBezTo>
                <a:lnTo>
                  <a:pt x="140" y="107"/>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3" name="Freeform 14">
            <a:extLst>
              <a:ext uri="{FF2B5EF4-FFF2-40B4-BE49-F238E27FC236}">
                <a16:creationId xmlns:a16="http://schemas.microsoft.com/office/drawing/2014/main" id="{395E571D-F04F-4898-A753-BC1C043A3208}"/>
              </a:ext>
            </a:extLst>
          </p:cNvPr>
          <p:cNvSpPr>
            <a:spLocks noEditPoints="1"/>
          </p:cNvSpPr>
          <p:nvPr/>
        </p:nvSpPr>
        <p:spPr bwMode="auto">
          <a:xfrm>
            <a:off x="10935484" y="1196975"/>
            <a:ext cx="519012" cy="506102"/>
          </a:xfrm>
          <a:custGeom>
            <a:avLst/>
            <a:gdLst>
              <a:gd name="T0" fmla="*/ 127 w 152"/>
              <a:gd name="T1" fmla="*/ 123 h 148"/>
              <a:gd name="T2" fmla="*/ 94 w 152"/>
              <a:gd name="T3" fmla="*/ 123 h 148"/>
              <a:gd name="T4" fmla="*/ 94 w 152"/>
              <a:gd name="T5" fmla="*/ 131 h 148"/>
              <a:gd name="T6" fmla="*/ 127 w 152"/>
              <a:gd name="T7" fmla="*/ 131 h 148"/>
              <a:gd name="T8" fmla="*/ 127 w 152"/>
              <a:gd name="T9" fmla="*/ 123 h 148"/>
              <a:gd name="T10" fmla="*/ 140 w 152"/>
              <a:gd name="T11" fmla="*/ 32 h 148"/>
              <a:gd name="T12" fmla="*/ 119 w 152"/>
              <a:gd name="T13" fmla="*/ 32 h 148"/>
              <a:gd name="T14" fmla="*/ 74 w 152"/>
              <a:gd name="T15" fmla="*/ 0 h 148"/>
              <a:gd name="T16" fmla="*/ 29 w 152"/>
              <a:gd name="T17" fmla="*/ 32 h 148"/>
              <a:gd name="T18" fmla="*/ 12 w 152"/>
              <a:gd name="T19" fmla="*/ 32 h 148"/>
              <a:gd name="T20" fmla="*/ 0 w 152"/>
              <a:gd name="T21" fmla="*/ 45 h 148"/>
              <a:gd name="T22" fmla="*/ 0 w 152"/>
              <a:gd name="T23" fmla="*/ 135 h 148"/>
              <a:gd name="T24" fmla="*/ 12 w 152"/>
              <a:gd name="T25" fmla="*/ 148 h 148"/>
              <a:gd name="T26" fmla="*/ 140 w 152"/>
              <a:gd name="T27" fmla="*/ 148 h 148"/>
              <a:gd name="T28" fmla="*/ 152 w 152"/>
              <a:gd name="T29" fmla="*/ 135 h 148"/>
              <a:gd name="T30" fmla="*/ 152 w 152"/>
              <a:gd name="T31" fmla="*/ 45 h 148"/>
              <a:gd name="T32" fmla="*/ 140 w 152"/>
              <a:gd name="T33" fmla="*/ 32 h 148"/>
              <a:gd name="T34" fmla="*/ 74 w 152"/>
              <a:gd name="T35" fmla="*/ 6 h 148"/>
              <a:gd name="T36" fmla="*/ 111 w 152"/>
              <a:gd name="T37" fmla="*/ 32 h 148"/>
              <a:gd name="T38" fmla="*/ 37 w 152"/>
              <a:gd name="T39" fmla="*/ 32 h 148"/>
              <a:gd name="T40" fmla="*/ 74 w 152"/>
              <a:gd name="T41" fmla="*/ 6 h 148"/>
              <a:gd name="T42" fmla="*/ 144 w 152"/>
              <a:gd name="T43" fmla="*/ 139 h 148"/>
              <a:gd name="T44" fmla="*/ 8 w 152"/>
              <a:gd name="T45" fmla="*/ 139 h 148"/>
              <a:gd name="T46" fmla="*/ 8 w 152"/>
              <a:gd name="T47" fmla="*/ 41 h 148"/>
              <a:gd name="T48" fmla="*/ 144 w 152"/>
              <a:gd name="T49" fmla="*/ 41 h 148"/>
              <a:gd name="T50" fmla="*/ 144 w 152"/>
              <a:gd name="T51" fmla="*/ 13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2" h="148">
                <a:moveTo>
                  <a:pt x="127" y="123"/>
                </a:moveTo>
                <a:cubicBezTo>
                  <a:pt x="94" y="123"/>
                  <a:pt x="94" y="123"/>
                  <a:pt x="94" y="123"/>
                </a:cubicBezTo>
                <a:cubicBezTo>
                  <a:pt x="94" y="131"/>
                  <a:pt x="94" y="131"/>
                  <a:pt x="94" y="131"/>
                </a:cubicBezTo>
                <a:cubicBezTo>
                  <a:pt x="127" y="131"/>
                  <a:pt x="127" y="131"/>
                  <a:pt x="127" y="131"/>
                </a:cubicBezTo>
                <a:lnTo>
                  <a:pt x="127" y="123"/>
                </a:lnTo>
                <a:close/>
                <a:moveTo>
                  <a:pt x="140" y="32"/>
                </a:moveTo>
                <a:cubicBezTo>
                  <a:pt x="119" y="32"/>
                  <a:pt x="119" y="32"/>
                  <a:pt x="119" y="32"/>
                </a:cubicBezTo>
                <a:cubicBezTo>
                  <a:pt x="74" y="0"/>
                  <a:pt x="74" y="0"/>
                  <a:pt x="74" y="0"/>
                </a:cubicBezTo>
                <a:cubicBezTo>
                  <a:pt x="29" y="32"/>
                  <a:pt x="29" y="32"/>
                  <a:pt x="29" y="32"/>
                </a:cubicBezTo>
                <a:cubicBezTo>
                  <a:pt x="12" y="32"/>
                  <a:pt x="12" y="32"/>
                  <a:pt x="12" y="32"/>
                </a:cubicBezTo>
                <a:cubicBezTo>
                  <a:pt x="5" y="32"/>
                  <a:pt x="0" y="38"/>
                  <a:pt x="0" y="45"/>
                </a:cubicBezTo>
                <a:cubicBezTo>
                  <a:pt x="0" y="135"/>
                  <a:pt x="0" y="135"/>
                  <a:pt x="0" y="135"/>
                </a:cubicBezTo>
                <a:cubicBezTo>
                  <a:pt x="0" y="142"/>
                  <a:pt x="5" y="148"/>
                  <a:pt x="12" y="148"/>
                </a:cubicBezTo>
                <a:cubicBezTo>
                  <a:pt x="140" y="148"/>
                  <a:pt x="140" y="148"/>
                  <a:pt x="140" y="148"/>
                </a:cubicBezTo>
                <a:cubicBezTo>
                  <a:pt x="147" y="148"/>
                  <a:pt x="152" y="142"/>
                  <a:pt x="152" y="135"/>
                </a:cubicBezTo>
                <a:cubicBezTo>
                  <a:pt x="152" y="45"/>
                  <a:pt x="152" y="45"/>
                  <a:pt x="152" y="45"/>
                </a:cubicBezTo>
                <a:cubicBezTo>
                  <a:pt x="152" y="38"/>
                  <a:pt x="147" y="32"/>
                  <a:pt x="140" y="32"/>
                </a:cubicBezTo>
                <a:close/>
                <a:moveTo>
                  <a:pt x="74" y="6"/>
                </a:moveTo>
                <a:cubicBezTo>
                  <a:pt x="111" y="32"/>
                  <a:pt x="111" y="32"/>
                  <a:pt x="111" y="32"/>
                </a:cubicBezTo>
                <a:cubicBezTo>
                  <a:pt x="37" y="32"/>
                  <a:pt x="37" y="32"/>
                  <a:pt x="37" y="32"/>
                </a:cubicBezTo>
                <a:lnTo>
                  <a:pt x="74" y="6"/>
                </a:lnTo>
                <a:close/>
                <a:moveTo>
                  <a:pt x="144" y="139"/>
                </a:moveTo>
                <a:cubicBezTo>
                  <a:pt x="8" y="139"/>
                  <a:pt x="8" y="139"/>
                  <a:pt x="8" y="139"/>
                </a:cubicBezTo>
                <a:cubicBezTo>
                  <a:pt x="8" y="41"/>
                  <a:pt x="8" y="41"/>
                  <a:pt x="8" y="41"/>
                </a:cubicBezTo>
                <a:cubicBezTo>
                  <a:pt x="144" y="41"/>
                  <a:pt x="144" y="41"/>
                  <a:pt x="144" y="41"/>
                </a:cubicBezTo>
                <a:lnTo>
                  <a:pt x="144" y="13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4" name="Freeform 15">
            <a:extLst>
              <a:ext uri="{FF2B5EF4-FFF2-40B4-BE49-F238E27FC236}">
                <a16:creationId xmlns:a16="http://schemas.microsoft.com/office/drawing/2014/main" id="{714D98DF-7039-478B-A015-0594337DC43A}"/>
              </a:ext>
            </a:extLst>
          </p:cNvPr>
          <p:cNvSpPr>
            <a:spLocks noEditPoints="1"/>
          </p:cNvSpPr>
          <p:nvPr/>
        </p:nvSpPr>
        <p:spPr bwMode="auto">
          <a:xfrm>
            <a:off x="797963" y="2251036"/>
            <a:ext cx="537087" cy="539670"/>
          </a:xfrm>
          <a:custGeom>
            <a:avLst/>
            <a:gdLst>
              <a:gd name="T0" fmla="*/ 148 w 157"/>
              <a:gd name="T1" fmla="*/ 35 h 158"/>
              <a:gd name="T2" fmla="*/ 144 w 157"/>
              <a:gd name="T3" fmla="*/ 64 h 158"/>
              <a:gd name="T4" fmla="*/ 153 w 157"/>
              <a:gd name="T5" fmla="*/ 68 h 158"/>
              <a:gd name="T6" fmla="*/ 157 w 157"/>
              <a:gd name="T7" fmla="*/ 39 h 158"/>
              <a:gd name="T8" fmla="*/ 17 w 157"/>
              <a:gd name="T9" fmla="*/ 154 h 158"/>
              <a:gd name="T10" fmla="*/ 37 w 157"/>
              <a:gd name="T11" fmla="*/ 158 h 158"/>
              <a:gd name="T12" fmla="*/ 41 w 157"/>
              <a:gd name="T13" fmla="*/ 138 h 158"/>
              <a:gd name="T14" fmla="*/ 17 w 157"/>
              <a:gd name="T15" fmla="*/ 154 h 158"/>
              <a:gd name="T16" fmla="*/ 9 w 157"/>
              <a:gd name="T17" fmla="*/ 35 h 158"/>
              <a:gd name="T18" fmla="*/ 0 w 157"/>
              <a:gd name="T19" fmla="*/ 39 h 158"/>
              <a:gd name="T20" fmla="*/ 4 w 157"/>
              <a:gd name="T21" fmla="*/ 68 h 158"/>
              <a:gd name="T22" fmla="*/ 13 w 157"/>
              <a:gd name="T23" fmla="*/ 64 h 158"/>
              <a:gd name="T24" fmla="*/ 116 w 157"/>
              <a:gd name="T25" fmla="*/ 154 h 158"/>
              <a:gd name="T26" fmla="*/ 136 w 157"/>
              <a:gd name="T27" fmla="*/ 158 h 158"/>
              <a:gd name="T28" fmla="*/ 140 w 157"/>
              <a:gd name="T29" fmla="*/ 138 h 158"/>
              <a:gd name="T30" fmla="*/ 116 w 157"/>
              <a:gd name="T31" fmla="*/ 154 h 158"/>
              <a:gd name="T32" fmla="*/ 116 w 157"/>
              <a:gd name="T33" fmla="*/ 92 h 158"/>
              <a:gd name="T34" fmla="*/ 112 w 157"/>
              <a:gd name="T35" fmla="*/ 79 h 158"/>
              <a:gd name="T36" fmla="*/ 41 w 157"/>
              <a:gd name="T37" fmla="*/ 84 h 158"/>
              <a:gd name="T38" fmla="*/ 17 w 157"/>
              <a:gd name="T39" fmla="*/ 92 h 158"/>
              <a:gd name="T40" fmla="*/ 13 w 157"/>
              <a:gd name="T41" fmla="*/ 125 h 158"/>
              <a:gd name="T42" fmla="*/ 140 w 157"/>
              <a:gd name="T43" fmla="*/ 129 h 158"/>
              <a:gd name="T44" fmla="*/ 144 w 157"/>
              <a:gd name="T45" fmla="*/ 96 h 158"/>
              <a:gd name="T46" fmla="*/ 31 w 157"/>
              <a:gd name="T47" fmla="*/ 121 h 158"/>
              <a:gd name="T48" fmla="*/ 31 w 157"/>
              <a:gd name="T49" fmla="*/ 101 h 158"/>
              <a:gd name="T50" fmla="*/ 31 w 157"/>
              <a:gd name="T51" fmla="*/ 121 h 158"/>
              <a:gd name="T52" fmla="*/ 103 w 157"/>
              <a:gd name="T53" fmla="*/ 117 h 158"/>
              <a:gd name="T54" fmla="*/ 50 w 157"/>
              <a:gd name="T55" fmla="*/ 113 h 158"/>
              <a:gd name="T56" fmla="*/ 54 w 157"/>
              <a:gd name="T57" fmla="*/ 84 h 158"/>
              <a:gd name="T58" fmla="*/ 107 w 157"/>
              <a:gd name="T59" fmla="*/ 88 h 158"/>
              <a:gd name="T60" fmla="*/ 126 w 157"/>
              <a:gd name="T61" fmla="*/ 121 h 158"/>
              <a:gd name="T62" fmla="*/ 126 w 157"/>
              <a:gd name="T63" fmla="*/ 101 h 158"/>
              <a:gd name="T64" fmla="*/ 126 w 157"/>
              <a:gd name="T65" fmla="*/ 121 h 158"/>
              <a:gd name="T66" fmla="*/ 32 w 157"/>
              <a:gd name="T67" fmla="*/ 84 h 158"/>
              <a:gd name="T68" fmla="*/ 36 w 157"/>
              <a:gd name="T69" fmla="*/ 72 h 158"/>
              <a:gd name="T70" fmla="*/ 125 w 157"/>
              <a:gd name="T71" fmla="*/ 80 h 158"/>
              <a:gd name="T72" fmla="*/ 133 w 157"/>
              <a:gd name="T73" fmla="*/ 84 h 158"/>
              <a:gd name="T74" fmla="*/ 136 w 157"/>
              <a:gd name="T75" fmla="*/ 30 h 158"/>
              <a:gd name="T76" fmla="*/ 24 w 157"/>
              <a:gd name="T77" fmla="*/ 24 h 158"/>
              <a:gd name="T78" fmla="*/ 21 w 157"/>
              <a:gd name="T79" fmla="*/ 30 h 158"/>
              <a:gd name="T80" fmla="*/ 25 w 157"/>
              <a:gd name="T81" fmla="*/ 84 h 158"/>
              <a:gd name="T82" fmla="*/ 87 w 157"/>
              <a:gd name="T83" fmla="*/ 31 h 158"/>
              <a:gd name="T84" fmla="*/ 128 w 157"/>
              <a:gd name="T85" fmla="*/ 35 h 158"/>
              <a:gd name="T86" fmla="*/ 124 w 157"/>
              <a:gd name="T87" fmla="*/ 55 h 158"/>
              <a:gd name="T88" fmla="*/ 83 w 157"/>
              <a:gd name="T89" fmla="*/ 51 h 158"/>
              <a:gd name="T90" fmla="*/ 29 w 157"/>
              <a:gd name="T91" fmla="*/ 35 h 158"/>
              <a:gd name="T92" fmla="*/ 70 w 157"/>
              <a:gd name="T93" fmla="*/ 31 h 158"/>
              <a:gd name="T94" fmla="*/ 74 w 157"/>
              <a:gd name="T95" fmla="*/ 51 h 158"/>
              <a:gd name="T96" fmla="*/ 33 w 157"/>
              <a:gd name="T97" fmla="*/ 55 h 158"/>
              <a:gd name="T98" fmla="*/ 29 w 157"/>
              <a:gd name="T99" fmla="*/ 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7" h="158">
                <a:moveTo>
                  <a:pt x="153" y="35"/>
                </a:moveTo>
                <a:cubicBezTo>
                  <a:pt x="148" y="35"/>
                  <a:pt x="148" y="35"/>
                  <a:pt x="148" y="35"/>
                </a:cubicBezTo>
                <a:cubicBezTo>
                  <a:pt x="146" y="35"/>
                  <a:pt x="144" y="37"/>
                  <a:pt x="144" y="39"/>
                </a:cubicBezTo>
                <a:cubicBezTo>
                  <a:pt x="144" y="64"/>
                  <a:pt x="144" y="64"/>
                  <a:pt x="144" y="64"/>
                </a:cubicBezTo>
                <a:cubicBezTo>
                  <a:pt x="144" y="66"/>
                  <a:pt x="146" y="68"/>
                  <a:pt x="148" y="68"/>
                </a:cubicBezTo>
                <a:cubicBezTo>
                  <a:pt x="153" y="68"/>
                  <a:pt x="153" y="68"/>
                  <a:pt x="153" y="68"/>
                </a:cubicBezTo>
                <a:cubicBezTo>
                  <a:pt x="155" y="68"/>
                  <a:pt x="157" y="66"/>
                  <a:pt x="157" y="64"/>
                </a:cubicBezTo>
                <a:cubicBezTo>
                  <a:pt x="157" y="39"/>
                  <a:pt x="157" y="39"/>
                  <a:pt x="157" y="39"/>
                </a:cubicBezTo>
                <a:cubicBezTo>
                  <a:pt x="157" y="37"/>
                  <a:pt x="155" y="35"/>
                  <a:pt x="153" y="35"/>
                </a:cubicBezTo>
                <a:close/>
                <a:moveTo>
                  <a:pt x="17" y="154"/>
                </a:moveTo>
                <a:cubicBezTo>
                  <a:pt x="17" y="156"/>
                  <a:pt x="19" y="158"/>
                  <a:pt x="21" y="158"/>
                </a:cubicBezTo>
                <a:cubicBezTo>
                  <a:pt x="37" y="158"/>
                  <a:pt x="37" y="158"/>
                  <a:pt x="37" y="158"/>
                </a:cubicBezTo>
                <a:cubicBezTo>
                  <a:pt x="40" y="158"/>
                  <a:pt x="41" y="156"/>
                  <a:pt x="41" y="154"/>
                </a:cubicBezTo>
                <a:cubicBezTo>
                  <a:pt x="41" y="138"/>
                  <a:pt x="41" y="138"/>
                  <a:pt x="41" y="138"/>
                </a:cubicBezTo>
                <a:cubicBezTo>
                  <a:pt x="17" y="138"/>
                  <a:pt x="17" y="138"/>
                  <a:pt x="17" y="138"/>
                </a:cubicBezTo>
                <a:lnTo>
                  <a:pt x="17" y="154"/>
                </a:lnTo>
                <a:close/>
                <a:moveTo>
                  <a:pt x="13" y="39"/>
                </a:moveTo>
                <a:cubicBezTo>
                  <a:pt x="13" y="37"/>
                  <a:pt x="11" y="35"/>
                  <a:pt x="9" y="35"/>
                </a:cubicBezTo>
                <a:cubicBezTo>
                  <a:pt x="4" y="35"/>
                  <a:pt x="4" y="35"/>
                  <a:pt x="4" y="35"/>
                </a:cubicBezTo>
                <a:cubicBezTo>
                  <a:pt x="2" y="35"/>
                  <a:pt x="0" y="37"/>
                  <a:pt x="0" y="39"/>
                </a:cubicBezTo>
                <a:cubicBezTo>
                  <a:pt x="0" y="64"/>
                  <a:pt x="0" y="64"/>
                  <a:pt x="0" y="64"/>
                </a:cubicBezTo>
                <a:cubicBezTo>
                  <a:pt x="0" y="66"/>
                  <a:pt x="2" y="68"/>
                  <a:pt x="4" y="68"/>
                </a:cubicBezTo>
                <a:cubicBezTo>
                  <a:pt x="9" y="68"/>
                  <a:pt x="9" y="68"/>
                  <a:pt x="9" y="68"/>
                </a:cubicBezTo>
                <a:cubicBezTo>
                  <a:pt x="11" y="68"/>
                  <a:pt x="13" y="66"/>
                  <a:pt x="13" y="64"/>
                </a:cubicBezTo>
                <a:lnTo>
                  <a:pt x="13" y="39"/>
                </a:lnTo>
                <a:close/>
                <a:moveTo>
                  <a:pt x="116" y="154"/>
                </a:moveTo>
                <a:cubicBezTo>
                  <a:pt x="116" y="156"/>
                  <a:pt x="117" y="158"/>
                  <a:pt x="120" y="158"/>
                </a:cubicBezTo>
                <a:cubicBezTo>
                  <a:pt x="136" y="158"/>
                  <a:pt x="136" y="158"/>
                  <a:pt x="136" y="158"/>
                </a:cubicBezTo>
                <a:cubicBezTo>
                  <a:pt x="138" y="158"/>
                  <a:pt x="140" y="156"/>
                  <a:pt x="140" y="154"/>
                </a:cubicBezTo>
                <a:cubicBezTo>
                  <a:pt x="140" y="138"/>
                  <a:pt x="140" y="138"/>
                  <a:pt x="140" y="138"/>
                </a:cubicBezTo>
                <a:cubicBezTo>
                  <a:pt x="116" y="138"/>
                  <a:pt x="116" y="138"/>
                  <a:pt x="116" y="138"/>
                </a:cubicBezTo>
                <a:lnTo>
                  <a:pt x="116" y="154"/>
                </a:lnTo>
                <a:close/>
                <a:moveTo>
                  <a:pt x="140" y="92"/>
                </a:moveTo>
                <a:cubicBezTo>
                  <a:pt x="116" y="92"/>
                  <a:pt x="116" y="92"/>
                  <a:pt x="116" y="92"/>
                </a:cubicBezTo>
                <a:cubicBezTo>
                  <a:pt x="116" y="84"/>
                  <a:pt x="116" y="84"/>
                  <a:pt x="116" y="84"/>
                </a:cubicBezTo>
                <a:cubicBezTo>
                  <a:pt x="116" y="82"/>
                  <a:pt x="114" y="79"/>
                  <a:pt x="112" y="79"/>
                </a:cubicBezTo>
                <a:cubicBezTo>
                  <a:pt x="90" y="70"/>
                  <a:pt x="67" y="70"/>
                  <a:pt x="45" y="79"/>
                </a:cubicBezTo>
                <a:cubicBezTo>
                  <a:pt x="43" y="79"/>
                  <a:pt x="41" y="82"/>
                  <a:pt x="41" y="84"/>
                </a:cubicBezTo>
                <a:cubicBezTo>
                  <a:pt x="41" y="92"/>
                  <a:pt x="41" y="92"/>
                  <a:pt x="41" y="92"/>
                </a:cubicBezTo>
                <a:cubicBezTo>
                  <a:pt x="17" y="92"/>
                  <a:pt x="17" y="92"/>
                  <a:pt x="17" y="92"/>
                </a:cubicBezTo>
                <a:cubicBezTo>
                  <a:pt x="15" y="92"/>
                  <a:pt x="13" y="94"/>
                  <a:pt x="13" y="96"/>
                </a:cubicBezTo>
                <a:cubicBezTo>
                  <a:pt x="13" y="125"/>
                  <a:pt x="13" y="125"/>
                  <a:pt x="13" y="125"/>
                </a:cubicBezTo>
                <a:cubicBezTo>
                  <a:pt x="13" y="128"/>
                  <a:pt x="15" y="129"/>
                  <a:pt x="17" y="129"/>
                </a:cubicBezTo>
                <a:cubicBezTo>
                  <a:pt x="140" y="129"/>
                  <a:pt x="140" y="129"/>
                  <a:pt x="140" y="129"/>
                </a:cubicBezTo>
                <a:cubicBezTo>
                  <a:pt x="143" y="129"/>
                  <a:pt x="144" y="128"/>
                  <a:pt x="144" y="125"/>
                </a:cubicBezTo>
                <a:cubicBezTo>
                  <a:pt x="144" y="96"/>
                  <a:pt x="144" y="96"/>
                  <a:pt x="144" y="96"/>
                </a:cubicBezTo>
                <a:cubicBezTo>
                  <a:pt x="144" y="94"/>
                  <a:pt x="143" y="92"/>
                  <a:pt x="140" y="92"/>
                </a:cubicBezTo>
                <a:close/>
                <a:moveTo>
                  <a:pt x="31" y="121"/>
                </a:moveTo>
                <a:cubicBezTo>
                  <a:pt x="26" y="121"/>
                  <a:pt x="21" y="117"/>
                  <a:pt x="21" y="111"/>
                </a:cubicBezTo>
                <a:cubicBezTo>
                  <a:pt x="21" y="105"/>
                  <a:pt x="26" y="101"/>
                  <a:pt x="31" y="101"/>
                </a:cubicBezTo>
                <a:cubicBezTo>
                  <a:pt x="37" y="101"/>
                  <a:pt x="41" y="105"/>
                  <a:pt x="41" y="111"/>
                </a:cubicBezTo>
                <a:cubicBezTo>
                  <a:pt x="41" y="117"/>
                  <a:pt x="37" y="121"/>
                  <a:pt x="31" y="121"/>
                </a:cubicBezTo>
                <a:close/>
                <a:moveTo>
                  <a:pt x="107" y="113"/>
                </a:moveTo>
                <a:cubicBezTo>
                  <a:pt x="107" y="115"/>
                  <a:pt x="105" y="117"/>
                  <a:pt x="103" y="117"/>
                </a:cubicBezTo>
                <a:cubicBezTo>
                  <a:pt x="54" y="117"/>
                  <a:pt x="54" y="117"/>
                  <a:pt x="54" y="117"/>
                </a:cubicBezTo>
                <a:cubicBezTo>
                  <a:pt x="52" y="117"/>
                  <a:pt x="50" y="115"/>
                  <a:pt x="50" y="113"/>
                </a:cubicBezTo>
                <a:cubicBezTo>
                  <a:pt x="50" y="88"/>
                  <a:pt x="50" y="88"/>
                  <a:pt x="50" y="88"/>
                </a:cubicBezTo>
                <a:cubicBezTo>
                  <a:pt x="50" y="86"/>
                  <a:pt x="52" y="84"/>
                  <a:pt x="54" y="84"/>
                </a:cubicBezTo>
                <a:cubicBezTo>
                  <a:pt x="103" y="84"/>
                  <a:pt x="103" y="84"/>
                  <a:pt x="103" y="84"/>
                </a:cubicBezTo>
                <a:cubicBezTo>
                  <a:pt x="105" y="84"/>
                  <a:pt x="107" y="86"/>
                  <a:pt x="107" y="88"/>
                </a:cubicBezTo>
                <a:lnTo>
                  <a:pt x="107" y="113"/>
                </a:lnTo>
                <a:close/>
                <a:moveTo>
                  <a:pt x="126" y="121"/>
                </a:moveTo>
                <a:cubicBezTo>
                  <a:pt x="120" y="121"/>
                  <a:pt x="116" y="117"/>
                  <a:pt x="116" y="111"/>
                </a:cubicBezTo>
                <a:cubicBezTo>
                  <a:pt x="116" y="105"/>
                  <a:pt x="120" y="101"/>
                  <a:pt x="126" y="101"/>
                </a:cubicBezTo>
                <a:cubicBezTo>
                  <a:pt x="132" y="101"/>
                  <a:pt x="136" y="105"/>
                  <a:pt x="136" y="111"/>
                </a:cubicBezTo>
                <a:cubicBezTo>
                  <a:pt x="136" y="117"/>
                  <a:pt x="132" y="121"/>
                  <a:pt x="126" y="121"/>
                </a:cubicBezTo>
                <a:close/>
                <a:moveTo>
                  <a:pt x="25" y="84"/>
                </a:moveTo>
                <a:cubicBezTo>
                  <a:pt x="32" y="84"/>
                  <a:pt x="32" y="84"/>
                  <a:pt x="32" y="84"/>
                </a:cubicBezTo>
                <a:cubicBezTo>
                  <a:pt x="32" y="80"/>
                  <a:pt x="32" y="80"/>
                  <a:pt x="32" y="80"/>
                </a:cubicBezTo>
                <a:cubicBezTo>
                  <a:pt x="32" y="77"/>
                  <a:pt x="34" y="73"/>
                  <a:pt x="36" y="72"/>
                </a:cubicBezTo>
                <a:cubicBezTo>
                  <a:pt x="64" y="60"/>
                  <a:pt x="94" y="60"/>
                  <a:pt x="121" y="72"/>
                </a:cubicBezTo>
                <a:cubicBezTo>
                  <a:pt x="123" y="73"/>
                  <a:pt x="125" y="77"/>
                  <a:pt x="125" y="80"/>
                </a:cubicBezTo>
                <a:cubicBezTo>
                  <a:pt x="125" y="84"/>
                  <a:pt x="125" y="84"/>
                  <a:pt x="125" y="84"/>
                </a:cubicBezTo>
                <a:cubicBezTo>
                  <a:pt x="133" y="84"/>
                  <a:pt x="133" y="84"/>
                  <a:pt x="133" y="84"/>
                </a:cubicBezTo>
                <a:cubicBezTo>
                  <a:pt x="135" y="84"/>
                  <a:pt x="136" y="82"/>
                  <a:pt x="136" y="80"/>
                </a:cubicBezTo>
                <a:cubicBezTo>
                  <a:pt x="136" y="30"/>
                  <a:pt x="136" y="30"/>
                  <a:pt x="136" y="30"/>
                </a:cubicBezTo>
                <a:cubicBezTo>
                  <a:pt x="136" y="28"/>
                  <a:pt x="135" y="25"/>
                  <a:pt x="133" y="24"/>
                </a:cubicBezTo>
                <a:cubicBezTo>
                  <a:pt x="100" y="0"/>
                  <a:pt x="57" y="0"/>
                  <a:pt x="24" y="24"/>
                </a:cubicBezTo>
                <a:cubicBezTo>
                  <a:pt x="24" y="24"/>
                  <a:pt x="24" y="24"/>
                  <a:pt x="24" y="24"/>
                </a:cubicBezTo>
                <a:cubicBezTo>
                  <a:pt x="22" y="25"/>
                  <a:pt x="21" y="28"/>
                  <a:pt x="21" y="30"/>
                </a:cubicBezTo>
                <a:cubicBezTo>
                  <a:pt x="21" y="80"/>
                  <a:pt x="21" y="80"/>
                  <a:pt x="21" y="80"/>
                </a:cubicBezTo>
                <a:cubicBezTo>
                  <a:pt x="21" y="82"/>
                  <a:pt x="23" y="84"/>
                  <a:pt x="25" y="84"/>
                </a:cubicBezTo>
                <a:close/>
                <a:moveTo>
                  <a:pt x="83" y="35"/>
                </a:moveTo>
                <a:cubicBezTo>
                  <a:pt x="83" y="32"/>
                  <a:pt x="84" y="31"/>
                  <a:pt x="87" y="31"/>
                </a:cubicBezTo>
                <a:cubicBezTo>
                  <a:pt x="124" y="31"/>
                  <a:pt x="124" y="31"/>
                  <a:pt x="124" y="31"/>
                </a:cubicBezTo>
                <a:cubicBezTo>
                  <a:pt x="126" y="31"/>
                  <a:pt x="128" y="32"/>
                  <a:pt x="128" y="35"/>
                </a:cubicBezTo>
                <a:cubicBezTo>
                  <a:pt x="128" y="51"/>
                  <a:pt x="128" y="51"/>
                  <a:pt x="128" y="51"/>
                </a:cubicBezTo>
                <a:cubicBezTo>
                  <a:pt x="128" y="53"/>
                  <a:pt x="126" y="55"/>
                  <a:pt x="124" y="55"/>
                </a:cubicBezTo>
                <a:cubicBezTo>
                  <a:pt x="87" y="55"/>
                  <a:pt x="87" y="55"/>
                  <a:pt x="87" y="55"/>
                </a:cubicBezTo>
                <a:cubicBezTo>
                  <a:pt x="84" y="55"/>
                  <a:pt x="83" y="53"/>
                  <a:pt x="83" y="51"/>
                </a:cubicBezTo>
                <a:lnTo>
                  <a:pt x="83" y="35"/>
                </a:lnTo>
                <a:close/>
                <a:moveTo>
                  <a:pt x="29" y="35"/>
                </a:moveTo>
                <a:cubicBezTo>
                  <a:pt x="29" y="32"/>
                  <a:pt x="31" y="31"/>
                  <a:pt x="33" y="31"/>
                </a:cubicBezTo>
                <a:cubicBezTo>
                  <a:pt x="70" y="31"/>
                  <a:pt x="70" y="31"/>
                  <a:pt x="70" y="31"/>
                </a:cubicBezTo>
                <a:cubicBezTo>
                  <a:pt x="73" y="31"/>
                  <a:pt x="74" y="32"/>
                  <a:pt x="74" y="35"/>
                </a:cubicBezTo>
                <a:cubicBezTo>
                  <a:pt x="74" y="51"/>
                  <a:pt x="74" y="51"/>
                  <a:pt x="74" y="51"/>
                </a:cubicBezTo>
                <a:cubicBezTo>
                  <a:pt x="74" y="53"/>
                  <a:pt x="73" y="55"/>
                  <a:pt x="70" y="55"/>
                </a:cubicBezTo>
                <a:cubicBezTo>
                  <a:pt x="33" y="55"/>
                  <a:pt x="33" y="55"/>
                  <a:pt x="33" y="55"/>
                </a:cubicBezTo>
                <a:cubicBezTo>
                  <a:pt x="31" y="55"/>
                  <a:pt x="29" y="53"/>
                  <a:pt x="29" y="51"/>
                </a:cubicBezTo>
                <a:lnTo>
                  <a:pt x="29" y="35"/>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5" name="Freeform 16">
            <a:extLst>
              <a:ext uri="{FF2B5EF4-FFF2-40B4-BE49-F238E27FC236}">
                <a16:creationId xmlns:a16="http://schemas.microsoft.com/office/drawing/2014/main" id="{C4FBCA14-E8E5-43E3-AB67-A7E296B7A402}"/>
              </a:ext>
            </a:extLst>
          </p:cNvPr>
          <p:cNvSpPr>
            <a:spLocks noEditPoints="1"/>
          </p:cNvSpPr>
          <p:nvPr/>
        </p:nvSpPr>
        <p:spPr bwMode="auto">
          <a:xfrm>
            <a:off x="1926363" y="2271694"/>
            <a:ext cx="531923" cy="531922"/>
          </a:xfrm>
          <a:custGeom>
            <a:avLst/>
            <a:gdLst>
              <a:gd name="T0" fmla="*/ 0 w 156"/>
              <a:gd name="T1" fmla="*/ 37 h 156"/>
              <a:gd name="T2" fmla="*/ 74 w 156"/>
              <a:gd name="T3" fmla="*/ 37 h 156"/>
              <a:gd name="T4" fmla="*/ 65 w 156"/>
              <a:gd name="T5" fmla="*/ 37 h 156"/>
              <a:gd name="T6" fmla="*/ 41 w 156"/>
              <a:gd name="T7" fmla="*/ 41 h 156"/>
              <a:gd name="T8" fmla="*/ 37 w 156"/>
              <a:gd name="T9" fmla="*/ 66 h 156"/>
              <a:gd name="T10" fmla="*/ 32 w 156"/>
              <a:gd name="T11" fmla="*/ 41 h 156"/>
              <a:gd name="T12" fmla="*/ 8 w 156"/>
              <a:gd name="T13" fmla="*/ 37 h 156"/>
              <a:gd name="T14" fmla="*/ 32 w 156"/>
              <a:gd name="T15" fmla="*/ 33 h 156"/>
              <a:gd name="T16" fmla="*/ 37 w 156"/>
              <a:gd name="T17" fmla="*/ 8 h 156"/>
              <a:gd name="T18" fmla="*/ 41 w 156"/>
              <a:gd name="T19" fmla="*/ 33 h 156"/>
              <a:gd name="T20" fmla="*/ 65 w 156"/>
              <a:gd name="T21" fmla="*/ 37 h 156"/>
              <a:gd name="T22" fmla="*/ 82 w 156"/>
              <a:gd name="T23" fmla="*/ 119 h 156"/>
              <a:gd name="T24" fmla="*/ 156 w 156"/>
              <a:gd name="T25" fmla="*/ 119 h 156"/>
              <a:gd name="T26" fmla="*/ 119 w 156"/>
              <a:gd name="T27" fmla="*/ 90 h 156"/>
              <a:gd name="T28" fmla="*/ 119 w 156"/>
              <a:gd name="T29" fmla="*/ 107 h 156"/>
              <a:gd name="T30" fmla="*/ 119 w 156"/>
              <a:gd name="T31" fmla="*/ 90 h 156"/>
              <a:gd name="T32" fmla="*/ 111 w 156"/>
              <a:gd name="T33" fmla="*/ 140 h 156"/>
              <a:gd name="T34" fmla="*/ 127 w 156"/>
              <a:gd name="T35" fmla="*/ 140 h 156"/>
              <a:gd name="T36" fmla="*/ 148 w 156"/>
              <a:gd name="T37" fmla="*/ 119 h 156"/>
              <a:gd name="T38" fmla="*/ 94 w 156"/>
              <a:gd name="T39" fmla="*/ 123 h 156"/>
              <a:gd name="T40" fmla="*/ 94 w 156"/>
              <a:gd name="T41" fmla="*/ 115 h 156"/>
              <a:gd name="T42" fmla="*/ 148 w 156"/>
              <a:gd name="T43" fmla="*/ 119 h 156"/>
              <a:gd name="T44" fmla="*/ 0 w 156"/>
              <a:gd name="T45" fmla="*/ 119 h 156"/>
              <a:gd name="T46" fmla="*/ 74 w 156"/>
              <a:gd name="T47" fmla="*/ 119 h 156"/>
              <a:gd name="T48" fmla="*/ 57 w 156"/>
              <a:gd name="T49" fmla="*/ 134 h 156"/>
              <a:gd name="T50" fmla="*/ 51 w 156"/>
              <a:gd name="T51" fmla="*/ 140 h 156"/>
              <a:gd name="T52" fmla="*/ 22 w 156"/>
              <a:gd name="T53" fmla="*/ 140 h 156"/>
              <a:gd name="T54" fmla="*/ 16 w 156"/>
              <a:gd name="T55" fmla="*/ 134 h 156"/>
              <a:gd name="T56" fmla="*/ 16 w 156"/>
              <a:gd name="T57" fmla="*/ 104 h 156"/>
              <a:gd name="T58" fmla="*/ 22 w 156"/>
              <a:gd name="T59" fmla="*/ 98 h 156"/>
              <a:gd name="T60" fmla="*/ 51 w 156"/>
              <a:gd name="T61" fmla="*/ 98 h 156"/>
              <a:gd name="T62" fmla="*/ 57 w 156"/>
              <a:gd name="T63" fmla="*/ 104 h 156"/>
              <a:gd name="T64" fmla="*/ 57 w 156"/>
              <a:gd name="T65" fmla="*/ 134 h 156"/>
              <a:gd name="T66" fmla="*/ 156 w 156"/>
              <a:gd name="T67" fmla="*/ 37 h 156"/>
              <a:gd name="T68" fmla="*/ 82 w 156"/>
              <a:gd name="T69" fmla="*/ 37 h 156"/>
              <a:gd name="T70" fmla="*/ 90 w 156"/>
              <a:gd name="T71" fmla="*/ 37 h 156"/>
              <a:gd name="T72" fmla="*/ 143 w 156"/>
              <a:gd name="T73" fmla="*/ 33 h 156"/>
              <a:gd name="T74" fmla="*/ 143 w 156"/>
              <a:gd name="T75" fmla="*/ 41 h 156"/>
              <a:gd name="T76" fmla="*/ 90 w 156"/>
              <a:gd name="T77" fmla="*/ 3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 h="156">
                <a:moveTo>
                  <a:pt x="37" y="0"/>
                </a:moveTo>
                <a:cubicBezTo>
                  <a:pt x="16" y="0"/>
                  <a:pt x="0" y="17"/>
                  <a:pt x="0" y="37"/>
                </a:cubicBezTo>
                <a:cubicBezTo>
                  <a:pt x="0" y="57"/>
                  <a:pt x="16" y="74"/>
                  <a:pt x="37" y="74"/>
                </a:cubicBezTo>
                <a:cubicBezTo>
                  <a:pt x="57" y="74"/>
                  <a:pt x="74" y="57"/>
                  <a:pt x="74" y="37"/>
                </a:cubicBezTo>
                <a:cubicBezTo>
                  <a:pt x="74" y="17"/>
                  <a:pt x="57" y="0"/>
                  <a:pt x="37" y="0"/>
                </a:cubicBezTo>
                <a:close/>
                <a:moveTo>
                  <a:pt x="65" y="37"/>
                </a:moveTo>
                <a:cubicBezTo>
                  <a:pt x="65" y="39"/>
                  <a:pt x="63" y="41"/>
                  <a:pt x="61" y="41"/>
                </a:cubicBezTo>
                <a:cubicBezTo>
                  <a:pt x="41" y="41"/>
                  <a:pt x="41" y="41"/>
                  <a:pt x="41" y="41"/>
                </a:cubicBezTo>
                <a:cubicBezTo>
                  <a:pt x="41" y="62"/>
                  <a:pt x="41" y="62"/>
                  <a:pt x="41" y="62"/>
                </a:cubicBezTo>
                <a:cubicBezTo>
                  <a:pt x="41" y="64"/>
                  <a:pt x="39" y="66"/>
                  <a:pt x="37" y="66"/>
                </a:cubicBezTo>
                <a:cubicBezTo>
                  <a:pt x="34" y="66"/>
                  <a:pt x="32" y="64"/>
                  <a:pt x="32" y="62"/>
                </a:cubicBezTo>
                <a:cubicBezTo>
                  <a:pt x="32" y="41"/>
                  <a:pt x="32" y="41"/>
                  <a:pt x="32" y="41"/>
                </a:cubicBezTo>
                <a:cubicBezTo>
                  <a:pt x="12" y="41"/>
                  <a:pt x="12" y="41"/>
                  <a:pt x="12" y="41"/>
                </a:cubicBezTo>
                <a:cubicBezTo>
                  <a:pt x="10" y="41"/>
                  <a:pt x="8" y="39"/>
                  <a:pt x="8" y="37"/>
                </a:cubicBezTo>
                <a:cubicBezTo>
                  <a:pt x="8" y="35"/>
                  <a:pt x="10" y="33"/>
                  <a:pt x="12" y="33"/>
                </a:cubicBezTo>
                <a:cubicBezTo>
                  <a:pt x="32" y="33"/>
                  <a:pt x="32" y="33"/>
                  <a:pt x="32" y="33"/>
                </a:cubicBezTo>
                <a:cubicBezTo>
                  <a:pt x="32" y="12"/>
                  <a:pt x="32" y="12"/>
                  <a:pt x="32" y="12"/>
                </a:cubicBezTo>
                <a:cubicBezTo>
                  <a:pt x="32" y="10"/>
                  <a:pt x="34" y="8"/>
                  <a:pt x="37" y="8"/>
                </a:cubicBezTo>
                <a:cubicBezTo>
                  <a:pt x="39" y="8"/>
                  <a:pt x="41" y="10"/>
                  <a:pt x="41" y="12"/>
                </a:cubicBezTo>
                <a:cubicBezTo>
                  <a:pt x="41" y="33"/>
                  <a:pt x="41" y="33"/>
                  <a:pt x="41" y="33"/>
                </a:cubicBezTo>
                <a:cubicBezTo>
                  <a:pt x="61" y="33"/>
                  <a:pt x="61" y="33"/>
                  <a:pt x="61" y="33"/>
                </a:cubicBezTo>
                <a:cubicBezTo>
                  <a:pt x="63" y="33"/>
                  <a:pt x="65" y="35"/>
                  <a:pt x="65" y="37"/>
                </a:cubicBezTo>
                <a:close/>
                <a:moveTo>
                  <a:pt x="119" y="82"/>
                </a:moveTo>
                <a:cubicBezTo>
                  <a:pt x="98" y="82"/>
                  <a:pt x="82" y="99"/>
                  <a:pt x="82" y="119"/>
                </a:cubicBezTo>
                <a:cubicBezTo>
                  <a:pt x="82" y="140"/>
                  <a:pt x="98" y="156"/>
                  <a:pt x="119" y="156"/>
                </a:cubicBezTo>
                <a:cubicBezTo>
                  <a:pt x="139" y="156"/>
                  <a:pt x="156" y="140"/>
                  <a:pt x="156" y="119"/>
                </a:cubicBezTo>
                <a:cubicBezTo>
                  <a:pt x="156" y="99"/>
                  <a:pt x="139" y="82"/>
                  <a:pt x="119" y="82"/>
                </a:cubicBezTo>
                <a:close/>
                <a:moveTo>
                  <a:pt x="119" y="90"/>
                </a:moveTo>
                <a:cubicBezTo>
                  <a:pt x="123" y="90"/>
                  <a:pt x="127" y="94"/>
                  <a:pt x="127" y="99"/>
                </a:cubicBezTo>
                <a:cubicBezTo>
                  <a:pt x="127" y="103"/>
                  <a:pt x="123" y="107"/>
                  <a:pt x="119" y="107"/>
                </a:cubicBezTo>
                <a:cubicBezTo>
                  <a:pt x="114" y="107"/>
                  <a:pt x="111" y="103"/>
                  <a:pt x="111" y="99"/>
                </a:cubicBezTo>
                <a:cubicBezTo>
                  <a:pt x="111" y="94"/>
                  <a:pt x="114" y="90"/>
                  <a:pt x="119" y="90"/>
                </a:cubicBezTo>
                <a:close/>
                <a:moveTo>
                  <a:pt x="119" y="148"/>
                </a:moveTo>
                <a:cubicBezTo>
                  <a:pt x="114" y="148"/>
                  <a:pt x="111" y="144"/>
                  <a:pt x="111" y="140"/>
                </a:cubicBezTo>
                <a:cubicBezTo>
                  <a:pt x="111" y="135"/>
                  <a:pt x="114" y="132"/>
                  <a:pt x="119" y="132"/>
                </a:cubicBezTo>
                <a:cubicBezTo>
                  <a:pt x="123" y="132"/>
                  <a:pt x="127" y="135"/>
                  <a:pt x="127" y="140"/>
                </a:cubicBezTo>
                <a:cubicBezTo>
                  <a:pt x="127" y="144"/>
                  <a:pt x="123" y="148"/>
                  <a:pt x="119" y="148"/>
                </a:cubicBezTo>
                <a:close/>
                <a:moveTo>
                  <a:pt x="148" y="119"/>
                </a:moveTo>
                <a:cubicBezTo>
                  <a:pt x="148" y="122"/>
                  <a:pt x="146" y="123"/>
                  <a:pt x="143" y="123"/>
                </a:cubicBezTo>
                <a:cubicBezTo>
                  <a:pt x="94" y="123"/>
                  <a:pt x="94" y="123"/>
                  <a:pt x="94" y="123"/>
                </a:cubicBezTo>
                <a:cubicBezTo>
                  <a:pt x="92" y="123"/>
                  <a:pt x="90" y="122"/>
                  <a:pt x="90" y="119"/>
                </a:cubicBezTo>
                <a:cubicBezTo>
                  <a:pt x="90" y="117"/>
                  <a:pt x="92" y="115"/>
                  <a:pt x="94" y="115"/>
                </a:cubicBezTo>
                <a:cubicBezTo>
                  <a:pt x="143" y="115"/>
                  <a:pt x="143" y="115"/>
                  <a:pt x="143" y="115"/>
                </a:cubicBezTo>
                <a:cubicBezTo>
                  <a:pt x="146" y="115"/>
                  <a:pt x="148" y="117"/>
                  <a:pt x="148" y="119"/>
                </a:cubicBezTo>
                <a:close/>
                <a:moveTo>
                  <a:pt x="37" y="82"/>
                </a:moveTo>
                <a:cubicBezTo>
                  <a:pt x="16" y="82"/>
                  <a:pt x="0" y="99"/>
                  <a:pt x="0" y="119"/>
                </a:cubicBezTo>
                <a:cubicBezTo>
                  <a:pt x="0" y="140"/>
                  <a:pt x="16" y="156"/>
                  <a:pt x="37" y="156"/>
                </a:cubicBezTo>
                <a:cubicBezTo>
                  <a:pt x="57" y="156"/>
                  <a:pt x="74" y="140"/>
                  <a:pt x="74" y="119"/>
                </a:cubicBezTo>
                <a:cubicBezTo>
                  <a:pt x="74" y="99"/>
                  <a:pt x="57" y="82"/>
                  <a:pt x="37" y="82"/>
                </a:cubicBezTo>
                <a:close/>
                <a:moveTo>
                  <a:pt x="57" y="134"/>
                </a:moveTo>
                <a:cubicBezTo>
                  <a:pt x="59" y="136"/>
                  <a:pt x="59" y="139"/>
                  <a:pt x="57" y="140"/>
                </a:cubicBezTo>
                <a:cubicBezTo>
                  <a:pt x="56" y="142"/>
                  <a:pt x="53" y="142"/>
                  <a:pt x="51" y="140"/>
                </a:cubicBezTo>
                <a:cubicBezTo>
                  <a:pt x="37" y="125"/>
                  <a:pt x="37" y="125"/>
                  <a:pt x="37" y="125"/>
                </a:cubicBezTo>
                <a:cubicBezTo>
                  <a:pt x="22" y="140"/>
                  <a:pt x="22" y="140"/>
                  <a:pt x="22" y="140"/>
                </a:cubicBezTo>
                <a:cubicBezTo>
                  <a:pt x="20" y="142"/>
                  <a:pt x="17" y="142"/>
                  <a:pt x="16" y="140"/>
                </a:cubicBezTo>
                <a:cubicBezTo>
                  <a:pt x="14" y="139"/>
                  <a:pt x="14" y="136"/>
                  <a:pt x="16" y="134"/>
                </a:cubicBezTo>
                <a:cubicBezTo>
                  <a:pt x="31" y="119"/>
                  <a:pt x="31" y="119"/>
                  <a:pt x="31" y="119"/>
                </a:cubicBezTo>
                <a:cubicBezTo>
                  <a:pt x="16" y="104"/>
                  <a:pt x="16" y="104"/>
                  <a:pt x="16" y="104"/>
                </a:cubicBezTo>
                <a:cubicBezTo>
                  <a:pt x="14" y="103"/>
                  <a:pt x="14" y="100"/>
                  <a:pt x="16" y="98"/>
                </a:cubicBezTo>
                <a:cubicBezTo>
                  <a:pt x="17" y="97"/>
                  <a:pt x="20" y="97"/>
                  <a:pt x="22" y="98"/>
                </a:cubicBezTo>
                <a:cubicBezTo>
                  <a:pt x="37" y="113"/>
                  <a:pt x="37" y="113"/>
                  <a:pt x="37" y="113"/>
                </a:cubicBezTo>
                <a:cubicBezTo>
                  <a:pt x="51" y="98"/>
                  <a:pt x="51" y="98"/>
                  <a:pt x="51" y="98"/>
                </a:cubicBezTo>
                <a:cubicBezTo>
                  <a:pt x="53" y="97"/>
                  <a:pt x="56" y="97"/>
                  <a:pt x="57" y="98"/>
                </a:cubicBezTo>
                <a:cubicBezTo>
                  <a:pt x="59" y="100"/>
                  <a:pt x="59" y="103"/>
                  <a:pt x="57" y="104"/>
                </a:cubicBezTo>
                <a:cubicBezTo>
                  <a:pt x="42" y="119"/>
                  <a:pt x="42" y="119"/>
                  <a:pt x="42" y="119"/>
                </a:cubicBezTo>
                <a:lnTo>
                  <a:pt x="57" y="134"/>
                </a:lnTo>
                <a:close/>
                <a:moveTo>
                  <a:pt x="119" y="74"/>
                </a:moveTo>
                <a:cubicBezTo>
                  <a:pt x="139" y="74"/>
                  <a:pt x="156" y="57"/>
                  <a:pt x="156" y="37"/>
                </a:cubicBezTo>
                <a:cubicBezTo>
                  <a:pt x="156" y="17"/>
                  <a:pt x="139" y="0"/>
                  <a:pt x="119" y="0"/>
                </a:cubicBezTo>
                <a:cubicBezTo>
                  <a:pt x="98" y="0"/>
                  <a:pt x="82" y="17"/>
                  <a:pt x="82" y="37"/>
                </a:cubicBezTo>
                <a:cubicBezTo>
                  <a:pt x="82" y="57"/>
                  <a:pt x="98" y="74"/>
                  <a:pt x="119" y="74"/>
                </a:cubicBezTo>
                <a:close/>
                <a:moveTo>
                  <a:pt x="90" y="37"/>
                </a:moveTo>
                <a:cubicBezTo>
                  <a:pt x="90" y="35"/>
                  <a:pt x="92" y="33"/>
                  <a:pt x="94" y="33"/>
                </a:cubicBezTo>
                <a:cubicBezTo>
                  <a:pt x="143" y="33"/>
                  <a:pt x="143" y="33"/>
                  <a:pt x="143" y="33"/>
                </a:cubicBezTo>
                <a:cubicBezTo>
                  <a:pt x="146" y="33"/>
                  <a:pt x="148" y="35"/>
                  <a:pt x="148" y="37"/>
                </a:cubicBezTo>
                <a:cubicBezTo>
                  <a:pt x="148" y="39"/>
                  <a:pt x="146" y="41"/>
                  <a:pt x="143" y="41"/>
                </a:cubicBezTo>
                <a:cubicBezTo>
                  <a:pt x="94" y="41"/>
                  <a:pt x="94" y="41"/>
                  <a:pt x="94" y="41"/>
                </a:cubicBezTo>
                <a:cubicBezTo>
                  <a:pt x="92" y="41"/>
                  <a:pt x="90" y="39"/>
                  <a:pt x="90" y="37"/>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6" name="Freeform 17">
            <a:extLst>
              <a:ext uri="{FF2B5EF4-FFF2-40B4-BE49-F238E27FC236}">
                <a16:creationId xmlns:a16="http://schemas.microsoft.com/office/drawing/2014/main" id="{678624DE-6E34-4E79-B40C-BF2F6FFDF9D4}"/>
              </a:ext>
            </a:extLst>
          </p:cNvPr>
          <p:cNvSpPr>
            <a:spLocks noEditPoints="1"/>
          </p:cNvSpPr>
          <p:nvPr/>
        </p:nvSpPr>
        <p:spPr bwMode="auto">
          <a:xfrm>
            <a:off x="3049598" y="2271694"/>
            <a:ext cx="534506" cy="531922"/>
          </a:xfrm>
          <a:custGeom>
            <a:avLst/>
            <a:gdLst>
              <a:gd name="T0" fmla="*/ 156 w 156"/>
              <a:gd name="T1" fmla="*/ 37 h 156"/>
              <a:gd name="T2" fmla="*/ 82 w 156"/>
              <a:gd name="T3" fmla="*/ 37 h 156"/>
              <a:gd name="T4" fmla="*/ 107 w 156"/>
              <a:gd name="T5" fmla="*/ 20 h 156"/>
              <a:gd name="T6" fmla="*/ 132 w 156"/>
              <a:gd name="T7" fmla="*/ 23 h 156"/>
              <a:gd name="T8" fmla="*/ 132 w 156"/>
              <a:gd name="T9" fmla="*/ 34 h 156"/>
              <a:gd name="T10" fmla="*/ 134 w 156"/>
              <a:gd name="T11" fmla="*/ 39 h 156"/>
              <a:gd name="T12" fmla="*/ 134 w 156"/>
              <a:gd name="T13" fmla="*/ 49 h 156"/>
              <a:gd name="T14" fmla="*/ 128 w 156"/>
              <a:gd name="T15" fmla="*/ 53 h 156"/>
              <a:gd name="T16" fmla="*/ 107 w 156"/>
              <a:gd name="T17" fmla="*/ 53 h 156"/>
              <a:gd name="T18" fmla="*/ 123 w 156"/>
              <a:gd name="T19" fmla="*/ 33 h 156"/>
              <a:gd name="T20" fmla="*/ 123 w 156"/>
              <a:gd name="T21" fmla="*/ 28 h 156"/>
              <a:gd name="T22" fmla="*/ 115 w 156"/>
              <a:gd name="T23" fmla="*/ 27 h 156"/>
              <a:gd name="T24" fmla="*/ 120 w 156"/>
              <a:gd name="T25" fmla="*/ 33 h 156"/>
              <a:gd name="T26" fmla="*/ 126 w 156"/>
              <a:gd name="T27" fmla="*/ 43 h 156"/>
              <a:gd name="T28" fmla="*/ 121 w 156"/>
              <a:gd name="T29" fmla="*/ 40 h 156"/>
              <a:gd name="T30" fmla="*/ 115 w 156"/>
              <a:gd name="T31" fmla="*/ 46 h 156"/>
              <a:gd name="T32" fmla="*/ 125 w 156"/>
              <a:gd name="T33" fmla="*/ 45 h 156"/>
              <a:gd name="T34" fmla="*/ 33 w 156"/>
              <a:gd name="T35" fmla="*/ 41 h 156"/>
              <a:gd name="T36" fmla="*/ 37 w 156"/>
              <a:gd name="T37" fmla="*/ 29 h 156"/>
              <a:gd name="T38" fmla="*/ 37 w 156"/>
              <a:gd name="T39" fmla="*/ 82 h 156"/>
              <a:gd name="T40" fmla="*/ 37 w 156"/>
              <a:gd name="T41" fmla="*/ 156 h 156"/>
              <a:gd name="T42" fmla="*/ 37 w 156"/>
              <a:gd name="T43" fmla="*/ 82 h 156"/>
              <a:gd name="T44" fmla="*/ 45 w 156"/>
              <a:gd name="T45" fmla="*/ 134 h 156"/>
              <a:gd name="T46" fmla="*/ 29 w 156"/>
              <a:gd name="T47" fmla="*/ 134 h 156"/>
              <a:gd name="T48" fmla="*/ 20 w 156"/>
              <a:gd name="T49" fmla="*/ 119 h 156"/>
              <a:gd name="T50" fmla="*/ 37 w 156"/>
              <a:gd name="T51" fmla="*/ 103 h 156"/>
              <a:gd name="T52" fmla="*/ 53 w 156"/>
              <a:gd name="T53" fmla="*/ 113 h 156"/>
              <a:gd name="T54" fmla="*/ 43 w 156"/>
              <a:gd name="T55" fmla="*/ 113 h 156"/>
              <a:gd name="T56" fmla="*/ 38 w 156"/>
              <a:gd name="T57" fmla="*/ 110 h 156"/>
              <a:gd name="T58" fmla="*/ 31 w 156"/>
              <a:gd name="T59" fmla="*/ 119 h 156"/>
              <a:gd name="T60" fmla="*/ 37 w 156"/>
              <a:gd name="T61" fmla="*/ 128 h 156"/>
              <a:gd name="T62" fmla="*/ 44 w 156"/>
              <a:gd name="T63" fmla="*/ 122 h 156"/>
              <a:gd name="T64" fmla="*/ 50 w 156"/>
              <a:gd name="T65" fmla="*/ 131 h 156"/>
              <a:gd name="T66" fmla="*/ 0 w 156"/>
              <a:gd name="T67" fmla="*/ 37 h 156"/>
              <a:gd name="T68" fmla="*/ 74 w 156"/>
              <a:gd name="T69" fmla="*/ 37 h 156"/>
              <a:gd name="T70" fmla="*/ 45 w 156"/>
              <a:gd name="T71" fmla="*/ 53 h 156"/>
              <a:gd name="T72" fmla="*/ 31 w 156"/>
              <a:gd name="T73" fmla="*/ 45 h 156"/>
              <a:gd name="T74" fmla="*/ 20 w 156"/>
              <a:gd name="T75" fmla="*/ 53 h 156"/>
              <a:gd name="T76" fmla="*/ 41 w 156"/>
              <a:gd name="T77" fmla="*/ 21 h 156"/>
              <a:gd name="T78" fmla="*/ 45 w 156"/>
              <a:gd name="T79" fmla="*/ 53 h 156"/>
              <a:gd name="T80" fmla="*/ 82 w 156"/>
              <a:gd name="T81" fmla="*/ 119 h 156"/>
              <a:gd name="T82" fmla="*/ 156 w 156"/>
              <a:gd name="T83" fmla="*/ 119 h 156"/>
              <a:gd name="T84" fmla="*/ 134 w 156"/>
              <a:gd name="T85" fmla="*/ 127 h 156"/>
              <a:gd name="T86" fmla="*/ 127 w 156"/>
              <a:gd name="T87" fmla="*/ 135 h 156"/>
              <a:gd name="T88" fmla="*/ 107 w 156"/>
              <a:gd name="T89" fmla="*/ 136 h 156"/>
              <a:gd name="T90" fmla="*/ 121 w 156"/>
              <a:gd name="T91" fmla="*/ 103 h 156"/>
              <a:gd name="T92" fmla="*/ 132 w 156"/>
              <a:gd name="T93" fmla="*/ 107 h 156"/>
              <a:gd name="T94" fmla="*/ 135 w 156"/>
              <a:gd name="T95" fmla="*/ 119 h 156"/>
              <a:gd name="T96" fmla="*/ 118 w 156"/>
              <a:gd name="T97" fmla="*/ 110 h 156"/>
              <a:gd name="T98" fmla="*/ 115 w 156"/>
              <a:gd name="T99" fmla="*/ 128 h 156"/>
              <a:gd name="T100" fmla="*/ 124 w 156"/>
              <a:gd name="T101" fmla="*/ 127 h 156"/>
              <a:gd name="T102" fmla="*/ 127 w 156"/>
              <a:gd name="T103" fmla="*/ 119 h 156"/>
              <a:gd name="T104" fmla="*/ 118 w 156"/>
              <a:gd name="T105" fmla="*/ 11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156">
                <a:moveTo>
                  <a:pt x="119" y="74"/>
                </a:moveTo>
                <a:cubicBezTo>
                  <a:pt x="139" y="74"/>
                  <a:pt x="156" y="57"/>
                  <a:pt x="156" y="37"/>
                </a:cubicBezTo>
                <a:cubicBezTo>
                  <a:pt x="156" y="17"/>
                  <a:pt x="139" y="0"/>
                  <a:pt x="119" y="0"/>
                </a:cubicBezTo>
                <a:cubicBezTo>
                  <a:pt x="99" y="0"/>
                  <a:pt x="82" y="17"/>
                  <a:pt x="82" y="37"/>
                </a:cubicBezTo>
                <a:cubicBezTo>
                  <a:pt x="82" y="57"/>
                  <a:pt x="99" y="74"/>
                  <a:pt x="119" y="74"/>
                </a:cubicBezTo>
                <a:close/>
                <a:moveTo>
                  <a:pt x="107" y="20"/>
                </a:moveTo>
                <a:cubicBezTo>
                  <a:pt x="125" y="20"/>
                  <a:pt x="125" y="20"/>
                  <a:pt x="125" y="20"/>
                </a:cubicBezTo>
                <a:cubicBezTo>
                  <a:pt x="128" y="20"/>
                  <a:pt x="130" y="21"/>
                  <a:pt x="132" y="23"/>
                </a:cubicBezTo>
                <a:cubicBezTo>
                  <a:pt x="133" y="24"/>
                  <a:pt x="134" y="26"/>
                  <a:pt x="134" y="29"/>
                </a:cubicBezTo>
                <a:cubicBezTo>
                  <a:pt x="134" y="31"/>
                  <a:pt x="133" y="32"/>
                  <a:pt x="132" y="34"/>
                </a:cubicBezTo>
                <a:cubicBezTo>
                  <a:pt x="132" y="35"/>
                  <a:pt x="130" y="35"/>
                  <a:pt x="129" y="36"/>
                </a:cubicBezTo>
                <a:cubicBezTo>
                  <a:pt x="131" y="36"/>
                  <a:pt x="133" y="37"/>
                  <a:pt x="134" y="39"/>
                </a:cubicBezTo>
                <a:cubicBezTo>
                  <a:pt x="135" y="40"/>
                  <a:pt x="135" y="42"/>
                  <a:pt x="135" y="44"/>
                </a:cubicBezTo>
                <a:cubicBezTo>
                  <a:pt x="135" y="46"/>
                  <a:pt x="135" y="47"/>
                  <a:pt x="134" y="49"/>
                </a:cubicBezTo>
                <a:cubicBezTo>
                  <a:pt x="134" y="50"/>
                  <a:pt x="133" y="51"/>
                  <a:pt x="131" y="52"/>
                </a:cubicBezTo>
                <a:cubicBezTo>
                  <a:pt x="130" y="52"/>
                  <a:pt x="129" y="53"/>
                  <a:pt x="128" y="53"/>
                </a:cubicBezTo>
                <a:cubicBezTo>
                  <a:pt x="125" y="53"/>
                  <a:pt x="124" y="53"/>
                  <a:pt x="123" y="53"/>
                </a:cubicBezTo>
                <a:cubicBezTo>
                  <a:pt x="107" y="53"/>
                  <a:pt x="107" y="53"/>
                  <a:pt x="107" y="53"/>
                </a:cubicBezTo>
                <a:lnTo>
                  <a:pt x="107" y="20"/>
                </a:lnTo>
                <a:close/>
                <a:moveTo>
                  <a:pt x="123" y="33"/>
                </a:moveTo>
                <a:cubicBezTo>
                  <a:pt x="124" y="32"/>
                  <a:pt x="124" y="31"/>
                  <a:pt x="124" y="30"/>
                </a:cubicBezTo>
                <a:cubicBezTo>
                  <a:pt x="124" y="29"/>
                  <a:pt x="124" y="28"/>
                  <a:pt x="123" y="28"/>
                </a:cubicBezTo>
                <a:cubicBezTo>
                  <a:pt x="123" y="27"/>
                  <a:pt x="121" y="27"/>
                  <a:pt x="120" y="27"/>
                </a:cubicBezTo>
                <a:cubicBezTo>
                  <a:pt x="115" y="27"/>
                  <a:pt x="115" y="27"/>
                  <a:pt x="115" y="27"/>
                </a:cubicBezTo>
                <a:cubicBezTo>
                  <a:pt x="115" y="33"/>
                  <a:pt x="115" y="33"/>
                  <a:pt x="115" y="33"/>
                </a:cubicBezTo>
                <a:cubicBezTo>
                  <a:pt x="120" y="33"/>
                  <a:pt x="120" y="33"/>
                  <a:pt x="120" y="33"/>
                </a:cubicBezTo>
                <a:cubicBezTo>
                  <a:pt x="121" y="33"/>
                  <a:pt x="123" y="33"/>
                  <a:pt x="123" y="33"/>
                </a:cubicBezTo>
                <a:close/>
                <a:moveTo>
                  <a:pt x="126" y="43"/>
                </a:moveTo>
                <a:cubicBezTo>
                  <a:pt x="126" y="42"/>
                  <a:pt x="125" y="41"/>
                  <a:pt x="125" y="41"/>
                </a:cubicBezTo>
                <a:cubicBezTo>
                  <a:pt x="124" y="40"/>
                  <a:pt x="122" y="40"/>
                  <a:pt x="121" y="40"/>
                </a:cubicBezTo>
                <a:cubicBezTo>
                  <a:pt x="115" y="40"/>
                  <a:pt x="115" y="40"/>
                  <a:pt x="115" y="40"/>
                </a:cubicBezTo>
                <a:cubicBezTo>
                  <a:pt x="115" y="46"/>
                  <a:pt x="115" y="46"/>
                  <a:pt x="115" y="46"/>
                </a:cubicBezTo>
                <a:cubicBezTo>
                  <a:pt x="121" y="46"/>
                  <a:pt x="121" y="46"/>
                  <a:pt x="121" y="46"/>
                </a:cubicBezTo>
                <a:cubicBezTo>
                  <a:pt x="122" y="46"/>
                  <a:pt x="124" y="46"/>
                  <a:pt x="125" y="45"/>
                </a:cubicBezTo>
                <a:cubicBezTo>
                  <a:pt x="125" y="45"/>
                  <a:pt x="126" y="44"/>
                  <a:pt x="126" y="43"/>
                </a:cubicBezTo>
                <a:close/>
                <a:moveTo>
                  <a:pt x="33" y="41"/>
                </a:moveTo>
                <a:cubicBezTo>
                  <a:pt x="41" y="41"/>
                  <a:pt x="41" y="41"/>
                  <a:pt x="41" y="41"/>
                </a:cubicBezTo>
                <a:cubicBezTo>
                  <a:pt x="37" y="29"/>
                  <a:pt x="37" y="29"/>
                  <a:pt x="37" y="29"/>
                </a:cubicBezTo>
                <a:lnTo>
                  <a:pt x="33" y="41"/>
                </a:lnTo>
                <a:close/>
                <a:moveTo>
                  <a:pt x="37" y="82"/>
                </a:moveTo>
                <a:cubicBezTo>
                  <a:pt x="16" y="82"/>
                  <a:pt x="0" y="99"/>
                  <a:pt x="0" y="119"/>
                </a:cubicBezTo>
                <a:cubicBezTo>
                  <a:pt x="0" y="140"/>
                  <a:pt x="16" y="156"/>
                  <a:pt x="37" y="156"/>
                </a:cubicBezTo>
                <a:cubicBezTo>
                  <a:pt x="57" y="156"/>
                  <a:pt x="74" y="140"/>
                  <a:pt x="74" y="119"/>
                </a:cubicBezTo>
                <a:cubicBezTo>
                  <a:pt x="74" y="99"/>
                  <a:pt x="57" y="82"/>
                  <a:pt x="37" y="82"/>
                </a:cubicBezTo>
                <a:close/>
                <a:moveTo>
                  <a:pt x="50" y="131"/>
                </a:moveTo>
                <a:cubicBezTo>
                  <a:pt x="49" y="132"/>
                  <a:pt x="47" y="134"/>
                  <a:pt x="45" y="134"/>
                </a:cubicBezTo>
                <a:cubicBezTo>
                  <a:pt x="43" y="135"/>
                  <a:pt x="41" y="136"/>
                  <a:pt x="38" y="136"/>
                </a:cubicBezTo>
                <a:cubicBezTo>
                  <a:pt x="34" y="136"/>
                  <a:pt x="31" y="135"/>
                  <a:pt x="29" y="134"/>
                </a:cubicBezTo>
                <a:cubicBezTo>
                  <a:pt x="26" y="133"/>
                  <a:pt x="24" y="131"/>
                  <a:pt x="23" y="129"/>
                </a:cubicBezTo>
                <a:cubicBezTo>
                  <a:pt x="21" y="126"/>
                  <a:pt x="20" y="123"/>
                  <a:pt x="20" y="119"/>
                </a:cubicBezTo>
                <a:cubicBezTo>
                  <a:pt x="20" y="114"/>
                  <a:pt x="22" y="110"/>
                  <a:pt x="25" y="107"/>
                </a:cubicBezTo>
                <a:cubicBezTo>
                  <a:pt x="28" y="104"/>
                  <a:pt x="32" y="103"/>
                  <a:pt x="37" y="103"/>
                </a:cubicBezTo>
                <a:cubicBezTo>
                  <a:pt x="42" y="103"/>
                  <a:pt x="45" y="104"/>
                  <a:pt x="47" y="105"/>
                </a:cubicBezTo>
                <a:cubicBezTo>
                  <a:pt x="50" y="107"/>
                  <a:pt x="52" y="109"/>
                  <a:pt x="53" y="113"/>
                </a:cubicBezTo>
                <a:cubicBezTo>
                  <a:pt x="44" y="115"/>
                  <a:pt x="44" y="115"/>
                  <a:pt x="44" y="115"/>
                </a:cubicBezTo>
                <a:cubicBezTo>
                  <a:pt x="43" y="114"/>
                  <a:pt x="43" y="113"/>
                  <a:pt x="43" y="113"/>
                </a:cubicBezTo>
                <a:cubicBezTo>
                  <a:pt x="42" y="112"/>
                  <a:pt x="41" y="111"/>
                  <a:pt x="40" y="111"/>
                </a:cubicBezTo>
                <a:cubicBezTo>
                  <a:pt x="40" y="110"/>
                  <a:pt x="39" y="110"/>
                  <a:pt x="38" y="110"/>
                </a:cubicBezTo>
                <a:cubicBezTo>
                  <a:pt x="35" y="110"/>
                  <a:pt x="33" y="111"/>
                  <a:pt x="32" y="113"/>
                </a:cubicBezTo>
                <a:cubicBezTo>
                  <a:pt x="31" y="114"/>
                  <a:pt x="31" y="116"/>
                  <a:pt x="31" y="119"/>
                </a:cubicBezTo>
                <a:cubicBezTo>
                  <a:pt x="31" y="123"/>
                  <a:pt x="31" y="125"/>
                  <a:pt x="32" y="126"/>
                </a:cubicBezTo>
                <a:cubicBezTo>
                  <a:pt x="34" y="128"/>
                  <a:pt x="35" y="128"/>
                  <a:pt x="37" y="128"/>
                </a:cubicBezTo>
                <a:cubicBezTo>
                  <a:pt x="39" y="128"/>
                  <a:pt x="41" y="128"/>
                  <a:pt x="42" y="127"/>
                </a:cubicBezTo>
                <a:cubicBezTo>
                  <a:pt x="43" y="126"/>
                  <a:pt x="44" y="124"/>
                  <a:pt x="44" y="122"/>
                </a:cubicBezTo>
                <a:cubicBezTo>
                  <a:pt x="53" y="125"/>
                  <a:pt x="53" y="125"/>
                  <a:pt x="53" y="125"/>
                </a:cubicBezTo>
                <a:cubicBezTo>
                  <a:pt x="53" y="127"/>
                  <a:pt x="52" y="129"/>
                  <a:pt x="50" y="131"/>
                </a:cubicBezTo>
                <a:close/>
                <a:moveTo>
                  <a:pt x="37" y="0"/>
                </a:moveTo>
                <a:cubicBezTo>
                  <a:pt x="16" y="0"/>
                  <a:pt x="0" y="17"/>
                  <a:pt x="0" y="37"/>
                </a:cubicBezTo>
                <a:cubicBezTo>
                  <a:pt x="0" y="57"/>
                  <a:pt x="16" y="74"/>
                  <a:pt x="37" y="74"/>
                </a:cubicBezTo>
                <a:cubicBezTo>
                  <a:pt x="57" y="74"/>
                  <a:pt x="74" y="57"/>
                  <a:pt x="74" y="37"/>
                </a:cubicBezTo>
                <a:cubicBezTo>
                  <a:pt x="74" y="17"/>
                  <a:pt x="57" y="0"/>
                  <a:pt x="37" y="0"/>
                </a:cubicBezTo>
                <a:close/>
                <a:moveTo>
                  <a:pt x="45" y="53"/>
                </a:moveTo>
                <a:cubicBezTo>
                  <a:pt x="42" y="45"/>
                  <a:pt x="42" y="45"/>
                  <a:pt x="42" y="45"/>
                </a:cubicBezTo>
                <a:cubicBezTo>
                  <a:pt x="31" y="45"/>
                  <a:pt x="31" y="45"/>
                  <a:pt x="31" y="45"/>
                </a:cubicBezTo>
                <a:cubicBezTo>
                  <a:pt x="28" y="53"/>
                  <a:pt x="28" y="53"/>
                  <a:pt x="28" y="53"/>
                </a:cubicBezTo>
                <a:cubicBezTo>
                  <a:pt x="20" y="53"/>
                  <a:pt x="20" y="53"/>
                  <a:pt x="20" y="53"/>
                </a:cubicBezTo>
                <a:cubicBezTo>
                  <a:pt x="33" y="21"/>
                  <a:pt x="33" y="21"/>
                  <a:pt x="33" y="21"/>
                </a:cubicBezTo>
                <a:cubicBezTo>
                  <a:pt x="41" y="21"/>
                  <a:pt x="41" y="21"/>
                  <a:pt x="41" y="21"/>
                </a:cubicBezTo>
                <a:cubicBezTo>
                  <a:pt x="53" y="53"/>
                  <a:pt x="53" y="53"/>
                  <a:pt x="53" y="53"/>
                </a:cubicBezTo>
                <a:lnTo>
                  <a:pt x="45" y="53"/>
                </a:lnTo>
                <a:close/>
                <a:moveTo>
                  <a:pt x="119" y="82"/>
                </a:moveTo>
                <a:cubicBezTo>
                  <a:pt x="99" y="82"/>
                  <a:pt x="82" y="99"/>
                  <a:pt x="82" y="119"/>
                </a:cubicBezTo>
                <a:cubicBezTo>
                  <a:pt x="82" y="140"/>
                  <a:pt x="99" y="156"/>
                  <a:pt x="119" y="156"/>
                </a:cubicBezTo>
                <a:cubicBezTo>
                  <a:pt x="139" y="156"/>
                  <a:pt x="156" y="140"/>
                  <a:pt x="156" y="119"/>
                </a:cubicBezTo>
                <a:cubicBezTo>
                  <a:pt x="156" y="99"/>
                  <a:pt x="139" y="82"/>
                  <a:pt x="119" y="82"/>
                </a:cubicBezTo>
                <a:close/>
                <a:moveTo>
                  <a:pt x="134" y="127"/>
                </a:moveTo>
                <a:cubicBezTo>
                  <a:pt x="134" y="129"/>
                  <a:pt x="132" y="131"/>
                  <a:pt x="131" y="132"/>
                </a:cubicBezTo>
                <a:cubicBezTo>
                  <a:pt x="130" y="133"/>
                  <a:pt x="128" y="134"/>
                  <a:pt x="127" y="135"/>
                </a:cubicBezTo>
                <a:cubicBezTo>
                  <a:pt x="125" y="135"/>
                  <a:pt x="123" y="136"/>
                  <a:pt x="121" y="136"/>
                </a:cubicBezTo>
                <a:cubicBezTo>
                  <a:pt x="107" y="136"/>
                  <a:pt x="107" y="136"/>
                  <a:pt x="107" y="136"/>
                </a:cubicBezTo>
                <a:cubicBezTo>
                  <a:pt x="107" y="103"/>
                  <a:pt x="107" y="103"/>
                  <a:pt x="107" y="103"/>
                </a:cubicBezTo>
                <a:cubicBezTo>
                  <a:pt x="121" y="103"/>
                  <a:pt x="121" y="103"/>
                  <a:pt x="121" y="103"/>
                </a:cubicBezTo>
                <a:cubicBezTo>
                  <a:pt x="124" y="103"/>
                  <a:pt x="126" y="103"/>
                  <a:pt x="128" y="104"/>
                </a:cubicBezTo>
                <a:cubicBezTo>
                  <a:pt x="130" y="105"/>
                  <a:pt x="131" y="106"/>
                  <a:pt x="132" y="107"/>
                </a:cubicBezTo>
                <a:cubicBezTo>
                  <a:pt x="133" y="109"/>
                  <a:pt x="134" y="111"/>
                  <a:pt x="135" y="113"/>
                </a:cubicBezTo>
                <a:cubicBezTo>
                  <a:pt x="135" y="115"/>
                  <a:pt x="135" y="117"/>
                  <a:pt x="135" y="119"/>
                </a:cubicBezTo>
                <a:cubicBezTo>
                  <a:pt x="135" y="123"/>
                  <a:pt x="135" y="125"/>
                  <a:pt x="134" y="127"/>
                </a:cubicBezTo>
                <a:close/>
                <a:moveTo>
                  <a:pt x="118" y="110"/>
                </a:moveTo>
                <a:cubicBezTo>
                  <a:pt x="115" y="110"/>
                  <a:pt x="115" y="110"/>
                  <a:pt x="115" y="110"/>
                </a:cubicBezTo>
                <a:cubicBezTo>
                  <a:pt x="115" y="128"/>
                  <a:pt x="115" y="128"/>
                  <a:pt x="115" y="128"/>
                </a:cubicBezTo>
                <a:cubicBezTo>
                  <a:pt x="118" y="128"/>
                  <a:pt x="118" y="128"/>
                  <a:pt x="118" y="128"/>
                </a:cubicBezTo>
                <a:cubicBezTo>
                  <a:pt x="121" y="128"/>
                  <a:pt x="123" y="128"/>
                  <a:pt x="124" y="127"/>
                </a:cubicBezTo>
                <a:cubicBezTo>
                  <a:pt x="125" y="127"/>
                  <a:pt x="126" y="126"/>
                  <a:pt x="126" y="125"/>
                </a:cubicBezTo>
                <a:cubicBezTo>
                  <a:pt x="127" y="124"/>
                  <a:pt x="127" y="122"/>
                  <a:pt x="127" y="119"/>
                </a:cubicBezTo>
                <a:cubicBezTo>
                  <a:pt x="127" y="116"/>
                  <a:pt x="127" y="113"/>
                  <a:pt x="125" y="112"/>
                </a:cubicBezTo>
                <a:cubicBezTo>
                  <a:pt x="124" y="111"/>
                  <a:pt x="121" y="110"/>
                  <a:pt x="118" y="11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7" name="Freeform 18">
            <a:extLst>
              <a:ext uri="{FF2B5EF4-FFF2-40B4-BE49-F238E27FC236}">
                <a16:creationId xmlns:a16="http://schemas.microsoft.com/office/drawing/2014/main" id="{9A951926-3D16-4BCE-B786-8DE9127B8635}"/>
              </a:ext>
            </a:extLst>
          </p:cNvPr>
          <p:cNvSpPr>
            <a:spLocks/>
          </p:cNvSpPr>
          <p:nvPr/>
        </p:nvSpPr>
        <p:spPr bwMode="auto">
          <a:xfrm>
            <a:off x="4201237" y="2369816"/>
            <a:ext cx="506102" cy="420891"/>
          </a:xfrm>
          <a:custGeom>
            <a:avLst/>
            <a:gdLst>
              <a:gd name="T0" fmla="*/ 74 w 148"/>
              <a:gd name="T1" fmla="*/ 0 h 123"/>
              <a:gd name="T2" fmla="*/ 0 w 148"/>
              <a:gd name="T3" fmla="*/ 45 h 123"/>
              <a:gd name="T4" fmla="*/ 30 w 148"/>
              <a:gd name="T5" fmla="*/ 81 h 123"/>
              <a:gd name="T6" fmla="*/ 20 w 148"/>
              <a:gd name="T7" fmla="*/ 123 h 123"/>
              <a:gd name="T8" fmla="*/ 55 w 148"/>
              <a:gd name="T9" fmla="*/ 89 h 123"/>
              <a:gd name="T10" fmla="*/ 74 w 148"/>
              <a:gd name="T11" fmla="*/ 90 h 123"/>
              <a:gd name="T12" fmla="*/ 148 w 148"/>
              <a:gd name="T13" fmla="*/ 45 h 123"/>
              <a:gd name="T14" fmla="*/ 74 w 148"/>
              <a:gd name="T15" fmla="*/ 0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23">
                <a:moveTo>
                  <a:pt x="74" y="0"/>
                </a:moveTo>
                <a:cubicBezTo>
                  <a:pt x="33" y="0"/>
                  <a:pt x="0" y="20"/>
                  <a:pt x="0" y="45"/>
                </a:cubicBezTo>
                <a:cubicBezTo>
                  <a:pt x="0" y="60"/>
                  <a:pt x="12" y="73"/>
                  <a:pt x="30" y="81"/>
                </a:cubicBezTo>
                <a:cubicBezTo>
                  <a:pt x="20" y="123"/>
                  <a:pt x="20" y="123"/>
                  <a:pt x="20" y="123"/>
                </a:cubicBezTo>
                <a:cubicBezTo>
                  <a:pt x="55" y="89"/>
                  <a:pt x="55" y="89"/>
                  <a:pt x="55" y="89"/>
                </a:cubicBezTo>
                <a:cubicBezTo>
                  <a:pt x="61" y="90"/>
                  <a:pt x="68" y="90"/>
                  <a:pt x="74" y="90"/>
                </a:cubicBezTo>
                <a:cubicBezTo>
                  <a:pt x="115" y="90"/>
                  <a:pt x="148" y="70"/>
                  <a:pt x="148" y="45"/>
                </a:cubicBezTo>
                <a:cubicBezTo>
                  <a:pt x="148" y="20"/>
                  <a:pt x="115" y="0"/>
                  <a:pt x="74"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8" name="Freeform 19">
            <a:extLst>
              <a:ext uri="{FF2B5EF4-FFF2-40B4-BE49-F238E27FC236}">
                <a16:creationId xmlns:a16="http://schemas.microsoft.com/office/drawing/2014/main" id="{3107F078-E333-4908-9B06-B122369FA8CA}"/>
              </a:ext>
            </a:extLst>
          </p:cNvPr>
          <p:cNvSpPr>
            <a:spLocks noEditPoints="1"/>
          </p:cNvSpPr>
          <p:nvPr/>
        </p:nvSpPr>
        <p:spPr bwMode="auto">
          <a:xfrm>
            <a:off x="5327054" y="2331084"/>
            <a:ext cx="519012" cy="472534"/>
          </a:xfrm>
          <a:custGeom>
            <a:avLst/>
            <a:gdLst>
              <a:gd name="T0" fmla="*/ 58 w 152"/>
              <a:gd name="T1" fmla="*/ 109 h 138"/>
              <a:gd name="T2" fmla="*/ 45 w 152"/>
              <a:gd name="T3" fmla="*/ 118 h 138"/>
              <a:gd name="T4" fmla="*/ 58 w 152"/>
              <a:gd name="T5" fmla="*/ 126 h 138"/>
              <a:gd name="T6" fmla="*/ 70 w 152"/>
              <a:gd name="T7" fmla="*/ 118 h 138"/>
              <a:gd name="T8" fmla="*/ 58 w 152"/>
              <a:gd name="T9" fmla="*/ 109 h 138"/>
              <a:gd name="T10" fmla="*/ 35 w 152"/>
              <a:gd name="T11" fmla="*/ 126 h 138"/>
              <a:gd name="T12" fmla="*/ 25 w 152"/>
              <a:gd name="T13" fmla="*/ 132 h 138"/>
              <a:gd name="T14" fmla="*/ 35 w 152"/>
              <a:gd name="T15" fmla="*/ 138 h 138"/>
              <a:gd name="T16" fmla="*/ 45 w 152"/>
              <a:gd name="T17" fmla="*/ 132 h 138"/>
              <a:gd name="T18" fmla="*/ 35 w 152"/>
              <a:gd name="T19" fmla="*/ 126 h 138"/>
              <a:gd name="T20" fmla="*/ 152 w 152"/>
              <a:gd name="T21" fmla="*/ 54 h 138"/>
              <a:gd name="T22" fmla="*/ 133 w 152"/>
              <a:gd name="T23" fmla="*/ 37 h 138"/>
              <a:gd name="T24" fmla="*/ 136 w 152"/>
              <a:gd name="T25" fmla="*/ 29 h 138"/>
              <a:gd name="T26" fmla="*/ 107 w 152"/>
              <a:gd name="T27" fmla="*/ 11 h 138"/>
              <a:gd name="T28" fmla="*/ 97 w 152"/>
              <a:gd name="T29" fmla="*/ 12 h 138"/>
              <a:gd name="T30" fmla="*/ 62 w 152"/>
              <a:gd name="T31" fmla="*/ 0 h 138"/>
              <a:gd name="T32" fmla="*/ 22 w 152"/>
              <a:gd name="T33" fmla="*/ 23 h 138"/>
              <a:gd name="T34" fmla="*/ 22 w 152"/>
              <a:gd name="T35" fmla="*/ 24 h 138"/>
              <a:gd name="T36" fmla="*/ 0 w 152"/>
              <a:gd name="T37" fmla="*/ 44 h 138"/>
              <a:gd name="T38" fmla="*/ 22 w 152"/>
              <a:gd name="T39" fmla="*/ 63 h 138"/>
              <a:gd name="T40" fmla="*/ 21 w 152"/>
              <a:gd name="T41" fmla="*/ 68 h 138"/>
              <a:gd name="T42" fmla="*/ 24 w 152"/>
              <a:gd name="T43" fmla="*/ 78 h 138"/>
              <a:gd name="T44" fmla="*/ 21 w 152"/>
              <a:gd name="T45" fmla="*/ 86 h 138"/>
              <a:gd name="T46" fmla="*/ 44 w 152"/>
              <a:gd name="T47" fmla="*/ 101 h 138"/>
              <a:gd name="T48" fmla="*/ 59 w 152"/>
              <a:gd name="T49" fmla="*/ 97 h 138"/>
              <a:gd name="T50" fmla="*/ 76 w 152"/>
              <a:gd name="T51" fmla="*/ 105 h 138"/>
              <a:gd name="T52" fmla="*/ 95 w 152"/>
              <a:gd name="T53" fmla="*/ 95 h 138"/>
              <a:gd name="T54" fmla="*/ 109 w 152"/>
              <a:gd name="T55" fmla="*/ 97 h 138"/>
              <a:gd name="T56" fmla="*/ 140 w 152"/>
              <a:gd name="T57" fmla="*/ 79 h 138"/>
              <a:gd name="T58" fmla="*/ 136 w 152"/>
              <a:gd name="T59" fmla="*/ 70 h 138"/>
              <a:gd name="T60" fmla="*/ 152 w 152"/>
              <a:gd name="T61" fmla="*/ 5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2" h="138">
                <a:moveTo>
                  <a:pt x="58" y="109"/>
                </a:moveTo>
                <a:cubicBezTo>
                  <a:pt x="51" y="109"/>
                  <a:pt x="45" y="113"/>
                  <a:pt x="45" y="118"/>
                </a:cubicBezTo>
                <a:cubicBezTo>
                  <a:pt x="45" y="122"/>
                  <a:pt x="51" y="126"/>
                  <a:pt x="58" y="126"/>
                </a:cubicBezTo>
                <a:cubicBezTo>
                  <a:pt x="65" y="126"/>
                  <a:pt x="70" y="122"/>
                  <a:pt x="70" y="118"/>
                </a:cubicBezTo>
                <a:cubicBezTo>
                  <a:pt x="70" y="113"/>
                  <a:pt x="65" y="109"/>
                  <a:pt x="58" y="109"/>
                </a:cubicBezTo>
                <a:close/>
                <a:moveTo>
                  <a:pt x="35" y="126"/>
                </a:moveTo>
                <a:cubicBezTo>
                  <a:pt x="29" y="126"/>
                  <a:pt x="25" y="129"/>
                  <a:pt x="25" y="132"/>
                </a:cubicBezTo>
                <a:cubicBezTo>
                  <a:pt x="25" y="136"/>
                  <a:pt x="29" y="138"/>
                  <a:pt x="35" y="138"/>
                </a:cubicBezTo>
                <a:cubicBezTo>
                  <a:pt x="41" y="138"/>
                  <a:pt x="45" y="136"/>
                  <a:pt x="45" y="132"/>
                </a:cubicBezTo>
                <a:cubicBezTo>
                  <a:pt x="45" y="129"/>
                  <a:pt x="41" y="126"/>
                  <a:pt x="35" y="126"/>
                </a:cubicBezTo>
                <a:close/>
                <a:moveTo>
                  <a:pt x="152" y="54"/>
                </a:moveTo>
                <a:cubicBezTo>
                  <a:pt x="152" y="46"/>
                  <a:pt x="144" y="40"/>
                  <a:pt x="133" y="37"/>
                </a:cubicBezTo>
                <a:cubicBezTo>
                  <a:pt x="135" y="35"/>
                  <a:pt x="136" y="32"/>
                  <a:pt x="136" y="29"/>
                </a:cubicBezTo>
                <a:cubicBezTo>
                  <a:pt x="136" y="19"/>
                  <a:pt x="123" y="11"/>
                  <a:pt x="107" y="11"/>
                </a:cubicBezTo>
                <a:cubicBezTo>
                  <a:pt x="103" y="11"/>
                  <a:pt x="100" y="11"/>
                  <a:pt x="97" y="12"/>
                </a:cubicBezTo>
                <a:cubicBezTo>
                  <a:pt x="90" y="5"/>
                  <a:pt x="77" y="0"/>
                  <a:pt x="62" y="0"/>
                </a:cubicBezTo>
                <a:cubicBezTo>
                  <a:pt x="40" y="0"/>
                  <a:pt x="22" y="10"/>
                  <a:pt x="22" y="23"/>
                </a:cubicBezTo>
                <a:cubicBezTo>
                  <a:pt x="22" y="23"/>
                  <a:pt x="22" y="24"/>
                  <a:pt x="22" y="24"/>
                </a:cubicBezTo>
                <a:cubicBezTo>
                  <a:pt x="9" y="27"/>
                  <a:pt x="0" y="34"/>
                  <a:pt x="0" y="44"/>
                </a:cubicBezTo>
                <a:cubicBezTo>
                  <a:pt x="0" y="53"/>
                  <a:pt x="9" y="61"/>
                  <a:pt x="22" y="63"/>
                </a:cubicBezTo>
                <a:cubicBezTo>
                  <a:pt x="21" y="65"/>
                  <a:pt x="21" y="67"/>
                  <a:pt x="21" y="68"/>
                </a:cubicBezTo>
                <a:cubicBezTo>
                  <a:pt x="21" y="72"/>
                  <a:pt x="22" y="75"/>
                  <a:pt x="24" y="78"/>
                </a:cubicBezTo>
                <a:cubicBezTo>
                  <a:pt x="22" y="80"/>
                  <a:pt x="21" y="83"/>
                  <a:pt x="21" y="86"/>
                </a:cubicBezTo>
                <a:cubicBezTo>
                  <a:pt x="21" y="94"/>
                  <a:pt x="31" y="101"/>
                  <a:pt x="44" y="101"/>
                </a:cubicBezTo>
                <a:cubicBezTo>
                  <a:pt x="50" y="101"/>
                  <a:pt x="55" y="100"/>
                  <a:pt x="59" y="97"/>
                </a:cubicBezTo>
                <a:cubicBezTo>
                  <a:pt x="62" y="102"/>
                  <a:pt x="68" y="105"/>
                  <a:pt x="76" y="105"/>
                </a:cubicBezTo>
                <a:cubicBezTo>
                  <a:pt x="86" y="105"/>
                  <a:pt x="93" y="101"/>
                  <a:pt x="95" y="95"/>
                </a:cubicBezTo>
                <a:cubicBezTo>
                  <a:pt x="99" y="96"/>
                  <a:pt x="104" y="97"/>
                  <a:pt x="109" y="97"/>
                </a:cubicBezTo>
                <a:cubicBezTo>
                  <a:pt x="126" y="97"/>
                  <a:pt x="140" y="89"/>
                  <a:pt x="140" y="79"/>
                </a:cubicBezTo>
                <a:cubicBezTo>
                  <a:pt x="140" y="75"/>
                  <a:pt x="139" y="72"/>
                  <a:pt x="136" y="70"/>
                </a:cubicBezTo>
                <a:cubicBezTo>
                  <a:pt x="146" y="67"/>
                  <a:pt x="152" y="61"/>
                  <a:pt x="152" y="5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69" name="Freeform 20">
            <a:extLst>
              <a:ext uri="{FF2B5EF4-FFF2-40B4-BE49-F238E27FC236}">
                <a16:creationId xmlns:a16="http://schemas.microsoft.com/office/drawing/2014/main" id="{9DF8A3B9-2548-4CE1-97AE-1B96E49DC209}"/>
              </a:ext>
            </a:extLst>
          </p:cNvPr>
          <p:cNvSpPr>
            <a:spLocks noEditPoints="1"/>
          </p:cNvSpPr>
          <p:nvPr/>
        </p:nvSpPr>
        <p:spPr bwMode="auto">
          <a:xfrm>
            <a:off x="6463200" y="2256201"/>
            <a:ext cx="451877" cy="519012"/>
          </a:xfrm>
          <a:custGeom>
            <a:avLst/>
            <a:gdLst>
              <a:gd name="T0" fmla="*/ 89 w 132"/>
              <a:gd name="T1" fmla="*/ 62 h 152"/>
              <a:gd name="T2" fmla="*/ 99 w 132"/>
              <a:gd name="T3" fmla="*/ 86 h 152"/>
              <a:gd name="T4" fmla="*/ 99 w 132"/>
              <a:gd name="T5" fmla="*/ 126 h 152"/>
              <a:gd name="T6" fmla="*/ 88 w 132"/>
              <a:gd name="T7" fmla="*/ 136 h 152"/>
              <a:gd name="T8" fmla="*/ 44 w 132"/>
              <a:gd name="T9" fmla="*/ 136 h 152"/>
              <a:gd name="T10" fmla="*/ 33 w 132"/>
              <a:gd name="T11" fmla="*/ 126 h 152"/>
              <a:gd name="T12" fmla="*/ 33 w 132"/>
              <a:gd name="T13" fmla="*/ 86 h 152"/>
              <a:gd name="T14" fmla="*/ 44 w 132"/>
              <a:gd name="T15" fmla="*/ 62 h 152"/>
              <a:gd name="T16" fmla="*/ 29 w 132"/>
              <a:gd name="T17" fmla="*/ 35 h 152"/>
              <a:gd name="T18" fmla="*/ 17 w 132"/>
              <a:gd name="T19" fmla="*/ 70 h 152"/>
              <a:gd name="T20" fmla="*/ 17 w 132"/>
              <a:gd name="T21" fmla="*/ 136 h 152"/>
              <a:gd name="T22" fmla="*/ 33 w 132"/>
              <a:gd name="T23" fmla="*/ 152 h 152"/>
              <a:gd name="T24" fmla="*/ 99 w 132"/>
              <a:gd name="T25" fmla="*/ 152 h 152"/>
              <a:gd name="T26" fmla="*/ 116 w 132"/>
              <a:gd name="T27" fmla="*/ 136 h 152"/>
              <a:gd name="T28" fmla="*/ 116 w 132"/>
              <a:gd name="T29" fmla="*/ 70 h 152"/>
              <a:gd name="T30" fmla="*/ 104 w 132"/>
              <a:gd name="T31" fmla="*/ 35 h 152"/>
              <a:gd name="T32" fmla="*/ 89 w 132"/>
              <a:gd name="T33" fmla="*/ 62 h 152"/>
              <a:gd name="T34" fmla="*/ 61 w 132"/>
              <a:gd name="T35" fmla="*/ 53 h 152"/>
              <a:gd name="T36" fmla="*/ 72 w 132"/>
              <a:gd name="T37" fmla="*/ 53 h 152"/>
              <a:gd name="T38" fmla="*/ 83 w 132"/>
              <a:gd name="T39" fmla="*/ 57 h 152"/>
              <a:gd name="T40" fmla="*/ 99 w 132"/>
              <a:gd name="T41" fmla="*/ 30 h 152"/>
              <a:gd name="T42" fmla="*/ 87 w 132"/>
              <a:gd name="T43" fmla="*/ 20 h 152"/>
              <a:gd name="T44" fmla="*/ 87 w 132"/>
              <a:gd name="T45" fmla="*/ 12 h 152"/>
              <a:gd name="T46" fmla="*/ 75 w 132"/>
              <a:gd name="T47" fmla="*/ 0 h 152"/>
              <a:gd name="T48" fmla="*/ 58 w 132"/>
              <a:gd name="T49" fmla="*/ 0 h 152"/>
              <a:gd name="T50" fmla="*/ 46 w 132"/>
              <a:gd name="T51" fmla="*/ 12 h 152"/>
              <a:gd name="T52" fmla="*/ 46 w 132"/>
              <a:gd name="T53" fmla="*/ 20 h 152"/>
              <a:gd name="T54" fmla="*/ 33 w 132"/>
              <a:gd name="T55" fmla="*/ 30 h 152"/>
              <a:gd name="T56" fmla="*/ 50 w 132"/>
              <a:gd name="T57" fmla="*/ 57 h 152"/>
              <a:gd name="T58" fmla="*/ 61 w 132"/>
              <a:gd name="T59" fmla="*/ 53 h 152"/>
              <a:gd name="T60" fmla="*/ 9 w 132"/>
              <a:gd name="T61" fmla="*/ 86 h 152"/>
              <a:gd name="T62" fmla="*/ 5 w 132"/>
              <a:gd name="T63" fmla="*/ 86 h 152"/>
              <a:gd name="T64" fmla="*/ 0 w 132"/>
              <a:gd name="T65" fmla="*/ 90 h 152"/>
              <a:gd name="T66" fmla="*/ 0 w 132"/>
              <a:gd name="T67" fmla="*/ 136 h 152"/>
              <a:gd name="T68" fmla="*/ 5 w 132"/>
              <a:gd name="T69" fmla="*/ 140 h 152"/>
              <a:gd name="T70" fmla="*/ 9 w 132"/>
              <a:gd name="T71" fmla="*/ 140 h 152"/>
              <a:gd name="T72" fmla="*/ 13 w 132"/>
              <a:gd name="T73" fmla="*/ 136 h 152"/>
              <a:gd name="T74" fmla="*/ 13 w 132"/>
              <a:gd name="T75" fmla="*/ 90 h 152"/>
              <a:gd name="T76" fmla="*/ 9 w 132"/>
              <a:gd name="T77" fmla="*/ 86 h 152"/>
              <a:gd name="T78" fmla="*/ 58 w 132"/>
              <a:gd name="T79" fmla="*/ 99 h 152"/>
              <a:gd name="T80" fmla="*/ 91 w 132"/>
              <a:gd name="T81" fmla="*/ 99 h 152"/>
              <a:gd name="T82" fmla="*/ 91 w 132"/>
              <a:gd name="T83" fmla="*/ 90 h 152"/>
              <a:gd name="T84" fmla="*/ 42 w 132"/>
              <a:gd name="T85" fmla="*/ 90 h 152"/>
              <a:gd name="T86" fmla="*/ 42 w 132"/>
              <a:gd name="T87" fmla="*/ 99 h 152"/>
              <a:gd name="T88" fmla="*/ 50 w 132"/>
              <a:gd name="T89" fmla="*/ 99 h 152"/>
              <a:gd name="T90" fmla="*/ 50 w 132"/>
              <a:gd name="T91" fmla="*/ 103 h 152"/>
              <a:gd name="T92" fmla="*/ 52 w 132"/>
              <a:gd name="T93" fmla="*/ 103 h 152"/>
              <a:gd name="T94" fmla="*/ 46 w 132"/>
              <a:gd name="T95" fmla="*/ 115 h 152"/>
              <a:gd name="T96" fmla="*/ 62 w 132"/>
              <a:gd name="T97" fmla="*/ 115 h 152"/>
              <a:gd name="T98" fmla="*/ 56 w 132"/>
              <a:gd name="T99" fmla="*/ 103 h 152"/>
              <a:gd name="T100" fmla="*/ 58 w 132"/>
              <a:gd name="T101" fmla="*/ 103 h 152"/>
              <a:gd name="T102" fmla="*/ 58 w 132"/>
              <a:gd name="T103" fmla="*/ 99 h 152"/>
              <a:gd name="T104" fmla="*/ 128 w 132"/>
              <a:gd name="T105" fmla="*/ 86 h 152"/>
              <a:gd name="T106" fmla="*/ 124 w 132"/>
              <a:gd name="T107" fmla="*/ 86 h 152"/>
              <a:gd name="T108" fmla="*/ 120 w 132"/>
              <a:gd name="T109" fmla="*/ 90 h 152"/>
              <a:gd name="T110" fmla="*/ 120 w 132"/>
              <a:gd name="T111" fmla="*/ 136 h 152"/>
              <a:gd name="T112" fmla="*/ 124 w 132"/>
              <a:gd name="T113" fmla="*/ 140 h 152"/>
              <a:gd name="T114" fmla="*/ 128 w 132"/>
              <a:gd name="T115" fmla="*/ 140 h 152"/>
              <a:gd name="T116" fmla="*/ 132 w 132"/>
              <a:gd name="T117" fmla="*/ 136 h 152"/>
              <a:gd name="T118" fmla="*/ 132 w 132"/>
              <a:gd name="T119" fmla="*/ 90 h 152"/>
              <a:gd name="T120" fmla="*/ 128 w 132"/>
              <a:gd name="T121" fmla="*/ 8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52">
                <a:moveTo>
                  <a:pt x="89" y="62"/>
                </a:moveTo>
                <a:cubicBezTo>
                  <a:pt x="95" y="68"/>
                  <a:pt x="99" y="78"/>
                  <a:pt x="99" y="86"/>
                </a:cubicBezTo>
                <a:cubicBezTo>
                  <a:pt x="99" y="126"/>
                  <a:pt x="99" y="126"/>
                  <a:pt x="99" y="126"/>
                </a:cubicBezTo>
                <a:cubicBezTo>
                  <a:pt x="99" y="131"/>
                  <a:pt x="94" y="136"/>
                  <a:pt x="88" y="136"/>
                </a:cubicBezTo>
                <a:cubicBezTo>
                  <a:pt x="44" y="136"/>
                  <a:pt x="44" y="136"/>
                  <a:pt x="44" y="136"/>
                </a:cubicBezTo>
                <a:cubicBezTo>
                  <a:pt x="38" y="136"/>
                  <a:pt x="33" y="131"/>
                  <a:pt x="33" y="126"/>
                </a:cubicBezTo>
                <a:cubicBezTo>
                  <a:pt x="33" y="86"/>
                  <a:pt x="33" y="86"/>
                  <a:pt x="33" y="86"/>
                </a:cubicBezTo>
                <a:cubicBezTo>
                  <a:pt x="33" y="78"/>
                  <a:pt x="38" y="68"/>
                  <a:pt x="44" y="62"/>
                </a:cubicBezTo>
                <a:cubicBezTo>
                  <a:pt x="41" y="52"/>
                  <a:pt x="36" y="43"/>
                  <a:pt x="29" y="35"/>
                </a:cubicBezTo>
                <a:cubicBezTo>
                  <a:pt x="21" y="45"/>
                  <a:pt x="17" y="59"/>
                  <a:pt x="17" y="70"/>
                </a:cubicBezTo>
                <a:cubicBezTo>
                  <a:pt x="17" y="136"/>
                  <a:pt x="17" y="136"/>
                  <a:pt x="17" y="136"/>
                </a:cubicBezTo>
                <a:cubicBezTo>
                  <a:pt x="17" y="145"/>
                  <a:pt x="24" y="152"/>
                  <a:pt x="33" y="152"/>
                </a:cubicBezTo>
                <a:cubicBezTo>
                  <a:pt x="99" y="152"/>
                  <a:pt x="99" y="152"/>
                  <a:pt x="99" y="152"/>
                </a:cubicBezTo>
                <a:cubicBezTo>
                  <a:pt x="108" y="152"/>
                  <a:pt x="116" y="145"/>
                  <a:pt x="116" y="136"/>
                </a:cubicBezTo>
                <a:cubicBezTo>
                  <a:pt x="116" y="70"/>
                  <a:pt x="116" y="70"/>
                  <a:pt x="116" y="70"/>
                </a:cubicBezTo>
                <a:cubicBezTo>
                  <a:pt x="116" y="59"/>
                  <a:pt x="111" y="45"/>
                  <a:pt x="104" y="35"/>
                </a:cubicBezTo>
                <a:cubicBezTo>
                  <a:pt x="97" y="43"/>
                  <a:pt x="91" y="52"/>
                  <a:pt x="89" y="62"/>
                </a:cubicBezTo>
                <a:close/>
                <a:moveTo>
                  <a:pt x="61" y="53"/>
                </a:moveTo>
                <a:cubicBezTo>
                  <a:pt x="72" y="53"/>
                  <a:pt x="72" y="53"/>
                  <a:pt x="72" y="53"/>
                </a:cubicBezTo>
                <a:cubicBezTo>
                  <a:pt x="76" y="53"/>
                  <a:pt x="79" y="55"/>
                  <a:pt x="83" y="57"/>
                </a:cubicBezTo>
                <a:cubicBezTo>
                  <a:pt x="86" y="47"/>
                  <a:pt x="92" y="37"/>
                  <a:pt x="99" y="30"/>
                </a:cubicBezTo>
                <a:cubicBezTo>
                  <a:pt x="96" y="25"/>
                  <a:pt x="91" y="22"/>
                  <a:pt x="87" y="20"/>
                </a:cubicBezTo>
                <a:cubicBezTo>
                  <a:pt x="87" y="12"/>
                  <a:pt x="87" y="12"/>
                  <a:pt x="87" y="12"/>
                </a:cubicBezTo>
                <a:cubicBezTo>
                  <a:pt x="87" y="5"/>
                  <a:pt x="81" y="0"/>
                  <a:pt x="75" y="0"/>
                </a:cubicBezTo>
                <a:cubicBezTo>
                  <a:pt x="58" y="0"/>
                  <a:pt x="58" y="0"/>
                  <a:pt x="58" y="0"/>
                </a:cubicBezTo>
                <a:cubicBezTo>
                  <a:pt x="51" y="0"/>
                  <a:pt x="46" y="5"/>
                  <a:pt x="46" y="12"/>
                </a:cubicBezTo>
                <a:cubicBezTo>
                  <a:pt x="46" y="20"/>
                  <a:pt x="46" y="20"/>
                  <a:pt x="46" y="20"/>
                </a:cubicBezTo>
                <a:cubicBezTo>
                  <a:pt x="41" y="22"/>
                  <a:pt x="37" y="25"/>
                  <a:pt x="33" y="30"/>
                </a:cubicBezTo>
                <a:cubicBezTo>
                  <a:pt x="41" y="37"/>
                  <a:pt x="47" y="47"/>
                  <a:pt x="50" y="57"/>
                </a:cubicBezTo>
                <a:cubicBezTo>
                  <a:pt x="53" y="55"/>
                  <a:pt x="57" y="53"/>
                  <a:pt x="61" y="53"/>
                </a:cubicBezTo>
                <a:close/>
                <a:moveTo>
                  <a:pt x="9" y="86"/>
                </a:moveTo>
                <a:cubicBezTo>
                  <a:pt x="5" y="86"/>
                  <a:pt x="5" y="86"/>
                  <a:pt x="5" y="86"/>
                </a:cubicBezTo>
                <a:cubicBezTo>
                  <a:pt x="2" y="86"/>
                  <a:pt x="0" y="88"/>
                  <a:pt x="0" y="90"/>
                </a:cubicBezTo>
                <a:cubicBezTo>
                  <a:pt x="0" y="136"/>
                  <a:pt x="0" y="136"/>
                  <a:pt x="0" y="136"/>
                </a:cubicBezTo>
                <a:cubicBezTo>
                  <a:pt x="0" y="138"/>
                  <a:pt x="2" y="140"/>
                  <a:pt x="5" y="140"/>
                </a:cubicBezTo>
                <a:cubicBezTo>
                  <a:pt x="9" y="140"/>
                  <a:pt x="9" y="140"/>
                  <a:pt x="9" y="140"/>
                </a:cubicBezTo>
                <a:cubicBezTo>
                  <a:pt x="11" y="140"/>
                  <a:pt x="13" y="138"/>
                  <a:pt x="13" y="136"/>
                </a:cubicBezTo>
                <a:cubicBezTo>
                  <a:pt x="13" y="90"/>
                  <a:pt x="13" y="90"/>
                  <a:pt x="13" y="90"/>
                </a:cubicBezTo>
                <a:cubicBezTo>
                  <a:pt x="13" y="88"/>
                  <a:pt x="11" y="86"/>
                  <a:pt x="9" y="86"/>
                </a:cubicBezTo>
                <a:close/>
                <a:moveTo>
                  <a:pt x="58" y="99"/>
                </a:moveTo>
                <a:cubicBezTo>
                  <a:pt x="91" y="99"/>
                  <a:pt x="91" y="99"/>
                  <a:pt x="91" y="99"/>
                </a:cubicBezTo>
                <a:cubicBezTo>
                  <a:pt x="91" y="90"/>
                  <a:pt x="91" y="90"/>
                  <a:pt x="91" y="90"/>
                </a:cubicBezTo>
                <a:cubicBezTo>
                  <a:pt x="42" y="90"/>
                  <a:pt x="42" y="90"/>
                  <a:pt x="42" y="90"/>
                </a:cubicBezTo>
                <a:cubicBezTo>
                  <a:pt x="42" y="99"/>
                  <a:pt x="42" y="99"/>
                  <a:pt x="42" y="99"/>
                </a:cubicBezTo>
                <a:cubicBezTo>
                  <a:pt x="50" y="99"/>
                  <a:pt x="50" y="99"/>
                  <a:pt x="50" y="99"/>
                </a:cubicBezTo>
                <a:cubicBezTo>
                  <a:pt x="50" y="103"/>
                  <a:pt x="50" y="103"/>
                  <a:pt x="50" y="103"/>
                </a:cubicBezTo>
                <a:cubicBezTo>
                  <a:pt x="52" y="103"/>
                  <a:pt x="52" y="103"/>
                  <a:pt x="52" y="103"/>
                </a:cubicBezTo>
                <a:cubicBezTo>
                  <a:pt x="46" y="115"/>
                  <a:pt x="46" y="115"/>
                  <a:pt x="46" y="115"/>
                </a:cubicBezTo>
                <a:cubicBezTo>
                  <a:pt x="62" y="115"/>
                  <a:pt x="62" y="115"/>
                  <a:pt x="62" y="115"/>
                </a:cubicBezTo>
                <a:cubicBezTo>
                  <a:pt x="56" y="103"/>
                  <a:pt x="56" y="103"/>
                  <a:pt x="56" y="103"/>
                </a:cubicBezTo>
                <a:cubicBezTo>
                  <a:pt x="58" y="103"/>
                  <a:pt x="58" y="103"/>
                  <a:pt x="58" y="103"/>
                </a:cubicBezTo>
                <a:lnTo>
                  <a:pt x="58" y="99"/>
                </a:lnTo>
                <a:close/>
                <a:moveTo>
                  <a:pt x="128" y="86"/>
                </a:moveTo>
                <a:cubicBezTo>
                  <a:pt x="124" y="86"/>
                  <a:pt x="124" y="86"/>
                  <a:pt x="124" y="86"/>
                </a:cubicBezTo>
                <a:cubicBezTo>
                  <a:pt x="122" y="86"/>
                  <a:pt x="120" y="88"/>
                  <a:pt x="120" y="90"/>
                </a:cubicBezTo>
                <a:cubicBezTo>
                  <a:pt x="120" y="136"/>
                  <a:pt x="120" y="136"/>
                  <a:pt x="120" y="136"/>
                </a:cubicBezTo>
                <a:cubicBezTo>
                  <a:pt x="120" y="138"/>
                  <a:pt x="122" y="140"/>
                  <a:pt x="124" y="140"/>
                </a:cubicBezTo>
                <a:cubicBezTo>
                  <a:pt x="128" y="140"/>
                  <a:pt x="128" y="140"/>
                  <a:pt x="128" y="140"/>
                </a:cubicBezTo>
                <a:cubicBezTo>
                  <a:pt x="130" y="140"/>
                  <a:pt x="132" y="138"/>
                  <a:pt x="132" y="136"/>
                </a:cubicBezTo>
                <a:cubicBezTo>
                  <a:pt x="132" y="90"/>
                  <a:pt x="132" y="90"/>
                  <a:pt x="132" y="90"/>
                </a:cubicBezTo>
                <a:cubicBezTo>
                  <a:pt x="132" y="88"/>
                  <a:pt x="130" y="86"/>
                  <a:pt x="128" y="8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0" name="Freeform 21">
            <a:extLst>
              <a:ext uri="{FF2B5EF4-FFF2-40B4-BE49-F238E27FC236}">
                <a16:creationId xmlns:a16="http://schemas.microsoft.com/office/drawing/2014/main" id="{5006B998-2B01-4151-AB80-DC51080B7CF7}"/>
              </a:ext>
            </a:extLst>
          </p:cNvPr>
          <p:cNvSpPr>
            <a:spLocks noEditPoints="1"/>
          </p:cNvSpPr>
          <p:nvPr/>
        </p:nvSpPr>
        <p:spPr bwMode="auto">
          <a:xfrm>
            <a:off x="7591599" y="2240708"/>
            <a:ext cx="446713" cy="495773"/>
          </a:xfrm>
          <a:custGeom>
            <a:avLst/>
            <a:gdLst>
              <a:gd name="T0" fmla="*/ 107 w 131"/>
              <a:gd name="T1" fmla="*/ 106 h 145"/>
              <a:gd name="T2" fmla="*/ 107 w 131"/>
              <a:gd name="T3" fmla="*/ 116 h 145"/>
              <a:gd name="T4" fmla="*/ 98 w 131"/>
              <a:gd name="T5" fmla="*/ 124 h 145"/>
              <a:gd name="T6" fmla="*/ 94 w 131"/>
              <a:gd name="T7" fmla="*/ 124 h 145"/>
              <a:gd name="T8" fmla="*/ 86 w 131"/>
              <a:gd name="T9" fmla="*/ 116 h 145"/>
              <a:gd name="T10" fmla="*/ 86 w 131"/>
              <a:gd name="T11" fmla="*/ 114 h 145"/>
              <a:gd name="T12" fmla="*/ 45 w 131"/>
              <a:gd name="T13" fmla="*/ 113 h 145"/>
              <a:gd name="T14" fmla="*/ 45 w 131"/>
              <a:gd name="T15" fmla="*/ 116 h 145"/>
              <a:gd name="T16" fmla="*/ 37 w 131"/>
              <a:gd name="T17" fmla="*/ 124 h 145"/>
              <a:gd name="T18" fmla="*/ 33 w 131"/>
              <a:gd name="T19" fmla="*/ 124 h 145"/>
              <a:gd name="T20" fmla="*/ 24 w 131"/>
              <a:gd name="T21" fmla="*/ 116 h 145"/>
              <a:gd name="T22" fmla="*/ 24 w 131"/>
              <a:gd name="T23" fmla="*/ 106 h 145"/>
              <a:gd name="T24" fmla="*/ 10 w 131"/>
              <a:gd name="T25" fmla="*/ 98 h 145"/>
              <a:gd name="T26" fmla="*/ 4 w 131"/>
              <a:gd name="T27" fmla="*/ 90 h 145"/>
              <a:gd name="T28" fmla="*/ 4 w 131"/>
              <a:gd name="T29" fmla="*/ 132 h 145"/>
              <a:gd name="T30" fmla="*/ 16 w 131"/>
              <a:gd name="T31" fmla="*/ 145 h 145"/>
              <a:gd name="T32" fmla="*/ 115 w 131"/>
              <a:gd name="T33" fmla="*/ 145 h 145"/>
              <a:gd name="T34" fmla="*/ 127 w 131"/>
              <a:gd name="T35" fmla="*/ 132 h 145"/>
              <a:gd name="T36" fmla="*/ 127 w 131"/>
              <a:gd name="T37" fmla="*/ 90 h 145"/>
              <a:gd name="T38" fmla="*/ 120 w 131"/>
              <a:gd name="T39" fmla="*/ 98 h 145"/>
              <a:gd name="T40" fmla="*/ 107 w 131"/>
              <a:gd name="T41" fmla="*/ 106 h 145"/>
              <a:gd name="T42" fmla="*/ 37 w 131"/>
              <a:gd name="T43" fmla="*/ 116 h 145"/>
              <a:gd name="T44" fmla="*/ 41 w 131"/>
              <a:gd name="T45" fmla="*/ 112 h 145"/>
              <a:gd name="T46" fmla="*/ 41 w 131"/>
              <a:gd name="T47" fmla="*/ 104 h 145"/>
              <a:gd name="T48" fmla="*/ 37 w 131"/>
              <a:gd name="T49" fmla="*/ 99 h 145"/>
              <a:gd name="T50" fmla="*/ 33 w 131"/>
              <a:gd name="T51" fmla="*/ 99 h 145"/>
              <a:gd name="T52" fmla="*/ 28 w 131"/>
              <a:gd name="T53" fmla="*/ 104 h 145"/>
              <a:gd name="T54" fmla="*/ 28 w 131"/>
              <a:gd name="T55" fmla="*/ 112 h 145"/>
              <a:gd name="T56" fmla="*/ 33 w 131"/>
              <a:gd name="T57" fmla="*/ 116 h 145"/>
              <a:gd name="T58" fmla="*/ 37 w 131"/>
              <a:gd name="T59" fmla="*/ 116 h 145"/>
              <a:gd name="T60" fmla="*/ 98 w 131"/>
              <a:gd name="T61" fmla="*/ 116 h 145"/>
              <a:gd name="T62" fmla="*/ 102 w 131"/>
              <a:gd name="T63" fmla="*/ 112 h 145"/>
              <a:gd name="T64" fmla="*/ 102 w 131"/>
              <a:gd name="T65" fmla="*/ 104 h 145"/>
              <a:gd name="T66" fmla="*/ 98 w 131"/>
              <a:gd name="T67" fmla="*/ 99 h 145"/>
              <a:gd name="T68" fmla="*/ 94 w 131"/>
              <a:gd name="T69" fmla="*/ 99 h 145"/>
              <a:gd name="T70" fmla="*/ 90 w 131"/>
              <a:gd name="T71" fmla="*/ 104 h 145"/>
              <a:gd name="T72" fmla="*/ 90 w 131"/>
              <a:gd name="T73" fmla="*/ 112 h 145"/>
              <a:gd name="T74" fmla="*/ 94 w 131"/>
              <a:gd name="T75" fmla="*/ 116 h 145"/>
              <a:gd name="T76" fmla="*/ 98 w 131"/>
              <a:gd name="T77" fmla="*/ 116 h 145"/>
              <a:gd name="T78" fmla="*/ 119 w 131"/>
              <a:gd name="T79" fmla="*/ 38 h 145"/>
              <a:gd name="T80" fmla="*/ 98 w 131"/>
              <a:gd name="T81" fmla="*/ 38 h 145"/>
              <a:gd name="T82" fmla="*/ 33 w 131"/>
              <a:gd name="T83" fmla="*/ 38 h 145"/>
              <a:gd name="T84" fmla="*/ 12 w 131"/>
              <a:gd name="T85" fmla="*/ 38 h 145"/>
              <a:gd name="T86" fmla="*/ 0 w 131"/>
              <a:gd name="T87" fmla="*/ 50 h 145"/>
              <a:gd name="T88" fmla="*/ 0 w 131"/>
              <a:gd name="T89" fmla="*/ 69 h 145"/>
              <a:gd name="T90" fmla="*/ 10 w 131"/>
              <a:gd name="T91" fmla="*/ 90 h 145"/>
              <a:gd name="T92" fmla="*/ 26 w 131"/>
              <a:gd name="T93" fmla="*/ 99 h 145"/>
              <a:gd name="T94" fmla="*/ 33 w 131"/>
              <a:gd name="T95" fmla="*/ 95 h 145"/>
              <a:gd name="T96" fmla="*/ 37 w 131"/>
              <a:gd name="T97" fmla="*/ 95 h 145"/>
              <a:gd name="T98" fmla="*/ 45 w 131"/>
              <a:gd name="T99" fmla="*/ 104 h 145"/>
              <a:gd name="T100" fmla="*/ 45 w 131"/>
              <a:gd name="T101" fmla="*/ 106 h 145"/>
              <a:gd name="T102" fmla="*/ 86 w 131"/>
              <a:gd name="T103" fmla="*/ 106 h 145"/>
              <a:gd name="T104" fmla="*/ 86 w 131"/>
              <a:gd name="T105" fmla="*/ 104 h 145"/>
              <a:gd name="T106" fmla="*/ 94 w 131"/>
              <a:gd name="T107" fmla="*/ 95 h 145"/>
              <a:gd name="T108" fmla="*/ 98 w 131"/>
              <a:gd name="T109" fmla="*/ 95 h 145"/>
              <a:gd name="T110" fmla="*/ 105 w 131"/>
              <a:gd name="T111" fmla="*/ 99 h 145"/>
              <a:gd name="T112" fmla="*/ 120 w 131"/>
              <a:gd name="T113" fmla="*/ 90 h 145"/>
              <a:gd name="T114" fmla="*/ 131 w 131"/>
              <a:gd name="T115" fmla="*/ 69 h 145"/>
              <a:gd name="T116" fmla="*/ 131 w 131"/>
              <a:gd name="T117" fmla="*/ 50 h 145"/>
              <a:gd name="T118" fmla="*/ 119 w 131"/>
              <a:gd name="T119" fmla="*/ 38 h 145"/>
              <a:gd name="T120" fmla="*/ 46 w 131"/>
              <a:gd name="T121" fmla="*/ 38 h 145"/>
              <a:gd name="T122" fmla="*/ 85 w 131"/>
              <a:gd name="T123" fmla="*/ 38 h 145"/>
              <a:gd name="T124" fmla="*/ 46 w 131"/>
              <a:gd name="T125" fmla="*/ 3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145">
                <a:moveTo>
                  <a:pt x="107" y="106"/>
                </a:moveTo>
                <a:cubicBezTo>
                  <a:pt x="107" y="116"/>
                  <a:pt x="107" y="116"/>
                  <a:pt x="107" y="116"/>
                </a:cubicBezTo>
                <a:cubicBezTo>
                  <a:pt x="107" y="120"/>
                  <a:pt x="103" y="124"/>
                  <a:pt x="98" y="124"/>
                </a:cubicBezTo>
                <a:cubicBezTo>
                  <a:pt x="94" y="124"/>
                  <a:pt x="94" y="124"/>
                  <a:pt x="94" y="124"/>
                </a:cubicBezTo>
                <a:cubicBezTo>
                  <a:pt x="90" y="124"/>
                  <a:pt x="86" y="120"/>
                  <a:pt x="86" y="116"/>
                </a:cubicBezTo>
                <a:cubicBezTo>
                  <a:pt x="86" y="114"/>
                  <a:pt x="86" y="114"/>
                  <a:pt x="86" y="114"/>
                </a:cubicBezTo>
                <a:cubicBezTo>
                  <a:pt x="72" y="117"/>
                  <a:pt x="58" y="116"/>
                  <a:pt x="45" y="113"/>
                </a:cubicBezTo>
                <a:cubicBezTo>
                  <a:pt x="45" y="116"/>
                  <a:pt x="45" y="116"/>
                  <a:pt x="45" y="116"/>
                </a:cubicBezTo>
                <a:cubicBezTo>
                  <a:pt x="45" y="120"/>
                  <a:pt x="41" y="124"/>
                  <a:pt x="37" y="124"/>
                </a:cubicBezTo>
                <a:cubicBezTo>
                  <a:pt x="33" y="124"/>
                  <a:pt x="33" y="124"/>
                  <a:pt x="33" y="124"/>
                </a:cubicBezTo>
                <a:cubicBezTo>
                  <a:pt x="28" y="124"/>
                  <a:pt x="24" y="120"/>
                  <a:pt x="24" y="116"/>
                </a:cubicBezTo>
                <a:cubicBezTo>
                  <a:pt x="24" y="106"/>
                  <a:pt x="24" y="106"/>
                  <a:pt x="24" y="106"/>
                </a:cubicBezTo>
                <a:cubicBezTo>
                  <a:pt x="20" y="104"/>
                  <a:pt x="15" y="101"/>
                  <a:pt x="10" y="98"/>
                </a:cubicBezTo>
                <a:cubicBezTo>
                  <a:pt x="8" y="96"/>
                  <a:pt x="6" y="93"/>
                  <a:pt x="4" y="90"/>
                </a:cubicBezTo>
                <a:cubicBezTo>
                  <a:pt x="4" y="132"/>
                  <a:pt x="4" y="132"/>
                  <a:pt x="4" y="132"/>
                </a:cubicBezTo>
                <a:cubicBezTo>
                  <a:pt x="4" y="139"/>
                  <a:pt x="9" y="145"/>
                  <a:pt x="16" y="145"/>
                </a:cubicBezTo>
                <a:cubicBezTo>
                  <a:pt x="115" y="145"/>
                  <a:pt x="115" y="145"/>
                  <a:pt x="115" y="145"/>
                </a:cubicBezTo>
                <a:cubicBezTo>
                  <a:pt x="122" y="145"/>
                  <a:pt x="127" y="139"/>
                  <a:pt x="127" y="132"/>
                </a:cubicBezTo>
                <a:cubicBezTo>
                  <a:pt x="127" y="90"/>
                  <a:pt x="127" y="90"/>
                  <a:pt x="127" y="90"/>
                </a:cubicBezTo>
                <a:cubicBezTo>
                  <a:pt x="125" y="93"/>
                  <a:pt x="123" y="96"/>
                  <a:pt x="120" y="98"/>
                </a:cubicBezTo>
                <a:cubicBezTo>
                  <a:pt x="116" y="101"/>
                  <a:pt x="111" y="104"/>
                  <a:pt x="107" y="106"/>
                </a:cubicBezTo>
                <a:close/>
                <a:moveTo>
                  <a:pt x="37" y="116"/>
                </a:moveTo>
                <a:cubicBezTo>
                  <a:pt x="39" y="116"/>
                  <a:pt x="41" y="114"/>
                  <a:pt x="41" y="112"/>
                </a:cubicBezTo>
                <a:cubicBezTo>
                  <a:pt x="41" y="104"/>
                  <a:pt x="41" y="104"/>
                  <a:pt x="41" y="104"/>
                </a:cubicBezTo>
                <a:cubicBezTo>
                  <a:pt x="41" y="101"/>
                  <a:pt x="39" y="99"/>
                  <a:pt x="37" y="99"/>
                </a:cubicBezTo>
                <a:cubicBezTo>
                  <a:pt x="33" y="99"/>
                  <a:pt x="33" y="99"/>
                  <a:pt x="33" y="99"/>
                </a:cubicBezTo>
                <a:cubicBezTo>
                  <a:pt x="30" y="99"/>
                  <a:pt x="28" y="101"/>
                  <a:pt x="28" y="104"/>
                </a:cubicBezTo>
                <a:cubicBezTo>
                  <a:pt x="28" y="112"/>
                  <a:pt x="28" y="112"/>
                  <a:pt x="28" y="112"/>
                </a:cubicBezTo>
                <a:cubicBezTo>
                  <a:pt x="28" y="114"/>
                  <a:pt x="30" y="116"/>
                  <a:pt x="33" y="116"/>
                </a:cubicBezTo>
                <a:lnTo>
                  <a:pt x="37" y="116"/>
                </a:lnTo>
                <a:close/>
                <a:moveTo>
                  <a:pt x="98" y="116"/>
                </a:moveTo>
                <a:cubicBezTo>
                  <a:pt x="101" y="116"/>
                  <a:pt x="102" y="114"/>
                  <a:pt x="102" y="112"/>
                </a:cubicBezTo>
                <a:cubicBezTo>
                  <a:pt x="102" y="104"/>
                  <a:pt x="102" y="104"/>
                  <a:pt x="102" y="104"/>
                </a:cubicBezTo>
                <a:cubicBezTo>
                  <a:pt x="102" y="101"/>
                  <a:pt x="101" y="99"/>
                  <a:pt x="98" y="99"/>
                </a:cubicBezTo>
                <a:cubicBezTo>
                  <a:pt x="94" y="99"/>
                  <a:pt x="94" y="99"/>
                  <a:pt x="94" y="99"/>
                </a:cubicBezTo>
                <a:cubicBezTo>
                  <a:pt x="92" y="99"/>
                  <a:pt x="90" y="101"/>
                  <a:pt x="90" y="104"/>
                </a:cubicBezTo>
                <a:cubicBezTo>
                  <a:pt x="90" y="112"/>
                  <a:pt x="90" y="112"/>
                  <a:pt x="90" y="112"/>
                </a:cubicBezTo>
                <a:cubicBezTo>
                  <a:pt x="90" y="114"/>
                  <a:pt x="92" y="116"/>
                  <a:pt x="94" y="116"/>
                </a:cubicBezTo>
                <a:lnTo>
                  <a:pt x="98" y="116"/>
                </a:lnTo>
                <a:close/>
                <a:moveTo>
                  <a:pt x="119" y="38"/>
                </a:moveTo>
                <a:cubicBezTo>
                  <a:pt x="98" y="38"/>
                  <a:pt x="98" y="38"/>
                  <a:pt x="98" y="38"/>
                </a:cubicBezTo>
                <a:cubicBezTo>
                  <a:pt x="94" y="0"/>
                  <a:pt x="37" y="0"/>
                  <a:pt x="33" y="38"/>
                </a:cubicBezTo>
                <a:cubicBezTo>
                  <a:pt x="12" y="38"/>
                  <a:pt x="12" y="38"/>
                  <a:pt x="12" y="38"/>
                </a:cubicBezTo>
                <a:cubicBezTo>
                  <a:pt x="5" y="38"/>
                  <a:pt x="0" y="43"/>
                  <a:pt x="0" y="50"/>
                </a:cubicBezTo>
                <a:cubicBezTo>
                  <a:pt x="0" y="62"/>
                  <a:pt x="0" y="56"/>
                  <a:pt x="0" y="69"/>
                </a:cubicBezTo>
                <a:cubicBezTo>
                  <a:pt x="0" y="75"/>
                  <a:pt x="4" y="85"/>
                  <a:pt x="10" y="90"/>
                </a:cubicBezTo>
                <a:cubicBezTo>
                  <a:pt x="15" y="94"/>
                  <a:pt x="20" y="97"/>
                  <a:pt x="26" y="99"/>
                </a:cubicBezTo>
                <a:cubicBezTo>
                  <a:pt x="27" y="97"/>
                  <a:pt x="30" y="95"/>
                  <a:pt x="33" y="95"/>
                </a:cubicBezTo>
                <a:cubicBezTo>
                  <a:pt x="37" y="95"/>
                  <a:pt x="37" y="95"/>
                  <a:pt x="37" y="95"/>
                </a:cubicBezTo>
                <a:cubicBezTo>
                  <a:pt x="41" y="95"/>
                  <a:pt x="45" y="99"/>
                  <a:pt x="45" y="104"/>
                </a:cubicBezTo>
                <a:cubicBezTo>
                  <a:pt x="45" y="106"/>
                  <a:pt x="45" y="106"/>
                  <a:pt x="45" y="106"/>
                </a:cubicBezTo>
                <a:cubicBezTo>
                  <a:pt x="58" y="109"/>
                  <a:pt x="72" y="109"/>
                  <a:pt x="86" y="106"/>
                </a:cubicBezTo>
                <a:cubicBezTo>
                  <a:pt x="86" y="104"/>
                  <a:pt x="86" y="104"/>
                  <a:pt x="86" y="104"/>
                </a:cubicBezTo>
                <a:cubicBezTo>
                  <a:pt x="86" y="99"/>
                  <a:pt x="90" y="95"/>
                  <a:pt x="94" y="95"/>
                </a:cubicBezTo>
                <a:cubicBezTo>
                  <a:pt x="98" y="95"/>
                  <a:pt x="98" y="95"/>
                  <a:pt x="98" y="95"/>
                </a:cubicBezTo>
                <a:cubicBezTo>
                  <a:pt x="101" y="95"/>
                  <a:pt x="104" y="97"/>
                  <a:pt x="105" y="99"/>
                </a:cubicBezTo>
                <a:cubicBezTo>
                  <a:pt x="110" y="97"/>
                  <a:pt x="116" y="94"/>
                  <a:pt x="120" y="90"/>
                </a:cubicBezTo>
                <a:cubicBezTo>
                  <a:pt x="127" y="85"/>
                  <a:pt x="131" y="75"/>
                  <a:pt x="131" y="69"/>
                </a:cubicBezTo>
                <a:cubicBezTo>
                  <a:pt x="131" y="56"/>
                  <a:pt x="131" y="62"/>
                  <a:pt x="131" y="50"/>
                </a:cubicBezTo>
                <a:cubicBezTo>
                  <a:pt x="131" y="43"/>
                  <a:pt x="126" y="38"/>
                  <a:pt x="119" y="38"/>
                </a:cubicBezTo>
                <a:close/>
                <a:moveTo>
                  <a:pt x="46" y="38"/>
                </a:moveTo>
                <a:cubicBezTo>
                  <a:pt x="50" y="16"/>
                  <a:pt x="81" y="16"/>
                  <a:pt x="85" y="38"/>
                </a:cubicBezTo>
                <a:lnTo>
                  <a:pt x="46" y="3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1" name="Freeform 22">
            <a:extLst>
              <a:ext uri="{FF2B5EF4-FFF2-40B4-BE49-F238E27FC236}">
                <a16:creationId xmlns:a16="http://schemas.microsoft.com/office/drawing/2014/main" id="{AC9A9EDE-5DCE-4289-BDFB-95F98667AB42}"/>
              </a:ext>
            </a:extLst>
          </p:cNvPr>
          <p:cNvSpPr>
            <a:spLocks noEditPoints="1"/>
          </p:cNvSpPr>
          <p:nvPr/>
        </p:nvSpPr>
        <p:spPr bwMode="auto">
          <a:xfrm>
            <a:off x="8714834" y="2356906"/>
            <a:ext cx="464787" cy="348591"/>
          </a:xfrm>
          <a:custGeom>
            <a:avLst/>
            <a:gdLst>
              <a:gd name="T0" fmla="*/ 107 w 136"/>
              <a:gd name="T1" fmla="*/ 18 h 102"/>
              <a:gd name="T2" fmla="*/ 115 w 136"/>
              <a:gd name="T3" fmla="*/ 20 h 102"/>
              <a:gd name="T4" fmla="*/ 119 w 136"/>
              <a:gd name="T5" fmla="*/ 4 h 102"/>
              <a:gd name="T6" fmla="*/ 105 w 136"/>
              <a:gd name="T7" fmla="*/ 0 h 102"/>
              <a:gd name="T8" fmla="*/ 34 w 136"/>
              <a:gd name="T9" fmla="*/ 61 h 102"/>
              <a:gd name="T10" fmla="*/ 117 w 136"/>
              <a:gd name="T11" fmla="*/ 102 h 102"/>
              <a:gd name="T12" fmla="*/ 34 w 136"/>
              <a:gd name="T13" fmla="*/ 61 h 102"/>
              <a:gd name="T14" fmla="*/ 0 w 136"/>
              <a:gd name="T15" fmla="*/ 65 h 102"/>
              <a:gd name="T16" fmla="*/ 4 w 136"/>
              <a:gd name="T17" fmla="*/ 102 h 102"/>
              <a:gd name="T18" fmla="*/ 10 w 136"/>
              <a:gd name="T19" fmla="*/ 61 h 102"/>
              <a:gd name="T20" fmla="*/ 131 w 136"/>
              <a:gd name="T21" fmla="*/ 61 h 102"/>
              <a:gd name="T22" fmla="*/ 121 w 136"/>
              <a:gd name="T23" fmla="*/ 102 h 102"/>
              <a:gd name="T24" fmla="*/ 136 w 136"/>
              <a:gd name="T25" fmla="*/ 98 h 102"/>
              <a:gd name="T26" fmla="*/ 131 w 136"/>
              <a:gd name="T27" fmla="*/ 61 h 102"/>
              <a:gd name="T28" fmla="*/ 22 w 136"/>
              <a:gd name="T29" fmla="*/ 102 h 102"/>
              <a:gd name="T30" fmla="*/ 30 w 136"/>
              <a:gd name="T31" fmla="*/ 61 h 102"/>
              <a:gd name="T32" fmla="*/ 127 w 136"/>
              <a:gd name="T33" fmla="*/ 49 h 102"/>
              <a:gd name="T34" fmla="*/ 123 w 136"/>
              <a:gd name="T35" fmla="*/ 28 h 102"/>
              <a:gd name="T36" fmla="*/ 8 w 136"/>
              <a:gd name="T37" fmla="*/ 33 h 102"/>
              <a:gd name="T38" fmla="*/ 12 w 136"/>
              <a:gd name="T39" fmla="*/ 53 h 102"/>
              <a:gd name="T40" fmla="*/ 127 w 136"/>
              <a:gd name="T41" fmla="*/ 49 h 102"/>
              <a:gd name="T42" fmla="*/ 33 w 136"/>
              <a:gd name="T43" fmla="*/ 35 h 102"/>
              <a:gd name="T44" fmla="*/ 29 w 136"/>
              <a:gd name="T45" fmla="*/ 35 h 102"/>
              <a:gd name="T46" fmla="*/ 24 w 136"/>
              <a:gd name="T47" fmla="*/ 47 h 102"/>
              <a:gd name="T48" fmla="*/ 20 w 136"/>
              <a:gd name="T49" fmla="*/ 47 h 102"/>
              <a:gd name="T50" fmla="*/ 22 w 136"/>
              <a:gd name="T51" fmla="*/ 33 h 102"/>
              <a:gd name="T52" fmla="*/ 24 w 136"/>
              <a:gd name="T53" fmla="*/ 47 h 102"/>
              <a:gd name="T54" fmla="*/ 29 w 136"/>
              <a:gd name="T55" fmla="*/ 43 h 102"/>
              <a:gd name="T56" fmla="*/ 33 w 136"/>
              <a:gd name="T57" fmla="*/ 43 h 102"/>
              <a:gd name="T58" fmla="*/ 35 w 136"/>
              <a:gd name="T59" fmla="*/ 49 h 102"/>
              <a:gd name="T60" fmla="*/ 35 w 136"/>
              <a:gd name="T61" fmla="*/ 45 h 102"/>
              <a:gd name="T62" fmla="*/ 35 w 136"/>
              <a:gd name="T63" fmla="*/ 49 h 102"/>
              <a:gd name="T64" fmla="*/ 33 w 136"/>
              <a:gd name="T65" fmla="*/ 39 h 102"/>
              <a:gd name="T66" fmla="*/ 37 w 136"/>
              <a:gd name="T67" fmla="*/ 39 h 102"/>
              <a:gd name="T68" fmla="*/ 119 w 136"/>
              <a:gd name="T69" fmla="*/ 45 h 102"/>
              <a:gd name="T70" fmla="*/ 111 w 136"/>
              <a:gd name="T71" fmla="*/ 45 h 102"/>
              <a:gd name="T72" fmla="*/ 115 w 136"/>
              <a:gd name="T73" fmla="*/ 33 h 102"/>
              <a:gd name="T74" fmla="*/ 119 w 136"/>
              <a:gd name="T75" fmla="*/ 45 h 102"/>
              <a:gd name="T76" fmla="*/ 105 w 136"/>
              <a:gd name="T77" fmla="*/ 20 h 102"/>
              <a:gd name="T78" fmla="*/ 103 w 136"/>
              <a:gd name="T79" fmla="*/ 2 h 102"/>
              <a:gd name="T80" fmla="*/ 20 w 136"/>
              <a:gd name="T81" fmla="*/ 0 h 102"/>
              <a:gd name="T82" fmla="*/ 16 w 136"/>
              <a:gd name="T83" fmla="*/ 16 h 102"/>
              <a:gd name="T84" fmla="*/ 82 w 136"/>
              <a:gd name="T85" fmla="*/ 4 h 102"/>
              <a:gd name="T86" fmla="*/ 99 w 136"/>
              <a:gd name="T87" fmla="*/ 16 h 102"/>
              <a:gd name="T88" fmla="*/ 82 w 136"/>
              <a:gd name="T89" fmla="*/ 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 h="102">
                <a:moveTo>
                  <a:pt x="107" y="2"/>
                </a:moveTo>
                <a:cubicBezTo>
                  <a:pt x="109" y="7"/>
                  <a:pt x="109" y="13"/>
                  <a:pt x="107" y="18"/>
                </a:cubicBezTo>
                <a:cubicBezTo>
                  <a:pt x="107" y="19"/>
                  <a:pt x="106" y="20"/>
                  <a:pt x="105" y="20"/>
                </a:cubicBezTo>
                <a:cubicBezTo>
                  <a:pt x="115" y="20"/>
                  <a:pt x="115" y="20"/>
                  <a:pt x="115" y="20"/>
                </a:cubicBezTo>
                <a:cubicBezTo>
                  <a:pt x="117" y="20"/>
                  <a:pt x="119" y="18"/>
                  <a:pt x="119" y="16"/>
                </a:cubicBezTo>
                <a:cubicBezTo>
                  <a:pt x="119" y="4"/>
                  <a:pt x="119" y="4"/>
                  <a:pt x="119" y="4"/>
                </a:cubicBezTo>
                <a:cubicBezTo>
                  <a:pt x="119" y="1"/>
                  <a:pt x="117" y="0"/>
                  <a:pt x="115" y="0"/>
                </a:cubicBezTo>
                <a:cubicBezTo>
                  <a:pt x="105" y="0"/>
                  <a:pt x="105" y="0"/>
                  <a:pt x="105" y="0"/>
                </a:cubicBezTo>
                <a:cubicBezTo>
                  <a:pt x="106" y="0"/>
                  <a:pt x="107" y="1"/>
                  <a:pt x="107" y="2"/>
                </a:cubicBezTo>
                <a:close/>
                <a:moveTo>
                  <a:pt x="34" y="61"/>
                </a:moveTo>
                <a:cubicBezTo>
                  <a:pt x="32" y="75"/>
                  <a:pt x="32" y="89"/>
                  <a:pt x="34" y="102"/>
                </a:cubicBezTo>
                <a:cubicBezTo>
                  <a:pt x="117" y="102"/>
                  <a:pt x="117" y="102"/>
                  <a:pt x="117" y="102"/>
                </a:cubicBezTo>
                <a:cubicBezTo>
                  <a:pt x="121" y="93"/>
                  <a:pt x="121" y="70"/>
                  <a:pt x="117" y="61"/>
                </a:cubicBezTo>
                <a:lnTo>
                  <a:pt x="34" y="61"/>
                </a:lnTo>
                <a:close/>
                <a:moveTo>
                  <a:pt x="4" y="61"/>
                </a:moveTo>
                <a:cubicBezTo>
                  <a:pt x="2" y="61"/>
                  <a:pt x="0" y="63"/>
                  <a:pt x="0" y="65"/>
                </a:cubicBezTo>
                <a:cubicBezTo>
                  <a:pt x="0" y="98"/>
                  <a:pt x="0" y="98"/>
                  <a:pt x="0" y="98"/>
                </a:cubicBezTo>
                <a:cubicBezTo>
                  <a:pt x="0" y="101"/>
                  <a:pt x="2" y="102"/>
                  <a:pt x="4" y="102"/>
                </a:cubicBezTo>
                <a:cubicBezTo>
                  <a:pt x="10" y="102"/>
                  <a:pt x="10" y="102"/>
                  <a:pt x="10" y="102"/>
                </a:cubicBezTo>
                <a:cubicBezTo>
                  <a:pt x="8" y="98"/>
                  <a:pt x="8" y="66"/>
                  <a:pt x="10" y="61"/>
                </a:cubicBezTo>
                <a:lnTo>
                  <a:pt x="4" y="61"/>
                </a:lnTo>
                <a:close/>
                <a:moveTo>
                  <a:pt x="131" y="61"/>
                </a:moveTo>
                <a:cubicBezTo>
                  <a:pt x="121" y="61"/>
                  <a:pt x="121" y="61"/>
                  <a:pt x="121" y="61"/>
                </a:cubicBezTo>
                <a:cubicBezTo>
                  <a:pt x="125" y="70"/>
                  <a:pt x="124" y="95"/>
                  <a:pt x="121" y="102"/>
                </a:cubicBezTo>
                <a:cubicBezTo>
                  <a:pt x="131" y="102"/>
                  <a:pt x="131" y="102"/>
                  <a:pt x="131" y="102"/>
                </a:cubicBezTo>
                <a:cubicBezTo>
                  <a:pt x="134" y="102"/>
                  <a:pt x="136" y="101"/>
                  <a:pt x="136" y="98"/>
                </a:cubicBezTo>
                <a:cubicBezTo>
                  <a:pt x="136" y="65"/>
                  <a:pt x="136" y="65"/>
                  <a:pt x="136" y="65"/>
                </a:cubicBezTo>
                <a:cubicBezTo>
                  <a:pt x="136" y="63"/>
                  <a:pt x="134" y="61"/>
                  <a:pt x="131" y="61"/>
                </a:cubicBezTo>
                <a:close/>
                <a:moveTo>
                  <a:pt x="22" y="61"/>
                </a:moveTo>
                <a:cubicBezTo>
                  <a:pt x="19" y="69"/>
                  <a:pt x="19" y="95"/>
                  <a:pt x="22" y="102"/>
                </a:cubicBezTo>
                <a:cubicBezTo>
                  <a:pt x="30" y="102"/>
                  <a:pt x="30" y="102"/>
                  <a:pt x="30" y="102"/>
                </a:cubicBezTo>
                <a:cubicBezTo>
                  <a:pt x="28" y="89"/>
                  <a:pt x="28" y="75"/>
                  <a:pt x="30" y="61"/>
                </a:cubicBezTo>
                <a:lnTo>
                  <a:pt x="22" y="61"/>
                </a:lnTo>
                <a:close/>
                <a:moveTo>
                  <a:pt x="127" y="49"/>
                </a:moveTo>
                <a:cubicBezTo>
                  <a:pt x="127" y="33"/>
                  <a:pt x="127" y="33"/>
                  <a:pt x="127" y="33"/>
                </a:cubicBezTo>
                <a:cubicBezTo>
                  <a:pt x="127" y="30"/>
                  <a:pt x="125" y="28"/>
                  <a:pt x="123" y="28"/>
                </a:cubicBezTo>
                <a:cubicBezTo>
                  <a:pt x="12" y="28"/>
                  <a:pt x="12" y="28"/>
                  <a:pt x="12" y="28"/>
                </a:cubicBezTo>
                <a:cubicBezTo>
                  <a:pt x="10" y="28"/>
                  <a:pt x="8" y="30"/>
                  <a:pt x="8" y="33"/>
                </a:cubicBezTo>
                <a:cubicBezTo>
                  <a:pt x="8" y="49"/>
                  <a:pt x="8" y="49"/>
                  <a:pt x="8" y="49"/>
                </a:cubicBezTo>
                <a:cubicBezTo>
                  <a:pt x="8" y="51"/>
                  <a:pt x="10" y="53"/>
                  <a:pt x="12" y="53"/>
                </a:cubicBezTo>
                <a:cubicBezTo>
                  <a:pt x="123" y="53"/>
                  <a:pt x="123" y="53"/>
                  <a:pt x="123" y="53"/>
                </a:cubicBezTo>
                <a:cubicBezTo>
                  <a:pt x="125" y="53"/>
                  <a:pt x="127" y="51"/>
                  <a:pt x="127" y="49"/>
                </a:cubicBezTo>
                <a:close/>
                <a:moveTo>
                  <a:pt x="31" y="33"/>
                </a:moveTo>
                <a:cubicBezTo>
                  <a:pt x="32" y="33"/>
                  <a:pt x="33" y="33"/>
                  <a:pt x="33" y="35"/>
                </a:cubicBezTo>
                <a:cubicBezTo>
                  <a:pt x="33" y="36"/>
                  <a:pt x="32" y="37"/>
                  <a:pt x="31" y="37"/>
                </a:cubicBezTo>
                <a:cubicBezTo>
                  <a:pt x="29" y="37"/>
                  <a:pt x="29" y="36"/>
                  <a:pt x="29" y="35"/>
                </a:cubicBezTo>
                <a:cubicBezTo>
                  <a:pt x="29" y="33"/>
                  <a:pt x="29" y="33"/>
                  <a:pt x="31" y="33"/>
                </a:cubicBezTo>
                <a:close/>
                <a:moveTo>
                  <a:pt x="24" y="47"/>
                </a:moveTo>
                <a:cubicBezTo>
                  <a:pt x="24" y="48"/>
                  <a:pt x="24" y="49"/>
                  <a:pt x="22" y="49"/>
                </a:cubicBezTo>
                <a:cubicBezTo>
                  <a:pt x="21" y="49"/>
                  <a:pt x="20" y="48"/>
                  <a:pt x="20" y="47"/>
                </a:cubicBezTo>
                <a:cubicBezTo>
                  <a:pt x="20" y="35"/>
                  <a:pt x="20" y="35"/>
                  <a:pt x="20" y="35"/>
                </a:cubicBezTo>
                <a:cubicBezTo>
                  <a:pt x="20" y="33"/>
                  <a:pt x="21" y="33"/>
                  <a:pt x="22" y="33"/>
                </a:cubicBezTo>
                <a:cubicBezTo>
                  <a:pt x="24" y="33"/>
                  <a:pt x="24" y="33"/>
                  <a:pt x="24" y="35"/>
                </a:cubicBezTo>
                <a:lnTo>
                  <a:pt x="24" y="47"/>
                </a:lnTo>
                <a:close/>
                <a:moveTo>
                  <a:pt x="31" y="45"/>
                </a:moveTo>
                <a:cubicBezTo>
                  <a:pt x="29" y="45"/>
                  <a:pt x="29" y="44"/>
                  <a:pt x="29" y="43"/>
                </a:cubicBezTo>
                <a:cubicBezTo>
                  <a:pt x="29" y="42"/>
                  <a:pt x="29" y="41"/>
                  <a:pt x="31" y="41"/>
                </a:cubicBezTo>
                <a:cubicBezTo>
                  <a:pt x="32" y="41"/>
                  <a:pt x="33" y="42"/>
                  <a:pt x="33" y="43"/>
                </a:cubicBezTo>
                <a:cubicBezTo>
                  <a:pt x="33" y="44"/>
                  <a:pt x="32" y="45"/>
                  <a:pt x="31" y="45"/>
                </a:cubicBezTo>
                <a:close/>
                <a:moveTo>
                  <a:pt x="35" y="49"/>
                </a:moveTo>
                <a:cubicBezTo>
                  <a:pt x="34" y="49"/>
                  <a:pt x="33" y="48"/>
                  <a:pt x="33" y="47"/>
                </a:cubicBezTo>
                <a:cubicBezTo>
                  <a:pt x="33" y="46"/>
                  <a:pt x="34" y="45"/>
                  <a:pt x="35" y="45"/>
                </a:cubicBezTo>
                <a:cubicBezTo>
                  <a:pt x="36" y="45"/>
                  <a:pt x="37" y="46"/>
                  <a:pt x="37" y="47"/>
                </a:cubicBezTo>
                <a:cubicBezTo>
                  <a:pt x="37" y="48"/>
                  <a:pt x="36" y="49"/>
                  <a:pt x="35" y="49"/>
                </a:cubicBezTo>
                <a:close/>
                <a:moveTo>
                  <a:pt x="35" y="41"/>
                </a:moveTo>
                <a:cubicBezTo>
                  <a:pt x="34" y="41"/>
                  <a:pt x="33" y="40"/>
                  <a:pt x="33" y="39"/>
                </a:cubicBezTo>
                <a:cubicBezTo>
                  <a:pt x="33" y="38"/>
                  <a:pt x="34" y="37"/>
                  <a:pt x="35" y="37"/>
                </a:cubicBezTo>
                <a:cubicBezTo>
                  <a:pt x="36" y="37"/>
                  <a:pt x="37" y="38"/>
                  <a:pt x="37" y="39"/>
                </a:cubicBezTo>
                <a:cubicBezTo>
                  <a:pt x="37" y="40"/>
                  <a:pt x="36" y="41"/>
                  <a:pt x="35" y="41"/>
                </a:cubicBezTo>
                <a:close/>
                <a:moveTo>
                  <a:pt x="119" y="45"/>
                </a:moveTo>
                <a:cubicBezTo>
                  <a:pt x="119" y="47"/>
                  <a:pt x="117" y="49"/>
                  <a:pt x="115" y="49"/>
                </a:cubicBezTo>
                <a:cubicBezTo>
                  <a:pt x="113" y="49"/>
                  <a:pt x="111" y="47"/>
                  <a:pt x="111" y="45"/>
                </a:cubicBezTo>
                <a:cubicBezTo>
                  <a:pt x="111" y="37"/>
                  <a:pt x="111" y="37"/>
                  <a:pt x="111" y="37"/>
                </a:cubicBezTo>
                <a:cubicBezTo>
                  <a:pt x="111" y="34"/>
                  <a:pt x="113" y="33"/>
                  <a:pt x="115" y="33"/>
                </a:cubicBezTo>
                <a:cubicBezTo>
                  <a:pt x="117" y="33"/>
                  <a:pt x="119" y="34"/>
                  <a:pt x="119" y="37"/>
                </a:cubicBezTo>
                <a:lnTo>
                  <a:pt x="119" y="45"/>
                </a:lnTo>
                <a:close/>
                <a:moveTo>
                  <a:pt x="20" y="20"/>
                </a:moveTo>
                <a:cubicBezTo>
                  <a:pt x="105" y="20"/>
                  <a:pt x="105" y="20"/>
                  <a:pt x="105" y="20"/>
                </a:cubicBezTo>
                <a:cubicBezTo>
                  <a:pt x="104" y="20"/>
                  <a:pt x="103" y="19"/>
                  <a:pt x="103" y="18"/>
                </a:cubicBezTo>
                <a:cubicBezTo>
                  <a:pt x="105" y="13"/>
                  <a:pt x="105" y="7"/>
                  <a:pt x="103" y="2"/>
                </a:cubicBezTo>
                <a:cubicBezTo>
                  <a:pt x="103" y="1"/>
                  <a:pt x="104" y="0"/>
                  <a:pt x="105" y="0"/>
                </a:cubicBezTo>
                <a:cubicBezTo>
                  <a:pt x="20" y="0"/>
                  <a:pt x="20" y="0"/>
                  <a:pt x="20" y="0"/>
                </a:cubicBezTo>
                <a:cubicBezTo>
                  <a:pt x="18" y="0"/>
                  <a:pt x="16" y="1"/>
                  <a:pt x="16" y="4"/>
                </a:cubicBezTo>
                <a:cubicBezTo>
                  <a:pt x="16" y="16"/>
                  <a:pt x="16" y="16"/>
                  <a:pt x="16" y="16"/>
                </a:cubicBezTo>
                <a:cubicBezTo>
                  <a:pt x="16" y="18"/>
                  <a:pt x="18" y="20"/>
                  <a:pt x="20" y="20"/>
                </a:cubicBezTo>
                <a:close/>
                <a:moveTo>
                  <a:pt x="82" y="4"/>
                </a:moveTo>
                <a:cubicBezTo>
                  <a:pt x="99" y="4"/>
                  <a:pt x="99" y="4"/>
                  <a:pt x="99" y="4"/>
                </a:cubicBezTo>
                <a:cubicBezTo>
                  <a:pt x="99" y="16"/>
                  <a:pt x="99" y="16"/>
                  <a:pt x="99" y="16"/>
                </a:cubicBezTo>
                <a:cubicBezTo>
                  <a:pt x="82" y="16"/>
                  <a:pt x="82" y="16"/>
                  <a:pt x="82" y="16"/>
                </a:cubicBezTo>
                <a:lnTo>
                  <a:pt x="82" y="4"/>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2" name="Freeform 23">
            <a:extLst>
              <a:ext uri="{FF2B5EF4-FFF2-40B4-BE49-F238E27FC236}">
                <a16:creationId xmlns:a16="http://schemas.microsoft.com/office/drawing/2014/main" id="{EE8911D4-A662-4970-9637-46A325823378}"/>
              </a:ext>
            </a:extLst>
          </p:cNvPr>
          <p:cNvSpPr>
            <a:spLocks noEditPoints="1"/>
          </p:cNvSpPr>
          <p:nvPr/>
        </p:nvSpPr>
        <p:spPr bwMode="auto">
          <a:xfrm>
            <a:off x="9807085" y="2284605"/>
            <a:ext cx="521594" cy="467370"/>
          </a:xfrm>
          <a:custGeom>
            <a:avLst/>
            <a:gdLst>
              <a:gd name="T0" fmla="*/ 13 w 152"/>
              <a:gd name="T1" fmla="*/ 48 h 137"/>
              <a:gd name="T2" fmla="*/ 8 w 152"/>
              <a:gd name="T3" fmla="*/ 62 h 137"/>
              <a:gd name="T4" fmla="*/ 25 w 152"/>
              <a:gd name="T5" fmla="*/ 60 h 137"/>
              <a:gd name="T6" fmla="*/ 30 w 152"/>
              <a:gd name="T7" fmla="*/ 54 h 137"/>
              <a:gd name="T8" fmla="*/ 23 w 152"/>
              <a:gd name="T9" fmla="*/ 78 h 137"/>
              <a:gd name="T10" fmla="*/ 7 w 152"/>
              <a:gd name="T11" fmla="*/ 72 h 137"/>
              <a:gd name="T12" fmla="*/ 3 w 152"/>
              <a:gd name="T13" fmla="*/ 134 h 137"/>
              <a:gd name="T14" fmla="*/ 21 w 152"/>
              <a:gd name="T15" fmla="*/ 133 h 137"/>
              <a:gd name="T16" fmla="*/ 20 w 152"/>
              <a:gd name="T17" fmla="*/ 126 h 137"/>
              <a:gd name="T18" fmla="*/ 1 w 152"/>
              <a:gd name="T19" fmla="*/ 122 h 137"/>
              <a:gd name="T20" fmla="*/ 20 w 152"/>
              <a:gd name="T21" fmla="*/ 122 h 137"/>
              <a:gd name="T22" fmla="*/ 27 w 152"/>
              <a:gd name="T23" fmla="*/ 75 h 137"/>
              <a:gd name="T24" fmla="*/ 8 w 152"/>
              <a:gd name="T25" fmla="*/ 62 h 137"/>
              <a:gd name="T26" fmla="*/ 7 w 152"/>
              <a:gd name="T27" fmla="*/ 72 h 137"/>
              <a:gd name="T28" fmla="*/ 8 w 152"/>
              <a:gd name="T29" fmla="*/ 62 h 137"/>
              <a:gd name="T30" fmla="*/ 29 w 152"/>
              <a:gd name="T31" fmla="*/ 64 h 137"/>
              <a:gd name="T32" fmla="*/ 27 w 152"/>
              <a:gd name="T33" fmla="*/ 75 h 137"/>
              <a:gd name="T34" fmla="*/ 127 w 152"/>
              <a:gd name="T35" fmla="*/ 44 h 137"/>
              <a:gd name="T36" fmla="*/ 127 w 152"/>
              <a:gd name="T37" fmla="*/ 36 h 137"/>
              <a:gd name="T38" fmla="*/ 110 w 152"/>
              <a:gd name="T39" fmla="*/ 37 h 137"/>
              <a:gd name="T40" fmla="*/ 109 w 152"/>
              <a:gd name="T41" fmla="*/ 52 h 137"/>
              <a:gd name="T42" fmla="*/ 127 w 152"/>
              <a:gd name="T43" fmla="*/ 44 h 137"/>
              <a:gd name="T44" fmla="*/ 67 w 152"/>
              <a:gd name="T45" fmla="*/ 101 h 137"/>
              <a:gd name="T46" fmla="*/ 99 w 152"/>
              <a:gd name="T47" fmla="*/ 19 h 137"/>
              <a:gd name="T48" fmla="*/ 67 w 152"/>
              <a:gd name="T49" fmla="*/ 105 h 137"/>
              <a:gd name="T50" fmla="*/ 99 w 152"/>
              <a:gd name="T51" fmla="*/ 114 h 137"/>
              <a:gd name="T52" fmla="*/ 67 w 152"/>
              <a:gd name="T53" fmla="*/ 105 h 137"/>
              <a:gd name="T54" fmla="*/ 70 w 152"/>
              <a:gd name="T55" fmla="*/ 0 h 137"/>
              <a:gd name="T56" fmla="*/ 67 w 152"/>
              <a:gd name="T57" fmla="*/ 14 h 137"/>
              <a:gd name="T58" fmla="*/ 99 w 152"/>
              <a:gd name="T59" fmla="*/ 4 h 137"/>
              <a:gd name="T60" fmla="*/ 67 w 152"/>
              <a:gd name="T61" fmla="*/ 126 h 137"/>
              <a:gd name="T62" fmla="*/ 70 w 152"/>
              <a:gd name="T63" fmla="*/ 136 h 137"/>
              <a:gd name="T64" fmla="*/ 99 w 152"/>
              <a:gd name="T65" fmla="*/ 132 h 137"/>
              <a:gd name="T66" fmla="*/ 67 w 152"/>
              <a:gd name="T67" fmla="*/ 126 h 137"/>
              <a:gd name="T68" fmla="*/ 41 w 152"/>
              <a:gd name="T69" fmla="*/ 17 h 137"/>
              <a:gd name="T70" fmla="*/ 38 w 152"/>
              <a:gd name="T71" fmla="*/ 132 h 137"/>
              <a:gd name="T72" fmla="*/ 55 w 152"/>
              <a:gd name="T73" fmla="*/ 136 h 137"/>
              <a:gd name="T74" fmla="*/ 58 w 152"/>
              <a:gd name="T75" fmla="*/ 21 h 137"/>
              <a:gd name="T76" fmla="*/ 53 w 152"/>
              <a:gd name="T77" fmla="*/ 123 h 137"/>
              <a:gd name="T78" fmla="*/ 41 w 152"/>
              <a:gd name="T79" fmla="*/ 121 h 137"/>
              <a:gd name="T80" fmla="*/ 53 w 152"/>
              <a:gd name="T81" fmla="*/ 119 h 137"/>
              <a:gd name="T82" fmla="*/ 53 w 152"/>
              <a:gd name="T83" fmla="*/ 123 h 137"/>
              <a:gd name="T84" fmla="*/ 45 w 152"/>
              <a:gd name="T85" fmla="*/ 33 h 137"/>
              <a:gd name="T86" fmla="*/ 45 w 152"/>
              <a:gd name="T87" fmla="*/ 25 h 137"/>
              <a:gd name="T88" fmla="*/ 55 w 152"/>
              <a:gd name="T89" fmla="*/ 29 h 137"/>
              <a:gd name="T90" fmla="*/ 129 w 152"/>
              <a:gd name="T91" fmla="*/ 46 h 137"/>
              <a:gd name="T92" fmla="*/ 112 w 152"/>
              <a:gd name="T93" fmla="*/ 52 h 137"/>
              <a:gd name="T94" fmla="*/ 131 w 152"/>
              <a:gd name="T95" fmla="*/ 133 h 137"/>
              <a:gd name="T96" fmla="*/ 148 w 152"/>
              <a:gd name="T97" fmla="*/ 133 h 137"/>
              <a:gd name="T98" fmla="*/ 129 w 152"/>
              <a:gd name="T99" fmla="*/ 46 h 137"/>
              <a:gd name="T100" fmla="*/ 115 w 152"/>
              <a:gd name="T101" fmla="*/ 56 h 137"/>
              <a:gd name="T102" fmla="*/ 131 w 152"/>
              <a:gd name="T103" fmla="*/ 6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 h="137">
                <a:moveTo>
                  <a:pt x="27" y="50"/>
                </a:moveTo>
                <a:cubicBezTo>
                  <a:pt x="13" y="48"/>
                  <a:pt x="13" y="48"/>
                  <a:pt x="13" y="48"/>
                </a:cubicBezTo>
                <a:cubicBezTo>
                  <a:pt x="11" y="48"/>
                  <a:pt x="9" y="50"/>
                  <a:pt x="9" y="52"/>
                </a:cubicBezTo>
                <a:cubicBezTo>
                  <a:pt x="8" y="62"/>
                  <a:pt x="8" y="62"/>
                  <a:pt x="8" y="62"/>
                </a:cubicBezTo>
                <a:cubicBezTo>
                  <a:pt x="8" y="60"/>
                  <a:pt x="10" y="59"/>
                  <a:pt x="12" y="59"/>
                </a:cubicBezTo>
                <a:cubicBezTo>
                  <a:pt x="25" y="60"/>
                  <a:pt x="25" y="60"/>
                  <a:pt x="25" y="60"/>
                </a:cubicBezTo>
                <a:cubicBezTo>
                  <a:pt x="27" y="61"/>
                  <a:pt x="29" y="62"/>
                  <a:pt x="29" y="64"/>
                </a:cubicBezTo>
                <a:cubicBezTo>
                  <a:pt x="30" y="54"/>
                  <a:pt x="30" y="54"/>
                  <a:pt x="30" y="54"/>
                </a:cubicBezTo>
                <a:cubicBezTo>
                  <a:pt x="30" y="52"/>
                  <a:pt x="29" y="50"/>
                  <a:pt x="27" y="50"/>
                </a:cubicBezTo>
                <a:close/>
                <a:moveTo>
                  <a:pt x="23" y="78"/>
                </a:moveTo>
                <a:cubicBezTo>
                  <a:pt x="10" y="76"/>
                  <a:pt x="10" y="76"/>
                  <a:pt x="10" y="76"/>
                </a:cubicBezTo>
                <a:cubicBezTo>
                  <a:pt x="8" y="76"/>
                  <a:pt x="7" y="74"/>
                  <a:pt x="7" y="72"/>
                </a:cubicBezTo>
                <a:cubicBezTo>
                  <a:pt x="0" y="131"/>
                  <a:pt x="0" y="131"/>
                  <a:pt x="0" y="131"/>
                </a:cubicBezTo>
                <a:cubicBezTo>
                  <a:pt x="0" y="133"/>
                  <a:pt x="1" y="134"/>
                  <a:pt x="3" y="134"/>
                </a:cubicBezTo>
                <a:cubicBezTo>
                  <a:pt x="17" y="136"/>
                  <a:pt x="17" y="136"/>
                  <a:pt x="17" y="136"/>
                </a:cubicBezTo>
                <a:cubicBezTo>
                  <a:pt x="19" y="136"/>
                  <a:pt x="20" y="135"/>
                  <a:pt x="21" y="133"/>
                </a:cubicBezTo>
                <a:cubicBezTo>
                  <a:pt x="22" y="124"/>
                  <a:pt x="22" y="124"/>
                  <a:pt x="22" y="124"/>
                </a:cubicBezTo>
                <a:cubicBezTo>
                  <a:pt x="21" y="125"/>
                  <a:pt x="21" y="126"/>
                  <a:pt x="20" y="126"/>
                </a:cubicBezTo>
                <a:cubicBezTo>
                  <a:pt x="2" y="124"/>
                  <a:pt x="2" y="124"/>
                  <a:pt x="2" y="124"/>
                </a:cubicBezTo>
                <a:cubicBezTo>
                  <a:pt x="2" y="124"/>
                  <a:pt x="1" y="123"/>
                  <a:pt x="1" y="122"/>
                </a:cubicBezTo>
                <a:cubicBezTo>
                  <a:pt x="1" y="121"/>
                  <a:pt x="2" y="120"/>
                  <a:pt x="3" y="121"/>
                </a:cubicBezTo>
                <a:cubicBezTo>
                  <a:pt x="20" y="122"/>
                  <a:pt x="20" y="122"/>
                  <a:pt x="20" y="122"/>
                </a:cubicBezTo>
                <a:cubicBezTo>
                  <a:pt x="21" y="123"/>
                  <a:pt x="22" y="123"/>
                  <a:pt x="22" y="124"/>
                </a:cubicBezTo>
                <a:cubicBezTo>
                  <a:pt x="27" y="75"/>
                  <a:pt x="27" y="75"/>
                  <a:pt x="27" y="75"/>
                </a:cubicBezTo>
                <a:cubicBezTo>
                  <a:pt x="27" y="76"/>
                  <a:pt x="25" y="78"/>
                  <a:pt x="23" y="78"/>
                </a:cubicBezTo>
                <a:close/>
                <a:moveTo>
                  <a:pt x="8" y="62"/>
                </a:moveTo>
                <a:cubicBezTo>
                  <a:pt x="7" y="72"/>
                  <a:pt x="7" y="72"/>
                  <a:pt x="7" y="72"/>
                </a:cubicBezTo>
                <a:cubicBezTo>
                  <a:pt x="7" y="72"/>
                  <a:pt x="7" y="72"/>
                  <a:pt x="7" y="72"/>
                </a:cubicBezTo>
                <a:cubicBezTo>
                  <a:pt x="8" y="62"/>
                  <a:pt x="8" y="62"/>
                  <a:pt x="8" y="62"/>
                </a:cubicBezTo>
                <a:cubicBezTo>
                  <a:pt x="8" y="62"/>
                  <a:pt x="8" y="62"/>
                  <a:pt x="8" y="62"/>
                </a:cubicBezTo>
                <a:close/>
                <a:moveTo>
                  <a:pt x="27" y="75"/>
                </a:moveTo>
                <a:cubicBezTo>
                  <a:pt x="29" y="64"/>
                  <a:pt x="29" y="64"/>
                  <a:pt x="29" y="64"/>
                </a:cubicBezTo>
                <a:cubicBezTo>
                  <a:pt x="29" y="64"/>
                  <a:pt x="29" y="64"/>
                  <a:pt x="29" y="64"/>
                </a:cubicBezTo>
                <a:cubicBezTo>
                  <a:pt x="27" y="75"/>
                  <a:pt x="27" y="75"/>
                  <a:pt x="27" y="75"/>
                </a:cubicBezTo>
                <a:cubicBezTo>
                  <a:pt x="27" y="75"/>
                  <a:pt x="27" y="75"/>
                  <a:pt x="27" y="75"/>
                </a:cubicBezTo>
                <a:close/>
                <a:moveTo>
                  <a:pt x="127" y="44"/>
                </a:moveTo>
                <a:cubicBezTo>
                  <a:pt x="128" y="44"/>
                  <a:pt x="129" y="45"/>
                  <a:pt x="129" y="46"/>
                </a:cubicBezTo>
                <a:cubicBezTo>
                  <a:pt x="127" y="36"/>
                  <a:pt x="127" y="36"/>
                  <a:pt x="127" y="36"/>
                </a:cubicBezTo>
                <a:cubicBezTo>
                  <a:pt x="126" y="34"/>
                  <a:pt x="124" y="33"/>
                  <a:pt x="122" y="33"/>
                </a:cubicBezTo>
                <a:cubicBezTo>
                  <a:pt x="110" y="37"/>
                  <a:pt x="110" y="37"/>
                  <a:pt x="110" y="37"/>
                </a:cubicBezTo>
                <a:cubicBezTo>
                  <a:pt x="108" y="37"/>
                  <a:pt x="106" y="39"/>
                  <a:pt x="107" y="42"/>
                </a:cubicBezTo>
                <a:cubicBezTo>
                  <a:pt x="109" y="52"/>
                  <a:pt x="109" y="52"/>
                  <a:pt x="109" y="52"/>
                </a:cubicBezTo>
                <a:cubicBezTo>
                  <a:pt x="109" y="50"/>
                  <a:pt x="110" y="49"/>
                  <a:pt x="111" y="48"/>
                </a:cubicBezTo>
                <a:cubicBezTo>
                  <a:pt x="116" y="46"/>
                  <a:pt x="121" y="44"/>
                  <a:pt x="127" y="44"/>
                </a:cubicBezTo>
                <a:close/>
                <a:moveTo>
                  <a:pt x="67" y="19"/>
                </a:moveTo>
                <a:cubicBezTo>
                  <a:pt x="67" y="101"/>
                  <a:pt x="67" y="101"/>
                  <a:pt x="67" y="101"/>
                </a:cubicBezTo>
                <a:cubicBezTo>
                  <a:pt x="77" y="104"/>
                  <a:pt x="89" y="104"/>
                  <a:pt x="99" y="101"/>
                </a:cubicBezTo>
                <a:cubicBezTo>
                  <a:pt x="99" y="19"/>
                  <a:pt x="99" y="19"/>
                  <a:pt x="99" y="19"/>
                </a:cubicBezTo>
                <a:cubicBezTo>
                  <a:pt x="92" y="15"/>
                  <a:pt x="74" y="15"/>
                  <a:pt x="67" y="19"/>
                </a:cubicBezTo>
                <a:close/>
                <a:moveTo>
                  <a:pt x="67" y="105"/>
                </a:moveTo>
                <a:cubicBezTo>
                  <a:pt x="67" y="114"/>
                  <a:pt x="67" y="114"/>
                  <a:pt x="67" y="114"/>
                </a:cubicBezTo>
                <a:cubicBezTo>
                  <a:pt x="73" y="117"/>
                  <a:pt x="93" y="117"/>
                  <a:pt x="99" y="114"/>
                </a:cubicBezTo>
                <a:cubicBezTo>
                  <a:pt x="99" y="105"/>
                  <a:pt x="99" y="105"/>
                  <a:pt x="99" y="105"/>
                </a:cubicBezTo>
                <a:cubicBezTo>
                  <a:pt x="89" y="108"/>
                  <a:pt x="77" y="108"/>
                  <a:pt x="67" y="105"/>
                </a:cubicBezTo>
                <a:close/>
                <a:moveTo>
                  <a:pt x="96" y="0"/>
                </a:moveTo>
                <a:cubicBezTo>
                  <a:pt x="70" y="0"/>
                  <a:pt x="70" y="0"/>
                  <a:pt x="70" y="0"/>
                </a:cubicBezTo>
                <a:cubicBezTo>
                  <a:pt x="68" y="0"/>
                  <a:pt x="67" y="2"/>
                  <a:pt x="67" y="4"/>
                </a:cubicBezTo>
                <a:cubicBezTo>
                  <a:pt x="67" y="14"/>
                  <a:pt x="67" y="14"/>
                  <a:pt x="67" y="14"/>
                </a:cubicBezTo>
                <a:cubicBezTo>
                  <a:pt x="73" y="11"/>
                  <a:pt x="93" y="11"/>
                  <a:pt x="99" y="14"/>
                </a:cubicBezTo>
                <a:cubicBezTo>
                  <a:pt x="99" y="4"/>
                  <a:pt x="99" y="4"/>
                  <a:pt x="99" y="4"/>
                </a:cubicBezTo>
                <a:cubicBezTo>
                  <a:pt x="99" y="2"/>
                  <a:pt x="98" y="0"/>
                  <a:pt x="96" y="0"/>
                </a:cubicBezTo>
                <a:close/>
                <a:moveTo>
                  <a:pt x="67" y="126"/>
                </a:moveTo>
                <a:cubicBezTo>
                  <a:pt x="67" y="132"/>
                  <a:pt x="67" y="132"/>
                  <a:pt x="67" y="132"/>
                </a:cubicBezTo>
                <a:cubicBezTo>
                  <a:pt x="67" y="134"/>
                  <a:pt x="68" y="136"/>
                  <a:pt x="70" y="136"/>
                </a:cubicBezTo>
                <a:cubicBezTo>
                  <a:pt x="96" y="136"/>
                  <a:pt x="96" y="136"/>
                  <a:pt x="96" y="136"/>
                </a:cubicBezTo>
                <a:cubicBezTo>
                  <a:pt x="98" y="136"/>
                  <a:pt x="99" y="134"/>
                  <a:pt x="99" y="132"/>
                </a:cubicBezTo>
                <a:cubicBezTo>
                  <a:pt x="99" y="126"/>
                  <a:pt x="99" y="126"/>
                  <a:pt x="99" y="126"/>
                </a:cubicBezTo>
                <a:cubicBezTo>
                  <a:pt x="96" y="128"/>
                  <a:pt x="70" y="128"/>
                  <a:pt x="67" y="126"/>
                </a:cubicBezTo>
                <a:close/>
                <a:moveTo>
                  <a:pt x="55" y="17"/>
                </a:moveTo>
                <a:cubicBezTo>
                  <a:pt x="41" y="17"/>
                  <a:pt x="41" y="17"/>
                  <a:pt x="41" y="17"/>
                </a:cubicBezTo>
                <a:cubicBezTo>
                  <a:pt x="39" y="17"/>
                  <a:pt x="38" y="18"/>
                  <a:pt x="38" y="21"/>
                </a:cubicBezTo>
                <a:cubicBezTo>
                  <a:pt x="38" y="132"/>
                  <a:pt x="38" y="132"/>
                  <a:pt x="38" y="132"/>
                </a:cubicBezTo>
                <a:cubicBezTo>
                  <a:pt x="38" y="134"/>
                  <a:pt x="39" y="136"/>
                  <a:pt x="41" y="136"/>
                </a:cubicBezTo>
                <a:cubicBezTo>
                  <a:pt x="55" y="136"/>
                  <a:pt x="55" y="136"/>
                  <a:pt x="55" y="136"/>
                </a:cubicBezTo>
                <a:cubicBezTo>
                  <a:pt x="57" y="136"/>
                  <a:pt x="58" y="134"/>
                  <a:pt x="58" y="132"/>
                </a:cubicBezTo>
                <a:cubicBezTo>
                  <a:pt x="58" y="21"/>
                  <a:pt x="58" y="21"/>
                  <a:pt x="58" y="21"/>
                </a:cubicBezTo>
                <a:cubicBezTo>
                  <a:pt x="58" y="18"/>
                  <a:pt x="57" y="17"/>
                  <a:pt x="55" y="17"/>
                </a:cubicBezTo>
                <a:close/>
                <a:moveTo>
                  <a:pt x="53" y="123"/>
                </a:moveTo>
                <a:cubicBezTo>
                  <a:pt x="43" y="123"/>
                  <a:pt x="43" y="123"/>
                  <a:pt x="43" y="123"/>
                </a:cubicBezTo>
                <a:cubicBezTo>
                  <a:pt x="42" y="123"/>
                  <a:pt x="41" y="123"/>
                  <a:pt x="41" y="121"/>
                </a:cubicBezTo>
                <a:cubicBezTo>
                  <a:pt x="41" y="120"/>
                  <a:pt x="42" y="119"/>
                  <a:pt x="43" y="119"/>
                </a:cubicBezTo>
                <a:cubicBezTo>
                  <a:pt x="53" y="119"/>
                  <a:pt x="53" y="119"/>
                  <a:pt x="53" y="119"/>
                </a:cubicBezTo>
                <a:cubicBezTo>
                  <a:pt x="54" y="119"/>
                  <a:pt x="55" y="120"/>
                  <a:pt x="55" y="121"/>
                </a:cubicBezTo>
                <a:cubicBezTo>
                  <a:pt x="55" y="123"/>
                  <a:pt x="54" y="123"/>
                  <a:pt x="53" y="123"/>
                </a:cubicBezTo>
                <a:close/>
                <a:moveTo>
                  <a:pt x="51" y="33"/>
                </a:moveTo>
                <a:cubicBezTo>
                  <a:pt x="45" y="33"/>
                  <a:pt x="45" y="33"/>
                  <a:pt x="45" y="33"/>
                </a:cubicBezTo>
                <a:cubicBezTo>
                  <a:pt x="43" y="33"/>
                  <a:pt x="41" y="31"/>
                  <a:pt x="41" y="29"/>
                </a:cubicBezTo>
                <a:cubicBezTo>
                  <a:pt x="41" y="27"/>
                  <a:pt x="43" y="25"/>
                  <a:pt x="45" y="25"/>
                </a:cubicBezTo>
                <a:cubicBezTo>
                  <a:pt x="51" y="25"/>
                  <a:pt x="51" y="25"/>
                  <a:pt x="51" y="25"/>
                </a:cubicBezTo>
                <a:cubicBezTo>
                  <a:pt x="53" y="25"/>
                  <a:pt x="55" y="27"/>
                  <a:pt x="55" y="29"/>
                </a:cubicBezTo>
                <a:cubicBezTo>
                  <a:pt x="55" y="31"/>
                  <a:pt x="53" y="33"/>
                  <a:pt x="51" y="33"/>
                </a:cubicBezTo>
                <a:close/>
                <a:moveTo>
                  <a:pt x="129" y="46"/>
                </a:moveTo>
                <a:cubicBezTo>
                  <a:pt x="130" y="47"/>
                  <a:pt x="129" y="48"/>
                  <a:pt x="128" y="48"/>
                </a:cubicBezTo>
                <a:cubicBezTo>
                  <a:pt x="122" y="48"/>
                  <a:pt x="117" y="50"/>
                  <a:pt x="112" y="52"/>
                </a:cubicBezTo>
                <a:cubicBezTo>
                  <a:pt x="111" y="53"/>
                  <a:pt x="110" y="53"/>
                  <a:pt x="109" y="52"/>
                </a:cubicBezTo>
                <a:cubicBezTo>
                  <a:pt x="131" y="133"/>
                  <a:pt x="131" y="133"/>
                  <a:pt x="131" y="133"/>
                </a:cubicBezTo>
                <a:cubicBezTo>
                  <a:pt x="132" y="135"/>
                  <a:pt x="134" y="137"/>
                  <a:pt x="136" y="136"/>
                </a:cubicBezTo>
                <a:cubicBezTo>
                  <a:pt x="148" y="133"/>
                  <a:pt x="148" y="133"/>
                  <a:pt x="148" y="133"/>
                </a:cubicBezTo>
                <a:cubicBezTo>
                  <a:pt x="150" y="132"/>
                  <a:pt x="152" y="130"/>
                  <a:pt x="151" y="128"/>
                </a:cubicBezTo>
                <a:lnTo>
                  <a:pt x="129" y="46"/>
                </a:lnTo>
                <a:close/>
                <a:moveTo>
                  <a:pt x="119" y="72"/>
                </a:moveTo>
                <a:cubicBezTo>
                  <a:pt x="115" y="56"/>
                  <a:pt x="115" y="56"/>
                  <a:pt x="115" y="56"/>
                </a:cubicBezTo>
                <a:cubicBezTo>
                  <a:pt x="127" y="53"/>
                  <a:pt x="127" y="53"/>
                  <a:pt x="127" y="53"/>
                </a:cubicBezTo>
                <a:cubicBezTo>
                  <a:pt x="131" y="69"/>
                  <a:pt x="131" y="69"/>
                  <a:pt x="131" y="69"/>
                </a:cubicBezTo>
                <a:lnTo>
                  <a:pt x="119" y="7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3" name="Freeform 24">
            <a:extLst>
              <a:ext uri="{FF2B5EF4-FFF2-40B4-BE49-F238E27FC236}">
                <a16:creationId xmlns:a16="http://schemas.microsoft.com/office/drawing/2014/main" id="{76D9FCD2-D278-4D4A-9578-3AB9D6BFCAE2}"/>
              </a:ext>
            </a:extLst>
          </p:cNvPr>
          <p:cNvSpPr>
            <a:spLocks noEditPoints="1"/>
          </p:cNvSpPr>
          <p:nvPr/>
        </p:nvSpPr>
        <p:spPr bwMode="auto">
          <a:xfrm>
            <a:off x="10948394" y="2325920"/>
            <a:ext cx="493191" cy="508684"/>
          </a:xfrm>
          <a:custGeom>
            <a:avLst/>
            <a:gdLst>
              <a:gd name="T0" fmla="*/ 123 w 144"/>
              <a:gd name="T1" fmla="*/ 74 h 149"/>
              <a:gd name="T2" fmla="*/ 90 w 144"/>
              <a:gd name="T3" fmla="*/ 74 h 149"/>
              <a:gd name="T4" fmla="*/ 90 w 144"/>
              <a:gd name="T5" fmla="*/ 83 h 149"/>
              <a:gd name="T6" fmla="*/ 123 w 144"/>
              <a:gd name="T7" fmla="*/ 83 h 149"/>
              <a:gd name="T8" fmla="*/ 123 w 144"/>
              <a:gd name="T9" fmla="*/ 74 h 149"/>
              <a:gd name="T10" fmla="*/ 132 w 144"/>
              <a:gd name="T11" fmla="*/ 0 h 149"/>
              <a:gd name="T12" fmla="*/ 12 w 144"/>
              <a:gd name="T13" fmla="*/ 0 h 149"/>
              <a:gd name="T14" fmla="*/ 0 w 144"/>
              <a:gd name="T15" fmla="*/ 13 h 149"/>
              <a:gd name="T16" fmla="*/ 0 w 144"/>
              <a:gd name="T17" fmla="*/ 87 h 149"/>
              <a:gd name="T18" fmla="*/ 12 w 144"/>
              <a:gd name="T19" fmla="*/ 99 h 149"/>
              <a:gd name="T20" fmla="*/ 132 w 144"/>
              <a:gd name="T21" fmla="*/ 99 h 149"/>
              <a:gd name="T22" fmla="*/ 144 w 144"/>
              <a:gd name="T23" fmla="*/ 87 h 149"/>
              <a:gd name="T24" fmla="*/ 144 w 144"/>
              <a:gd name="T25" fmla="*/ 13 h 149"/>
              <a:gd name="T26" fmla="*/ 132 w 144"/>
              <a:gd name="T27" fmla="*/ 0 h 149"/>
              <a:gd name="T28" fmla="*/ 136 w 144"/>
              <a:gd name="T29" fmla="*/ 91 h 149"/>
              <a:gd name="T30" fmla="*/ 8 w 144"/>
              <a:gd name="T31" fmla="*/ 91 h 149"/>
              <a:gd name="T32" fmla="*/ 8 w 144"/>
              <a:gd name="T33" fmla="*/ 9 h 149"/>
              <a:gd name="T34" fmla="*/ 136 w 144"/>
              <a:gd name="T35" fmla="*/ 9 h 149"/>
              <a:gd name="T36" fmla="*/ 136 w 144"/>
              <a:gd name="T37" fmla="*/ 91 h 149"/>
              <a:gd name="T38" fmla="*/ 98 w 144"/>
              <a:gd name="T39" fmla="*/ 107 h 149"/>
              <a:gd name="T40" fmla="*/ 82 w 144"/>
              <a:gd name="T41" fmla="*/ 107 h 149"/>
              <a:gd name="T42" fmla="*/ 89 w 144"/>
              <a:gd name="T43" fmla="*/ 124 h 149"/>
              <a:gd name="T44" fmla="*/ 59 w 144"/>
              <a:gd name="T45" fmla="*/ 124 h 149"/>
              <a:gd name="T46" fmla="*/ 66 w 144"/>
              <a:gd name="T47" fmla="*/ 107 h 149"/>
              <a:gd name="T48" fmla="*/ 50 w 144"/>
              <a:gd name="T49" fmla="*/ 107 h 149"/>
              <a:gd name="T50" fmla="*/ 35 w 144"/>
              <a:gd name="T51" fmla="*/ 141 h 149"/>
              <a:gd name="T52" fmla="*/ 40 w 144"/>
              <a:gd name="T53" fmla="*/ 149 h 149"/>
              <a:gd name="T54" fmla="*/ 51 w 144"/>
              <a:gd name="T55" fmla="*/ 141 h 149"/>
              <a:gd name="T56" fmla="*/ 55 w 144"/>
              <a:gd name="T57" fmla="*/ 132 h 149"/>
              <a:gd name="T58" fmla="*/ 93 w 144"/>
              <a:gd name="T59" fmla="*/ 132 h 149"/>
              <a:gd name="T60" fmla="*/ 97 w 144"/>
              <a:gd name="T61" fmla="*/ 141 h 149"/>
              <a:gd name="T62" fmla="*/ 108 w 144"/>
              <a:gd name="T63" fmla="*/ 149 h 149"/>
              <a:gd name="T64" fmla="*/ 113 w 144"/>
              <a:gd name="T65" fmla="*/ 141 h 149"/>
              <a:gd name="T66" fmla="*/ 98 w 144"/>
              <a:gd name="T67" fmla="*/ 10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49">
                <a:moveTo>
                  <a:pt x="123" y="74"/>
                </a:moveTo>
                <a:cubicBezTo>
                  <a:pt x="90" y="74"/>
                  <a:pt x="90" y="74"/>
                  <a:pt x="90" y="74"/>
                </a:cubicBezTo>
                <a:cubicBezTo>
                  <a:pt x="90" y="83"/>
                  <a:pt x="90" y="83"/>
                  <a:pt x="90" y="83"/>
                </a:cubicBezTo>
                <a:cubicBezTo>
                  <a:pt x="123" y="83"/>
                  <a:pt x="123" y="83"/>
                  <a:pt x="123" y="83"/>
                </a:cubicBezTo>
                <a:lnTo>
                  <a:pt x="123" y="74"/>
                </a:lnTo>
                <a:close/>
                <a:moveTo>
                  <a:pt x="132" y="0"/>
                </a:moveTo>
                <a:cubicBezTo>
                  <a:pt x="12" y="0"/>
                  <a:pt x="12" y="0"/>
                  <a:pt x="12" y="0"/>
                </a:cubicBezTo>
                <a:cubicBezTo>
                  <a:pt x="5" y="0"/>
                  <a:pt x="0" y="6"/>
                  <a:pt x="0" y="13"/>
                </a:cubicBezTo>
                <a:cubicBezTo>
                  <a:pt x="0" y="87"/>
                  <a:pt x="0" y="87"/>
                  <a:pt x="0" y="87"/>
                </a:cubicBezTo>
                <a:cubicBezTo>
                  <a:pt x="0" y="94"/>
                  <a:pt x="5" y="99"/>
                  <a:pt x="12" y="99"/>
                </a:cubicBezTo>
                <a:cubicBezTo>
                  <a:pt x="132" y="99"/>
                  <a:pt x="132" y="99"/>
                  <a:pt x="132" y="99"/>
                </a:cubicBezTo>
                <a:cubicBezTo>
                  <a:pt x="138" y="99"/>
                  <a:pt x="144" y="94"/>
                  <a:pt x="144" y="87"/>
                </a:cubicBezTo>
                <a:cubicBezTo>
                  <a:pt x="144" y="13"/>
                  <a:pt x="144" y="13"/>
                  <a:pt x="144" y="13"/>
                </a:cubicBezTo>
                <a:cubicBezTo>
                  <a:pt x="144" y="6"/>
                  <a:pt x="138" y="0"/>
                  <a:pt x="132" y="0"/>
                </a:cubicBezTo>
                <a:close/>
                <a:moveTo>
                  <a:pt x="136" y="91"/>
                </a:moveTo>
                <a:cubicBezTo>
                  <a:pt x="8" y="91"/>
                  <a:pt x="8" y="91"/>
                  <a:pt x="8" y="91"/>
                </a:cubicBezTo>
                <a:cubicBezTo>
                  <a:pt x="8" y="9"/>
                  <a:pt x="8" y="9"/>
                  <a:pt x="8" y="9"/>
                </a:cubicBezTo>
                <a:cubicBezTo>
                  <a:pt x="136" y="9"/>
                  <a:pt x="136" y="9"/>
                  <a:pt x="136" y="9"/>
                </a:cubicBezTo>
                <a:lnTo>
                  <a:pt x="136" y="91"/>
                </a:lnTo>
                <a:close/>
                <a:moveTo>
                  <a:pt x="98" y="107"/>
                </a:moveTo>
                <a:cubicBezTo>
                  <a:pt x="82" y="107"/>
                  <a:pt x="82" y="107"/>
                  <a:pt x="82" y="107"/>
                </a:cubicBezTo>
                <a:cubicBezTo>
                  <a:pt x="89" y="124"/>
                  <a:pt x="89" y="124"/>
                  <a:pt x="89" y="124"/>
                </a:cubicBezTo>
                <a:cubicBezTo>
                  <a:pt x="59" y="124"/>
                  <a:pt x="59" y="124"/>
                  <a:pt x="59" y="124"/>
                </a:cubicBezTo>
                <a:cubicBezTo>
                  <a:pt x="66" y="107"/>
                  <a:pt x="66" y="107"/>
                  <a:pt x="66" y="107"/>
                </a:cubicBezTo>
                <a:cubicBezTo>
                  <a:pt x="50" y="107"/>
                  <a:pt x="50" y="107"/>
                  <a:pt x="50" y="107"/>
                </a:cubicBezTo>
                <a:cubicBezTo>
                  <a:pt x="35" y="141"/>
                  <a:pt x="35" y="141"/>
                  <a:pt x="35" y="141"/>
                </a:cubicBezTo>
                <a:cubicBezTo>
                  <a:pt x="33" y="145"/>
                  <a:pt x="35" y="149"/>
                  <a:pt x="40" y="149"/>
                </a:cubicBezTo>
                <a:cubicBezTo>
                  <a:pt x="44" y="149"/>
                  <a:pt x="50" y="145"/>
                  <a:pt x="51" y="141"/>
                </a:cubicBezTo>
                <a:cubicBezTo>
                  <a:pt x="55" y="132"/>
                  <a:pt x="55" y="132"/>
                  <a:pt x="55" y="132"/>
                </a:cubicBezTo>
                <a:cubicBezTo>
                  <a:pt x="93" y="132"/>
                  <a:pt x="93" y="132"/>
                  <a:pt x="93" y="132"/>
                </a:cubicBezTo>
                <a:cubicBezTo>
                  <a:pt x="97" y="141"/>
                  <a:pt x="97" y="141"/>
                  <a:pt x="97" y="141"/>
                </a:cubicBezTo>
                <a:cubicBezTo>
                  <a:pt x="98" y="145"/>
                  <a:pt x="104" y="149"/>
                  <a:pt x="108" y="149"/>
                </a:cubicBezTo>
                <a:cubicBezTo>
                  <a:pt x="113" y="149"/>
                  <a:pt x="115" y="145"/>
                  <a:pt x="113" y="141"/>
                </a:cubicBezTo>
                <a:lnTo>
                  <a:pt x="98" y="107"/>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4" name="Freeform 25">
            <a:extLst>
              <a:ext uri="{FF2B5EF4-FFF2-40B4-BE49-F238E27FC236}">
                <a16:creationId xmlns:a16="http://schemas.microsoft.com/office/drawing/2014/main" id="{A2C32C8E-2D09-46A0-ADB3-6CB84AD82539}"/>
              </a:ext>
            </a:extLst>
          </p:cNvPr>
          <p:cNvSpPr>
            <a:spLocks/>
          </p:cNvSpPr>
          <p:nvPr/>
        </p:nvSpPr>
        <p:spPr bwMode="auto">
          <a:xfrm>
            <a:off x="872846" y="3469811"/>
            <a:ext cx="374412" cy="371830"/>
          </a:xfrm>
          <a:custGeom>
            <a:avLst/>
            <a:gdLst>
              <a:gd name="T0" fmla="*/ 0 w 145"/>
              <a:gd name="T1" fmla="*/ 0 h 144"/>
              <a:gd name="T2" fmla="*/ 61 w 145"/>
              <a:gd name="T3" fmla="*/ 116 h 144"/>
              <a:gd name="T4" fmla="*/ 71 w 145"/>
              <a:gd name="T5" fmla="*/ 82 h 144"/>
              <a:gd name="T6" fmla="*/ 133 w 145"/>
              <a:gd name="T7" fmla="*/ 144 h 144"/>
              <a:gd name="T8" fmla="*/ 145 w 145"/>
              <a:gd name="T9" fmla="*/ 132 h 144"/>
              <a:gd name="T10" fmla="*/ 83 w 145"/>
              <a:gd name="T11" fmla="*/ 69 h 144"/>
              <a:gd name="T12" fmla="*/ 117 w 145"/>
              <a:gd name="T13" fmla="*/ 61 h 144"/>
              <a:gd name="T14" fmla="*/ 0 w 145"/>
              <a:gd name="T15" fmla="*/ 0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44">
                <a:moveTo>
                  <a:pt x="0" y="0"/>
                </a:moveTo>
                <a:lnTo>
                  <a:pt x="61" y="116"/>
                </a:lnTo>
                <a:lnTo>
                  <a:pt x="71" y="82"/>
                </a:lnTo>
                <a:lnTo>
                  <a:pt x="133" y="144"/>
                </a:lnTo>
                <a:lnTo>
                  <a:pt x="145" y="132"/>
                </a:lnTo>
                <a:lnTo>
                  <a:pt x="83" y="69"/>
                </a:lnTo>
                <a:lnTo>
                  <a:pt x="117" y="61"/>
                </a:lnTo>
                <a:lnTo>
                  <a:pt x="0"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5" name="Freeform 26">
            <a:extLst>
              <a:ext uri="{FF2B5EF4-FFF2-40B4-BE49-F238E27FC236}">
                <a16:creationId xmlns:a16="http://schemas.microsoft.com/office/drawing/2014/main" id="{19DF192F-993F-4235-9036-8E2882AD078F}"/>
              </a:ext>
            </a:extLst>
          </p:cNvPr>
          <p:cNvSpPr>
            <a:spLocks/>
          </p:cNvSpPr>
          <p:nvPr/>
        </p:nvSpPr>
        <p:spPr bwMode="auto">
          <a:xfrm>
            <a:off x="1959931" y="3482723"/>
            <a:ext cx="451877" cy="376994"/>
          </a:xfrm>
          <a:custGeom>
            <a:avLst/>
            <a:gdLst>
              <a:gd name="T0" fmla="*/ 128 w 132"/>
              <a:gd name="T1" fmla="*/ 71 h 110"/>
              <a:gd name="T2" fmla="*/ 108 w 132"/>
              <a:gd name="T3" fmla="*/ 26 h 110"/>
              <a:gd name="T4" fmla="*/ 105 w 132"/>
              <a:gd name="T5" fmla="*/ 23 h 110"/>
              <a:gd name="T6" fmla="*/ 87 w 132"/>
              <a:gd name="T7" fmla="*/ 20 h 110"/>
              <a:gd name="T8" fmla="*/ 86 w 132"/>
              <a:gd name="T9" fmla="*/ 21 h 110"/>
              <a:gd name="T10" fmla="*/ 77 w 132"/>
              <a:gd name="T11" fmla="*/ 18 h 110"/>
              <a:gd name="T12" fmla="*/ 70 w 132"/>
              <a:gd name="T13" fmla="*/ 21 h 110"/>
              <a:gd name="T14" fmla="*/ 67 w 132"/>
              <a:gd name="T15" fmla="*/ 26 h 110"/>
              <a:gd name="T16" fmla="*/ 59 w 132"/>
              <a:gd name="T17" fmla="*/ 24 h 110"/>
              <a:gd name="T18" fmla="*/ 53 w 132"/>
              <a:gd name="T19" fmla="*/ 27 h 110"/>
              <a:gd name="T20" fmla="*/ 50 w 132"/>
              <a:gd name="T21" fmla="*/ 31 h 110"/>
              <a:gd name="T22" fmla="*/ 50 w 132"/>
              <a:gd name="T23" fmla="*/ 37 h 110"/>
              <a:gd name="T24" fmla="*/ 47 w 132"/>
              <a:gd name="T25" fmla="*/ 35 h 110"/>
              <a:gd name="T26" fmla="*/ 27 w 132"/>
              <a:gd name="T27" fmla="*/ 15 h 110"/>
              <a:gd name="T28" fmla="*/ 22 w 132"/>
              <a:gd name="T29" fmla="*/ 36 h 110"/>
              <a:gd name="T30" fmla="*/ 38 w 132"/>
              <a:gd name="T31" fmla="*/ 53 h 110"/>
              <a:gd name="T32" fmla="*/ 61 w 132"/>
              <a:gd name="T33" fmla="*/ 89 h 110"/>
              <a:gd name="T34" fmla="*/ 40 w 132"/>
              <a:gd name="T35" fmla="*/ 87 h 110"/>
              <a:gd name="T36" fmla="*/ 25 w 132"/>
              <a:gd name="T37" fmla="*/ 100 h 110"/>
              <a:gd name="T38" fmla="*/ 89 w 132"/>
              <a:gd name="T39" fmla="*/ 106 h 110"/>
              <a:gd name="T40" fmla="*/ 93 w 132"/>
              <a:gd name="T41" fmla="*/ 110 h 110"/>
              <a:gd name="T42" fmla="*/ 119 w 132"/>
              <a:gd name="T43" fmla="*/ 95 h 110"/>
              <a:gd name="T44" fmla="*/ 132 w 132"/>
              <a:gd name="T45" fmla="*/ 75 h 110"/>
              <a:gd name="T46" fmla="*/ 128 w 132"/>
              <a:gd name="T47"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10">
                <a:moveTo>
                  <a:pt x="128" y="71"/>
                </a:moveTo>
                <a:cubicBezTo>
                  <a:pt x="119" y="58"/>
                  <a:pt x="128" y="62"/>
                  <a:pt x="108" y="26"/>
                </a:cubicBezTo>
                <a:cubicBezTo>
                  <a:pt x="106" y="24"/>
                  <a:pt x="106" y="23"/>
                  <a:pt x="105" y="23"/>
                </a:cubicBezTo>
                <a:cubicBezTo>
                  <a:pt x="98" y="16"/>
                  <a:pt x="92" y="15"/>
                  <a:pt x="87" y="20"/>
                </a:cubicBezTo>
                <a:cubicBezTo>
                  <a:pt x="87" y="21"/>
                  <a:pt x="87" y="21"/>
                  <a:pt x="86" y="21"/>
                </a:cubicBezTo>
                <a:cubicBezTo>
                  <a:pt x="83" y="19"/>
                  <a:pt x="80" y="18"/>
                  <a:pt x="77" y="18"/>
                </a:cubicBezTo>
                <a:cubicBezTo>
                  <a:pt x="75" y="18"/>
                  <a:pt x="72" y="19"/>
                  <a:pt x="70" y="21"/>
                </a:cubicBezTo>
                <a:cubicBezTo>
                  <a:pt x="69" y="22"/>
                  <a:pt x="68" y="24"/>
                  <a:pt x="67" y="26"/>
                </a:cubicBezTo>
                <a:cubicBezTo>
                  <a:pt x="64" y="24"/>
                  <a:pt x="62" y="24"/>
                  <a:pt x="59" y="24"/>
                </a:cubicBezTo>
                <a:cubicBezTo>
                  <a:pt x="57" y="24"/>
                  <a:pt x="55" y="25"/>
                  <a:pt x="53" y="27"/>
                </a:cubicBezTo>
                <a:cubicBezTo>
                  <a:pt x="52" y="28"/>
                  <a:pt x="51" y="30"/>
                  <a:pt x="50" y="31"/>
                </a:cubicBezTo>
                <a:cubicBezTo>
                  <a:pt x="50" y="33"/>
                  <a:pt x="50" y="35"/>
                  <a:pt x="50" y="37"/>
                </a:cubicBezTo>
                <a:cubicBezTo>
                  <a:pt x="47" y="35"/>
                  <a:pt x="47" y="35"/>
                  <a:pt x="47" y="35"/>
                </a:cubicBezTo>
                <a:cubicBezTo>
                  <a:pt x="47" y="35"/>
                  <a:pt x="41" y="30"/>
                  <a:pt x="27" y="15"/>
                </a:cubicBezTo>
                <a:cubicBezTo>
                  <a:pt x="14" y="0"/>
                  <a:pt x="0" y="12"/>
                  <a:pt x="22" y="36"/>
                </a:cubicBezTo>
                <a:cubicBezTo>
                  <a:pt x="44" y="59"/>
                  <a:pt x="38" y="53"/>
                  <a:pt x="38" y="53"/>
                </a:cubicBezTo>
                <a:cubicBezTo>
                  <a:pt x="38" y="53"/>
                  <a:pt x="66" y="83"/>
                  <a:pt x="61" y="89"/>
                </a:cubicBezTo>
                <a:cubicBezTo>
                  <a:pt x="59" y="93"/>
                  <a:pt x="50" y="88"/>
                  <a:pt x="40" y="87"/>
                </a:cubicBezTo>
                <a:cubicBezTo>
                  <a:pt x="29" y="86"/>
                  <a:pt x="17" y="92"/>
                  <a:pt x="25" y="100"/>
                </a:cubicBezTo>
                <a:cubicBezTo>
                  <a:pt x="34" y="107"/>
                  <a:pt x="83" y="105"/>
                  <a:pt x="89" y="106"/>
                </a:cubicBezTo>
                <a:cubicBezTo>
                  <a:pt x="93" y="110"/>
                  <a:pt x="93" y="110"/>
                  <a:pt x="93" y="110"/>
                </a:cubicBezTo>
                <a:cubicBezTo>
                  <a:pt x="102" y="107"/>
                  <a:pt x="112" y="102"/>
                  <a:pt x="119" y="95"/>
                </a:cubicBezTo>
                <a:cubicBezTo>
                  <a:pt x="124" y="90"/>
                  <a:pt x="129" y="83"/>
                  <a:pt x="132" y="75"/>
                </a:cubicBezTo>
                <a:cubicBezTo>
                  <a:pt x="132" y="75"/>
                  <a:pt x="130" y="74"/>
                  <a:pt x="128" y="7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6" name="Freeform 27">
            <a:extLst>
              <a:ext uri="{FF2B5EF4-FFF2-40B4-BE49-F238E27FC236}">
                <a16:creationId xmlns:a16="http://schemas.microsoft.com/office/drawing/2014/main" id="{3F2ABCD9-ACB7-43FA-807B-4899FDC0D053}"/>
              </a:ext>
            </a:extLst>
          </p:cNvPr>
          <p:cNvSpPr>
            <a:spLocks noEditPoints="1"/>
          </p:cNvSpPr>
          <p:nvPr/>
        </p:nvSpPr>
        <p:spPr bwMode="auto">
          <a:xfrm>
            <a:off x="3057345" y="3394930"/>
            <a:ext cx="500937" cy="506102"/>
          </a:xfrm>
          <a:custGeom>
            <a:avLst/>
            <a:gdLst>
              <a:gd name="T0" fmla="*/ 142 w 147"/>
              <a:gd name="T1" fmla="*/ 125 h 148"/>
              <a:gd name="T2" fmla="*/ 105 w 147"/>
              <a:gd name="T3" fmla="*/ 88 h 148"/>
              <a:gd name="T4" fmla="*/ 95 w 147"/>
              <a:gd name="T5" fmla="*/ 84 h 148"/>
              <a:gd name="T6" fmla="*/ 87 w 147"/>
              <a:gd name="T7" fmla="*/ 75 h 148"/>
              <a:gd name="T8" fmla="*/ 81 w 147"/>
              <a:gd name="T9" fmla="*/ 18 h 148"/>
              <a:gd name="T10" fmla="*/ 17 w 147"/>
              <a:gd name="T11" fmla="*/ 18 h 148"/>
              <a:gd name="T12" fmla="*/ 17 w 147"/>
              <a:gd name="T13" fmla="*/ 82 h 148"/>
              <a:gd name="T14" fmla="*/ 75 w 147"/>
              <a:gd name="T15" fmla="*/ 87 h 148"/>
              <a:gd name="T16" fmla="*/ 84 w 147"/>
              <a:gd name="T17" fmla="*/ 96 h 148"/>
              <a:gd name="T18" fmla="*/ 87 w 147"/>
              <a:gd name="T19" fmla="*/ 105 h 148"/>
              <a:gd name="T20" fmla="*/ 125 w 147"/>
              <a:gd name="T21" fmla="*/ 143 h 148"/>
              <a:gd name="T22" fmla="*/ 142 w 147"/>
              <a:gd name="T23" fmla="*/ 143 h 148"/>
              <a:gd name="T24" fmla="*/ 142 w 147"/>
              <a:gd name="T25" fmla="*/ 125 h 148"/>
              <a:gd name="T26" fmla="*/ 73 w 147"/>
              <a:gd name="T27" fmla="*/ 73 h 148"/>
              <a:gd name="T28" fmla="*/ 26 w 147"/>
              <a:gd name="T29" fmla="*/ 73 h 148"/>
              <a:gd name="T30" fmla="*/ 26 w 147"/>
              <a:gd name="T31" fmla="*/ 27 h 148"/>
              <a:gd name="T32" fmla="*/ 73 w 147"/>
              <a:gd name="T33" fmla="*/ 27 h 148"/>
              <a:gd name="T34" fmla="*/ 73 w 147"/>
              <a:gd name="T35" fmla="*/ 73 h 148"/>
              <a:gd name="T36" fmla="*/ 53 w 147"/>
              <a:gd name="T37" fmla="*/ 27 h 148"/>
              <a:gd name="T38" fmla="*/ 26 w 147"/>
              <a:gd name="T39" fmla="*/ 53 h 148"/>
              <a:gd name="T40" fmla="*/ 34 w 147"/>
              <a:gd name="T41" fmla="*/ 59 h 148"/>
              <a:gd name="T42" fmla="*/ 34 w 147"/>
              <a:gd name="T43" fmla="*/ 51 h 148"/>
              <a:gd name="T44" fmla="*/ 51 w 147"/>
              <a:gd name="T45" fmla="*/ 34 h 148"/>
              <a:gd name="T46" fmla="*/ 59 w 147"/>
              <a:gd name="T47" fmla="*/ 35 h 148"/>
              <a:gd name="T48" fmla="*/ 53 w 147"/>
              <a:gd name="T49" fmla="*/ 2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 h="148">
                <a:moveTo>
                  <a:pt x="142" y="125"/>
                </a:moveTo>
                <a:cubicBezTo>
                  <a:pt x="105" y="88"/>
                  <a:pt x="105" y="88"/>
                  <a:pt x="105" y="88"/>
                </a:cubicBezTo>
                <a:cubicBezTo>
                  <a:pt x="102" y="85"/>
                  <a:pt x="99" y="84"/>
                  <a:pt x="95" y="84"/>
                </a:cubicBezTo>
                <a:cubicBezTo>
                  <a:pt x="87" y="75"/>
                  <a:pt x="87" y="75"/>
                  <a:pt x="87" y="75"/>
                </a:cubicBezTo>
                <a:cubicBezTo>
                  <a:pt x="99" y="58"/>
                  <a:pt x="97" y="33"/>
                  <a:pt x="81" y="18"/>
                </a:cubicBezTo>
                <a:cubicBezTo>
                  <a:pt x="64" y="0"/>
                  <a:pt x="35" y="0"/>
                  <a:pt x="17" y="18"/>
                </a:cubicBezTo>
                <a:cubicBezTo>
                  <a:pt x="0" y="35"/>
                  <a:pt x="0" y="64"/>
                  <a:pt x="17" y="82"/>
                </a:cubicBezTo>
                <a:cubicBezTo>
                  <a:pt x="33" y="97"/>
                  <a:pt x="57" y="99"/>
                  <a:pt x="75" y="87"/>
                </a:cubicBezTo>
                <a:cubicBezTo>
                  <a:pt x="84" y="96"/>
                  <a:pt x="84" y="96"/>
                  <a:pt x="84" y="96"/>
                </a:cubicBezTo>
                <a:cubicBezTo>
                  <a:pt x="84" y="99"/>
                  <a:pt x="85" y="102"/>
                  <a:pt x="87" y="105"/>
                </a:cubicBezTo>
                <a:cubicBezTo>
                  <a:pt x="125" y="143"/>
                  <a:pt x="125" y="143"/>
                  <a:pt x="125" y="143"/>
                </a:cubicBezTo>
                <a:cubicBezTo>
                  <a:pt x="130" y="148"/>
                  <a:pt x="138" y="148"/>
                  <a:pt x="142" y="143"/>
                </a:cubicBezTo>
                <a:cubicBezTo>
                  <a:pt x="147" y="138"/>
                  <a:pt x="147" y="130"/>
                  <a:pt x="142" y="125"/>
                </a:cubicBezTo>
                <a:close/>
                <a:moveTo>
                  <a:pt x="73" y="73"/>
                </a:moveTo>
                <a:cubicBezTo>
                  <a:pt x="60" y="86"/>
                  <a:pt x="39" y="86"/>
                  <a:pt x="26" y="73"/>
                </a:cubicBezTo>
                <a:cubicBezTo>
                  <a:pt x="13" y="60"/>
                  <a:pt x="13" y="39"/>
                  <a:pt x="26" y="27"/>
                </a:cubicBezTo>
                <a:cubicBezTo>
                  <a:pt x="39" y="14"/>
                  <a:pt x="60" y="14"/>
                  <a:pt x="73" y="27"/>
                </a:cubicBezTo>
                <a:cubicBezTo>
                  <a:pt x="86" y="39"/>
                  <a:pt x="86" y="60"/>
                  <a:pt x="73" y="73"/>
                </a:cubicBezTo>
                <a:close/>
                <a:moveTo>
                  <a:pt x="53" y="27"/>
                </a:moveTo>
                <a:cubicBezTo>
                  <a:pt x="39" y="24"/>
                  <a:pt x="23" y="39"/>
                  <a:pt x="26" y="53"/>
                </a:cubicBezTo>
                <a:cubicBezTo>
                  <a:pt x="28" y="59"/>
                  <a:pt x="33" y="61"/>
                  <a:pt x="34" y="59"/>
                </a:cubicBezTo>
                <a:cubicBezTo>
                  <a:pt x="36" y="57"/>
                  <a:pt x="34" y="54"/>
                  <a:pt x="34" y="51"/>
                </a:cubicBezTo>
                <a:cubicBezTo>
                  <a:pt x="32" y="42"/>
                  <a:pt x="42" y="32"/>
                  <a:pt x="51" y="34"/>
                </a:cubicBezTo>
                <a:cubicBezTo>
                  <a:pt x="54" y="35"/>
                  <a:pt x="57" y="36"/>
                  <a:pt x="59" y="35"/>
                </a:cubicBezTo>
                <a:cubicBezTo>
                  <a:pt x="61" y="33"/>
                  <a:pt x="58" y="28"/>
                  <a:pt x="53" y="27"/>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7" name="Freeform 28">
            <a:extLst>
              <a:ext uri="{FF2B5EF4-FFF2-40B4-BE49-F238E27FC236}">
                <a16:creationId xmlns:a16="http://schemas.microsoft.com/office/drawing/2014/main" id="{99EA7548-81B0-46AC-B9E5-5CF77A4A6AF5}"/>
              </a:ext>
            </a:extLst>
          </p:cNvPr>
          <p:cNvSpPr>
            <a:spLocks/>
          </p:cNvSpPr>
          <p:nvPr/>
        </p:nvSpPr>
        <p:spPr bwMode="auto">
          <a:xfrm>
            <a:off x="4221894" y="3446573"/>
            <a:ext cx="464787" cy="457041"/>
          </a:xfrm>
          <a:custGeom>
            <a:avLst/>
            <a:gdLst>
              <a:gd name="T0" fmla="*/ 16 w 136"/>
              <a:gd name="T1" fmla="*/ 57 h 134"/>
              <a:gd name="T2" fmla="*/ 0 w 136"/>
              <a:gd name="T3" fmla="*/ 72 h 134"/>
              <a:gd name="T4" fmla="*/ 25 w 136"/>
              <a:gd name="T5" fmla="*/ 92 h 134"/>
              <a:gd name="T6" fmla="*/ 37 w 136"/>
              <a:gd name="T7" fmla="*/ 78 h 134"/>
              <a:gd name="T8" fmla="*/ 55 w 136"/>
              <a:gd name="T9" fmla="*/ 80 h 134"/>
              <a:gd name="T10" fmla="*/ 42 w 136"/>
              <a:gd name="T11" fmla="*/ 95 h 134"/>
              <a:gd name="T12" fmla="*/ 44 w 136"/>
              <a:gd name="T13" fmla="*/ 115 h 134"/>
              <a:gd name="T14" fmla="*/ 65 w 136"/>
              <a:gd name="T15" fmla="*/ 134 h 134"/>
              <a:gd name="T16" fmla="*/ 92 w 136"/>
              <a:gd name="T17" fmla="*/ 98 h 134"/>
              <a:gd name="T18" fmla="*/ 79 w 136"/>
              <a:gd name="T19" fmla="*/ 92 h 134"/>
              <a:gd name="T20" fmla="*/ 80 w 136"/>
              <a:gd name="T21" fmla="*/ 78 h 134"/>
              <a:gd name="T22" fmla="*/ 96 w 136"/>
              <a:gd name="T23" fmla="*/ 76 h 134"/>
              <a:gd name="T24" fmla="*/ 107 w 136"/>
              <a:gd name="T25" fmla="*/ 90 h 134"/>
              <a:gd name="T26" fmla="*/ 136 w 136"/>
              <a:gd name="T27" fmla="*/ 62 h 134"/>
              <a:gd name="T28" fmla="*/ 103 w 136"/>
              <a:gd name="T29" fmla="*/ 40 h 134"/>
              <a:gd name="T30" fmla="*/ 90 w 136"/>
              <a:gd name="T31" fmla="*/ 54 h 134"/>
              <a:gd name="T32" fmla="*/ 75 w 136"/>
              <a:gd name="T33" fmla="*/ 40 h 134"/>
              <a:gd name="T34" fmla="*/ 93 w 136"/>
              <a:gd name="T35" fmla="*/ 27 h 134"/>
              <a:gd name="T36" fmla="*/ 71 w 136"/>
              <a:gd name="T37" fmla="*/ 0 h 134"/>
              <a:gd name="T38" fmla="*/ 37 w 136"/>
              <a:gd name="T39" fmla="*/ 28 h 134"/>
              <a:gd name="T40" fmla="*/ 30 w 136"/>
              <a:gd name="T41" fmla="*/ 16 h 134"/>
              <a:gd name="T42" fmla="*/ 12 w 136"/>
              <a:gd name="T43" fmla="*/ 15 h 134"/>
              <a:gd name="T44" fmla="*/ 19 w 136"/>
              <a:gd name="T45" fmla="*/ 32 h 134"/>
              <a:gd name="T46" fmla="*/ 16 w 136"/>
              <a:gd name="T47" fmla="*/ 5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134">
                <a:moveTo>
                  <a:pt x="16" y="57"/>
                </a:moveTo>
                <a:cubicBezTo>
                  <a:pt x="6" y="64"/>
                  <a:pt x="0" y="72"/>
                  <a:pt x="0" y="72"/>
                </a:cubicBezTo>
                <a:cubicBezTo>
                  <a:pt x="0" y="72"/>
                  <a:pt x="16" y="94"/>
                  <a:pt x="25" y="92"/>
                </a:cubicBezTo>
                <a:cubicBezTo>
                  <a:pt x="33" y="90"/>
                  <a:pt x="33" y="85"/>
                  <a:pt x="37" y="78"/>
                </a:cubicBezTo>
                <a:cubicBezTo>
                  <a:pt x="40" y="70"/>
                  <a:pt x="54" y="72"/>
                  <a:pt x="55" y="80"/>
                </a:cubicBezTo>
                <a:cubicBezTo>
                  <a:pt x="55" y="87"/>
                  <a:pt x="53" y="94"/>
                  <a:pt x="42" y="95"/>
                </a:cubicBezTo>
                <a:cubicBezTo>
                  <a:pt x="32" y="96"/>
                  <a:pt x="31" y="108"/>
                  <a:pt x="44" y="115"/>
                </a:cubicBezTo>
                <a:cubicBezTo>
                  <a:pt x="56" y="122"/>
                  <a:pt x="56" y="127"/>
                  <a:pt x="65" y="134"/>
                </a:cubicBezTo>
                <a:cubicBezTo>
                  <a:pt x="74" y="124"/>
                  <a:pt x="98" y="105"/>
                  <a:pt x="92" y="98"/>
                </a:cubicBezTo>
                <a:cubicBezTo>
                  <a:pt x="86" y="95"/>
                  <a:pt x="85" y="99"/>
                  <a:pt x="79" y="92"/>
                </a:cubicBezTo>
                <a:cubicBezTo>
                  <a:pt x="73" y="86"/>
                  <a:pt x="78" y="80"/>
                  <a:pt x="80" y="78"/>
                </a:cubicBezTo>
                <a:cubicBezTo>
                  <a:pt x="82" y="75"/>
                  <a:pt x="90" y="70"/>
                  <a:pt x="96" y="76"/>
                </a:cubicBezTo>
                <a:cubicBezTo>
                  <a:pt x="102" y="82"/>
                  <a:pt x="96" y="89"/>
                  <a:pt x="107" y="90"/>
                </a:cubicBezTo>
                <a:cubicBezTo>
                  <a:pt x="118" y="91"/>
                  <a:pt x="127" y="71"/>
                  <a:pt x="136" y="62"/>
                </a:cubicBezTo>
                <a:cubicBezTo>
                  <a:pt x="123" y="49"/>
                  <a:pt x="114" y="34"/>
                  <a:pt x="103" y="40"/>
                </a:cubicBezTo>
                <a:cubicBezTo>
                  <a:pt x="91" y="46"/>
                  <a:pt x="98" y="45"/>
                  <a:pt x="90" y="54"/>
                </a:cubicBezTo>
                <a:cubicBezTo>
                  <a:pt x="81" y="62"/>
                  <a:pt x="67" y="48"/>
                  <a:pt x="75" y="40"/>
                </a:cubicBezTo>
                <a:cubicBezTo>
                  <a:pt x="83" y="32"/>
                  <a:pt x="85" y="36"/>
                  <a:pt x="93" y="27"/>
                </a:cubicBezTo>
                <a:cubicBezTo>
                  <a:pt x="101" y="18"/>
                  <a:pt x="83" y="12"/>
                  <a:pt x="71" y="0"/>
                </a:cubicBezTo>
                <a:cubicBezTo>
                  <a:pt x="60" y="15"/>
                  <a:pt x="45" y="29"/>
                  <a:pt x="37" y="28"/>
                </a:cubicBezTo>
                <a:cubicBezTo>
                  <a:pt x="30" y="26"/>
                  <a:pt x="30" y="22"/>
                  <a:pt x="30" y="16"/>
                </a:cubicBezTo>
                <a:cubicBezTo>
                  <a:pt x="30" y="11"/>
                  <a:pt x="18" y="8"/>
                  <a:pt x="12" y="15"/>
                </a:cubicBezTo>
                <a:cubicBezTo>
                  <a:pt x="6" y="23"/>
                  <a:pt x="11" y="30"/>
                  <a:pt x="19" y="32"/>
                </a:cubicBezTo>
                <a:cubicBezTo>
                  <a:pt x="27" y="33"/>
                  <a:pt x="26" y="50"/>
                  <a:pt x="16" y="57"/>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8" name="Freeform 29">
            <a:extLst>
              <a:ext uri="{FF2B5EF4-FFF2-40B4-BE49-F238E27FC236}">
                <a16:creationId xmlns:a16="http://schemas.microsoft.com/office/drawing/2014/main" id="{56410DE2-1C97-4A7E-B563-FA6DD4FAAE04}"/>
              </a:ext>
            </a:extLst>
          </p:cNvPr>
          <p:cNvSpPr>
            <a:spLocks noEditPoints="1"/>
          </p:cNvSpPr>
          <p:nvPr/>
        </p:nvSpPr>
        <p:spPr bwMode="auto">
          <a:xfrm>
            <a:off x="5425176" y="3420752"/>
            <a:ext cx="278872" cy="506102"/>
          </a:xfrm>
          <a:custGeom>
            <a:avLst/>
            <a:gdLst>
              <a:gd name="T0" fmla="*/ 21 w 82"/>
              <a:gd name="T1" fmla="*/ 132 h 148"/>
              <a:gd name="T2" fmla="*/ 29 w 82"/>
              <a:gd name="T3" fmla="*/ 140 h 148"/>
              <a:gd name="T4" fmla="*/ 29 w 82"/>
              <a:gd name="T5" fmla="*/ 140 h 148"/>
              <a:gd name="T6" fmla="*/ 29 w 82"/>
              <a:gd name="T7" fmla="*/ 141 h 148"/>
              <a:gd name="T8" fmla="*/ 36 w 82"/>
              <a:gd name="T9" fmla="*/ 148 h 148"/>
              <a:gd name="T10" fmla="*/ 46 w 82"/>
              <a:gd name="T11" fmla="*/ 148 h 148"/>
              <a:gd name="T12" fmla="*/ 53 w 82"/>
              <a:gd name="T13" fmla="*/ 141 h 148"/>
              <a:gd name="T14" fmla="*/ 53 w 82"/>
              <a:gd name="T15" fmla="*/ 140 h 148"/>
              <a:gd name="T16" fmla="*/ 53 w 82"/>
              <a:gd name="T17" fmla="*/ 140 h 148"/>
              <a:gd name="T18" fmla="*/ 62 w 82"/>
              <a:gd name="T19" fmla="*/ 132 h 148"/>
              <a:gd name="T20" fmla="*/ 62 w 82"/>
              <a:gd name="T21" fmla="*/ 116 h 148"/>
              <a:gd name="T22" fmla="*/ 21 w 82"/>
              <a:gd name="T23" fmla="*/ 116 h 148"/>
              <a:gd name="T24" fmla="*/ 21 w 82"/>
              <a:gd name="T25" fmla="*/ 132 h 148"/>
              <a:gd name="T26" fmla="*/ 41 w 82"/>
              <a:gd name="T27" fmla="*/ 107 h 148"/>
              <a:gd name="T28" fmla="*/ 61 w 82"/>
              <a:gd name="T29" fmla="*/ 108 h 148"/>
              <a:gd name="T30" fmla="*/ 82 w 82"/>
              <a:gd name="T31" fmla="*/ 41 h 148"/>
              <a:gd name="T32" fmla="*/ 41 w 82"/>
              <a:gd name="T33" fmla="*/ 0 h 148"/>
              <a:gd name="T34" fmla="*/ 0 w 82"/>
              <a:gd name="T35" fmla="*/ 41 h 148"/>
              <a:gd name="T36" fmla="*/ 21 w 82"/>
              <a:gd name="T37" fmla="*/ 108 h 148"/>
              <a:gd name="T38" fmla="*/ 41 w 82"/>
              <a:gd name="T39"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2" h="148">
                <a:moveTo>
                  <a:pt x="21" y="132"/>
                </a:moveTo>
                <a:cubicBezTo>
                  <a:pt x="21" y="137"/>
                  <a:pt x="24" y="140"/>
                  <a:pt x="29" y="140"/>
                </a:cubicBezTo>
                <a:cubicBezTo>
                  <a:pt x="29" y="140"/>
                  <a:pt x="29" y="140"/>
                  <a:pt x="29" y="140"/>
                </a:cubicBezTo>
                <a:cubicBezTo>
                  <a:pt x="29" y="141"/>
                  <a:pt x="29" y="141"/>
                  <a:pt x="29" y="141"/>
                </a:cubicBezTo>
                <a:cubicBezTo>
                  <a:pt x="29" y="145"/>
                  <a:pt x="32" y="148"/>
                  <a:pt x="36" y="148"/>
                </a:cubicBezTo>
                <a:cubicBezTo>
                  <a:pt x="46" y="148"/>
                  <a:pt x="46" y="148"/>
                  <a:pt x="46" y="148"/>
                </a:cubicBezTo>
                <a:cubicBezTo>
                  <a:pt x="50" y="148"/>
                  <a:pt x="53" y="145"/>
                  <a:pt x="53" y="141"/>
                </a:cubicBezTo>
                <a:cubicBezTo>
                  <a:pt x="53" y="141"/>
                  <a:pt x="53" y="141"/>
                  <a:pt x="53" y="140"/>
                </a:cubicBezTo>
                <a:cubicBezTo>
                  <a:pt x="53" y="140"/>
                  <a:pt x="53" y="140"/>
                  <a:pt x="53" y="140"/>
                </a:cubicBezTo>
                <a:cubicBezTo>
                  <a:pt x="58" y="140"/>
                  <a:pt x="62" y="137"/>
                  <a:pt x="62" y="132"/>
                </a:cubicBezTo>
                <a:cubicBezTo>
                  <a:pt x="62" y="116"/>
                  <a:pt x="62" y="116"/>
                  <a:pt x="62" y="116"/>
                </a:cubicBezTo>
                <a:cubicBezTo>
                  <a:pt x="21" y="116"/>
                  <a:pt x="21" y="116"/>
                  <a:pt x="21" y="116"/>
                </a:cubicBezTo>
                <a:lnTo>
                  <a:pt x="21" y="132"/>
                </a:lnTo>
                <a:close/>
                <a:moveTo>
                  <a:pt x="41" y="107"/>
                </a:moveTo>
                <a:cubicBezTo>
                  <a:pt x="45" y="107"/>
                  <a:pt x="52" y="107"/>
                  <a:pt x="61" y="108"/>
                </a:cubicBezTo>
                <a:cubicBezTo>
                  <a:pt x="61" y="75"/>
                  <a:pt x="82" y="74"/>
                  <a:pt x="82" y="41"/>
                </a:cubicBezTo>
                <a:cubicBezTo>
                  <a:pt x="82" y="19"/>
                  <a:pt x="64" y="0"/>
                  <a:pt x="41" y="0"/>
                </a:cubicBezTo>
                <a:cubicBezTo>
                  <a:pt x="18" y="0"/>
                  <a:pt x="0" y="19"/>
                  <a:pt x="0" y="41"/>
                </a:cubicBezTo>
                <a:cubicBezTo>
                  <a:pt x="0" y="74"/>
                  <a:pt x="21" y="75"/>
                  <a:pt x="21" y="108"/>
                </a:cubicBezTo>
                <a:cubicBezTo>
                  <a:pt x="31" y="107"/>
                  <a:pt x="37" y="107"/>
                  <a:pt x="41" y="107"/>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79" name="Freeform 30">
            <a:extLst>
              <a:ext uri="{FF2B5EF4-FFF2-40B4-BE49-F238E27FC236}">
                <a16:creationId xmlns:a16="http://schemas.microsoft.com/office/drawing/2014/main" id="{473CF534-5100-41E9-985D-ECB8687CA712}"/>
              </a:ext>
            </a:extLst>
          </p:cNvPr>
          <p:cNvSpPr>
            <a:spLocks noEditPoints="1"/>
          </p:cNvSpPr>
          <p:nvPr/>
        </p:nvSpPr>
        <p:spPr bwMode="auto">
          <a:xfrm>
            <a:off x="6548411" y="3451737"/>
            <a:ext cx="312441" cy="395070"/>
          </a:xfrm>
          <a:custGeom>
            <a:avLst/>
            <a:gdLst>
              <a:gd name="T0" fmla="*/ 35 w 121"/>
              <a:gd name="T1" fmla="*/ 92 h 153"/>
              <a:gd name="T2" fmla="*/ 44 w 121"/>
              <a:gd name="T3" fmla="*/ 94 h 153"/>
              <a:gd name="T4" fmla="*/ 44 w 121"/>
              <a:gd name="T5" fmla="*/ 77 h 153"/>
              <a:gd name="T6" fmla="*/ 35 w 121"/>
              <a:gd name="T7" fmla="*/ 92 h 153"/>
              <a:gd name="T8" fmla="*/ 80 w 121"/>
              <a:gd name="T9" fmla="*/ 0 h 153"/>
              <a:gd name="T10" fmla="*/ 0 w 121"/>
              <a:gd name="T11" fmla="*/ 0 h 153"/>
              <a:gd name="T12" fmla="*/ 0 w 121"/>
              <a:gd name="T13" fmla="*/ 153 h 153"/>
              <a:gd name="T14" fmla="*/ 121 w 121"/>
              <a:gd name="T15" fmla="*/ 153 h 153"/>
              <a:gd name="T16" fmla="*/ 121 w 121"/>
              <a:gd name="T17" fmla="*/ 41 h 153"/>
              <a:gd name="T18" fmla="*/ 80 w 121"/>
              <a:gd name="T19" fmla="*/ 0 h 153"/>
              <a:gd name="T20" fmla="*/ 77 w 121"/>
              <a:gd name="T21" fmla="*/ 16 h 153"/>
              <a:gd name="T22" fmla="*/ 103 w 121"/>
              <a:gd name="T23" fmla="*/ 43 h 153"/>
              <a:gd name="T24" fmla="*/ 77 w 121"/>
              <a:gd name="T25" fmla="*/ 43 h 153"/>
              <a:gd name="T26" fmla="*/ 77 w 121"/>
              <a:gd name="T27" fmla="*/ 16 h 153"/>
              <a:gd name="T28" fmla="*/ 45 w 121"/>
              <a:gd name="T29" fmla="*/ 112 h 153"/>
              <a:gd name="T30" fmla="*/ 44 w 121"/>
              <a:gd name="T31" fmla="*/ 100 h 153"/>
              <a:gd name="T32" fmla="*/ 31 w 121"/>
              <a:gd name="T33" fmla="*/ 96 h 153"/>
              <a:gd name="T34" fmla="*/ 24 w 121"/>
              <a:gd name="T35" fmla="*/ 105 h 153"/>
              <a:gd name="T36" fmla="*/ 13 w 121"/>
              <a:gd name="T37" fmla="*/ 102 h 153"/>
              <a:gd name="T38" fmla="*/ 43 w 121"/>
              <a:gd name="T39" fmla="*/ 65 h 153"/>
              <a:gd name="T40" fmla="*/ 53 w 121"/>
              <a:gd name="T41" fmla="*/ 69 h 153"/>
              <a:gd name="T42" fmla="*/ 54 w 121"/>
              <a:gd name="T43" fmla="*/ 116 h 153"/>
              <a:gd name="T44" fmla="*/ 45 w 121"/>
              <a:gd name="T45" fmla="*/ 112 h 153"/>
              <a:gd name="T46" fmla="*/ 106 w 121"/>
              <a:gd name="T47" fmla="*/ 114 h 153"/>
              <a:gd name="T48" fmla="*/ 92 w 121"/>
              <a:gd name="T49" fmla="*/ 109 h 153"/>
              <a:gd name="T50" fmla="*/ 86 w 121"/>
              <a:gd name="T51" fmla="*/ 125 h 153"/>
              <a:gd name="T52" fmla="*/ 76 w 121"/>
              <a:gd name="T53" fmla="*/ 122 h 153"/>
              <a:gd name="T54" fmla="*/ 81 w 121"/>
              <a:gd name="T55" fmla="*/ 106 h 153"/>
              <a:gd name="T56" fmla="*/ 65 w 121"/>
              <a:gd name="T57" fmla="*/ 101 h 153"/>
              <a:gd name="T58" fmla="*/ 69 w 121"/>
              <a:gd name="T59" fmla="*/ 90 h 153"/>
              <a:gd name="T60" fmla="*/ 84 w 121"/>
              <a:gd name="T61" fmla="*/ 96 h 153"/>
              <a:gd name="T62" fmla="*/ 89 w 121"/>
              <a:gd name="T63" fmla="*/ 80 h 153"/>
              <a:gd name="T64" fmla="*/ 99 w 121"/>
              <a:gd name="T65" fmla="*/ 84 h 153"/>
              <a:gd name="T66" fmla="*/ 94 w 121"/>
              <a:gd name="T67" fmla="*/ 100 h 153"/>
              <a:gd name="T68" fmla="*/ 110 w 121"/>
              <a:gd name="T69" fmla="*/ 104 h 153"/>
              <a:gd name="T70" fmla="*/ 106 w 121"/>
              <a:gd name="T71" fmla="*/ 11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1" h="153">
                <a:moveTo>
                  <a:pt x="35" y="92"/>
                </a:moveTo>
                <a:lnTo>
                  <a:pt x="44" y="94"/>
                </a:lnTo>
                <a:lnTo>
                  <a:pt x="44" y="77"/>
                </a:lnTo>
                <a:lnTo>
                  <a:pt x="35" y="92"/>
                </a:lnTo>
                <a:close/>
                <a:moveTo>
                  <a:pt x="80" y="0"/>
                </a:moveTo>
                <a:lnTo>
                  <a:pt x="0" y="0"/>
                </a:lnTo>
                <a:lnTo>
                  <a:pt x="0" y="153"/>
                </a:lnTo>
                <a:lnTo>
                  <a:pt x="121" y="153"/>
                </a:lnTo>
                <a:lnTo>
                  <a:pt x="121" y="41"/>
                </a:lnTo>
                <a:lnTo>
                  <a:pt x="80" y="0"/>
                </a:lnTo>
                <a:close/>
                <a:moveTo>
                  <a:pt x="77" y="16"/>
                </a:moveTo>
                <a:lnTo>
                  <a:pt x="103" y="43"/>
                </a:lnTo>
                <a:lnTo>
                  <a:pt x="77" y="43"/>
                </a:lnTo>
                <a:lnTo>
                  <a:pt x="77" y="16"/>
                </a:lnTo>
                <a:close/>
                <a:moveTo>
                  <a:pt x="45" y="112"/>
                </a:moveTo>
                <a:lnTo>
                  <a:pt x="44" y="100"/>
                </a:lnTo>
                <a:lnTo>
                  <a:pt x="31" y="96"/>
                </a:lnTo>
                <a:lnTo>
                  <a:pt x="24" y="105"/>
                </a:lnTo>
                <a:lnTo>
                  <a:pt x="13" y="102"/>
                </a:lnTo>
                <a:lnTo>
                  <a:pt x="43" y="65"/>
                </a:lnTo>
                <a:lnTo>
                  <a:pt x="53" y="69"/>
                </a:lnTo>
                <a:lnTo>
                  <a:pt x="54" y="116"/>
                </a:lnTo>
                <a:lnTo>
                  <a:pt x="45" y="112"/>
                </a:lnTo>
                <a:close/>
                <a:moveTo>
                  <a:pt x="106" y="114"/>
                </a:moveTo>
                <a:lnTo>
                  <a:pt x="92" y="109"/>
                </a:lnTo>
                <a:lnTo>
                  <a:pt x="86" y="125"/>
                </a:lnTo>
                <a:lnTo>
                  <a:pt x="76" y="122"/>
                </a:lnTo>
                <a:lnTo>
                  <a:pt x="81" y="106"/>
                </a:lnTo>
                <a:lnTo>
                  <a:pt x="65" y="101"/>
                </a:lnTo>
                <a:lnTo>
                  <a:pt x="69" y="90"/>
                </a:lnTo>
                <a:lnTo>
                  <a:pt x="84" y="96"/>
                </a:lnTo>
                <a:lnTo>
                  <a:pt x="89" y="80"/>
                </a:lnTo>
                <a:lnTo>
                  <a:pt x="99" y="84"/>
                </a:lnTo>
                <a:lnTo>
                  <a:pt x="94" y="100"/>
                </a:lnTo>
                <a:lnTo>
                  <a:pt x="110" y="104"/>
                </a:lnTo>
                <a:lnTo>
                  <a:pt x="106" y="114"/>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0" name="Freeform 31">
            <a:extLst>
              <a:ext uri="{FF2B5EF4-FFF2-40B4-BE49-F238E27FC236}">
                <a16:creationId xmlns:a16="http://schemas.microsoft.com/office/drawing/2014/main" id="{E58EA537-A74C-4070-A4F8-C3534A1E1524}"/>
              </a:ext>
            </a:extLst>
          </p:cNvPr>
          <p:cNvSpPr>
            <a:spLocks noEditPoints="1"/>
          </p:cNvSpPr>
          <p:nvPr/>
        </p:nvSpPr>
        <p:spPr bwMode="auto">
          <a:xfrm>
            <a:off x="7658736" y="3451737"/>
            <a:ext cx="312441" cy="395070"/>
          </a:xfrm>
          <a:custGeom>
            <a:avLst/>
            <a:gdLst>
              <a:gd name="T0" fmla="*/ 0 w 121"/>
              <a:gd name="T1" fmla="*/ 0 h 153"/>
              <a:gd name="T2" fmla="*/ 121 w 121"/>
              <a:gd name="T3" fmla="*/ 153 h 153"/>
              <a:gd name="T4" fmla="*/ 80 w 121"/>
              <a:gd name="T5" fmla="*/ 0 h 153"/>
              <a:gd name="T6" fmla="*/ 72 w 121"/>
              <a:gd name="T7" fmla="*/ 16 h 153"/>
              <a:gd name="T8" fmla="*/ 60 w 121"/>
              <a:gd name="T9" fmla="*/ 22 h 153"/>
              <a:gd name="T10" fmla="*/ 60 w 121"/>
              <a:gd name="T11" fmla="*/ 27 h 153"/>
              <a:gd name="T12" fmla="*/ 72 w 121"/>
              <a:gd name="T13" fmla="*/ 32 h 153"/>
              <a:gd name="T14" fmla="*/ 60 w 121"/>
              <a:gd name="T15" fmla="*/ 27 h 153"/>
              <a:gd name="T16" fmla="*/ 72 w 121"/>
              <a:gd name="T17" fmla="*/ 37 h 153"/>
              <a:gd name="T18" fmla="*/ 60 w 121"/>
              <a:gd name="T19" fmla="*/ 43 h 153"/>
              <a:gd name="T20" fmla="*/ 17 w 121"/>
              <a:gd name="T21" fmla="*/ 16 h 153"/>
              <a:gd name="T22" fmla="*/ 54 w 121"/>
              <a:gd name="T23" fmla="*/ 55 h 153"/>
              <a:gd name="T24" fmla="*/ 17 w 121"/>
              <a:gd name="T25" fmla="*/ 16 h 153"/>
              <a:gd name="T26" fmla="*/ 17 w 121"/>
              <a:gd name="T27" fmla="*/ 130 h 153"/>
              <a:gd name="T28" fmla="*/ 60 w 121"/>
              <a:gd name="T29" fmla="*/ 125 h 153"/>
              <a:gd name="T30" fmla="*/ 103 w 121"/>
              <a:gd name="T31" fmla="*/ 119 h 153"/>
              <a:gd name="T32" fmla="*/ 17 w 121"/>
              <a:gd name="T33" fmla="*/ 114 h 153"/>
              <a:gd name="T34" fmla="*/ 103 w 121"/>
              <a:gd name="T35" fmla="*/ 119 h 153"/>
              <a:gd name="T36" fmla="*/ 17 w 121"/>
              <a:gd name="T37" fmla="*/ 109 h 153"/>
              <a:gd name="T38" fmla="*/ 103 w 121"/>
              <a:gd name="T39" fmla="*/ 104 h 153"/>
              <a:gd name="T40" fmla="*/ 103 w 121"/>
              <a:gd name="T41" fmla="*/ 98 h 153"/>
              <a:gd name="T42" fmla="*/ 17 w 121"/>
              <a:gd name="T43" fmla="*/ 92 h 153"/>
              <a:gd name="T44" fmla="*/ 103 w 121"/>
              <a:gd name="T45" fmla="*/ 98 h 153"/>
              <a:gd name="T46" fmla="*/ 17 w 121"/>
              <a:gd name="T47" fmla="*/ 86 h 153"/>
              <a:gd name="T48" fmla="*/ 103 w 121"/>
              <a:gd name="T49" fmla="*/ 81 h 153"/>
              <a:gd name="T50" fmla="*/ 103 w 121"/>
              <a:gd name="T51" fmla="*/ 76 h 153"/>
              <a:gd name="T52" fmla="*/ 17 w 121"/>
              <a:gd name="T53" fmla="*/ 71 h 153"/>
              <a:gd name="T54" fmla="*/ 103 w 121"/>
              <a:gd name="T55" fmla="*/ 76 h 153"/>
              <a:gd name="T56" fmla="*/ 17 w 121"/>
              <a:gd name="T57" fmla="*/ 65 h 153"/>
              <a:gd name="T58" fmla="*/ 103 w 121"/>
              <a:gd name="T59" fmla="*/ 60 h 153"/>
              <a:gd name="T60" fmla="*/ 103 w 121"/>
              <a:gd name="T61" fmla="*/ 55 h 153"/>
              <a:gd name="T62" fmla="*/ 60 w 121"/>
              <a:gd name="T63" fmla="*/ 49 h 153"/>
              <a:gd name="T64" fmla="*/ 103 w 121"/>
              <a:gd name="T65" fmla="*/ 55 h 153"/>
              <a:gd name="T66" fmla="*/ 77 w 121"/>
              <a:gd name="T67" fmla="*/ 16 h 153"/>
              <a:gd name="T68" fmla="*/ 77 w 121"/>
              <a:gd name="T69" fmla="*/ 4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1" h="153">
                <a:moveTo>
                  <a:pt x="80" y="0"/>
                </a:moveTo>
                <a:lnTo>
                  <a:pt x="0" y="0"/>
                </a:lnTo>
                <a:lnTo>
                  <a:pt x="0" y="153"/>
                </a:lnTo>
                <a:lnTo>
                  <a:pt x="121" y="153"/>
                </a:lnTo>
                <a:lnTo>
                  <a:pt x="121" y="41"/>
                </a:lnTo>
                <a:lnTo>
                  <a:pt x="80" y="0"/>
                </a:lnTo>
                <a:close/>
                <a:moveTo>
                  <a:pt x="60" y="16"/>
                </a:moveTo>
                <a:lnTo>
                  <a:pt x="72" y="16"/>
                </a:lnTo>
                <a:lnTo>
                  <a:pt x="72" y="22"/>
                </a:lnTo>
                <a:lnTo>
                  <a:pt x="60" y="22"/>
                </a:lnTo>
                <a:lnTo>
                  <a:pt x="60" y="16"/>
                </a:lnTo>
                <a:close/>
                <a:moveTo>
                  <a:pt x="60" y="27"/>
                </a:moveTo>
                <a:lnTo>
                  <a:pt x="72" y="27"/>
                </a:lnTo>
                <a:lnTo>
                  <a:pt x="72" y="32"/>
                </a:lnTo>
                <a:lnTo>
                  <a:pt x="60" y="32"/>
                </a:lnTo>
                <a:lnTo>
                  <a:pt x="60" y="27"/>
                </a:lnTo>
                <a:close/>
                <a:moveTo>
                  <a:pt x="60" y="37"/>
                </a:moveTo>
                <a:lnTo>
                  <a:pt x="72" y="37"/>
                </a:lnTo>
                <a:lnTo>
                  <a:pt x="72" y="43"/>
                </a:lnTo>
                <a:lnTo>
                  <a:pt x="60" y="43"/>
                </a:lnTo>
                <a:lnTo>
                  <a:pt x="60" y="37"/>
                </a:lnTo>
                <a:close/>
                <a:moveTo>
                  <a:pt x="17" y="16"/>
                </a:moveTo>
                <a:lnTo>
                  <a:pt x="54" y="16"/>
                </a:lnTo>
                <a:lnTo>
                  <a:pt x="54" y="55"/>
                </a:lnTo>
                <a:lnTo>
                  <a:pt x="17" y="55"/>
                </a:lnTo>
                <a:lnTo>
                  <a:pt x="17" y="16"/>
                </a:lnTo>
                <a:close/>
                <a:moveTo>
                  <a:pt x="60" y="130"/>
                </a:moveTo>
                <a:lnTo>
                  <a:pt x="17" y="130"/>
                </a:lnTo>
                <a:lnTo>
                  <a:pt x="17" y="125"/>
                </a:lnTo>
                <a:lnTo>
                  <a:pt x="60" y="125"/>
                </a:lnTo>
                <a:lnTo>
                  <a:pt x="60" y="130"/>
                </a:lnTo>
                <a:close/>
                <a:moveTo>
                  <a:pt x="103" y="119"/>
                </a:moveTo>
                <a:lnTo>
                  <a:pt x="17" y="119"/>
                </a:lnTo>
                <a:lnTo>
                  <a:pt x="17" y="114"/>
                </a:lnTo>
                <a:lnTo>
                  <a:pt x="103" y="114"/>
                </a:lnTo>
                <a:lnTo>
                  <a:pt x="103" y="119"/>
                </a:lnTo>
                <a:close/>
                <a:moveTo>
                  <a:pt x="103" y="109"/>
                </a:moveTo>
                <a:lnTo>
                  <a:pt x="17" y="109"/>
                </a:lnTo>
                <a:lnTo>
                  <a:pt x="17" y="104"/>
                </a:lnTo>
                <a:lnTo>
                  <a:pt x="103" y="104"/>
                </a:lnTo>
                <a:lnTo>
                  <a:pt x="103" y="109"/>
                </a:lnTo>
                <a:close/>
                <a:moveTo>
                  <a:pt x="103" y="98"/>
                </a:moveTo>
                <a:lnTo>
                  <a:pt x="17" y="98"/>
                </a:lnTo>
                <a:lnTo>
                  <a:pt x="17" y="92"/>
                </a:lnTo>
                <a:lnTo>
                  <a:pt x="103" y="92"/>
                </a:lnTo>
                <a:lnTo>
                  <a:pt x="103" y="98"/>
                </a:lnTo>
                <a:close/>
                <a:moveTo>
                  <a:pt x="103" y="86"/>
                </a:moveTo>
                <a:lnTo>
                  <a:pt x="17" y="86"/>
                </a:lnTo>
                <a:lnTo>
                  <a:pt x="17" y="81"/>
                </a:lnTo>
                <a:lnTo>
                  <a:pt x="103" y="81"/>
                </a:lnTo>
                <a:lnTo>
                  <a:pt x="103" y="86"/>
                </a:lnTo>
                <a:close/>
                <a:moveTo>
                  <a:pt x="103" y="76"/>
                </a:moveTo>
                <a:lnTo>
                  <a:pt x="17" y="76"/>
                </a:lnTo>
                <a:lnTo>
                  <a:pt x="17" y="71"/>
                </a:lnTo>
                <a:lnTo>
                  <a:pt x="103" y="71"/>
                </a:lnTo>
                <a:lnTo>
                  <a:pt x="103" y="76"/>
                </a:lnTo>
                <a:close/>
                <a:moveTo>
                  <a:pt x="103" y="65"/>
                </a:moveTo>
                <a:lnTo>
                  <a:pt x="17" y="65"/>
                </a:lnTo>
                <a:lnTo>
                  <a:pt x="17" y="60"/>
                </a:lnTo>
                <a:lnTo>
                  <a:pt x="103" y="60"/>
                </a:lnTo>
                <a:lnTo>
                  <a:pt x="103" y="65"/>
                </a:lnTo>
                <a:close/>
                <a:moveTo>
                  <a:pt x="103" y="55"/>
                </a:moveTo>
                <a:lnTo>
                  <a:pt x="60" y="55"/>
                </a:lnTo>
                <a:lnTo>
                  <a:pt x="60" y="49"/>
                </a:lnTo>
                <a:lnTo>
                  <a:pt x="103" y="49"/>
                </a:lnTo>
                <a:lnTo>
                  <a:pt x="103" y="55"/>
                </a:lnTo>
                <a:close/>
                <a:moveTo>
                  <a:pt x="77" y="43"/>
                </a:moveTo>
                <a:lnTo>
                  <a:pt x="77" y="16"/>
                </a:lnTo>
                <a:lnTo>
                  <a:pt x="103" y="43"/>
                </a:lnTo>
                <a:lnTo>
                  <a:pt x="77" y="43"/>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1" name="Freeform 32">
            <a:extLst>
              <a:ext uri="{FF2B5EF4-FFF2-40B4-BE49-F238E27FC236}">
                <a16:creationId xmlns:a16="http://schemas.microsoft.com/office/drawing/2014/main" id="{7A060DFA-DB72-4A2E-985A-77D65A723367}"/>
              </a:ext>
            </a:extLst>
          </p:cNvPr>
          <p:cNvSpPr>
            <a:spLocks noEditPoints="1"/>
          </p:cNvSpPr>
          <p:nvPr/>
        </p:nvSpPr>
        <p:spPr bwMode="auto">
          <a:xfrm>
            <a:off x="8701924" y="3480139"/>
            <a:ext cx="477699" cy="366665"/>
          </a:xfrm>
          <a:custGeom>
            <a:avLst/>
            <a:gdLst>
              <a:gd name="T0" fmla="*/ 0 w 140"/>
              <a:gd name="T1" fmla="*/ 0 h 107"/>
              <a:gd name="T2" fmla="*/ 0 w 140"/>
              <a:gd name="T3" fmla="*/ 107 h 107"/>
              <a:gd name="T4" fmla="*/ 140 w 140"/>
              <a:gd name="T5" fmla="*/ 107 h 107"/>
              <a:gd name="T6" fmla="*/ 140 w 140"/>
              <a:gd name="T7" fmla="*/ 0 h 107"/>
              <a:gd name="T8" fmla="*/ 0 w 140"/>
              <a:gd name="T9" fmla="*/ 0 h 107"/>
              <a:gd name="T10" fmla="*/ 74 w 140"/>
              <a:gd name="T11" fmla="*/ 40 h 107"/>
              <a:gd name="T12" fmla="*/ 84 w 140"/>
              <a:gd name="T13" fmla="*/ 53 h 107"/>
              <a:gd name="T14" fmla="*/ 74 w 140"/>
              <a:gd name="T15" fmla="*/ 67 h 107"/>
              <a:gd name="T16" fmla="*/ 74 w 140"/>
              <a:gd name="T17" fmla="*/ 40 h 107"/>
              <a:gd name="T18" fmla="*/ 8 w 140"/>
              <a:gd name="T19" fmla="*/ 33 h 107"/>
              <a:gd name="T20" fmla="*/ 8 w 140"/>
              <a:gd name="T21" fmla="*/ 74 h 107"/>
              <a:gd name="T22" fmla="*/ 8 w 140"/>
              <a:gd name="T23" fmla="*/ 33 h 107"/>
              <a:gd name="T24" fmla="*/ 65 w 140"/>
              <a:gd name="T25" fmla="*/ 67 h 107"/>
              <a:gd name="T26" fmla="*/ 55 w 140"/>
              <a:gd name="T27" fmla="*/ 53 h 107"/>
              <a:gd name="T28" fmla="*/ 65 w 140"/>
              <a:gd name="T29" fmla="*/ 40 h 107"/>
              <a:gd name="T30" fmla="*/ 65 w 140"/>
              <a:gd name="T31" fmla="*/ 67 h 107"/>
              <a:gd name="T32" fmla="*/ 65 w 140"/>
              <a:gd name="T33" fmla="*/ 34 h 107"/>
              <a:gd name="T34" fmla="*/ 49 w 140"/>
              <a:gd name="T35" fmla="*/ 53 h 107"/>
              <a:gd name="T36" fmla="*/ 65 w 140"/>
              <a:gd name="T37" fmla="*/ 73 h 107"/>
              <a:gd name="T38" fmla="*/ 65 w 140"/>
              <a:gd name="T39" fmla="*/ 99 h 107"/>
              <a:gd name="T40" fmla="*/ 8 w 140"/>
              <a:gd name="T41" fmla="*/ 99 h 107"/>
              <a:gd name="T42" fmla="*/ 8 w 140"/>
              <a:gd name="T43" fmla="*/ 82 h 107"/>
              <a:gd name="T44" fmla="*/ 8 w 140"/>
              <a:gd name="T45" fmla="*/ 24 h 107"/>
              <a:gd name="T46" fmla="*/ 8 w 140"/>
              <a:gd name="T47" fmla="*/ 8 h 107"/>
              <a:gd name="T48" fmla="*/ 65 w 140"/>
              <a:gd name="T49" fmla="*/ 8 h 107"/>
              <a:gd name="T50" fmla="*/ 65 w 140"/>
              <a:gd name="T51" fmla="*/ 34 h 107"/>
              <a:gd name="T52" fmla="*/ 131 w 140"/>
              <a:gd name="T53" fmla="*/ 74 h 107"/>
              <a:gd name="T54" fmla="*/ 131 w 140"/>
              <a:gd name="T55" fmla="*/ 33 h 107"/>
              <a:gd name="T56" fmla="*/ 131 w 140"/>
              <a:gd name="T57" fmla="*/ 74 h 107"/>
              <a:gd name="T58" fmla="*/ 131 w 140"/>
              <a:gd name="T59" fmla="*/ 24 h 107"/>
              <a:gd name="T60" fmla="*/ 131 w 140"/>
              <a:gd name="T61" fmla="*/ 82 h 107"/>
              <a:gd name="T62" fmla="*/ 131 w 140"/>
              <a:gd name="T63" fmla="*/ 99 h 107"/>
              <a:gd name="T64" fmla="*/ 74 w 140"/>
              <a:gd name="T65" fmla="*/ 99 h 107"/>
              <a:gd name="T66" fmla="*/ 74 w 140"/>
              <a:gd name="T67" fmla="*/ 73 h 107"/>
              <a:gd name="T68" fmla="*/ 90 w 140"/>
              <a:gd name="T69" fmla="*/ 53 h 107"/>
              <a:gd name="T70" fmla="*/ 74 w 140"/>
              <a:gd name="T71" fmla="*/ 34 h 107"/>
              <a:gd name="T72" fmla="*/ 74 w 140"/>
              <a:gd name="T73" fmla="*/ 8 h 107"/>
              <a:gd name="T74" fmla="*/ 131 w 140"/>
              <a:gd name="T75" fmla="*/ 8 h 107"/>
              <a:gd name="T76" fmla="*/ 131 w 140"/>
              <a:gd name="T77" fmla="*/ 2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 h="107">
                <a:moveTo>
                  <a:pt x="0" y="0"/>
                </a:moveTo>
                <a:cubicBezTo>
                  <a:pt x="0" y="107"/>
                  <a:pt x="0" y="107"/>
                  <a:pt x="0" y="107"/>
                </a:cubicBezTo>
                <a:cubicBezTo>
                  <a:pt x="140" y="107"/>
                  <a:pt x="140" y="107"/>
                  <a:pt x="140" y="107"/>
                </a:cubicBezTo>
                <a:cubicBezTo>
                  <a:pt x="140" y="0"/>
                  <a:pt x="140" y="0"/>
                  <a:pt x="140" y="0"/>
                </a:cubicBezTo>
                <a:lnTo>
                  <a:pt x="0" y="0"/>
                </a:lnTo>
                <a:close/>
                <a:moveTo>
                  <a:pt x="74" y="40"/>
                </a:moveTo>
                <a:cubicBezTo>
                  <a:pt x="80" y="42"/>
                  <a:pt x="84" y="47"/>
                  <a:pt x="84" y="53"/>
                </a:cubicBezTo>
                <a:cubicBezTo>
                  <a:pt x="84" y="60"/>
                  <a:pt x="80" y="65"/>
                  <a:pt x="74" y="67"/>
                </a:cubicBezTo>
                <a:lnTo>
                  <a:pt x="74" y="40"/>
                </a:lnTo>
                <a:close/>
                <a:moveTo>
                  <a:pt x="8" y="33"/>
                </a:moveTo>
                <a:cubicBezTo>
                  <a:pt x="35" y="33"/>
                  <a:pt x="35" y="74"/>
                  <a:pt x="8" y="74"/>
                </a:cubicBezTo>
                <a:lnTo>
                  <a:pt x="8" y="33"/>
                </a:lnTo>
                <a:close/>
                <a:moveTo>
                  <a:pt x="65" y="67"/>
                </a:moveTo>
                <a:cubicBezTo>
                  <a:pt x="60" y="65"/>
                  <a:pt x="55" y="60"/>
                  <a:pt x="55" y="53"/>
                </a:cubicBezTo>
                <a:cubicBezTo>
                  <a:pt x="55" y="47"/>
                  <a:pt x="60" y="42"/>
                  <a:pt x="65" y="40"/>
                </a:cubicBezTo>
                <a:lnTo>
                  <a:pt x="65" y="67"/>
                </a:lnTo>
                <a:close/>
                <a:moveTo>
                  <a:pt x="65" y="34"/>
                </a:moveTo>
                <a:cubicBezTo>
                  <a:pt x="56" y="35"/>
                  <a:pt x="49" y="43"/>
                  <a:pt x="49" y="53"/>
                </a:cubicBezTo>
                <a:cubicBezTo>
                  <a:pt x="49" y="63"/>
                  <a:pt x="56" y="71"/>
                  <a:pt x="65" y="73"/>
                </a:cubicBezTo>
                <a:cubicBezTo>
                  <a:pt x="65" y="99"/>
                  <a:pt x="65" y="99"/>
                  <a:pt x="65" y="99"/>
                </a:cubicBezTo>
                <a:cubicBezTo>
                  <a:pt x="8" y="99"/>
                  <a:pt x="8" y="99"/>
                  <a:pt x="8" y="99"/>
                </a:cubicBezTo>
                <a:cubicBezTo>
                  <a:pt x="8" y="82"/>
                  <a:pt x="8" y="82"/>
                  <a:pt x="8" y="82"/>
                </a:cubicBezTo>
                <a:cubicBezTo>
                  <a:pt x="46" y="82"/>
                  <a:pt x="46" y="24"/>
                  <a:pt x="8" y="24"/>
                </a:cubicBezTo>
                <a:cubicBezTo>
                  <a:pt x="8" y="8"/>
                  <a:pt x="8" y="8"/>
                  <a:pt x="8" y="8"/>
                </a:cubicBezTo>
                <a:cubicBezTo>
                  <a:pt x="65" y="8"/>
                  <a:pt x="65" y="8"/>
                  <a:pt x="65" y="8"/>
                </a:cubicBezTo>
                <a:lnTo>
                  <a:pt x="65" y="34"/>
                </a:lnTo>
                <a:close/>
                <a:moveTo>
                  <a:pt x="131" y="74"/>
                </a:moveTo>
                <a:cubicBezTo>
                  <a:pt x="104" y="74"/>
                  <a:pt x="104" y="33"/>
                  <a:pt x="131" y="33"/>
                </a:cubicBezTo>
                <a:lnTo>
                  <a:pt x="131" y="74"/>
                </a:lnTo>
                <a:close/>
                <a:moveTo>
                  <a:pt x="131" y="24"/>
                </a:moveTo>
                <a:cubicBezTo>
                  <a:pt x="93" y="24"/>
                  <a:pt x="93" y="82"/>
                  <a:pt x="131" y="82"/>
                </a:cubicBezTo>
                <a:cubicBezTo>
                  <a:pt x="131" y="99"/>
                  <a:pt x="131" y="99"/>
                  <a:pt x="131" y="99"/>
                </a:cubicBezTo>
                <a:cubicBezTo>
                  <a:pt x="74" y="99"/>
                  <a:pt x="74" y="99"/>
                  <a:pt x="74" y="99"/>
                </a:cubicBezTo>
                <a:cubicBezTo>
                  <a:pt x="74" y="73"/>
                  <a:pt x="74" y="73"/>
                  <a:pt x="74" y="73"/>
                </a:cubicBezTo>
                <a:cubicBezTo>
                  <a:pt x="83" y="71"/>
                  <a:pt x="90" y="63"/>
                  <a:pt x="90" y="53"/>
                </a:cubicBezTo>
                <a:cubicBezTo>
                  <a:pt x="90" y="43"/>
                  <a:pt x="83" y="35"/>
                  <a:pt x="74" y="34"/>
                </a:cubicBezTo>
                <a:cubicBezTo>
                  <a:pt x="74" y="8"/>
                  <a:pt x="74" y="8"/>
                  <a:pt x="74" y="8"/>
                </a:cubicBezTo>
                <a:cubicBezTo>
                  <a:pt x="131" y="8"/>
                  <a:pt x="131" y="8"/>
                  <a:pt x="131" y="8"/>
                </a:cubicBezTo>
                <a:lnTo>
                  <a:pt x="131" y="24"/>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2" name="Freeform 33">
            <a:extLst>
              <a:ext uri="{FF2B5EF4-FFF2-40B4-BE49-F238E27FC236}">
                <a16:creationId xmlns:a16="http://schemas.microsoft.com/office/drawing/2014/main" id="{C2938B86-91F3-40C5-80FD-B4965A9F6529}"/>
              </a:ext>
            </a:extLst>
          </p:cNvPr>
          <p:cNvSpPr>
            <a:spLocks noEditPoints="1"/>
          </p:cNvSpPr>
          <p:nvPr/>
        </p:nvSpPr>
        <p:spPr bwMode="auto">
          <a:xfrm>
            <a:off x="9832906" y="3431080"/>
            <a:ext cx="459623" cy="462205"/>
          </a:xfrm>
          <a:custGeom>
            <a:avLst/>
            <a:gdLst>
              <a:gd name="T0" fmla="*/ 111 w 135"/>
              <a:gd name="T1" fmla="*/ 24 h 135"/>
              <a:gd name="T2" fmla="*/ 24 w 135"/>
              <a:gd name="T3" fmla="*/ 24 h 135"/>
              <a:gd name="T4" fmla="*/ 24 w 135"/>
              <a:gd name="T5" fmla="*/ 111 h 135"/>
              <a:gd name="T6" fmla="*/ 111 w 135"/>
              <a:gd name="T7" fmla="*/ 111 h 135"/>
              <a:gd name="T8" fmla="*/ 111 w 135"/>
              <a:gd name="T9" fmla="*/ 24 h 135"/>
              <a:gd name="T10" fmla="*/ 121 w 135"/>
              <a:gd name="T11" fmla="*/ 66 h 135"/>
              <a:gd name="T12" fmla="*/ 75 w 135"/>
              <a:gd name="T13" fmla="*/ 44 h 135"/>
              <a:gd name="T14" fmla="*/ 107 w 135"/>
              <a:gd name="T15" fmla="*/ 31 h 135"/>
              <a:gd name="T16" fmla="*/ 121 w 135"/>
              <a:gd name="T17" fmla="*/ 66 h 135"/>
              <a:gd name="T18" fmla="*/ 78 w 135"/>
              <a:gd name="T19" fmla="*/ 15 h 135"/>
              <a:gd name="T20" fmla="*/ 100 w 135"/>
              <a:gd name="T21" fmla="*/ 25 h 135"/>
              <a:gd name="T22" fmla="*/ 69 w 135"/>
              <a:gd name="T23" fmla="*/ 38 h 135"/>
              <a:gd name="T24" fmla="*/ 78 w 135"/>
              <a:gd name="T25" fmla="*/ 15 h 135"/>
              <a:gd name="T26" fmla="*/ 67 w 135"/>
              <a:gd name="T27" fmla="*/ 14 h 135"/>
              <a:gd name="T28" fmla="*/ 61 w 135"/>
              <a:gd name="T29" fmla="*/ 43 h 135"/>
              <a:gd name="T30" fmla="*/ 55 w 135"/>
              <a:gd name="T31" fmla="*/ 48 h 135"/>
              <a:gd name="T32" fmla="*/ 33 w 135"/>
              <a:gd name="T33" fmla="*/ 27 h 135"/>
              <a:gd name="T34" fmla="*/ 67 w 135"/>
              <a:gd name="T35" fmla="*/ 14 h 135"/>
              <a:gd name="T36" fmla="*/ 30 w 135"/>
              <a:gd name="T37" fmla="*/ 29 h 135"/>
              <a:gd name="T38" fmla="*/ 31 w 135"/>
              <a:gd name="T39" fmla="*/ 29 h 135"/>
              <a:gd name="T40" fmla="*/ 29 w 135"/>
              <a:gd name="T41" fmla="*/ 30 h 135"/>
              <a:gd name="T42" fmla="*/ 30 w 135"/>
              <a:gd name="T43" fmla="*/ 29 h 135"/>
              <a:gd name="T44" fmla="*/ 27 w 135"/>
              <a:gd name="T45" fmla="*/ 33 h 135"/>
              <a:gd name="T46" fmla="*/ 49 w 135"/>
              <a:gd name="T47" fmla="*/ 54 h 135"/>
              <a:gd name="T48" fmla="*/ 43 w 135"/>
              <a:gd name="T49" fmla="*/ 61 h 135"/>
              <a:gd name="T50" fmla="*/ 15 w 135"/>
              <a:gd name="T51" fmla="*/ 67 h 135"/>
              <a:gd name="T52" fmla="*/ 27 w 135"/>
              <a:gd name="T53" fmla="*/ 33 h 135"/>
              <a:gd name="T54" fmla="*/ 16 w 135"/>
              <a:gd name="T55" fmla="*/ 77 h 135"/>
              <a:gd name="T56" fmla="*/ 38 w 135"/>
              <a:gd name="T57" fmla="*/ 68 h 135"/>
              <a:gd name="T58" fmla="*/ 25 w 135"/>
              <a:gd name="T59" fmla="*/ 99 h 135"/>
              <a:gd name="T60" fmla="*/ 16 w 135"/>
              <a:gd name="T61" fmla="*/ 77 h 135"/>
              <a:gd name="T62" fmla="*/ 32 w 135"/>
              <a:gd name="T63" fmla="*/ 107 h 135"/>
              <a:gd name="T64" fmla="*/ 44 w 135"/>
              <a:gd name="T65" fmla="*/ 74 h 135"/>
              <a:gd name="T66" fmla="*/ 67 w 135"/>
              <a:gd name="T67" fmla="*/ 121 h 135"/>
              <a:gd name="T68" fmla="*/ 32 w 135"/>
              <a:gd name="T69" fmla="*/ 107 h 135"/>
              <a:gd name="T70" fmla="*/ 77 w 135"/>
              <a:gd name="T71" fmla="*/ 120 h 135"/>
              <a:gd name="T72" fmla="*/ 77 w 135"/>
              <a:gd name="T73" fmla="*/ 120 h 135"/>
              <a:gd name="T74" fmla="*/ 49 w 135"/>
              <a:gd name="T75" fmla="*/ 67 h 135"/>
              <a:gd name="T76" fmla="*/ 55 w 135"/>
              <a:gd name="T77" fmla="*/ 60 h 135"/>
              <a:gd name="T78" fmla="*/ 102 w 135"/>
              <a:gd name="T79" fmla="*/ 108 h 135"/>
              <a:gd name="T80" fmla="*/ 77 w 135"/>
              <a:gd name="T81" fmla="*/ 120 h 135"/>
              <a:gd name="T82" fmla="*/ 108 w 135"/>
              <a:gd name="T83" fmla="*/ 102 h 135"/>
              <a:gd name="T84" fmla="*/ 60 w 135"/>
              <a:gd name="T85" fmla="*/ 54 h 135"/>
              <a:gd name="T86" fmla="*/ 67 w 135"/>
              <a:gd name="T87" fmla="*/ 49 h 135"/>
              <a:gd name="T88" fmla="*/ 120 w 135"/>
              <a:gd name="T89" fmla="*/ 76 h 135"/>
              <a:gd name="T90" fmla="*/ 108 w 135"/>
              <a:gd name="T91" fmla="*/ 10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5" h="135">
                <a:moveTo>
                  <a:pt x="111" y="24"/>
                </a:moveTo>
                <a:cubicBezTo>
                  <a:pt x="87" y="0"/>
                  <a:pt x="48" y="0"/>
                  <a:pt x="24" y="24"/>
                </a:cubicBezTo>
                <a:cubicBezTo>
                  <a:pt x="0" y="48"/>
                  <a:pt x="0" y="87"/>
                  <a:pt x="24" y="111"/>
                </a:cubicBezTo>
                <a:cubicBezTo>
                  <a:pt x="48" y="135"/>
                  <a:pt x="87" y="135"/>
                  <a:pt x="111" y="111"/>
                </a:cubicBezTo>
                <a:cubicBezTo>
                  <a:pt x="135" y="87"/>
                  <a:pt x="135" y="48"/>
                  <a:pt x="111" y="24"/>
                </a:cubicBezTo>
                <a:close/>
                <a:moveTo>
                  <a:pt x="121" y="66"/>
                </a:moveTo>
                <a:cubicBezTo>
                  <a:pt x="114" y="51"/>
                  <a:pt x="88" y="54"/>
                  <a:pt x="75" y="44"/>
                </a:cubicBezTo>
                <a:cubicBezTo>
                  <a:pt x="84" y="38"/>
                  <a:pt x="95" y="33"/>
                  <a:pt x="107" y="31"/>
                </a:cubicBezTo>
                <a:cubicBezTo>
                  <a:pt x="116" y="41"/>
                  <a:pt x="121" y="54"/>
                  <a:pt x="121" y="66"/>
                </a:cubicBezTo>
                <a:close/>
                <a:moveTo>
                  <a:pt x="78" y="15"/>
                </a:moveTo>
                <a:cubicBezTo>
                  <a:pt x="86" y="16"/>
                  <a:pt x="93" y="20"/>
                  <a:pt x="100" y="25"/>
                </a:cubicBezTo>
                <a:cubicBezTo>
                  <a:pt x="89" y="27"/>
                  <a:pt x="78" y="32"/>
                  <a:pt x="69" y="38"/>
                </a:cubicBezTo>
                <a:cubicBezTo>
                  <a:pt x="63" y="28"/>
                  <a:pt x="71" y="20"/>
                  <a:pt x="78" y="15"/>
                </a:cubicBezTo>
                <a:close/>
                <a:moveTo>
                  <a:pt x="67" y="14"/>
                </a:moveTo>
                <a:cubicBezTo>
                  <a:pt x="60" y="21"/>
                  <a:pt x="53" y="31"/>
                  <a:pt x="61" y="43"/>
                </a:cubicBezTo>
                <a:cubicBezTo>
                  <a:pt x="59" y="45"/>
                  <a:pt x="57" y="46"/>
                  <a:pt x="55" y="48"/>
                </a:cubicBezTo>
                <a:cubicBezTo>
                  <a:pt x="33" y="27"/>
                  <a:pt x="33" y="27"/>
                  <a:pt x="33" y="27"/>
                </a:cubicBezTo>
                <a:cubicBezTo>
                  <a:pt x="43" y="18"/>
                  <a:pt x="55" y="14"/>
                  <a:pt x="67" y="14"/>
                </a:cubicBezTo>
                <a:close/>
                <a:moveTo>
                  <a:pt x="30" y="29"/>
                </a:moveTo>
                <a:cubicBezTo>
                  <a:pt x="30" y="29"/>
                  <a:pt x="30" y="29"/>
                  <a:pt x="31" y="29"/>
                </a:cubicBezTo>
                <a:cubicBezTo>
                  <a:pt x="29" y="30"/>
                  <a:pt x="29" y="30"/>
                  <a:pt x="29" y="30"/>
                </a:cubicBezTo>
                <a:cubicBezTo>
                  <a:pt x="30" y="30"/>
                  <a:pt x="30" y="30"/>
                  <a:pt x="30" y="29"/>
                </a:cubicBezTo>
                <a:close/>
                <a:moveTo>
                  <a:pt x="27" y="33"/>
                </a:moveTo>
                <a:cubicBezTo>
                  <a:pt x="49" y="54"/>
                  <a:pt x="49" y="54"/>
                  <a:pt x="49" y="54"/>
                </a:cubicBezTo>
                <a:cubicBezTo>
                  <a:pt x="47" y="56"/>
                  <a:pt x="45" y="59"/>
                  <a:pt x="43" y="61"/>
                </a:cubicBezTo>
                <a:cubicBezTo>
                  <a:pt x="32" y="53"/>
                  <a:pt x="21" y="59"/>
                  <a:pt x="15" y="67"/>
                </a:cubicBezTo>
                <a:cubicBezTo>
                  <a:pt x="15" y="55"/>
                  <a:pt x="19" y="42"/>
                  <a:pt x="27" y="33"/>
                </a:cubicBezTo>
                <a:close/>
                <a:moveTo>
                  <a:pt x="16" y="77"/>
                </a:moveTo>
                <a:cubicBezTo>
                  <a:pt x="21" y="71"/>
                  <a:pt x="29" y="63"/>
                  <a:pt x="38" y="68"/>
                </a:cubicBezTo>
                <a:cubicBezTo>
                  <a:pt x="32" y="78"/>
                  <a:pt x="28" y="88"/>
                  <a:pt x="25" y="99"/>
                </a:cubicBezTo>
                <a:cubicBezTo>
                  <a:pt x="20" y="93"/>
                  <a:pt x="17" y="85"/>
                  <a:pt x="16" y="77"/>
                </a:cubicBezTo>
                <a:close/>
                <a:moveTo>
                  <a:pt x="32" y="107"/>
                </a:moveTo>
                <a:cubicBezTo>
                  <a:pt x="34" y="95"/>
                  <a:pt x="38" y="84"/>
                  <a:pt x="44" y="74"/>
                </a:cubicBezTo>
                <a:cubicBezTo>
                  <a:pt x="54" y="87"/>
                  <a:pt x="51" y="114"/>
                  <a:pt x="67" y="121"/>
                </a:cubicBezTo>
                <a:cubicBezTo>
                  <a:pt x="54" y="120"/>
                  <a:pt x="42" y="116"/>
                  <a:pt x="32" y="107"/>
                </a:cubicBezTo>
                <a:close/>
                <a:moveTo>
                  <a:pt x="77" y="120"/>
                </a:moveTo>
                <a:cubicBezTo>
                  <a:pt x="77" y="120"/>
                  <a:pt x="77" y="120"/>
                  <a:pt x="77" y="120"/>
                </a:cubicBezTo>
                <a:cubicBezTo>
                  <a:pt x="57" y="113"/>
                  <a:pt x="62" y="82"/>
                  <a:pt x="49" y="67"/>
                </a:cubicBezTo>
                <a:cubicBezTo>
                  <a:pt x="51" y="64"/>
                  <a:pt x="53" y="62"/>
                  <a:pt x="55" y="60"/>
                </a:cubicBezTo>
                <a:cubicBezTo>
                  <a:pt x="102" y="108"/>
                  <a:pt x="102" y="108"/>
                  <a:pt x="102" y="108"/>
                </a:cubicBezTo>
                <a:cubicBezTo>
                  <a:pt x="95" y="114"/>
                  <a:pt x="86" y="118"/>
                  <a:pt x="77" y="120"/>
                </a:cubicBezTo>
                <a:close/>
                <a:moveTo>
                  <a:pt x="108" y="102"/>
                </a:moveTo>
                <a:cubicBezTo>
                  <a:pt x="60" y="54"/>
                  <a:pt x="60" y="54"/>
                  <a:pt x="60" y="54"/>
                </a:cubicBezTo>
                <a:cubicBezTo>
                  <a:pt x="63" y="52"/>
                  <a:pt x="65" y="51"/>
                  <a:pt x="67" y="49"/>
                </a:cubicBezTo>
                <a:cubicBezTo>
                  <a:pt x="83" y="61"/>
                  <a:pt x="113" y="56"/>
                  <a:pt x="120" y="76"/>
                </a:cubicBezTo>
                <a:cubicBezTo>
                  <a:pt x="119" y="85"/>
                  <a:pt x="115" y="94"/>
                  <a:pt x="108" y="10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3" name="Freeform 34">
            <a:extLst>
              <a:ext uri="{FF2B5EF4-FFF2-40B4-BE49-F238E27FC236}">
                <a16:creationId xmlns:a16="http://schemas.microsoft.com/office/drawing/2014/main" id="{CABEBD25-C870-4F22-B4FE-84617DEF69F8}"/>
              </a:ext>
            </a:extLst>
          </p:cNvPr>
          <p:cNvSpPr>
            <a:spLocks noEditPoints="1"/>
          </p:cNvSpPr>
          <p:nvPr/>
        </p:nvSpPr>
        <p:spPr bwMode="auto">
          <a:xfrm>
            <a:off x="10943230" y="3436244"/>
            <a:ext cx="490608" cy="449294"/>
          </a:xfrm>
          <a:custGeom>
            <a:avLst/>
            <a:gdLst>
              <a:gd name="T0" fmla="*/ 35 w 144"/>
              <a:gd name="T1" fmla="*/ 17 h 132"/>
              <a:gd name="T2" fmla="*/ 109 w 144"/>
              <a:gd name="T3" fmla="*/ 17 h 132"/>
              <a:gd name="T4" fmla="*/ 117 w 144"/>
              <a:gd name="T5" fmla="*/ 9 h 132"/>
              <a:gd name="T6" fmla="*/ 109 w 144"/>
              <a:gd name="T7" fmla="*/ 0 h 132"/>
              <a:gd name="T8" fmla="*/ 35 w 144"/>
              <a:gd name="T9" fmla="*/ 0 h 132"/>
              <a:gd name="T10" fmla="*/ 27 w 144"/>
              <a:gd name="T11" fmla="*/ 9 h 132"/>
              <a:gd name="T12" fmla="*/ 35 w 144"/>
              <a:gd name="T13" fmla="*/ 17 h 132"/>
              <a:gd name="T14" fmla="*/ 109 w 144"/>
              <a:gd name="T15" fmla="*/ 25 h 132"/>
              <a:gd name="T16" fmla="*/ 109 w 144"/>
              <a:gd name="T17" fmla="*/ 25 h 132"/>
              <a:gd name="T18" fmla="*/ 35 w 144"/>
              <a:gd name="T19" fmla="*/ 25 h 132"/>
              <a:gd name="T20" fmla="*/ 35 w 144"/>
              <a:gd name="T21" fmla="*/ 25 h 132"/>
              <a:gd name="T22" fmla="*/ 16 w 144"/>
              <a:gd name="T23" fmla="*/ 67 h 132"/>
              <a:gd name="T24" fmla="*/ 52 w 144"/>
              <a:gd name="T25" fmla="*/ 93 h 132"/>
              <a:gd name="T26" fmla="*/ 64 w 144"/>
              <a:gd name="T27" fmla="*/ 107 h 132"/>
              <a:gd name="T28" fmla="*/ 64 w 144"/>
              <a:gd name="T29" fmla="*/ 116 h 132"/>
              <a:gd name="T30" fmla="*/ 66 w 144"/>
              <a:gd name="T31" fmla="*/ 117 h 132"/>
              <a:gd name="T32" fmla="*/ 64 w 144"/>
              <a:gd name="T33" fmla="*/ 120 h 132"/>
              <a:gd name="T34" fmla="*/ 47 w 144"/>
              <a:gd name="T35" fmla="*/ 120 h 132"/>
              <a:gd name="T36" fmla="*/ 39 w 144"/>
              <a:gd name="T37" fmla="*/ 128 h 132"/>
              <a:gd name="T38" fmla="*/ 39 w 144"/>
              <a:gd name="T39" fmla="*/ 132 h 132"/>
              <a:gd name="T40" fmla="*/ 105 w 144"/>
              <a:gd name="T41" fmla="*/ 132 h 132"/>
              <a:gd name="T42" fmla="*/ 105 w 144"/>
              <a:gd name="T43" fmla="*/ 128 h 132"/>
              <a:gd name="T44" fmla="*/ 97 w 144"/>
              <a:gd name="T45" fmla="*/ 120 h 132"/>
              <a:gd name="T46" fmla="*/ 80 w 144"/>
              <a:gd name="T47" fmla="*/ 120 h 132"/>
              <a:gd name="T48" fmla="*/ 78 w 144"/>
              <a:gd name="T49" fmla="*/ 117 h 132"/>
              <a:gd name="T50" fmla="*/ 80 w 144"/>
              <a:gd name="T51" fmla="*/ 116 h 132"/>
              <a:gd name="T52" fmla="*/ 80 w 144"/>
              <a:gd name="T53" fmla="*/ 107 h 132"/>
              <a:gd name="T54" fmla="*/ 92 w 144"/>
              <a:gd name="T55" fmla="*/ 93 h 132"/>
              <a:gd name="T56" fmla="*/ 127 w 144"/>
              <a:gd name="T57" fmla="*/ 67 h 132"/>
              <a:gd name="T58" fmla="*/ 109 w 144"/>
              <a:gd name="T59" fmla="*/ 25 h 132"/>
              <a:gd name="T60" fmla="*/ 24 w 144"/>
              <a:gd name="T61" fmla="*/ 63 h 132"/>
              <a:gd name="T62" fmla="*/ 37 w 144"/>
              <a:gd name="T63" fmla="*/ 37 h 132"/>
              <a:gd name="T64" fmla="*/ 48 w 144"/>
              <a:gd name="T65" fmla="*/ 84 h 132"/>
              <a:gd name="T66" fmla="*/ 24 w 144"/>
              <a:gd name="T67" fmla="*/ 63 h 132"/>
              <a:gd name="T68" fmla="*/ 47 w 144"/>
              <a:gd name="T69" fmla="*/ 37 h 132"/>
              <a:gd name="T70" fmla="*/ 60 w 144"/>
              <a:gd name="T71" fmla="*/ 37 h 132"/>
              <a:gd name="T72" fmla="*/ 64 w 144"/>
              <a:gd name="T73" fmla="*/ 99 h 132"/>
              <a:gd name="T74" fmla="*/ 47 w 144"/>
              <a:gd name="T75" fmla="*/ 37 h 132"/>
              <a:gd name="T76" fmla="*/ 120 w 144"/>
              <a:gd name="T77" fmla="*/ 63 h 132"/>
              <a:gd name="T78" fmla="*/ 96 w 144"/>
              <a:gd name="T79" fmla="*/ 84 h 132"/>
              <a:gd name="T80" fmla="*/ 107 w 144"/>
              <a:gd name="T81" fmla="*/ 37 h 132"/>
              <a:gd name="T82" fmla="*/ 120 w 144"/>
              <a:gd name="T83" fmla="*/ 6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4" h="132">
                <a:moveTo>
                  <a:pt x="35" y="17"/>
                </a:moveTo>
                <a:cubicBezTo>
                  <a:pt x="109" y="17"/>
                  <a:pt x="109" y="17"/>
                  <a:pt x="109" y="17"/>
                </a:cubicBezTo>
                <a:cubicBezTo>
                  <a:pt x="113" y="17"/>
                  <a:pt x="117" y="13"/>
                  <a:pt x="117" y="9"/>
                </a:cubicBezTo>
                <a:cubicBezTo>
                  <a:pt x="117" y="4"/>
                  <a:pt x="113" y="0"/>
                  <a:pt x="109" y="0"/>
                </a:cubicBezTo>
                <a:cubicBezTo>
                  <a:pt x="35" y="0"/>
                  <a:pt x="35" y="0"/>
                  <a:pt x="35" y="0"/>
                </a:cubicBezTo>
                <a:cubicBezTo>
                  <a:pt x="30" y="0"/>
                  <a:pt x="27" y="4"/>
                  <a:pt x="27" y="9"/>
                </a:cubicBezTo>
                <a:cubicBezTo>
                  <a:pt x="27" y="13"/>
                  <a:pt x="30" y="17"/>
                  <a:pt x="35" y="17"/>
                </a:cubicBezTo>
                <a:close/>
                <a:moveTo>
                  <a:pt x="109" y="25"/>
                </a:moveTo>
                <a:cubicBezTo>
                  <a:pt x="109" y="25"/>
                  <a:pt x="109" y="25"/>
                  <a:pt x="109" y="25"/>
                </a:cubicBezTo>
                <a:cubicBezTo>
                  <a:pt x="35" y="25"/>
                  <a:pt x="35" y="25"/>
                  <a:pt x="35" y="25"/>
                </a:cubicBezTo>
                <a:cubicBezTo>
                  <a:pt x="35" y="25"/>
                  <a:pt x="35" y="25"/>
                  <a:pt x="35" y="25"/>
                </a:cubicBezTo>
                <a:cubicBezTo>
                  <a:pt x="19" y="26"/>
                  <a:pt x="0" y="32"/>
                  <a:pt x="16" y="67"/>
                </a:cubicBezTo>
                <a:cubicBezTo>
                  <a:pt x="27" y="90"/>
                  <a:pt x="43" y="92"/>
                  <a:pt x="52" y="93"/>
                </a:cubicBezTo>
                <a:cubicBezTo>
                  <a:pt x="55" y="102"/>
                  <a:pt x="59" y="107"/>
                  <a:pt x="64" y="107"/>
                </a:cubicBezTo>
                <a:cubicBezTo>
                  <a:pt x="64" y="112"/>
                  <a:pt x="64" y="116"/>
                  <a:pt x="64" y="116"/>
                </a:cubicBezTo>
                <a:cubicBezTo>
                  <a:pt x="66" y="117"/>
                  <a:pt x="66" y="117"/>
                  <a:pt x="66" y="117"/>
                </a:cubicBezTo>
                <a:cubicBezTo>
                  <a:pt x="64" y="120"/>
                  <a:pt x="64" y="120"/>
                  <a:pt x="64" y="120"/>
                </a:cubicBezTo>
                <a:cubicBezTo>
                  <a:pt x="47" y="120"/>
                  <a:pt x="47" y="120"/>
                  <a:pt x="47" y="120"/>
                </a:cubicBezTo>
                <a:cubicBezTo>
                  <a:pt x="47" y="120"/>
                  <a:pt x="39" y="120"/>
                  <a:pt x="39" y="128"/>
                </a:cubicBezTo>
                <a:cubicBezTo>
                  <a:pt x="39" y="132"/>
                  <a:pt x="39" y="132"/>
                  <a:pt x="39" y="132"/>
                </a:cubicBezTo>
                <a:cubicBezTo>
                  <a:pt x="105" y="132"/>
                  <a:pt x="105" y="132"/>
                  <a:pt x="105" y="132"/>
                </a:cubicBezTo>
                <a:cubicBezTo>
                  <a:pt x="105" y="132"/>
                  <a:pt x="105" y="132"/>
                  <a:pt x="105" y="128"/>
                </a:cubicBezTo>
                <a:cubicBezTo>
                  <a:pt x="105" y="120"/>
                  <a:pt x="97" y="120"/>
                  <a:pt x="97" y="120"/>
                </a:cubicBezTo>
                <a:cubicBezTo>
                  <a:pt x="80" y="120"/>
                  <a:pt x="80" y="120"/>
                  <a:pt x="80" y="120"/>
                </a:cubicBezTo>
                <a:cubicBezTo>
                  <a:pt x="78" y="117"/>
                  <a:pt x="78" y="117"/>
                  <a:pt x="78" y="117"/>
                </a:cubicBezTo>
                <a:cubicBezTo>
                  <a:pt x="80" y="116"/>
                  <a:pt x="80" y="116"/>
                  <a:pt x="80" y="116"/>
                </a:cubicBezTo>
                <a:cubicBezTo>
                  <a:pt x="80" y="116"/>
                  <a:pt x="80" y="112"/>
                  <a:pt x="80" y="107"/>
                </a:cubicBezTo>
                <a:cubicBezTo>
                  <a:pt x="84" y="107"/>
                  <a:pt x="88" y="102"/>
                  <a:pt x="92" y="93"/>
                </a:cubicBezTo>
                <a:cubicBezTo>
                  <a:pt x="101" y="92"/>
                  <a:pt x="116" y="90"/>
                  <a:pt x="127" y="67"/>
                </a:cubicBezTo>
                <a:cubicBezTo>
                  <a:pt x="144" y="32"/>
                  <a:pt x="125" y="26"/>
                  <a:pt x="109" y="25"/>
                </a:cubicBezTo>
                <a:close/>
                <a:moveTo>
                  <a:pt x="24" y="63"/>
                </a:moveTo>
                <a:cubicBezTo>
                  <a:pt x="14" y="40"/>
                  <a:pt x="26" y="37"/>
                  <a:pt x="37" y="37"/>
                </a:cubicBezTo>
                <a:cubicBezTo>
                  <a:pt x="39" y="49"/>
                  <a:pt x="43" y="68"/>
                  <a:pt x="48" y="84"/>
                </a:cubicBezTo>
                <a:cubicBezTo>
                  <a:pt x="41" y="82"/>
                  <a:pt x="31" y="79"/>
                  <a:pt x="24" y="63"/>
                </a:cubicBezTo>
                <a:close/>
                <a:moveTo>
                  <a:pt x="47" y="37"/>
                </a:moveTo>
                <a:cubicBezTo>
                  <a:pt x="47" y="37"/>
                  <a:pt x="55" y="37"/>
                  <a:pt x="60" y="37"/>
                </a:cubicBezTo>
                <a:cubicBezTo>
                  <a:pt x="60" y="66"/>
                  <a:pt x="60" y="74"/>
                  <a:pt x="64" y="99"/>
                </a:cubicBezTo>
                <a:cubicBezTo>
                  <a:pt x="51" y="74"/>
                  <a:pt x="47" y="37"/>
                  <a:pt x="47" y="37"/>
                </a:cubicBezTo>
                <a:close/>
                <a:moveTo>
                  <a:pt x="120" y="63"/>
                </a:moveTo>
                <a:cubicBezTo>
                  <a:pt x="113" y="79"/>
                  <a:pt x="102" y="82"/>
                  <a:pt x="96" y="84"/>
                </a:cubicBezTo>
                <a:cubicBezTo>
                  <a:pt x="101" y="68"/>
                  <a:pt x="105" y="49"/>
                  <a:pt x="107" y="37"/>
                </a:cubicBezTo>
                <a:cubicBezTo>
                  <a:pt x="118" y="37"/>
                  <a:pt x="130" y="40"/>
                  <a:pt x="120" y="6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4" name="Freeform 35">
            <a:extLst>
              <a:ext uri="{FF2B5EF4-FFF2-40B4-BE49-F238E27FC236}">
                <a16:creationId xmlns:a16="http://schemas.microsoft.com/office/drawing/2014/main" id="{98823FEF-FCFB-49B1-8E6C-706A1DADB899}"/>
              </a:ext>
            </a:extLst>
          </p:cNvPr>
          <p:cNvSpPr>
            <a:spLocks noEditPoints="1"/>
          </p:cNvSpPr>
          <p:nvPr/>
        </p:nvSpPr>
        <p:spPr bwMode="auto">
          <a:xfrm>
            <a:off x="911577" y="4533657"/>
            <a:ext cx="309858" cy="521594"/>
          </a:xfrm>
          <a:custGeom>
            <a:avLst/>
            <a:gdLst>
              <a:gd name="T0" fmla="*/ 70 w 91"/>
              <a:gd name="T1" fmla="*/ 56 h 153"/>
              <a:gd name="T2" fmla="*/ 74 w 91"/>
              <a:gd name="T3" fmla="*/ 44 h 153"/>
              <a:gd name="T4" fmla="*/ 56 w 91"/>
              <a:gd name="T5" fmla="*/ 58 h 153"/>
              <a:gd name="T6" fmla="*/ 68 w 91"/>
              <a:gd name="T7" fmla="*/ 62 h 153"/>
              <a:gd name="T8" fmla="*/ 54 w 91"/>
              <a:gd name="T9" fmla="*/ 44 h 153"/>
              <a:gd name="T10" fmla="*/ 50 w 91"/>
              <a:gd name="T11" fmla="*/ 56 h 153"/>
              <a:gd name="T12" fmla="*/ 54 w 91"/>
              <a:gd name="T13" fmla="*/ 44 h 153"/>
              <a:gd name="T14" fmla="*/ 70 w 91"/>
              <a:gd name="T15" fmla="*/ 35 h 153"/>
              <a:gd name="T16" fmla="*/ 74 w 91"/>
              <a:gd name="T17" fmla="*/ 23 h 153"/>
              <a:gd name="T18" fmla="*/ 54 w 91"/>
              <a:gd name="T19" fmla="*/ 35 h 153"/>
              <a:gd name="T20" fmla="*/ 50 w 91"/>
              <a:gd name="T21" fmla="*/ 23 h 153"/>
              <a:gd name="T22" fmla="*/ 56 w 91"/>
              <a:gd name="T23" fmla="*/ 21 h 153"/>
              <a:gd name="T24" fmla="*/ 68 w 91"/>
              <a:gd name="T25" fmla="*/ 17 h 153"/>
              <a:gd name="T26" fmla="*/ 56 w 91"/>
              <a:gd name="T27" fmla="*/ 21 h 153"/>
              <a:gd name="T28" fmla="*/ 0 w 91"/>
              <a:gd name="T29" fmla="*/ 13 h 153"/>
              <a:gd name="T30" fmla="*/ 78 w 91"/>
              <a:gd name="T31" fmla="*/ 153 h 153"/>
              <a:gd name="T32" fmla="*/ 78 w 91"/>
              <a:gd name="T33" fmla="*/ 0 h 153"/>
              <a:gd name="T34" fmla="*/ 17 w 91"/>
              <a:gd name="T35" fmla="*/ 140 h 153"/>
              <a:gd name="T36" fmla="*/ 17 w 91"/>
              <a:gd name="T37" fmla="*/ 124 h 153"/>
              <a:gd name="T38" fmla="*/ 29 w 91"/>
              <a:gd name="T39" fmla="*/ 136 h 153"/>
              <a:gd name="T40" fmla="*/ 17 w 91"/>
              <a:gd name="T41" fmla="*/ 116 h 153"/>
              <a:gd name="T42" fmla="*/ 17 w 91"/>
              <a:gd name="T43" fmla="*/ 99 h 153"/>
              <a:gd name="T44" fmla="*/ 29 w 91"/>
              <a:gd name="T45" fmla="*/ 111 h 153"/>
              <a:gd name="T46" fmla="*/ 17 w 91"/>
              <a:gd name="T47" fmla="*/ 91 h 153"/>
              <a:gd name="T48" fmla="*/ 17 w 91"/>
              <a:gd name="T49" fmla="*/ 74 h 153"/>
              <a:gd name="T50" fmla="*/ 29 w 91"/>
              <a:gd name="T51" fmla="*/ 87 h 153"/>
              <a:gd name="T52" fmla="*/ 41 w 91"/>
              <a:gd name="T53" fmla="*/ 140 h 153"/>
              <a:gd name="T54" fmla="*/ 41 w 91"/>
              <a:gd name="T55" fmla="*/ 124 h 153"/>
              <a:gd name="T56" fmla="*/ 54 w 91"/>
              <a:gd name="T57" fmla="*/ 136 h 153"/>
              <a:gd name="T58" fmla="*/ 41 w 91"/>
              <a:gd name="T59" fmla="*/ 116 h 153"/>
              <a:gd name="T60" fmla="*/ 41 w 91"/>
              <a:gd name="T61" fmla="*/ 99 h 153"/>
              <a:gd name="T62" fmla="*/ 54 w 91"/>
              <a:gd name="T63" fmla="*/ 111 h 153"/>
              <a:gd name="T64" fmla="*/ 41 w 91"/>
              <a:gd name="T65" fmla="*/ 91 h 153"/>
              <a:gd name="T66" fmla="*/ 41 w 91"/>
              <a:gd name="T67" fmla="*/ 74 h 153"/>
              <a:gd name="T68" fmla="*/ 54 w 91"/>
              <a:gd name="T69" fmla="*/ 87 h 153"/>
              <a:gd name="T70" fmla="*/ 66 w 91"/>
              <a:gd name="T71" fmla="*/ 140 h 153"/>
              <a:gd name="T72" fmla="*/ 66 w 91"/>
              <a:gd name="T73" fmla="*/ 124 h 153"/>
              <a:gd name="T74" fmla="*/ 78 w 91"/>
              <a:gd name="T75" fmla="*/ 136 h 153"/>
              <a:gd name="T76" fmla="*/ 66 w 91"/>
              <a:gd name="T77" fmla="*/ 116 h 153"/>
              <a:gd name="T78" fmla="*/ 66 w 91"/>
              <a:gd name="T79" fmla="*/ 99 h 153"/>
              <a:gd name="T80" fmla="*/ 78 w 91"/>
              <a:gd name="T81" fmla="*/ 111 h 153"/>
              <a:gd name="T82" fmla="*/ 66 w 91"/>
              <a:gd name="T83" fmla="*/ 91 h 153"/>
              <a:gd name="T84" fmla="*/ 66 w 91"/>
              <a:gd name="T85" fmla="*/ 74 h 153"/>
              <a:gd name="T86" fmla="*/ 78 w 91"/>
              <a:gd name="T87" fmla="*/ 87 h 153"/>
              <a:gd name="T88" fmla="*/ 17 w 91"/>
              <a:gd name="T89" fmla="*/ 66 h 153"/>
              <a:gd name="T90" fmla="*/ 17 w 91"/>
              <a:gd name="T91" fmla="*/ 13 h 153"/>
              <a:gd name="T92" fmla="*/ 78 w 91"/>
              <a:gd name="T93" fmla="*/ 6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1" h="153">
                <a:moveTo>
                  <a:pt x="72" y="41"/>
                </a:moveTo>
                <a:cubicBezTo>
                  <a:pt x="71" y="41"/>
                  <a:pt x="70" y="42"/>
                  <a:pt x="70" y="44"/>
                </a:cubicBezTo>
                <a:cubicBezTo>
                  <a:pt x="70" y="56"/>
                  <a:pt x="70" y="56"/>
                  <a:pt x="70" y="56"/>
                </a:cubicBezTo>
                <a:cubicBezTo>
                  <a:pt x="70" y="57"/>
                  <a:pt x="71" y="58"/>
                  <a:pt x="72" y="58"/>
                </a:cubicBezTo>
                <a:cubicBezTo>
                  <a:pt x="73" y="58"/>
                  <a:pt x="74" y="57"/>
                  <a:pt x="74" y="56"/>
                </a:cubicBezTo>
                <a:cubicBezTo>
                  <a:pt x="74" y="44"/>
                  <a:pt x="74" y="44"/>
                  <a:pt x="74" y="44"/>
                </a:cubicBezTo>
                <a:cubicBezTo>
                  <a:pt x="74" y="42"/>
                  <a:pt x="73" y="41"/>
                  <a:pt x="72" y="41"/>
                </a:cubicBezTo>
                <a:close/>
                <a:moveTo>
                  <a:pt x="68" y="58"/>
                </a:moveTo>
                <a:cubicBezTo>
                  <a:pt x="56" y="58"/>
                  <a:pt x="56" y="58"/>
                  <a:pt x="56" y="58"/>
                </a:cubicBezTo>
                <a:cubicBezTo>
                  <a:pt x="55" y="58"/>
                  <a:pt x="54" y="59"/>
                  <a:pt x="54" y="60"/>
                </a:cubicBezTo>
                <a:cubicBezTo>
                  <a:pt x="54" y="61"/>
                  <a:pt x="55" y="62"/>
                  <a:pt x="56" y="62"/>
                </a:cubicBezTo>
                <a:cubicBezTo>
                  <a:pt x="68" y="62"/>
                  <a:pt x="68" y="62"/>
                  <a:pt x="68" y="62"/>
                </a:cubicBezTo>
                <a:cubicBezTo>
                  <a:pt x="69" y="62"/>
                  <a:pt x="70" y="61"/>
                  <a:pt x="70" y="60"/>
                </a:cubicBezTo>
                <a:cubicBezTo>
                  <a:pt x="70" y="59"/>
                  <a:pt x="69" y="58"/>
                  <a:pt x="68" y="58"/>
                </a:cubicBezTo>
                <a:close/>
                <a:moveTo>
                  <a:pt x="54" y="44"/>
                </a:moveTo>
                <a:cubicBezTo>
                  <a:pt x="54" y="42"/>
                  <a:pt x="53" y="41"/>
                  <a:pt x="52" y="41"/>
                </a:cubicBezTo>
                <a:cubicBezTo>
                  <a:pt x="51" y="41"/>
                  <a:pt x="50" y="42"/>
                  <a:pt x="50" y="44"/>
                </a:cubicBezTo>
                <a:cubicBezTo>
                  <a:pt x="50" y="56"/>
                  <a:pt x="50" y="56"/>
                  <a:pt x="50" y="56"/>
                </a:cubicBezTo>
                <a:cubicBezTo>
                  <a:pt x="50" y="57"/>
                  <a:pt x="51" y="58"/>
                  <a:pt x="52" y="58"/>
                </a:cubicBezTo>
                <a:cubicBezTo>
                  <a:pt x="53" y="58"/>
                  <a:pt x="54" y="57"/>
                  <a:pt x="54" y="56"/>
                </a:cubicBezTo>
                <a:lnTo>
                  <a:pt x="54" y="44"/>
                </a:lnTo>
                <a:close/>
                <a:moveTo>
                  <a:pt x="72" y="21"/>
                </a:moveTo>
                <a:cubicBezTo>
                  <a:pt x="71" y="21"/>
                  <a:pt x="70" y="22"/>
                  <a:pt x="70" y="23"/>
                </a:cubicBezTo>
                <a:cubicBezTo>
                  <a:pt x="70" y="35"/>
                  <a:pt x="70" y="35"/>
                  <a:pt x="70" y="35"/>
                </a:cubicBezTo>
                <a:cubicBezTo>
                  <a:pt x="70" y="36"/>
                  <a:pt x="71" y="37"/>
                  <a:pt x="72" y="37"/>
                </a:cubicBezTo>
                <a:cubicBezTo>
                  <a:pt x="73" y="37"/>
                  <a:pt x="74" y="36"/>
                  <a:pt x="74" y="35"/>
                </a:cubicBezTo>
                <a:cubicBezTo>
                  <a:pt x="74" y="23"/>
                  <a:pt x="74" y="23"/>
                  <a:pt x="74" y="23"/>
                </a:cubicBezTo>
                <a:cubicBezTo>
                  <a:pt x="74" y="22"/>
                  <a:pt x="73" y="21"/>
                  <a:pt x="72" y="21"/>
                </a:cubicBezTo>
                <a:close/>
                <a:moveTo>
                  <a:pt x="52" y="37"/>
                </a:moveTo>
                <a:cubicBezTo>
                  <a:pt x="53" y="37"/>
                  <a:pt x="54" y="36"/>
                  <a:pt x="54" y="35"/>
                </a:cubicBezTo>
                <a:cubicBezTo>
                  <a:pt x="54" y="23"/>
                  <a:pt x="54" y="23"/>
                  <a:pt x="54" y="23"/>
                </a:cubicBezTo>
                <a:cubicBezTo>
                  <a:pt x="54" y="22"/>
                  <a:pt x="53" y="21"/>
                  <a:pt x="52" y="21"/>
                </a:cubicBezTo>
                <a:cubicBezTo>
                  <a:pt x="51" y="21"/>
                  <a:pt x="50" y="22"/>
                  <a:pt x="50" y="23"/>
                </a:cubicBezTo>
                <a:cubicBezTo>
                  <a:pt x="50" y="35"/>
                  <a:pt x="50" y="35"/>
                  <a:pt x="50" y="35"/>
                </a:cubicBezTo>
                <a:cubicBezTo>
                  <a:pt x="50" y="36"/>
                  <a:pt x="51" y="37"/>
                  <a:pt x="52" y="37"/>
                </a:cubicBezTo>
                <a:close/>
                <a:moveTo>
                  <a:pt x="56" y="21"/>
                </a:moveTo>
                <a:cubicBezTo>
                  <a:pt x="68" y="21"/>
                  <a:pt x="68" y="21"/>
                  <a:pt x="68" y="21"/>
                </a:cubicBezTo>
                <a:cubicBezTo>
                  <a:pt x="69" y="21"/>
                  <a:pt x="70" y="20"/>
                  <a:pt x="70" y="19"/>
                </a:cubicBezTo>
                <a:cubicBezTo>
                  <a:pt x="70" y="18"/>
                  <a:pt x="69" y="17"/>
                  <a:pt x="68" y="17"/>
                </a:cubicBezTo>
                <a:cubicBezTo>
                  <a:pt x="56" y="17"/>
                  <a:pt x="56" y="17"/>
                  <a:pt x="56" y="17"/>
                </a:cubicBezTo>
                <a:cubicBezTo>
                  <a:pt x="55" y="17"/>
                  <a:pt x="54" y="18"/>
                  <a:pt x="54" y="19"/>
                </a:cubicBezTo>
                <a:cubicBezTo>
                  <a:pt x="54" y="20"/>
                  <a:pt x="55" y="21"/>
                  <a:pt x="56" y="21"/>
                </a:cubicBezTo>
                <a:close/>
                <a:moveTo>
                  <a:pt x="78" y="0"/>
                </a:moveTo>
                <a:cubicBezTo>
                  <a:pt x="13" y="0"/>
                  <a:pt x="13" y="0"/>
                  <a:pt x="13" y="0"/>
                </a:cubicBezTo>
                <a:cubicBezTo>
                  <a:pt x="6" y="0"/>
                  <a:pt x="0" y="6"/>
                  <a:pt x="0" y="13"/>
                </a:cubicBezTo>
                <a:cubicBezTo>
                  <a:pt x="0" y="140"/>
                  <a:pt x="0" y="140"/>
                  <a:pt x="0" y="140"/>
                </a:cubicBezTo>
                <a:cubicBezTo>
                  <a:pt x="0" y="147"/>
                  <a:pt x="6" y="153"/>
                  <a:pt x="13" y="153"/>
                </a:cubicBezTo>
                <a:cubicBezTo>
                  <a:pt x="78" y="153"/>
                  <a:pt x="78" y="153"/>
                  <a:pt x="78" y="153"/>
                </a:cubicBezTo>
                <a:cubicBezTo>
                  <a:pt x="85" y="153"/>
                  <a:pt x="91" y="147"/>
                  <a:pt x="91" y="140"/>
                </a:cubicBezTo>
                <a:cubicBezTo>
                  <a:pt x="91" y="13"/>
                  <a:pt x="91" y="13"/>
                  <a:pt x="91" y="13"/>
                </a:cubicBezTo>
                <a:cubicBezTo>
                  <a:pt x="91" y="6"/>
                  <a:pt x="85" y="0"/>
                  <a:pt x="78" y="0"/>
                </a:cubicBezTo>
                <a:close/>
                <a:moveTo>
                  <a:pt x="29" y="136"/>
                </a:moveTo>
                <a:cubicBezTo>
                  <a:pt x="29" y="138"/>
                  <a:pt x="27" y="140"/>
                  <a:pt x="25" y="140"/>
                </a:cubicBezTo>
                <a:cubicBezTo>
                  <a:pt x="17" y="140"/>
                  <a:pt x="17" y="140"/>
                  <a:pt x="17" y="140"/>
                </a:cubicBezTo>
                <a:cubicBezTo>
                  <a:pt x="14" y="140"/>
                  <a:pt x="13" y="138"/>
                  <a:pt x="13" y="136"/>
                </a:cubicBezTo>
                <a:cubicBezTo>
                  <a:pt x="13" y="128"/>
                  <a:pt x="13" y="128"/>
                  <a:pt x="13" y="128"/>
                </a:cubicBezTo>
                <a:cubicBezTo>
                  <a:pt x="13" y="126"/>
                  <a:pt x="14" y="124"/>
                  <a:pt x="17" y="124"/>
                </a:cubicBezTo>
                <a:cubicBezTo>
                  <a:pt x="25" y="124"/>
                  <a:pt x="25" y="124"/>
                  <a:pt x="25" y="124"/>
                </a:cubicBezTo>
                <a:cubicBezTo>
                  <a:pt x="27" y="124"/>
                  <a:pt x="29" y="126"/>
                  <a:pt x="29" y="128"/>
                </a:cubicBezTo>
                <a:lnTo>
                  <a:pt x="29" y="136"/>
                </a:lnTo>
                <a:close/>
                <a:moveTo>
                  <a:pt x="29" y="111"/>
                </a:moveTo>
                <a:cubicBezTo>
                  <a:pt x="29" y="114"/>
                  <a:pt x="27" y="116"/>
                  <a:pt x="25" y="116"/>
                </a:cubicBezTo>
                <a:cubicBezTo>
                  <a:pt x="17" y="116"/>
                  <a:pt x="17" y="116"/>
                  <a:pt x="17" y="116"/>
                </a:cubicBezTo>
                <a:cubicBezTo>
                  <a:pt x="14" y="116"/>
                  <a:pt x="13" y="114"/>
                  <a:pt x="13" y="111"/>
                </a:cubicBezTo>
                <a:cubicBezTo>
                  <a:pt x="13" y="103"/>
                  <a:pt x="13" y="103"/>
                  <a:pt x="13" y="103"/>
                </a:cubicBezTo>
                <a:cubicBezTo>
                  <a:pt x="13" y="101"/>
                  <a:pt x="14" y="99"/>
                  <a:pt x="17" y="99"/>
                </a:cubicBezTo>
                <a:cubicBezTo>
                  <a:pt x="25" y="99"/>
                  <a:pt x="25" y="99"/>
                  <a:pt x="25" y="99"/>
                </a:cubicBezTo>
                <a:cubicBezTo>
                  <a:pt x="27" y="99"/>
                  <a:pt x="29" y="101"/>
                  <a:pt x="29" y="103"/>
                </a:cubicBezTo>
                <a:lnTo>
                  <a:pt x="29" y="111"/>
                </a:lnTo>
                <a:close/>
                <a:moveTo>
                  <a:pt x="29" y="87"/>
                </a:moveTo>
                <a:cubicBezTo>
                  <a:pt x="29" y="89"/>
                  <a:pt x="27" y="91"/>
                  <a:pt x="25" y="91"/>
                </a:cubicBezTo>
                <a:cubicBezTo>
                  <a:pt x="17" y="91"/>
                  <a:pt x="17" y="91"/>
                  <a:pt x="17" y="91"/>
                </a:cubicBezTo>
                <a:cubicBezTo>
                  <a:pt x="14" y="91"/>
                  <a:pt x="13" y="89"/>
                  <a:pt x="13" y="87"/>
                </a:cubicBezTo>
                <a:cubicBezTo>
                  <a:pt x="13" y="79"/>
                  <a:pt x="13" y="79"/>
                  <a:pt x="13" y="79"/>
                </a:cubicBezTo>
                <a:cubicBezTo>
                  <a:pt x="13" y="76"/>
                  <a:pt x="14" y="74"/>
                  <a:pt x="17" y="74"/>
                </a:cubicBezTo>
                <a:cubicBezTo>
                  <a:pt x="25" y="74"/>
                  <a:pt x="25" y="74"/>
                  <a:pt x="25" y="74"/>
                </a:cubicBezTo>
                <a:cubicBezTo>
                  <a:pt x="27" y="74"/>
                  <a:pt x="29" y="76"/>
                  <a:pt x="29" y="79"/>
                </a:cubicBezTo>
                <a:lnTo>
                  <a:pt x="29" y="87"/>
                </a:lnTo>
                <a:close/>
                <a:moveTo>
                  <a:pt x="54" y="136"/>
                </a:moveTo>
                <a:cubicBezTo>
                  <a:pt x="54" y="138"/>
                  <a:pt x="52" y="140"/>
                  <a:pt x="50" y="140"/>
                </a:cubicBezTo>
                <a:cubicBezTo>
                  <a:pt x="41" y="140"/>
                  <a:pt x="41" y="140"/>
                  <a:pt x="41" y="140"/>
                </a:cubicBezTo>
                <a:cubicBezTo>
                  <a:pt x="39" y="140"/>
                  <a:pt x="37" y="138"/>
                  <a:pt x="37" y="136"/>
                </a:cubicBezTo>
                <a:cubicBezTo>
                  <a:pt x="37" y="128"/>
                  <a:pt x="37" y="128"/>
                  <a:pt x="37" y="128"/>
                </a:cubicBezTo>
                <a:cubicBezTo>
                  <a:pt x="37" y="126"/>
                  <a:pt x="39" y="124"/>
                  <a:pt x="41" y="124"/>
                </a:cubicBezTo>
                <a:cubicBezTo>
                  <a:pt x="50" y="124"/>
                  <a:pt x="50" y="124"/>
                  <a:pt x="50" y="124"/>
                </a:cubicBezTo>
                <a:cubicBezTo>
                  <a:pt x="52" y="124"/>
                  <a:pt x="54" y="126"/>
                  <a:pt x="54" y="128"/>
                </a:cubicBezTo>
                <a:lnTo>
                  <a:pt x="54" y="136"/>
                </a:lnTo>
                <a:close/>
                <a:moveTo>
                  <a:pt x="54" y="111"/>
                </a:moveTo>
                <a:cubicBezTo>
                  <a:pt x="54" y="114"/>
                  <a:pt x="52" y="116"/>
                  <a:pt x="50" y="116"/>
                </a:cubicBezTo>
                <a:cubicBezTo>
                  <a:pt x="41" y="116"/>
                  <a:pt x="41" y="116"/>
                  <a:pt x="41" y="116"/>
                </a:cubicBezTo>
                <a:cubicBezTo>
                  <a:pt x="39" y="116"/>
                  <a:pt x="37" y="114"/>
                  <a:pt x="37" y="111"/>
                </a:cubicBezTo>
                <a:cubicBezTo>
                  <a:pt x="37" y="103"/>
                  <a:pt x="37" y="103"/>
                  <a:pt x="37" y="103"/>
                </a:cubicBezTo>
                <a:cubicBezTo>
                  <a:pt x="37" y="101"/>
                  <a:pt x="39" y="99"/>
                  <a:pt x="41" y="99"/>
                </a:cubicBezTo>
                <a:cubicBezTo>
                  <a:pt x="50" y="99"/>
                  <a:pt x="50" y="99"/>
                  <a:pt x="50" y="99"/>
                </a:cubicBezTo>
                <a:cubicBezTo>
                  <a:pt x="52" y="99"/>
                  <a:pt x="54" y="101"/>
                  <a:pt x="54" y="103"/>
                </a:cubicBezTo>
                <a:lnTo>
                  <a:pt x="54" y="111"/>
                </a:lnTo>
                <a:close/>
                <a:moveTo>
                  <a:pt x="54" y="87"/>
                </a:moveTo>
                <a:cubicBezTo>
                  <a:pt x="54" y="89"/>
                  <a:pt x="52" y="91"/>
                  <a:pt x="50" y="91"/>
                </a:cubicBezTo>
                <a:cubicBezTo>
                  <a:pt x="41" y="91"/>
                  <a:pt x="41" y="91"/>
                  <a:pt x="41" y="91"/>
                </a:cubicBezTo>
                <a:cubicBezTo>
                  <a:pt x="39" y="91"/>
                  <a:pt x="37" y="89"/>
                  <a:pt x="37" y="87"/>
                </a:cubicBezTo>
                <a:cubicBezTo>
                  <a:pt x="37" y="79"/>
                  <a:pt x="37" y="79"/>
                  <a:pt x="37" y="79"/>
                </a:cubicBezTo>
                <a:cubicBezTo>
                  <a:pt x="37" y="76"/>
                  <a:pt x="39" y="74"/>
                  <a:pt x="41" y="74"/>
                </a:cubicBezTo>
                <a:cubicBezTo>
                  <a:pt x="50" y="74"/>
                  <a:pt x="50" y="74"/>
                  <a:pt x="50" y="74"/>
                </a:cubicBezTo>
                <a:cubicBezTo>
                  <a:pt x="52" y="74"/>
                  <a:pt x="54" y="76"/>
                  <a:pt x="54" y="79"/>
                </a:cubicBezTo>
                <a:lnTo>
                  <a:pt x="54" y="87"/>
                </a:lnTo>
                <a:close/>
                <a:moveTo>
                  <a:pt x="78" y="136"/>
                </a:moveTo>
                <a:cubicBezTo>
                  <a:pt x="78" y="138"/>
                  <a:pt x="77" y="140"/>
                  <a:pt x="74" y="140"/>
                </a:cubicBezTo>
                <a:cubicBezTo>
                  <a:pt x="66" y="140"/>
                  <a:pt x="66" y="140"/>
                  <a:pt x="66" y="140"/>
                </a:cubicBezTo>
                <a:cubicBezTo>
                  <a:pt x="64" y="140"/>
                  <a:pt x="62" y="138"/>
                  <a:pt x="62" y="136"/>
                </a:cubicBezTo>
                <a:cubicBezTo>
                  <a:pt x="62" y="128"/>
                  <a:pt x="62" y="128"/>
                  <a:pt x="62" y="128"/>
                </a:cubicBezTo>
                <a:cubicBezTo>
                  <a:pt x="62" y="126"/>
                  <a:pt x="64" y="124"/>
                  <a:pt x="66" y="124"/>
                </a:cubicBezTo>
                <a:cubicBezTo>
                  <a:pt x="74" y="124"/>
                  <a:pt x="74" y="124"/>
                  <a:pt x="74" y="124"/>
                </a:cubicBezTo>
                <a:cubicBezTo>
                  <a:pt x="77" y="124"/>
                  <a:pt x="78" y="126"/>
                  <a:pt x="78" y="128"/>
                </a:cubicBezTo>
                <a:lnTo>
                  <a:pt x="78" y="136"/>
                </a:lnTo>
                <a:close/>
                <a:moveTo>
                  <a:pt x="78" y="111"/>
                </a:moveTo>
                <a:cubicBezTo>
                  <a:pt x="78" y="114"/>
                  <a:pt x="77" y="116"/>
                  <a:pt x="74" y="116"/>
                </a:cubicBezTo>
                <a:cubicBezTo>
                  <a:pt x="66" y="116"/>
                  <a:pt x="66" y="116"/>
                  <a:pt x="66" y="116"/>
                </a:cubicBezTo>
                <a:cubicBezTo>
                  <a:pt x="64" y="116"/>
                  <a:pt x="62" y="114"/>
                  <a:pt x="62" y="111"/>
                </a:cubicBezTo>
                <a:cubicBezTo>
                  <a:pt x="62" y="103"/>
                  <a:pt x="62" y="103"/>
                  <a:pt x="62" y="103"/>
                </a:cubicBezTo>
                <a:cubicBezTo>
                  <a:pt x="62" y="101"/>
                  <a:pt x="64" y="99"/>
                  <a:pt x="66" y="99"/>
                </a:cubicBezTo>
                <a:cubicBezTo>
                  <a:pt x="74" y="99"/>
                  <a:pt x="74" y="99"/>
                  <a:pt x="74" y="99"/>
                </a:cubicBezTo>
                <a:cubicBezTo>
                  <a:pt x="77" y="99"/>
                  <a:pt x="78" y="101"/>
                  <a:pt x="78" y="103"/>
                </a:cubicBezTo>
                <a:lnTo>
                  <a:pt x="78" y="111"/>
                </a:lnTo>
                <a:close/>
                <a:moveTo>
                  <a:pt x="78" y="87"/>
                </a:moveTo>
                <a:cubicBezTo>
                  <a:pt x="78" y="89"/>
                  <a:pt x="77" y="91"/>
                  <a:pt x="74" y="91"/>
                </a:cubicBezTo>
                <a:cubicBezTo>
                  <a:pt x="66" y="91"/>
                  <a:pt x="66" y="91"/>
                  <a:pt x="66" y="91"/>
                </a:cubicBezTo>
                <a:cubicBezTo>
                  <a:pt x="64" y="91"/>
                  <a:pt x="62" y="89"/>
                  <a:pt x="62" y="87"/>
                </a:cubicBezTo>
                <a:cubicBezTo>
                  <a:pt x="62" y="79"/>
                  <a:pt x="62" y="79"/>
                  <a:pt x="62" y="79"/>
                </a:cubicBezTo>
                <a:cubicBezTo>
                  <a:pt x="62" y="76"/>
                  <a:pt x="64" y="74"/>
                  <a:pt x="66" y="74"/>
                </a:cubicBezTo>
                <a:cubicBezTo>
                  <a:pt x="74" y="74"/>
                  <a:pt x="74" y="74"/>
                  <a:pt x="74" y="74"/>
                </a:cubicBezTo>
                <a:cubicBezTo>
                  <a:pt x="77" y="74"/>
                  <a:pt x="78" y="76"/>
                  <a:pt x="78" y="79"/>
                </a:cubicBezTo>
                <a:lnTo>
                  <a:pt x="78" y="87"/>
                </a:lnTo>
                <a:close/>
                <a:moveTo>
                  <a:pt x="78" y="62"/>
                </a:moveTo>
                <a:cubicBezTo>
                  <a:pt x="78" y="64"/>
                  <a:pt x="77" y="66"/>
                  <a:pt x="74" y="66"/>
                </a:cubicBezTo>
                <a:cubicBezTo>
                  <a:pt x="17" y="66"/>
                  <a:pt x="17" y="66"/>
                  <a:pt x="17" y="66"/>
                </a:cubicBezTo>
                <a:cubicBezTo>
                  <a:pt x="14" y="66"/>
                  <a:pt x="13" y="64"/>
                  <a:pt x="13" y="62"/>
                </a:cubicBezTo>
                <a:cubicBezTo>
                  <a:pt x="13" y="17"/>
                  <a:pt x="13" y="17"/>
                  <a:pt x="13" y="17"/>
                </a:cubicBezTo>
                <a:cubicBezTo>
                  <a:pt x="13" y="15"/>
                  <a:pt x="14" y="13"/>
                  <a:pt x="17" y="13"/>
                </a:cubicBezTo>
                <a:cubicBezTo>
                  <a:pt x="74" y="13"/>
                  <a:pt x="74" y="13"/>
                  <a:pt x="74" y="13"/>
                </a:cubicBezTo>
                <a:cubicBezTo>
                  <a:pt x="77" y="13"/>
                  <a:pt x="78" y="15"/>
                  <a:pt x="78" y="17"/>
                </a:cubicBezTo>
                <a:lnTo>
                  <a:pt x="78" y="6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5" name="Freeform 36">
            <a:extLst>
              <a:ext uri="{FF2B5EF4-FFF2-40B4-BE49-F238E27FC236}">
                <a16:creationId xmlns:a16="http://schemas.microsoft.com/office/drawing/2014/main" id="{37C87321-3E3B-4CCD-AB74-D2E72B11BAB0}"/>
              </a:ext>
            </a:extLst>
          </p:cNvPr>
          <p:cNvSpPr>
            <a:spLocks noEditPoints="1"/>
          </p:cNvSpPr>
          <p:nvPr/>
        </p:nvSpPr>
        <p:spPr bwMode="auto">
          <a:xfrm>
            <a:off x="1993499" y="4533657"/>
            <a:ext cx="395070" cy="503520"/>
          </a:xfrm>
          <a:custGeom>
            <a:avLst/>
            <a:gdLst>
              <a:gd name="T0" fmla="*/ 103 w 115"/>
              <a:gd name="T1" fmla="*/ 0 h 148"/>
              <a:gd name="T2" fmla="*/ 12 w 115"/>
              <a:gd name="T3" fmla="*/ 0 h 148"/>
              <a:gd name="T4" fmla="*/ 0 w 115"/>
              <a:gd name="T5" fmla="*/ 13 h 148"/>
              <a:gd name="T6" fmla="*/ 0 w 115"/>
              <a:gd name="T7" fmla="*/ 136 h 148"/>
              <a:gd name="T8" fmla="*/ 12 w 115"/>
              <a:gd name="T9" fmla="*/ 148 h 148"/>
              <a:gd name="T10" fmla="*/ 103 w 115"/>
              <a:gd name="T11" fmla="*/ 148 h 148"/>
              <a:gd name="T12" fmla="*/ 115 w 115"/>
              <a:gd name="T13" fmla="*/ 136 h 148"/>
              <a:gd name="T14" fmla="*/ 115 w 115"/>
              <a:gd name="T15" fmla="*/ 13 h 148"/>
              <a:gd name="T16" fmla="*/ 103 w 115"/>
              <a:gd name="T17" fmla="*/ 0 h 148"/>
              <a:gd name="T18" fmla="*/ 58 w 115"/>
              <a:gd name="T19" fmla="*/ 144 h 148"/>
              <a:gd name="T20" fmla="*/ 49 w 115"/>
              <a:gd name="T21" fmla="*/ 136 h 148"/>
              <a:gd name="T22" fmla="*/ 58 w 115"/>
              <a:gd name="T23" fmla="*/ 128 h 148"/>
              <a:gd name="T24" fmla="*/ 66 w 115"/>
              <a:gd name="T25" fmla="*/ 136 h 148"/>
              <a:gd name="T26" fmla="*/ 58 w 115"/>
              <a:gd name="T27" fmla="*/ 144 h 148"/>
              <a:gd name="T28" fmla="*/ 107 w 115"/>
              <a:gd name="T29" fmla="*/ 120 h 148"/>
              <a:gd name="T30" fmla="*/ 103 w 115"/>
              <a:gd name="T31" fmla="*/ 124 h 148"/>
              <a:gd name="T32" fmla="*/ 12 w 115"/>
              <a:gd name="T33" fmla="*/ 124 h 148"/>
              <a:gd name="T34" fmla="*/ 8 w 115"/>
              <a:gd name="T35" fmla="*/ 120 h 148"/>
              <a:gd name="T36" fmla="*/ 8 w 115"/>
              <a:gd name="T37" fmla="*/ 17 h 148"/>
              <a:gd name="T38" fmla="*/ 12 w 115"/>
              <a:gd name="T39" fmla="*/ 13 h 148"/>
              <a:gd name="T40" fmla="*/ 103 w 115"/>
              <a:gd name="T41" fmla="*/ 13 h 148"/>
              <a:gd name="T42" fmla="*/ 107 w 115"/>
              <a:gd name="T43" fmla="*/ 17 h 148"/>
              <a:gd name="T44" fmla="*/ 107 w 115"/>
              <a:gd name="T45" fmla="*/ 1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148">
                <a:moveTo>
                  <a:pt x="103" y="0"/>
                </a:moveTo>
                <a:cubicBezTo>
                  <a:pt x="12" y="0"/>
                  <a:pt x="12" y="0"/>
                  <a:pt x="12" y="0"/>
                </a:cubicBezTo>
                <a:cubicBezTo>
                  <a:pt x="6" y="0"/>
                  <a:pt x="0" y="6"/>
                  <a:pt x="0" y="13"/>
                </a:cubicBezTo>
                <a:cubicBezTo>
                  <a:pt x="0" y="136"/>
                  <a:pt x="0" y="136"/>
                  <a:pt x="0" y="136"/>
                </a:cubicBezTo>
                <a:cubicBezTo>
                  <a:pt x="0" y="143"/>
                  <a:pt x="6" y="148"/>
                  <a:pt x="12" y="148"/>
                </a:cubicBezTo>
                <a:cubicBezTo>
                  <a:pt x="103" y="148"/>
                  <a:pt x="103" y="148"/>
                  <a:pt x="103" y="148"/>
                </a:cubicBezTo>
                <a:cubicBezTo>
                  <a:pt x="110" y="148"/>
                  <a:pt x="115" y="143"/>
                  <a:pt x="115" y="136"/>
                </a:cubicBezTo>
                <a:cubicBezTo>
                  <a:pt x="115" y="13"/>
                  <a:pt x="115" y="13"/>
                  <a:pt x="115" y="13"/>
                </a:cubicBezTo>
                <a:cubicBezTo>
                  <a:pt x="115" y="6"/>
                  <a:pt x="110" y="0"/>
                  <a:pt x="103" y="0"/>
                </a:cubicBezTo>
                <a:close/>
                <a:moveTo>
                  <a:pt x="58" y="144"/>
                </a:moveTo>
                <a:cubicBezTo>
                  <a:pt x="53" y="144"/>
                  <a:pt x="49" y="141"/>
                  <a:pt x="49" y="136"/>
                </a:cubicBezTo>
                <a:cubicBezTo>
                  <a:pt x="49" y="132"/>
                  <a:pt x="53" y="128"/>
                  <a:pt x="58" y="128"/>
                </a:cubicBezTo>
                <a:cubicBezTo>
                  <a:pt x="62" y="128"/>
                  <a:pt x="66" y="132"/>
                  <a:pt x="66" y="136"/>
                </a:cubicBezTo>
                <a:cubicBezTo>
                  <a:pt x="66" y="141"/>
                  <a:pt x="62" y="144"/>
                  <a:pt x="58" y="144"/>
                </a:cubicBezTo>
                <a:close/>
                <a:moveTo>
                  <a:pt x="107" y="120"/>
                </a:moveTo>
                <a:cubicBezTo>
                  <a:pt x="107" y="122"/>
                  <a:pt x="105" y="124"/>
                  <a:pt x="103" y="124"/>
                </a:cubicBezTo>
                <a:cubicBezTo>
                  <a:pt x="12" y="124"/>
                  <a:pt x="12" y="124"/>
                  <a:pt x="12" y="124"/>
                </a:cubicBezTo>
                <a:cubicBezTo>
                  <a:pt x="10" y="124"/>
                  <a:pt x="8" y="122"/>
                  <a:pt x="8" y="120"/>
                </a:cubicBezTo>
                <a:cubicBezTo>
                  <a:pt x="8" y="17"/>
                  <a:pt x="8" y="17"/>
                  <a:pt x="8" y="17"/>
                </a:cubicBezTo>
                <a:cubicBezTo>
                  <a:pt x="8" y="15"/>
                  <a:pt x="10" y="13"/>
                  <a:pt x="12" y="13"/>
                </a:cubicBezTo>
                <a:cubicBezTo>
                  <a:pt x="103" y="13"/>
                  <a:pt x="103" y="13"/>
                  <a:pt x="103" y="13"/>
                </a:cubicBezTo>
                <a:cubicBezTo>
                  <a:pt x="105" y="13"/>
                  <a:pt x="107" y="15"/>
                  <a:pt x="107" y="17"/>
                </a:cubicBezTo>
                <a:lnTo>
                  <a:pt x="107" y="12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6" name="Freeform 37">
            <a:extLst>
              <a:ext uri="{FF2B5EF4-FFF2-40B4-BE49-F238E27FC236}">
                <a16:creationId xmlns:a16="http://schemas.microsoft.com/office/drawing/2014/main" id="{ED1208E9-7DCE-4FC8-81C4-75A51067BCD9}"/>
              </a:ext>
            </a:extLst>
          </p:cNvPr>
          <p:cNvSpPr>
            <a:spLocks/>
          </p:cNvSpPr>
          <p:nvPr/>
        </p:nvSpPr>
        <p:spPr bwMode="auto">
          <a:xfrm>
            <a:off x="3065090" y="4518164"/>
            <a:ext cx="503520" cy="549999"/>
          </a:xfrm>
          <a:custGeom>
            <a:avLst/>
            <a:gdLst>
              <a:gd name="T0" fmla="*/ 148 w 148"/>
              <a:gd name="T1" fmla="*/ 79 h 161"/>
              <a:gd name="T2" fmla="*/ 144 w 148"/>
              <a:gd name="T3" fmla="*/ 75 h 161"/>
              <a:gd name="T4" fmla="*/ 144 w 148"/>
              <a:gd name="T5" fmla="*/ 68 h 161"/>
              <a:gd name="T6" fmla="*/ 74 w 148"/>
              <a:gd name="T7" fmla="*/ 0 h 161"/>
              <a:gd name="T8" fmla="*/ 4 w 148"/>
              <a:gd name="T9" fmla="*/ 68 h 161"/>
              <a:gd name="T10" fmla="*/ 4 w 148"/>
              <a:gd name="T11" fmla="*/ 75 h 161"/>
              <a:gd name="T12" fmla="*/ 0 w 148"/>
              <a:gd name="T13" fmla="*/ 79 h 161"/>
              <a:gd name="T14" fmla="*/ 0 w 148"/>
              <a:gd name="T15" fmla="*/ 102 h 161"/>
              <a:gd name="T16" fmla="*/ 5 w 148"/>
              <a:gd name="T17" fmla="*/ 107 h 161"/>
              <a:gd name="T18" fmla="*/ 50 w 148"/>
              <a:gd name="T19" fmla="*/ 156 h 161"/>
              <a:gd name="T20" fmla="*/ 57 w 148"/>
              <a:gd name="T21" fmla="*/ 161 h 161"/>
              <a:gd name="T22" fmla="*/ 78 w 148"/>
              <a:gd name="T23" fmla="*/ 161 h 161"/>
              <a:gd name="T24" fmla="*/ 86 w 148"/>
              <a:gd name="T25" fmla="*/ 152 h 161"/>
              <a:gd name="T26" fmla="*/ 78 w 148"/>
              <a:gd name="T27" fmla="*/ 144 h 161"/>
              <a:gd name="T28" fmla="*/ 57 w 148"/>
              <a:gd name="T29" fmla="*/ 144 h 161"/>
              <a:gd name="T30" fmla="*/ 50 w 148"/>
              <a:gd name="T31" fmla="*/ 149 h 161"/>
              <a:gd name="T32" fmla="*/ 11 w 148"/>
              <a:gd name="T33" fmla="*/ 107 h 161"/>
              <a:gd name="T34" fmla="*/ 12 w 148"/>
              <a:gd name="T35" fmla="*/ 106 h 161"/>
              <a:gd name="T36" fmla="*/ 12 w 148"/>
              <a:gd name="T37" fmla="*/ 107 h 161"/>
              <a:gd name="T38" fmla="*/ 24 w 148"/>
              <a:gd name="T39" fmla="*/ 120 h 161"/>
              <a:gd name="T40" fmla="*/ 37 w 148"/>
              <a:gd name="T41" fmla="*/ 107 h 161"/>
              <a:gd name="T42" fmla="*/ 37 w 148"/>
              <a:gd name="T43" fmla="*/ 74 h 161"/>
              <a:gd name="T44" fmla="*/ 24 w 148"/>
              <a:gd name="T45" fmla="*/ 62 h 161"/>
              <a:gd name="T46" fmla="*/ 12 w 148"/>
              <a:gd name="T47" fmla="*/ 73 h 161"/>
              <a:gd name="T48" fmla="*/ 12 w 148"/>
              <a:gd name="T49" fmla="*/ 66 h 161"/>
              <a:gd name="T50" fmla="*/ 74 w 148"/>
              <a:gd name="T51" fmla="*/ 8 h 161"/>
              <a:gd name="T52" fmla="*/ 135 w 148"/>
              <a:gd name="T53" fmla="*/ 66 h 161"/>
              <a:gd name="T54" fmla="*/ 135 w 148"/>
              <a:gd name="T55" fmla="*/ 73 h 161"/>
              <a:gd name="T56" fmla="*/ 123 w 148"/>
              <a:gd name="T57" fmla="*/ 62 h 161"/>
              <a:gd name="T58" fmla="*/ 111 w 148"/>
              <a:gd name="T59" fmla="*/ 74 h 161"/>
              <a:gd name="T60" fmla="*/ 111 w 148"/>
              <a:gd name="T61" fmla="*/ 107 h 161"/>
              <a:gd name="T62" fmla="*/ 123 w 148"/>
              <a:gd name="T63" fmla="*/ 120 h 161"/>
              <a:gd name="T64" fmla="*/ 136 w 148"/>
              <a:gd name="T65" fmla="*/ 107 h 161"/>
              <a:gd name="T66" fmla="*/ 136 w 148"/>
              <a:gd name="T67" fmla="*/ 106 h 161"/>
              <a:gd name="T68" fmla="*/ 140 w 148"/>
              <a:gd name="T69" fmla="*/ 107 h 161"/>
              <a:gd name="T70" fmla="*/ 148 w 148"/>
              <a:gd name="T71" fmla="*/ 102 h 161"/>
              <a:gd name="T72" fmla="*/ 148 w 148"/>
              <a:gd name="T73" fmla="*/ 7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 h="161">
                <a:moveTo>
                  <a:pt x="148" y="79"/>
                </a:moveTo>
                <a:cubicBezTo>
                  <a:pt x="148" y="77"/>
                  <a:pt x="146" y="76"/>
                  <a:pt x="144" y="75"/>
                </a:cubicBezTo>
                <a:cubicBezTo>
                  <a:pt x="144" y="68"/>
                  <a:pt x="144" y="68"/>
                  <a:pt x="144" y="68"/>
                </a:cubicBezTo>
                <a:cubicBezTo>
                  <a:pt x="144" y="31"/>
                  <a:pt x="112" y="0"/>
                  <a:pt x="74" y="0"/>
                </a:cubicBezTo>
                <a:cubicBezTo>
                  <a:pt x="35" y="0"/>
                  <a:pt x="4" y="31"/>
                  <a:pt x="4" y="68"/>
                </a:cubicBezTo>
                <a:cubicBezTo>
                  <a:pt x="4" y="75"/>
                  <a:pt x="4" y="75"/>
                  <a:pt x="4" y="75"/>
                </a:cubicBezTo>
                <a:cubicBezTo>
                  <a:pt x="1" y="76"/>
                  <a:pt x="0" y="77"/>
                  <a:pt x="0" y="79"/>
                </a:cubicBezTo>
                <a:cubicBezTo>
                  <a:pt x="0" y="102"/>
                  <a:pt x="0" y="102"/>
                  <a:pt x="0" y="102"/>
                </a:cubicBezTo>
                <a:cubicBezTo>
                  <a:pt x="0" y="104"/>
                  <a:pt x="2" y="106"/>
                  <a:pt x="5" y="107"/>
                </a:cubicBezTo>
                <a:cubicBezTo>
                  <a:pt x="7" y="132"/>
                  <a:pt x="26" y="152"/>
                  <a:pt x="50" y="156"/>
                </a:cubicBezTo>
                <a:cubicBezTo>
                  <a:pt x="51" y="159"/>
                  <a:pt x="54" y="161"/>
                  <a:pt x="57" y="161"/>
                </a:cubicBezTo>
                <a:cubicBezTo>
                  <a:pt x="78" y="161"/>
                  <a:pt x="78" y="161"/>
                  <a:pt x="78" y="161"/>
                </a:cubicBezTo>
                <a:cubicBezTo>
                  <a:pt x="82" y="161"/>
                  <a:pt x="86" y="157"/>
                  <a:pt x="86" y="152"/>
                </a:cubicBezTo>
                <a:cubicBezTo>
                  <a:pt x="86" y="148"/>
                  <a:pt x="82" y="144"/>
                  <a:pt x="78" y="144"/>
                </a:cubicBezTo>
                <a:cubicBezTo>
                  <a:pt x="57" y="144"/>
                  <a:pt x="57" y="144"/>
                  <a:pt x="57" y="144"/>
                </a:cubicBezTo>
                <a:cubicBezTo>
                  <a:pt x="54" y="144"/>
                  <a:pt x="51" y="146"/>
                  <a:pt x="50" y="149"/>
                </a:cubicBezTo>
                <a:cubicBezTo>
                  <a:pt x="29" y="146"/>
                  <a:pt x="13" y="128"/>
                  <a:pt x="11" y="107"/>
                </a:cubicBezTo>
                <a:cubicBezTo>
                  <a:pt x="11" y="107"/>
                  <a:pt x="12" y="107"/>
                  <a:pt x="12" y="106"/>
                </a:cubicBezTo>
                <a:cubicBezTo>
                  <a:pt x="12" y="107"/>
                  <a:pt x="12" y="107"/>
                  <a:pt x="12" y="107"/>
                </a:cubicBezTo>
                <a:cubicBezTo>
                  <a:pt x="12" y="114"/>
                  <a:pt x="18" y="120"/>
                  <a:pt x="24" y="120"/>
                </a:cubicBezTo>
                <a:cubicBezTo>
                  <a:pt x="31" y="120"/>
                  <a:pt x="37" y="114"/>
                  <a:pt x="37" y="107"/>
                </a:cubicBezTo>
                <a:cubicBezTo>
                  <a:pt x="37" y="74"/>
                  <a:pt x="37" y="74"/>
                  <a:pt x="37" y="74"/>
                </a:cubicBezTo>
                <a:cubicBezTo>
                  <a:pt x="37" y="67"/>
                  <a:pt x="31" y="62"/>
                  <a:pt x="24" y="62"/>
                </a:cubicBezTo>
                <a:cubicBezTo>
                  <a:pt x="18" y="62"/>
                  <a:pt x="13" y="67"/>
                  <a:pt x="12" y="73"/>
                </a:cubicBezTo>
                <a:cubicBezTo>
                  <a:pt x="12" y="66"/>
                  <a:pt x="12" y="66"/>
                  <a:pt x="12" y="66"/>
                </a:cubicBezTo>
                <a:cubicBezTo>
                  <a:pt x="12" y="34"/>
                  <a:pt x="40" y="8"/>
                  <a:pt x="74" y="8"/>
                </a:cubicBezTo>
                <a:cubicBezTo>
                  <a:pt x="108" y="8"/>
                  <a:pt x="135" y="34"/>
                  <a:pt x="135" y="66"/>
                </a:cubicBezTo>
                <a:cubicBezTo>
                  <a:pt x="135" y="73"/>
                  <a:pt x="135" y="73"/>
                  <a:pt x="135" y="73"/>
                </a:cubicBezTo>
                <a:cubicBezTo>
                  <a:pt x="135" y="67"/>
                  <a:pt x="130" y="62"/>
                  <a:pt x="123" y="62"/>
                </a:cubicBezTo>
                <a:cubicBezTo>
                  <a:pt x="116" y="62"/>
                  <a:pt x="111" y="67"/>
                  <a:pt x="111" y="74"/>
                </a:cubicBezTo>
                <a:cubicBezTo>
                  <a:pt x="111" y="107"/>
                  <a:pt x="111" y="107"/>
                  <a:pt x="111" y="107"/>
                </a:cubicBezTo>
                <a:cubicBezTo>
                  <a:pt x="111" y="114"/>
                  <a:pt x="116" y="120"/>
                  <a:pt x="123" y="120"/>
                </a:cubicBezTo>
                <a:cubicBezTo>
                  <a:pt x="130" y="120"/>
                  <a:pt x="136" y="114"/>
                  <a:pt x="136" y="107"/>
                </a:cubicBezTo>
                <a:cubicBezTo>
                  <a:pt x="136" y="106"/>
                  <a:pt x="136" y="106"/>
                  <a:pt x="136" y="106"/>
                </a:cubicBezTo>
                <a:cubicBezTo>
                  <a:pt x="137" y="107"/>
                  <a:pt x="138" y="107"/>
                  <a:pt x="140" y="107"/>
                </a:cubicBezTo>
                <a:cubicBezTo>
                  <a:pt x="144" y="107"/>
                  <a:pt x="148" y="105"/>
                  <a:pt x="148" y="102"/>
                </a:cubicBezTo>
                <a:lnTo>
                  <a:pt x="148" y="7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7" name="Freeform 38">
            <a:extLst>
              <a:ext uri="{FF2B5EF4-FFF2-40B4-BE49-F238E27FC236}">
                <a16:creationId xmlns:a16="http://schemas.microsoft.com/office/drawing/2014/main" id="{E543374E-49FC-4B3E-96C4-D86AA3FC4CD1}"/>
              </a:ext>
            </a:extLst>
          </p:cNvPr>
          <p:cNvSpPr>
            <a:spLocks noEditPoints="1"/>
          </p:cNvSpPr>
          <p:nvPr/>
        </p:nvSpPr>
        <p:spPr bwMode="auto">
          <a:xfrm>
            <a:off x="4255462" y="4533657"/>
            <a:ext cx="366665" cy="521594"/>
          </a:xfrm>
          <a:custGeom>
            <a:avLst/>
            <a:gdLst>
              <a:gd name="T0" fmla="*/ 29 w 107"/>
              <a:gd name="T1" fmla="*/ 110 h 153"/>
              <a:gd name="T2" fmla="*/ 29 w 107"/>
              <a:gd name="T3" fmla="*/ 124 h 153"/>
              <a:gd name="T4" fmla="*/ 42 w 107"/>
              <a:gd name="T5" fmla="*/ 132 h 153"/>
              <a:gd name="T6" fmla="*/ 66 w 107"/>
              <a:gd name="T7" fmla="*/ 132 h 153"/>
              <a:gd name="T8" fmla="*/ 79 w 107"/>
              <a:gd name="T9" fmla="*/ 124 h 153"/>
              <a:gd name="T10" fmla="*/ 79 w 107"/>
              <a:gd name="T11" fmla="*/ 110 h 153"/>
              <a:gd name="T12" fmla="*/ 54 w 107"/>
              <a:gd name="T13" fmla="*/ 116 h 153"/>
              <a:gd name="T14" fmla="*/ 29 w 107"/>
              <a:gd name="T15" fmla="*/ 110 h 153"/>
              <a:gd name="T16" fmla="*/ 17 w 107"/>
              <a:gd name="T17" fmla="*/ 50 h 153"/>
              <a:gd name="T18" fmla="*/ 54 w 107"/>
              <a:gd name="T19" fmla="*/ 17 h 153"/>
              <a:gd name="T20" fmla="*/ 91 w 107"/>
              <a:gd name="T21" fmla="*/ 50 h 153"/>
              <a:gd name="T22" fmla="*/ 91 w 107"/>
              <a:gd name="T23" fmla="*/ 92 h 153"/>
              <a:gd name="T24" fmla="*/ 107 w 107"/>
              <a:gd name="T25" fmla="*/ 54 h 153"/>
              <a:gd name="T26" fmla="*/ 54 w 107"/>
              <a:gd name="T27" fmla="*/ 0 h 153"/>
              <a:gd name="T28" fmla="*/ 0 w 107"/>
              <a:gd name="T29" fmla="*/ 54 h 153"/>
              <a:gd name="T30" fmla="*/ 17 w 107"/>
              <a:gd name="T31" fmla="*/ 92 h 153"/>
              <a:gd name="T32" fmla="*/ 17 w 107"/>
              <a:gd name="T33" fmla="*/ 50 h 153"/>
              <a:gd name="T34" fmla="*/ 56 w 107"/>
              <a:gd name="T35" fmla="*/ 38 h 153"/>
              <a:gd name="T36" fmla="*/ 40 w 107"/>
              <a:gd name="T37" fmla="*/ 55 h 153"/>
              <a:gd name="T38" fmla="*/ 43 w 107"/>
              <a:gd name="T39" fmla="*/ 58 h 153"/>
              <a:gd name="T40" fmla="*/ 47 w 107"/>
              <a:gd name="T41" fmla="*/ 60 h 153"/>
              <a:gd name="T42" fmla="*/ 47 w 107"/>
              <a:gd name="T43" fmla="*/ 55 h 153"/>
              <a:gd name="T44" fmla="*/ 57 w 107"/>
              <a:gd name="T45" fmla="*/ 45 h 153"/>
              <a:gd name="T46" fmla="*/ 62 w 107"/>
              <a:gd name="T47" fmla="*/ 45 h 153"/>
              <a:gd name="T48" fmla="*/ 60 w 107"/>
              <a:gd name="T49" fmla="*/ 41 h 153"/>
              <a:gd name="T50" fmla="*/ 56 w 107"/>
              <a:gd name="T51" fmla="*/ 38 h 153"/>
              <a:gd name="T52" fmla="*/ 101 w 107"/>
              <a:gd name="T53" fmla="*/ 140 h 153"/>
              <a:gd name="T54" fmla="*/ 7 w 107"/>
              <a:gd name="T55" fmla="*/ 140 h 153"/>
              <a:gd name="T56" fmla="*/ 0 w 107"/>
              <a:gd name="T57" fmla="*/ 146 h 153"/>
              <a:gd name="T58" fmla="*/ 7 w 107"/>
              <a:gd name="T59" fmla="*/ 153 h 153"/>
              <a:gd name="T60" fmla="*/ 101 w 107"/>
              <a:gd name="T61" fmla="*/ 153 h 153"/>
              <a:gd name="T62" fmla="*/ 107 w 107"/>
              <a:gd name="T63" fmla="*/ 146 h 153"/>
              <a:gd name="T64" fmla="*/ 101 w 107"/>
              <a:gd name="T65" fmla="*/ 140 h 153"/>
              <a:gd name="T66" fmla="*/ 83 w 107"/>
              <a:gd name="T67" fmla="*/ 50 h 153"/>
              <a:gd name="T68" fmla="*/ 54 w 107"/>
              <a:gd name="T69" fmla="*/ 25 h 153"/>
              <a:gd name="T70" fmla="*/ 25 w 107"/>
              <a:gd name="T71" fmla="*/ 50 h 153"/>
              <a:gd name="T72" fmla="*/ 25 w 107"/>
              <a:gd name="T73" fmla="*/ 83 h 153"/>
              <a:gd name="T74" fmla="*/ 54 w 107"/>
              <a:gd name="T75" fmla="*/ 107 h 153"/>
              <a:gd name="T76" fmla="*/ 83 w 107"/>
              <a:gd name="T77" fmla="*/ 83 h 153"/>
              <a:gd name="T78" fmla="*/ 83 w 107"/>
              <a:gd name="T79" fmla="*/ 50 h 153"/>
              <a:gd name="T80" fmla="*/ 54 w 107"/>
              <a:gd name="T81" fmla="*/ 74 h 153"/>
              <a:gd name="T82" fmla="*/ 33 w 107"/>
              <a:gd name="T83" fmla="*/ 54 h 153"/>
              <a:gd name="T84" fmla="*/ 54 w 107"/>
              <a:gd name="T85" fmla="*/ 33 h 153"/>
              <a:gd name="T86" fmla="*/ 75 w 107"/>
              <a:gd name="T87" fmla="*/ 54 h 153"/>
              <a:gd name="T88" fmla="*/ 54 w 107"/>
              <a:gd name="T89" fmla="*/ 7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153">
                <a:moveTo>
                  <a:pt x="29" y="110"/>
                </a:moveTo>
                <a:cubicBezTo>
                  <a:pt x="29" y="124"/>
                  <a:pt x="29" y="124"/>
                  <a:pt x="29" y="124"/>
                </a:cubicBezTo>
                <a:cubicBezTo>
                  <a:pt x="29" y="131"/>
                  <a:pt x="35" y="132"/>
                  <a:pt x="42" y="132"/>
                </a:cubicBezTo>
                <a:cubicBezTo>
                  <a:pt x="66" y="132"/>
                  <a:pt x="66" y="132"/>
                  <a:pt x="66" y="132"/>
                </a:cubicBezTo>
                <a:cubicBezTo>
                  <a:pt x="73" y="132"/>
                  <a:pt x="79" y="131"/>
                  <a:pt x="79" y="124"/>
                </a:cubicBezTo>
                <a:cubicBezTo>
                  <a:pt x="79" y="110"/>
                  <a:pt x="79" y="110"/>
                  <a:pt x="79" y="110"/>
                </a:cubicBezTo>
                <a:cubicBezTo>
                  <a:pt x="71" y="113"/>
                  <a:pt x="63" y="116"/>
                  <a:pt x="54" y="116"/>
                </a:cubicBezTo>
                <a:cubicBezTo>
                  <a:pt x="45" y="116"/>
                  <a:pt x="37" y="113"/>
                  <a:pt x="29" y="110"/>
                </a:cubicBezTo>
                <a:close/>
                <a:moveTo>
                  <a:pt x="17" y="50"/>
                </a:moveTo>
                <a:cubicBezTo>
                  <a:pt x="17" y="32"/>
                  <a:pt x="34" y="17"/>
                  <a:pt x="54" y="17"/>
                </a:cubicBezTo>
                <a:cubicBezTo>
                  <a:pt x="74" y="17"/>
                  <a:pt x="91" y="32"/>
                  <a:pt x="91" y="50"/>
                </a:cubicBezTo>
                <a:cubicBezTo>
                  <a:pt x="91" y="92"/>
                  <a:pt x="91" y="92"/>
                  <a:pt x="91" y="92"/>
                </a:cubicBezTo>
                <a:cubicBezTo>
                  <a:pt x="101" y="83"/>
                  <a:pt x="107" y="69"/>
                  <a:pt x="107" y="54"/>
                </a:cubicBezTo>
                <a:cubicBezTo>
                  <a:pt x="107" y="24"/>
                  <a:pt x="84" y="0"/>
                  <a:pt x="54" y="0"/>
                </a:cubicBezTo>
                <a:cubicBezTo>
                  <a:pt x="24" y="0"/>
                  <a:pt x="0" y="24"/>
                  <a:pt x="0" y="54"/>
                </a:cubicBezTo>
                <a:cubicBezTo>
                  <a:pt x="0" y="69"/>
                  <a:pt x="7" y="83"/>
                  <a:pt x="17" y="92"/>
                </a:cubicBezTo>
                <a:lnTo>
                  <a:pt x="17" y="50"/>
                </a:lnTo>
                <a:close/>
                <a:moveTo>
                  <a:pt x="56" y="38"/>
                </a:moveTo>
                <a:cubicBezTo>
                  <a:pt x="48" y="36"/>
                  <a:pt x="38" y="46"/>
                  <a:pt x="40" y="55"/>
                </a:cubicBezTo>
                <a:cubicBezTo>
                  <a:pt x="40" y="57"/>
                  <a:pt x="42" y="58"/>
                  <a:pt x="43" y="58"/>
                </a:cubicBezTo>
                <a:cubicBezTo>
                  <a:pt x="44" y="60"/>
                  <a:pt x="46" y="61"/>
                  <a:pt x="47" y="60"/>
                </a:cubicBezTo>
                <a:cubicBezTo>
                  <a:pt x="48" y="59"/>
                  <a:pt x="47" y="57"/>
                  <a:pt x="47" y="55"/>
                </a:cubicBezTo>
                <a:cubicBezTo>
                  <a:pt x="45" y="50"/>
                  <a:pt x="51" y="43"/>
                  <a:pt x="57" y="45"/>
                </a:cubicBezTo>
                <a:cubicBezTo>
                  <a:pt x="59" y="45"/>
                  <a:pt x="61" y="46"/>
                  <a:pt x="62" y="45"/>
                </a:cubicBezTo>
                <a:cubicBezTo>
                  <a:pt x="63" y="44"/>
                  <a:pt x="62" y="42"/>
                  <a:pt x="60" y="41"/>
                </a:cubicBezTo>
                <a:cubicBezTo>
                  <a:pt x="59" y="40"/>
                  <a:pt x="58" y="39"/>
                  <a:pt x="56" y="38"/>
                </a:cubicBezTo>
                <a:close/>
                <a:moveTo>
                  <a:pt x="101" y="140"/>
                </a:moveTo>
                <a:cubicBezTo>
                  <a:pt x="7" y="140"/>
                  <a:pt x="7" y="140"/>
                  <a:pt x="7" y="140"/>
                </a:cubicBezTo>
                <a:cubicBezTo>
                  <a:pt x="3" y="140"/>
                  <a:pt x="0" y="143"/>
                  <a:pt x="0" y="146"/>
                </a:cubicBezTo>
                <a:cubicBezTo>
                  <a:pt x="0" y="150"/>
                  <a:pt x="3" y="153"/>
                  <a:pt x="7" y="153"/>
                </a:cubicBezTo>
                <a:cubicBezTo>
                  <a:pt x="101" y="153"/>
                  <a:pt x="101" y="153"/>
                  <a:pt x="101" y="153"/>
                </a:cubicBezTo>
                <a:cubicBezTo>
                  <a:pt x="105" y="153"/>
                  <a:pt x="107" y="150"/>
                  <a:pt x="107" y="146"/>
                </a:cubicBezTo>
                <a:cubicBezTo>
                  <a:pt x="107" y="143"/>
                  <a:pt x="105" y="140"/>
                  <a:pt x="101" y="140"/>
                </a:cubicBezTo>
                <a:close/>
                <a:moveTo>
                  <a:pt x="83" y="50"/>
                </a:moveTo>
                <a:cubicBezTo>
                  <a:pt x="83" y="36"/>
                  <a:pt x="70" y="25"/>
                  <a:pt x="54" y="25"/>
                </a:cubicBezTo>
                <a:cubicBezTo>
                  <a:pt x="38" y="25"/>
                  <a:pt x="25" y="36"/>
                  <a:pt x="25" y="50"/>
                </a:cubicBezTo>
                <a:cubicBezTo>
                  <a:pt x="25" y="83"/>
                  <a:pt x="25" y="83"/>
                  <a:pt x="25" y="83"/>
                </a:cubicBezTo>
                <a:cubicBezTo>
                  <a:pt x="25" y="96"/>
                  <a:pt x="38" y="107"/>
                  <a:pt x="54" y="107"/>
                </a:cubicBezTo>
                <a:cubicBezTo>
                  <a:pt x="70" y="107"/>
                  <a:pt x="83" y="96"/>
                  <a:pt x="83" y="83"/>
                </a:cubicBezTo>
                <a:lnTo>
                  <a:pt x="83" y="50"/>
                </a:lnTo>
                <a:close/>
                <a:moveTo>
                  <a:pt x="54" y="74"/>
                </a:moveTo>
                <a:cubicBezTo>
                  <a:pt x="43" y="74"/>
                  <a:pt x="33" y="65"/>
                  <a:pt x="33" y="54"/>
                </a:cubicBezTo>
                <a:cubicBezTo>
                  <a:pt x="33" y="42"/>
                  <a:pt x="43" y="33"/>
                  <a:pt x="54" y="33"/>
                </a:cubicBezTo>
                <a:cubicBezTo>
                  <a:pt x="65" y="33"/>
                  <a:pt x="75" y="42"/>
                  <a:pt x="75" y="54"/>
                </a:cubicBezTo>
                <a:cubicBezTo>
                  <a:pt x="75" y="65"/>
                  <a:pt x="65" y="74"/>
                  <a:pt x="54"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8" name="Freeform 39">
            <a:extLst>
              <a:ext uri="{FF2B5EF4-FFF2-40B4-BE49-F238E27FC236}">
                <a16:creationId xmlns:a16="http://schemas.microsoft.com/office/drawing/2014/main" id="{405BF77B-DEFF-466B-9F61-47F1FC1AA907}"/>
              </a:ext>
            </a:extLst>
          </p:cNvPr>
          <p:cNvSpPr>
            <a:spLocks noEditPoints="1"/>
          </p:cNvSpPr>
          <p:nvPr/>
        </p:nvSpPr>
        <p:spPr bwMode="auto">
          <a:xfrm>
            <a:off x="5339965" y="4562061"/>
            <a:ext cx="529342" cy="449294"/>
          </a:xfrm>
          <a:custGeom>
            <a:avLst/>
            <a:gdLst>
              <a:gd name="T0" fmla="*/ 116 w 155"/>
              <a:gd name="T1" fmla="*/ 12 h 131"/>
              <a:gd name="T2" fmla="*/ 116 w 155"/>
              <a:gd name="T3" fmla="*/ 101 h 131"/>
              <a:gd name="T4" fmla="*/ 155 w 155"/>
              <a:gd name="T5" fmla="*/ 34 h 131"/>
              <a:gd name="T6" fmla="*/ 116 w 155"/>
              <a:gd name="T7" fmla="*/ 12 h 131"/>
              <a:gd name="T8" fmla="*/ 9 w 155"/>
              <a:gd name="T9" fmla="*/ 8 h 131"/>
              <a:gd name="T10" fmla="*/ 0 w 155"/>
              <a:gd name="T11" fmla="*/ 8 h 131"/>
              <a:gd name="T12" fmla="*/ 0 w 155"/>
              <a:gd name="T13" fmla="*/ 16 h 131"/>
              <a:gd name="T14" fmla="*/ 17 w 155"/>
              <a:gd name="T15" fmla="*/ 16 h 131"/>
              <a:gd name="T16" fmla="*/ 17 w 155"/>
              <a:gd name="T17" fmla="*/ 8 h 131"/>
              <a:gd name="T18" fmla="*/ 23 w 155"/>
              <a:gd name="T19" fmla="*/ 14 h 131"/>
              <a:gd name="T20" fmla="*/ 17 w 155"/>
              <a:gd name="T21" fmla="*/ 20 h 131"/>
              <a:gd name="T22" fmla="*/ 9 w 155"/>
              <a:gd name="T23" fmla="*/ 20 h 131"/>
              <a:gd name="T24" fmla="*/ 9 w 155"/>
              <a:gd name="T25" fmla="*/ 28 h 131"/>
              <a:gd name="T26" fmla="*/ 0 w 155"/>
              <a:gd name="T27" fmla="*/ 28 h 131"/>
              <a:gd name="T28" fmla="*/ 0 w 155"/>
              <a:gd name="T29" fmla="*/ 37 h 131"/>
              <a:gd name="T30" fmla="*/ 17 w 155"/>
              <a:gd name="T31" fmla="*/ 37 h 131"/>
              <a:gd name="T32" fmla="*/ 17 w 155"/>
              <a:gd name="T33" fmla="*/ 28 h 131"/>
              <a:gd name="T34" fmla="*/ 23 w 155"/>
              <a:gd name="T35" fmla="*/ 35 h 131"/>
              <a:gd name="T36" fmla="*/ 17 w 155"/>
              <a:gd name="T37" fmla="*/ 41 h 131"/>
              <a:gd name="T38" fmla="*/ 9 w 155"/>
              <a:gd name="T39" fmla="*/ 41 h 131"/>
              <a:gd name="T40" fmla="*/ 9 w 155"/>
              <a:gd name="T41" fmla="*/ 49 h 131"/>
              <a:gd name="T42" fmla="*/ 0 w 155"/>
              <a:gd name="T43" fmla="*/ 49 h 131"/>
              <a:gd name="T44" fmla="*/ 0 w 155"/>
              <a:gd name="T45" fmla="*/ 57 h 131"/>
              <a:gd name="T46" fmla="*/ 17 w 155"/>
              <a:gd name="T47" fmla="*/ 57 h 131"/>
              <a:gd name="T48" fmla="*/ 17 w 155"/>
              <a:gd name="T49" fmla="*/ 49 h 131"/>
              <a:gd name="T50" fmla="*/ 23 w 155"/>
              <a:gd name="T51" fmla="*/ 55 h 131"/>
              <a:gd name="T52" fmla="*/ 17 w 155"/>
              <a:gd name="T53" fmla="*/ 61 h 131"/>
              <a:gd name="T54" fmla="*/ 9 w 155"/>
              <a:gd name="T55" fmla="*/ 61 h 131"/>
              <a:gd name="T56" fmla="*/ 9 w 155"/>
              <a:gd name="T57" fmla="*/ 70 h 131"/>
              <a:gd name="T58" fmla="*/ 0 w 155"/>
              <a:gd name="T59" fmla="*/ 70 h 131"/>
              <a:gd name="T60" fmla="*/ 0 w 155"/>
              <a:gd name="T61" fmla="*/ 78 h 131"/>
              <a:gd name="T62" fmla="*/ 17 w 155"/>
              <a:gd name="T63" fmla="*/ 78 h 131"/>
              <a:gd name="T64" fmla="*/ 17 w 155"/>
              <a:gd name="T65" fmla="*/ 70 h 131"/>
              <a:gd name="T66" fmla="*/ 23 w 155"/>
              <a:gd name="T67" fmla="*/ 76 h 131"/>
              <a:gd name="T68" fmla="*/ 17 w 155"/>
              <a:gd name="T69" fmla="*/ 82 h 131"/>
              <a:gd name="T70" fmla="*/ 9 w 155"/>
              <a:gd name="T71" fmla="*/ 82 h 131"/>
              <a:gd name="T72" fmla="*/ 9 w 155"/>
              <a:gd name="T73" fmla="*/ 90 h 131"/>
              <a:gd name="T74" fmla="*/ 0 w 155"/>
              <a:gd name="T75" fmla="*/ 90 h 131"/>
              <a:gd name="T76" fmla="*/ 0 w 155"/>
              <a:gd name="T77" fmla="*/ 98 h 131"/>
              <a:gd name="T78" fmla="*/ 17 w 155"/>
              <a:gd name="T79" fmla="*/ 98 h 131"/>
              <a:gd name="T80" fmla="*/ 17 w 155"/>
              <a:gd name="T81" fmla="*/ 90 h 131"/>
              <a:gd name="T82" fmla="*/ 23 w 155"/>
              <a:gd name="T83" fmla="*/ 96 h 131"/>
              <a:gd name="T84" fmla="*/ 17 w 155"/>
              <a:gd name="T85" fmla="*/ 102 h 131"/>
              <a:gd name="T86" fmla="*/ 9 w 155"/>
              <a:gd name="T87" fmla="*/ 102 h 131"/>
              <a:gd name="T88" fmla="*/ 9 w 155"/>
              <a:gd name="T89" fmla="*/ 111 h 131"/>
              <a:gd name="T90" fmla="*/ 0 w 155"/>
              <a:gd name="T91" fmla="*/ 111 h 131"/>
              <a:gd name="T92" fmla="*/ 0 w 155"/>
              <a:gd name="T93" fmla="*/ 119 h 131"/>
              <a:gd name="T94" fmla="*/ 17 w 155"/>
              <a:gd name="T95" fmla="*/ 119 h 131"/>
              <a:gd name="T96" fmla="*/ 17 w 155"/>
              <a:gd name="T97" fmla="*/ 111 h 131"/>
              <a:gd name="T98" fmla="*/ 23 w 155"/>
              <a:gd name="T99" fmla="*/ 117 h 131"/>
              <a:gd name="T100" fmla="*/ 17 w 155"/>
              <a:gd name="T101" fmla="*/ 123 h 131"/>
              <a:gd name="T102" fmla="*/ 9 w 155"/>
              <a:gd name="T103" fmla="*/ 123 h 131"/>
              <a:gd name="T104" fmla="*/ 9 w 155"/>
              <a:gd name="T105" fmla="*/ 131 h 131"/>
              <a:gd name="T106" fmla="*/ 107 w 155"/>
              <a:gd name="T107" fmla="*/ 131 h 131"/>
              <a:gd name="T108" fmla="*/ 107 w 155"/>
              <a:gd name="T109" fmla="*/ 0 h 131"/>
              <a:gd name="T110" fmla="*/ 9 w 155"/>
              <a:gd name="T111" fmla="*/ 0 h 131"/>
              <a:gd name="T112" fmla="*/ 9 w 155"/>
              <a:gd name="T113" fmla="*/ 8 h 131"/>
              <a:gd name="T114" fmla="*/ 33 w 155"/>
              <a:gd name="T115" fmla="*/ 20 h 131"/>
              <a:gd name="T116" fmla="*/ 83 w 155"/>
              <a:gd name="T117" fmla="*/ 20 h 131"/>
              <a:gd name="T118" fmla="*/ 83 w 155"/>
              <a:gd name="T119" fmla="*/ 45 h 131"/>
              <a:gd name="T120" fmla="*/ 33 w 155"/>
              <a:gd name="T121" fmla="*/ 45 h 131"/>
              <a:gd name="T122" fmla="*/ 33 w 155"/>
              <a:gd name="T123" fmla="*/ 2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5" h="131">
                <a:moveTo>
                  <a:pt x="116" y="12"/>
                </a:moveTo>
                <a:cubicBezTo>
                  <a:pt x="116" y="101"/>
                  <a:pt x="116" y="101"/>
                  <a:pt x="116" y="101"/>
                </a:cubicBezTo>
                <a:cubicBezTo>
                  <a:pt x="155" y="34"/>
                  <a:pt x="155" y="34"/>
                  <a:pt x="155" y="34"/>
                </a:cubicBezTo>
                <a:lnTo>
                  <a:pt x="116" y="12"/>
                </a:lnTo>
                <a:close/>
                <a:moveTo>
                  <a:pt x="9" y="8"/>
                </a:moveTo>
                <a:cubicBezTo>
                  <a:pt x="0" y="8"/>
                  <a:pt x="0" y="8"/>
                  <a:pt x="0" y="8"/>
                </a:cubicBezTo>
                <a:cubicBezTo>
                  <a:pt x="0" y="16"/>
                  <a:pt x="0" y="16"/>
                  <a:pt x="0" y="16"/>
                </a:cubicBezTo>
                <a:cubicBezTo>
                  <a:pt x="17" y="16"/>
                  <a:pt x="17" y="16"/>
                  <a:pt x="17" y="16"/>
                </a:cubicBezTo>
                <a:cubicBezTo>
                  <a:pt x="17" y="8"/>
                  <a:pt x="17" y="8"/>
                  <a:pt x="17" y="8"/>
                </a:cubicBezTo>
                <a:cubicBezTo>
                  <a:pt x="20" y="8"/>
                  <a:pt x="23" y="11"/>
                  <a:pt x="23" y="14"/>
                </a:cubicBezTo>
                <a:cubicBezTo>
                  <a:pt x="23" y="17"/>
                  <a:pt x="20" y="20"/>
                  <a:pt x="17" y="20"/>
                </a:cubicBezTo>
                <a:cubicBezTo>
                  <a:pt x="9" y="20"/>
                  <a:pt x="9" y="20"/>
                  <a:pt x="9" y="20"/>
                </a:cubicBezTo>
                <a:cubicBezTo>
                  <a:pt x="9" y="28"/>
                  <a:pt x="9" y="28"/>
                  <a:pt x="9" y="28"/>
                </a:cubicBezTo>
                <a:cubicBezTo>
                  <a:pt x="0" y="28"/>
                  <a:pt x="0" y="28"/>
                  <a:pt x="0" y="28"/>
                </a:cubicBezTo>
                <a:cubicBezTo>
                  <a:pt x="0" y="37"/>
                  <a:pt x="0" y="37"/>
                  <a:pt x="0" y="37"/>
                </a:cubicBezTo>
                <a:cubicBezTo>
                  <a:pt x="17" y="37"/>
                  <a:pt x="17" y="37"/>
                  <a:pt x="17" y="37"/>
                </a:cubicBezTo>
                <a:cubicBezTo>
                  <a:pt x="17" y="28"/>
                  <a:pt x="17" y="28"/>
                  <a:pt x="17" y="28"/>
                </a:cubicBezTo>
                <a:cubicBezTo>
                  <a:pt x="20" y="28"/>
                  <a:pt x="23" y="31"/>
                  <a:pt x="23" y="35"/>
                </a:cubicBezTo>
                <a:cubicBezTo>
                  <a:pt x="23" y="38"/>
                  <a:pt x="20" y="41"/>
                  <a:pt x="17" y="41"/>
                </a:cubicBezTo>
                <a:cubicBezTo>
                  <a:pt x="9" y="41"/>
                  <a:pt x="9" y="41"/>
                  <a:pt x="9" y="41"/>
                </a:cubicBezTo>
                <a:cubicBezTo>
                  <a:pt x="9" y="49"/>
                  <a:pt x="9" y="49"/>
                  <a:pt x="9" y="49"/>
                </a:cubicBezTo>
                <a:cubicBezTo>
                  <a:pt x="0" y="49"/>
                  <a:pt x="0" y="49"/>
                  <a:pt x="0" y="49"/>
                </a:cubicBezTo>
                <a:cubicBezTo>
                  <a:pt x="0" y="57"/>
                  <a:pt x="0" y="57"/>
                  <a:pt x="0" y="57"/>
                </a:cubicBezTo>
                <a:cubicBezTo>
                  <a:pt x="17" y="57"/>
                  <a:pt x="17" y="57"/>
                  <a:pt x="17" y="57"/>
                </a:cubicBezTo>
                <a:cubicBezTo>
                  <a:pt x="17" y="49"/>
                  <a:pt x="17" y="49"/>
                  <a:pt x="17" y="49"/>
                </a:cubicBezTo>
                <a:cubicBezTo>
                  <a:pt x="20" y="49"/>
                  <a:pt x="23" y="52"/>
                  <a:pt x="23" y="55"/>
                </a:cubicBezTo>
                <a:cubicBezTo>
                  <a:pt x="23" y="59"/>
                  <a:pt x="20" y="61"/>
                  <a:pt x="17" y="61"/>
                </a:cubicBezTo>
                <a:cubicBezTo>
                  <a:pt x="9" y="61"/>
                  <a:pt x="9" y="61"/>
                  <a:pt x="9" y="61"/>
                </a:cubicBezTo>
                <a:cubicBezTo>
                  <a:pt x="9" y="70"/>
                  <a:pt x="9" y="70"/>
                  <a:pt x="9" y="70"/>
                </a:cubicBezTo>
                <a:cubicBezTo>
                  <a:pt x="0" y="70"/>
                  <a:pt x="0" y="70"/>
                  <a:pt x="0" y="70"/>
                </a:cubicBezTo>
                <a:cubicBezTo>
                  <a:pt x="0" y="78"/>
                  <a:pt x="0" y="78"/>
                  <a:pt x="0" y="78"/>
                </a:cubicBezTo>
                <a:cubicBezTo>
                  <a:pt x="17" y="78"/>
                  <a:pt x="17" y="78"/>
                  <a:pt x="17" y="78"/>
                </a:cubicBezTo>
                <a:cubicBezTo>
                  <a:pt x="17" y="70"/>
                  <a:pt x="17" y="70"/>
                  <a:pt x="17" y="70"/>
                </a:cubicBezTo>
                <a:cubicBezTo>
                  <a:pt x="20" y="70"/>
                  <a:pt x="23" y="72"/>
                  <a:pt x="23" y="76"/>
                </a:cubicBezTo>
                <a:cubicBezTo>
                  <a:pt x="23" y="79"/>
                  <a:pt x="20" y="82"/>
                  <a:pt x="17" y="82"/>
                </a:cubicBezTo>
                <a:cubicBezTo>
                  <a:pt x="9" y="82"/>
                  <a:pt x="9" y="82"/>
                  <a:pt x="9" y="82"/>
                </a:cubicBezTo>
                <a:cubicBezTo>
                  <a:pt x="9" y="90"/>
                  <a:pt x="9" y="90"/>
                  <a:pt x="9" y="90"/>
                </a:cubicBezTo>
                <a:cubicBezTo>
                  <a:pt x="0" y="90"/>
                  <a:pt x="0" y="90"/>
                  <a:pt x="0" y="90"/>
                </a:cubicBezTo>
                <a:cubicBezTo>
                  <a:pt x="0" y="98"/>
                  <a:pt x="0" y="98"/>
                  <a:pt x="0" y="98"/>
                </a:cubicBezTo>
                <a:cubicBezTo>
                  <a:pt x="17" y="98"/>
                  <a:pt x="17" y="98"/>
                  <a:pt x="17" y="98"/>
                </a:cubicBezTo>
                <a:cubicBezTo>
                  <a:pt x="17" y="90"/>
                  <a:pt x="17" y="90"/>
                  <a:pt x="17" y="90"/>
                </a:cubicBezTo>
                <a:cubicBezTo>
                  <a:pt x="20" y="90"/>
                  <a:pt x="23" y="93"/>
                  <a:pt x="23" y="96"/>
                </a:cubicBezTo>
                <a:cubicBezTo>
                  <a:pt x="23" y="100"/>
                  <a:pt x="20" y="102"/>
                  <a:pt x="17" y="102"/>
                </a:cubicBezTo>
                <a:cubicBezTo>
                  <a:pt x="9" y="102"/>
                  <a:pt x="9" y="102"/>
                  <a:pt x="9" y="102"/>
                </a:cubicBezTo>
                <a:cubicBezTo>
                  <a:pt x="9" y="111"/>
                  <a:pt x="9" y="111"/>
                  <a:pt x="9" y="111"/>
                </a:cubicBezTo>
                <a:cubicBezTo>
                  <a:pt x="0" y="111"/>
                  <a:pt x="0" y="111"/>
                  <a:pt x="0" y="111"/>
                </a:cubicBezTo>
                <a:cubicBezTo>
                  <a:pt x="0" y="119"/>
                  <a:pt x="0" y="119"/>
                  <a:pt x="0" y="119"/>
                </a:cubicBezTo>
                <a:cubicBezTo>
                  <a:pt x="17" y="119"/>
                  <a:pt x="17" y="119"/>
                  <a:pt x="17" y="119"/>
                </a:cubicBezTo>
                <a:cubicBezTo>
                  <a:pt x="17" y="111"/>
                  <a:pt x="17" y="111"/>
                  <a:pt x="17" y="111"/>
                </a:cubicBezTo>
                <a:cubicBezTo>
                  <a:pt x="20" y="111"/>
                  <a:pt x="23" y="113"/>
                  <a:pt x="23" y="117"/>
                </a:cubicBezTo>
                <a:cubicBezTo>
                  <a:pt x="23" y="120"/>
                  <a:pt x="20" y="123"/>
                  <a:pt x="17" y="123"/>
                </a:cubicBezTo>
                <a:cubicBezTo>
                  <a:pt x="9" y="123"/>
                  <a:pt x="9" y="123"/>
                  <a:pt x="9" y="123"/>
                </a:cubicBezTo>
                <a:cubicBezTo>
                  <a:pt x="9" y="131"/>
                  <a:pt x="9" y="131"/>
                  <a:pt x="9" y="131"/>
                </a:cubicBezTo>
                <a:cubicBezTo>
                  <a:pt x="107" y="131"/>
                  <a:pt x="107" y="131"/>
                  <a:pt x="107" y="131"/>
                </a:cubicBezTo>
                <a:cubicBezTo>
                  <a:pt x="107" y="0"/>
                  <a:pt x="107" y="0"/>
                  <a:pt x="107" y="0"/>
                </a:cubicBezTo>
                <a:cubicBezTo>
                  <a:pt x="9" y="0"/>
                  <a:pt x="9" y="0"/>
                  <a:pt x="9" y="0"/>
                </a:cubicBezTo>
                <a:lnTo>
                  <a:pt x="9" y="8"/>
                </a:lnTo>
                <a:close/>
                <a:moveTo>
                  <a:pt x="33" y="20"/>
                </a:moveTo>
                <a:cubicBezTo>
                  <a:pt x="83" y="20"/>
                  <a:pt x="83" y="20"/>
                  <a:pt x="83" y="20"/>
                </a:cubicBezTo>
                <a:cubicBezTo>
                  <a:pt x="83" y="45"/>
                  <a:pt x="83" y="45"/>
                  <a:pt x="83" y="45"/>
                </a:cubicBezTo>
                <a:cubicBezTo>
                  <a:pt x="33" y="45"/>
                  <a:pt x="33" y="45"/>
                  <a:pt x="33" y="45"/>
                </a:cubicBezTo>
                <a:lnTo>
                  <a:pt x="33" y="2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89" name="Freeform 40">
            <a:extLst>
              <a:ext uri="{FF2B5EF4-FFF2-40B4-BE49-F238E27FC236}">
                <a16:creationId xmlns:a16="http://schemas.microsoft.com/office/drawing/2014/main" id="{A3EB92D7-B4AE-454C-B7B1-8F25448003C3}"/>
              </a:ext>
            </a:extLst>
          </p:cNvPr>
          <p:cNvSpPr>
            <a:spLocks noEditPoints="1"/>
          </p:cNvSpPr>
          <p:nvPr/>
        </p:nvSpPr>
        <p:spPr bwMode="auto">
          <a:xfrm>
            <a:off x="6548411" y="4577554"/>
            <a:ext cx="312441" cy="392486"/>
          </a:xfrm>
          <a:custGeom>
            <a:avLst/>
            <a:gdLst>
              <a:gd name="T0" fmla="*/ 80 w 121"/>
              <a:gd name="T1" fmla="*/ 0 h 152"/>
              <a:gd name="T2" fmla="*/ 0 w 121"/>
              <a:gd name="T3" fmla="*/ 0 h 152"/>
              <a:gd name="T4" fmla="*/ 0 w 121"/>
              <a:gd name="T5" fmla="*/ 152 h 152"/>
              <a:gd name="T6" fmla="*/ 121 w 121"/>
              <a:gd name="T7" fmla="*/ 152 h 152"/>
              <a:gd name="T8" fmla="*/ 121 w 121"/>
              <a:gd name="T9" fmla="*/ 41 h 152"/>
              <a:gd name="T10" fmla="*/ 80 w 121"/>
              <a:gd name="T11" fmla="*/ 0 h 152"/>
              <a:gd name="T12" fmla="*/ 77 w 121"/>
              <a:gd name="T13" fmla="*/ 43 h 152"/>
              <a:gd name="T14" fmla="*/ 77 w 121"/>
              <a:gd name="T15" fmla="*/ 16 h 152"/>
              <a:gd name="T16" fmla="*/ 103 w 121"/>
              <a:gd name="T17" fmla="*/ 43 h 152"/>
              <a:gd name="T18" fmla="*/ 77 w 121"/>
              <a:gd name="T19"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52">
                <a:moveTo>
                  <a:pt x="80" y="0"/>
                </a:moveTo>
                <a:lnTo>
                  <a:pt x="0" y="0"/>
                </a:lnTo>
                <a:lnTo>
                  <a:pt x="0" y="152"/>
                </a:lnTo>
                <a:lnTo>
                  <a:pt x="121" y="152"/>
                </a:lnTo>
                <a:lnTo>
                  <a:pt x="121" y="41"/>
                </a:lnTo>
                <a:lnTo>
                  <a:pt x="80" y="0"/>
                </a:lnTo>
                <a:close/>
                <a:moveTo>
                  <a:pt x="77" y="43"/>
                </a:moveTo>
                <a:lnTo>
                  <a:pt x="77" y="16"/>
                </a:lnTo>
                <a:lnTo>
                  <a:pt x="103" y="43"/>
                </a:lnTo>
                <a:lnTo>
                  <a:pt x="77" y="43"/>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0" name="Freeform 41">
            <a:extLst>
              <a:ext uri="{FF2B5EF4-FFF2-40B4-BE49-F238E27FC236}">
                <a16:creationId xmlns:a16="http://schemas.microsoft.com/office/drawing/2014/main" id="{D9299242-4999-4954-9801-D78875BE4D3F}"/>
              </a:ext>
            </a:extLst>
          </p:cNvPr>
          <p:cNvSpPr>
            <a:spLocks noEditPoints="1"/>
          </p:cNvSpPr>
          <p:nvPr/>
        </p:nvSpPr>
        <p:spPr bwMode="auto">
          <a:xfrm>
            <a:off x="7591599" y="4567226"/>
            <a:ext cx="444129" cy="467370"/>
          </a:xfrm>
          <a:custGeom>
            <a:avLst/>
            <a:gdLst>
              <a:gd name="T0" fmla="*/ 48 w 130"/>
              <a:gd name="T1" fmla="*/ 74 h 137"/>
              <a:gd name="T2" fmla="*/ 61 w 130"/>
              <a:gd name="T3" fmla="*/ 56 h 137"/>
              <a:gd name="T4" fmla="*/ 18 w 130"/>
              <a:gd name="T5" fmla="*/ 0 h 137"/>
              <a:gd name="T6" fmla="*/ 14 w 130"/>
              <a:gd name="T7" fmla="*/ 1 h 137"/>
              <a:gd name="T8" fmla="*/ 22 w 130"/>
              <a:gd name="T9" fmla="*/ 26 h 137"/>
              <a:gd name="T10" fmla="*/ 48 w 130"/>
              <a:gd name="T11" fmla="*/ 74 h 137"/>
              <a:gd name="T12" fmla="*/ 109 w 130"/>
              <a:gd name="T13" fmla="*/ 26 h 137"/>
              <a:gd name="T14" fmla="*/ 117 w 130"/>
              <a:gd name="T15" fmla="*/ 1 h 137"/>
              <a:gd name="T16" fmla="*/ 113 w 130"/>
              <a:gd name="T17" fmla="*/ 0 h 137"/>
              <a:gd name="T18" fmla="*/ 81 w 130"/>
              <a:gd name="T19" fmla="*/ 42 h 137"/>
              <a:gd name="T20" fmla="*/ 81 w 130"/>
              <a:gd name="T21" fmla="*/ 42 h 137"/>
              <a:gd name="T22" fmla="*/ 52 w 130"/>
              <a:gd name="T23" fmla="*/ 82 h 137"/>
              <a:gd name="T24" fmla="*/ 55 w 130"/>
              <a:gd name="T25" fmla="*/ 86 h 137"/>
              <a:gd name="T26" fmla="*/ 44 w 130"/>
              <a:gd name="T27" fmla="*/ 89 h 137"/>
              <a:gd name="T28" fmla="*/ 38 w 130"/>
              <a:gd name="T29" fmla="*/ 86 h 137"/>
              <a:gd name="T30" fmla="*/ 6 w 130"/>
              <a:gd name="T31" fmla="*/ 105 h 137"/>
              <a:gd name="T32" fmla="*/ 17 w 130"/>
              <a:gd name="T33" fmla="*/ 134 h 137"/>
              <a:gd name="T34" fmla="*/ 47 w 130"/>
              <a:gd name="T35" fmla="*/ 116 h 137"/>
              <a:gd name="T36" fmla="*/ 54 w 130"/>
              <a:gd name="T37" fmla="*/ 114 h 137"/>
              <a:gd name="T38" fmla="*/ 62 w 130"/>
              <a:gd name="T39" fmla="*/ 104 h 137"/>
              <a:gd name="T40" fmla="*/ 77 w 130"/>
              <a:gd name="T41" fmla="*/ 83 h 137"/>
              <a:gd name="T42" fmla="*/ 109 w 130"/>
              <a:gd name="T43" fmla="*/ 26 h 137"/>
              <a:gd name="T44" fmla="*/ 40 w 130"/>
              <a:gd name="T45" fmla="*/ 112 h 137"/>
              <a:gd name="T46" fmla="*/ 22 w 130"/>
              <a:gd name="T47" fmla="*/ 125 h 137"/>
              <a:gd name="T48" fmla="*/ 16 w 130"/>
              <a:gd name="T49" fmla="*/ 106 h 137"/>
              <a:gd name="T50" fmla="*/ 35 w 130"/>
              <a:gd name="T51" fmla="*/ 93 h 137"/>
              <a:gd name="T52" fmla="*/ 40 w 130"/>
              <a:gd name="T53" fmla="*/ 112 h 137"/>
              <a:gd name="T54" fmla="*/ 65 w 130"/>
              <a:gd name="T55" fmla="*/ 89 h 137"/>
              <a:gd name="T56" fmla="*/ 61 w 130"/>
              <a:gd name="T57" fmla="*/ 85 h 137"/>
              <a:gd name="T58" fmla="*/ 65 w 130"/>
              <a:gd name="T59" fmla="*/ 81 h 137"/>
              <a:gd name="T60" fmla="*/ 70 w 130"/>
              <a:gd name="T61" fmla="*/ 85 h 137"/>
              <a:gd name="T62" fmla="*/ 65 w 130"/>
              <a:gd name="T63" fmla="*/ 89 h 137"/>
              <a:gd name="T64" fmla="*/ 125 w 130"/>
              <a:gd name="T65" fmla="*/ 105 h 137"/>
              <a:gd name="T66" fmla="*/ 93 w 130"/>
              <a:gd name="T67" fmla="*/ 86 h 137"/>
              <a:gd name="T68" fmla="*/ 86 w 130"/>
              <a:gd name="T69" fmla="*/ 89 h 137"/>
              <a:gd name="T70" fmla="*/ 84 w 130"/>
              <a:gd name="T71" fmla="*/ 89 h 137"/>
              <a:gd name="T72" fmla="*/ 71 w 130"/>
              <a:gd name="T73" fmla="*/ 107 h 137"/>
              <a:gd name="T74" fmla="*/ 77 w 130"/>
              <a:gd name="T75" fmla="*/ 114 h 137"/>
              <a:gd name="T76" fmla="*/ 83 w 130"/>
              <a:gd name="T77" fmla="*/ 116 h 137"/>
              <a:gd name="T78" fmla="*/ 114 w 130"/>
              <a:gd name="T79" fmla="*/ 134 h 137"/>
              <a:gd name="T80" fmla="*/ 125 w 130"/>
              <a:gd name="T81" fmla="*/ 105 h 137"/>
              <a:gd name="T82" fmla="*/ 109 w 130"/>
              <a:gd name="T83" fmla="*/ 125 h 137"/>
              <a:gd name="T84" fmla="*/ 91 w 130"/>
              <a:gd name="T85" fmla="*/ 112 h 137"/>
              <a:gd name="T86" fmla="*/ 96 w 130"/>
              <a:gd name="T87" fmla="*/ 93 h 137"/>
              <a:gd name="T88" fmla="*/ 114 w 130"/>
              <a:gd name="T89" fmla="*/ 106 h 137"/>
              <a:gd name="T90" fmla="*/ 109 w 130"/>
              <a:gd name="T91" fmla="*/ 1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 h="137">
                <a:moveTo>
                  <a:pt x="48" y="74"/>
                </a:moveTo>
                <a:cubicBezTo>
                  <a:pt x="61" y="56"/>
                  <a:pt x="61" y="56"/>
                  <a:pt x="61" y="56"/>
                </a:cubicBezTo>
                <a:cubicBezTo>
                  <a:pt x="18" y="0"/>
                  <a:pt x="18" y="0"/>
                  <a:pt x="18" y="0"/>
                </a:cubicBezTo>
                <a:cubicBezTo>
                  <a:pt x="14" y="1"/>
                  <a:pt x="14" y="1"/>
                  <a:pt x="14" y="1"/>
                </a:cubicBezTo>
                <a:cubicBezTo>
                  <a:pt x="14" y="1"/>
                  <a:pt x="15" y="8"/>
                  <a:pt x="22" y="26"/>
                </a:cubicBezTo>
                <a:cubicBezTo>
                  <a:pt x="27" y="41"/>
                  <a:pt x="37" y="59"/>
                  <a:pt x="48" y="74"/>
                </a:cubicBezTo>
                <a:close/>
                <a:moveTo>
                  <a:pt x="109" y="26"/>
                </a:moveTo>
                <a:cubicBezTo>
                  <a:pt x="115" y="8"/>
                  <a:pt x="117" y="1"/>
                  <a:pt x="117" y="1"/>
                </a:cubicBezTo>
                <a:cubicBezTo>
                  <a:pt x="113" y="0"/>
                  <a:pt x="113" y="0"/>
                  <a:pt x="113" y="0"/>
                </a:cubicBezTo>
                <a:cubicBezTo>
                  <a:pt x="81" y="42"/>
                  <a:pt x="81" y="42"/>
                  <a:pt x="81" y="42"/>
                </a:cubicBezTo>
                <a:cubicBezTo>
                  <a:pt x="81" y="42"/>
                  <a:pt x="81" y="42"/>
                  <a:pt x="81" y="42"/>
                </a:cubicBezTo>
                <a:cubicBezTo>
                  <a:pt x="52" y="82"/>
                  <a:pt x="52" y="82"/>
                  <a:pt x="52" y="82"/>
                </a:cubicBezTo>
                <a:cubicBezTo>
                  <a:pt x="53" y="83"/>
                  <a:pt x="54" y="85"/>
                  <a:pt x="55" y="86"/>
                </a:cubicBezTo>
                <a:cubicBezTo>
                  <a:pt x="53" y="88"/>
                  <a:pt x="49" y="89"/>
                  <a:pt x="44" y="89"/>
                </a:cubicBezTo>
                <a:cubicBezTo>
                  <a:pt x="43" y="87"/>
                  <a:pt x="40" y="86"/>
                  <a:pt x="38" y="86"/>
                </a:cubicBezTo>
                <a:cubicBezTo>
                  <a:pt x="26" y="83"/>
                  <a:pt x="12" y="91"/>
                  <a:pt x="6" y="105"/>
                </a:cubicBezTo>
                <a:cubicBezTo>
                  <a:pt x="0" y="118"/>
                  <a:pt x="5" y="131"/>
                  <a:pt x="17" y="134"/>
                </a:cubicBezTo>
                <a:cubicBezTo>
                  <a:pt x="28" y="137"/>
                  <a:pt x="41" y="129"/>
                  <a:pt x="47" y="116"/>
                </a:cubicBezTo>
                <a:cubicBezTo>
                  <a:pt x="49" y="115"/>
                  <a:pt x="51" y="114"/>
                  <a:pt x="54" y="114"/>
                </a:cubicBezTo>
                <a:cubicBezTo>
                  <a:pt x="55" y="113"/>
                  <a:pt x="58" y="109"/>
                  <a:pt x="62" y="104"/>
                </a:cubicBezTo>
                <a:cubicBezTo>
                  <a:pt x="77" y="83"/>
                  <a:pt x="77" y="83"/>
                  <a:pt x="77" y="83"/>
                </a:cubicBezTo>
                <a:cubicBezTo>
                  <a:pt x="89" y="66"/>
                  <a:pt x="103" y="44"/>
                  <a:pt x="109" y="26"/>
                </a:cubicBezTo>
                <a:close/>
                <a:moveTo>
                  <a:pt x="40" y="112"/>
                </a:moveTo>
                <a:cubicBezTo>
                  <a:pt x="37" y="120"/>
                  <a:pt x="28" y="126"/>
                  <a:pt x="22" y="125"/>
                </a:cubicBezTo>
                <a:cubicBezTo>
                  <a:pt x="15" y="123"/>
                  <a:pt x="13" y="115"/>
                  <a:pt x="16" y="106"/>
                </a:cubicBezTo>
                <a:cubicBezTo>
                  <a:pt x="20" y="98"/>
                  <a:pt x="28" y="92"/>
                  <a:pt x="35" y="93"/>
                </a:cubicBezTo>
                <a:cubicBezTo>
                  <a:pt x="42" y="95"/>
                  <a:pt x="44" y="103"/>
                  <a:pt x="40" y="112"/>
                </a:cubicBezTo>
                <a:close/>
                <a:moveTo>
                  <a:pt x="65" y="89"/>
                </a:moveTo>
                <a:cubicBezTo>
                  <a:pt x="63" y="89"/>
                  <a:pt x="61" y="87"/>
                  <a:pt x="61" y="85"/>
                </a:cubicBezTo>
                <a:cubicBezTo>
                  <a:pt x="61" y="83"/>
                  <a:pt x="63" y="81"/>
                  <a:pt x="65" y="81"/>
                </a:cubicBezTo>
                <a:cubicBezTo>
                  <a:pt x="68" y="81"/>
                  <a:pt x="70" y="83"/>
                  <a:pt x="70" y="85"/>
                </a:cubicBezTo>
                <a:cubicBezTo>
                  <a:pt x="70" y="87"/>
                  <a:pt x="68" y="89"/>
                  <a:pt x="65" y="89"/>
                </a:cubicBezTo>
                <a:close/>
                <a:moveTo>
                  <a:pt x="125" y="105"/>
                </a:moveTo>
                <a:cubicBezTo>
                  <a:pt x="119" y="91"/>
                  <a:pt x="105" y="83"/>
                  <a:pt x="93" y="86"/>
                </a:cubicBezTo>
                <a:cubicBezTo>
                  <a:pt x="90" y="86"/>
                  <a:pt x="88" y="87"/>
                  <a:pt x="86" y="89"/>
                </a:cubicBezTo>
                <a:cubicBezTo>
                  <a:pt x="85" y="89"/>
                  <a:pt x="85" y="89"/>
                  <a:pt x="84" y="89"/>
                </a:cubicBezTo>
                <a:cubicBezTo>
                  <a:pt x="71" y="107"/>
                  <a:pt x="71" y="107"/>
                  <a:pt x="71" y="107"/>
                </a:cubicBezTo>
                <a:cubicBezTo>
                  <a:pt x="74" y="110"/>
                  <a:pt x="76" y="113"/>
                  <a:pt x="77" y="114"/>
                </a:cubicBezTo>
                <a:cubicBezTo>
                  <a:pt x="80" y="114"/>
                  <a:pt x="82" y="115"/>
                  <a:pt x="83" y="116"/>
                </a:cubicBezTo>
                <a:cubicBezTo>
                  <a:pt x="90" y="129"/>
                  <a:pt x="103" y="137"/>
                  <a:pt x="114" y="134"/>
                </a:cubicBezTo>
                <a:cubicBezTo>
                  <a:pt x="126" y="131"/>
                  <a:pt x="130" y="118"/>
                  <a:pt x="125" y="105"/>
                </a:cubicBezTo>
                <a:close/>
                <a:moveTo>
                  <a:pt x="109" y="125"/>
                </a:moveTo>
                <a:cubicBezTo>
                  <a:pt x="103" y="126"/>
                  <a:pt x="94" y="120"/>
                  <a:pt x="91" y="112"/>
                </a:cubicBezTo>
                <a:cubicBezTo>
                  <a:pt x="87" y="103"/>
                  <a:pt x="89" y="95"/>
                  <a:pt x="96" y="93"/>
                </a:cubicBezTo>
                <a:cubicBezTo>
                  <a:pt x="102" y="92"/>
                  <a:pt x="111" y="98"/>
                  <a:pt x="114" y="106"/>
                </a:cubicBezTo>
                <a:cubicBezTo>
                  <a:pt x="118" y="115"/>
                  <a:pt x="116" y="123"/>
                  <a:pt x="109" y="1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1" name="Freeform 42">
            <a:extLst>
              <a:ext uri="{FF2B5EF4-FFF2-40B4-BE49-F238E27FC236}">
                <a16:creationId xmlns:a16="http://schemas.microsoft.com/office/drawing/2014/main" id="{598A446C-8A1C-4607-9D9B-B2A4A61E2711}"/>
              </a:ext>
            </a:extLst>
          </p:cNvPr>
          <p:cNvSpPr>
            <a:spLocks noEditPoints="1"/>
          </p:cNvSpPr>
          <p:nvPr/>
        </p:nvSpPr>
        <p:spPr bwMode="auto">
          <a:xfrm>
            <a:off x="8673520" y="4590464"/>
            <a:ext cx="508684" cy="405398"/>
          </a:xfrm>
          <a:custGeom>
            <a:avLst/>
            <a:gdLst>
              <a:gd name="T0" fmla="*/ 125 w 149"/>
              <a:gd name="T1" fmla="*/ 95 h 119"/>
              <a:gd name="T2" fmla="*/ 123 w 149"/>
              <a:gd name="T3" fmla="*/ 99 h 119"/>
              <a:gd name="T4" fmla="*/ 114 w 149"/>
              <a:gd name="T5" fmla="*/ 108 h 119"/>
              <a:gd name="T6" fmla="*/ 126 w 149"/>
              <a:gd name="T7" fmla="*/ 119 h 119"/>
              <a:gd name="T8" fmla="*/ 149 w 149"/>
              <a:gd name="T9" fmla="*/ 119 h 119"/>
              <a:gd name="T10" fmla="*/ 125 w 149"/>
              <a:gd name="T11" fmla="*/ 95 h 119"/>
              <a:gd name="T12" fmla="*/ 119 w 149"/>
              <a:gd name="T13" fmla="*/ 89 h 119"/>
              <a:gd name="T14" fmla="*/ 119 w 149"/>
              <a:gd name="T15" fmla="*/ 86 h 119"/>
              <a:gd name="T16" fmla="*/ 119 w 149"/>
              <a:gd name="T17" fmla="*/ 85 h 119"/>
              <a:gd name="T18" fmla="*/ 117 w 149"/>
              <a:gd name="T19" fmla="*/ 82 h 119"/>
              <a:gd name="T20" fmla="*/ 38 w 149"/>
              <a:gd name="T21" fmla="*/ 3 h 119"/>
              <a:gd name="T22" fmla="*/ 9 w 149"/>
              <a:gd name="T23" fmla="*/ 38 h 119"/>
              <a:gd name="T24" fmla="*/ 50 w 149"/>
              <a:gd name="T25" fmla="*/ 55 h 119"/>
              <a:gd name="T26" fmla="*/ 96 w 149"/>
              <a:gd name="T27" fmla="*/ 102 h 119"/>
              <a:gd name="T28" fmla="*/ 100 w 149"/>
              <a:gd name="T29" fmla="*/ 104 h 119"/>
              <a:gd name="T30" fmla="*/ 108 w 149"/>
              <a:gd name="T31" fmla="*/ 102 h 119"/>
              <a:gd name="T32" fmla="*/ 117 w 149"/>
              <a:gd name="T33" fmla="*/ 93 h 119"/>
              <a:gd name="T34" fmla="*/ 119 w 149"/>
              <a:gd name="T35" fmla="*/ 89 h 119"/>
              <a:gd name="T36" fmla="*/ 108 w 149"/>
              <a:gd name="T37" fmla="*/ 90 h 119"/>
              <a:gd name="T38" fmla="*/ 102 w 149"/>
              <a:gd name="T39" fmla="*/ 90 h 119"/>
              <a:gd name="T40" fmla="*/ 53 w 149"/>
              <a:gd name="T41" fmla="*/ 41 h 119"/>
              <a:gd name="T42" fmla="*/ 40 w 149"/>
              <a:gd name="T43" fmla="*/ 39 h 119"/>
              <a:gd name="T44" fmla="*/ 39 w 149"/>
              <a:gd name="T45" fmla="*/ 27 h 119"/>
              <a:gd name="T46" fmla="*/ 33 w 149"/>
              <a:gd name="T47" fmla="*/ 21 h 119"/>
              <a:gd name="T48" fmla="*/ 33 w 149"/>
              <a:gd name="T49" fmla="*/ 15 h 119"/>
              <a:gd name="T50" fmla="*/ 38 w 149"/>
              <a:gd name="T51" fmla="*/ 15 h 119"/>
              <a:gd name="T52" fmla="*/ 46 w 149"/>
              <a:gd name="T53" fmla="*/ 22 h 119"/>
              <a:gd name="T54" fmla="*/ 54 w 149"/>
              <a:gd name="T55" fmla="*/ 25 h 119"/>
              <a:gd name="T56" fmla="*/ 57 w 149"/>
              <a:gd name="T57" fmla="*/ 34 h 119"/>
              <a:gd name="T58" fmla="*/ 108 w 149"/>
              <a:gd name="T59" fmla="*/ 85 h 119"/>
              <a:gd name="T60" fmla="*/ 108 w 149"/>
              <a:gd name="T61" fmla="*/ 90 h 119"/>
              <a:gd name="T62" fmla="*/ 44 w 149"/>
              <a:gd name="T63" fmla="*/ 26 h 119"/>
              <a:gd name="T64" fmla="*/ 44 w 149"/>
              <a:gd name="T65" fmla="*/ 35 h 119"/>
              <a:gd name="T66" fmla="*/ 53 w 149"/>
              <a:gd name="T67" fmla="*/ 35 h 119"/>
              <a:gd name="T68" fmla="*/ 53 w 149"/>
              <a:gd name="T69" fmla="*/ 26 h 119"/>
              <a:gd name="T70" fmla="*/ 44 w 149"/>
              <a:gd name="T71" fmla="*/ 2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9" h="119">
                <a:moveTo>
                  <a:pt x="125" y="95"/>
                </a:moveTo>
                <a:cubicBezTo>
                  <a:pt x="124" y="97"/>
                  <a:pt x="124" y="98"/>
                  <a:pt x="123" y="99"/>
                </a:cubicBezTo>
                <a:cubicBezTo>
                  <a:pt x="114" y="108"/>
                  <a:pt x="114" y="108"/>
                  <a:pt x="114" y="108"/>
                </a:cubicBezTo>
                <a:cubicBezTo>
                  <a:pt x="126" y="119"/>
                  <a:pt x="126" y="119"/>
                  <a:pt x="126" y="119"/>
                </a:cubicBezTo>
                <a:cubicBezTo>
                  <a:pt x="149" y="119"/>
                  <a:pt x="149" y="119"/>
                  <a:pt x="149" y="119"/>
                </a:cubicBezTo>
                <a:lnTo>
                  <a:pt x="125" y="95"/>
                </a:lnTo>
                <a:close/>
                <a:moveTo>
                  <a:pt x="119" y="89"/>
                </a:moveTo>
                <a:cubicBezTo>
                  <a:pt x="119" y="88"/>
                  <a:pt x="119" y="87"/>
                  <a:pt x="119" y="86"/>
                </a:cubicBezTo>
                <a:cubicBezTo>
                  <a:pt x="119" y="86"/>
                  <a:pt x="119" y="85"/>
                  <a:pt x="119" y="85"/>
                </a:cubicBezTo>
                <a:cubicBezTo>
                  <a:pt x="118" y="84"/>
                  <a:pt x="118" y="83"/>
                  <a:pt x="117" y="82"/>
                </a:cubicBezTo>
                <a:cubicBezTo>
                  <a:pt x="117" y="82"/>
                  <a:pt x="44" y="9"/>
                  <a:pt x="38" y="3"/>
                </a:cubicBezTo>
                <a:cubicBezTo>
                  <a:pt x="24" y="0"/>
                  <a:pt x="0" y="6"/>
                  <a:pt x="9" y="38"/>
                </a:cubicBezTo>
                <a:cubicBezTo>
                  <a:pt x="18" y="70"/>
                  <a:pt x="33" y="38"/>
                  <a:pt x="50" y="55"/>
                </a:cubicBezTo>
                <a:cubicBezTo>
                  <a:pt x="67" y="73"/>
                  <a:pt x="96" y="102"/>
                  <a:pt x="96" y="102"/>
                </a:cubicBezTo>
                <a:cubicBezTo>
                  <a:pt x="97" y="103"/>
                  <a:pt x="99" y="104"/>
                  <a:pt x="100" y="104"/>
                </a:cubicBezTo>
                <a:cubicBezTo>
                  <a:pt x="103" y="105"/>
                  <a:pt x="106" y="104"/>
                  <a:pt x="108" y="102"/>
                </a:cubicBezTo>
                <a:cubicBezTo>
                  <a:pt x="117" y="93"/>
                  <a:pt x="117" y="93"/>
                  <a:pt x="117" y="93"/>
                </a:cubicBezTo>
                <a:cubicBezTo>
                  <a:pt x="118" y="92"/>
                  <a:pt x="119" y="91"/>
                  <a:pt x="119" y="89"/>
                </a:cubicBezTo>
                <a:close/>
                <a:moveTo>
                  <a:pt x="108" y="90"/>
                </a:moveTo>
                <a:cubicBezTo>
                  <a:pt x="107" y="92"/>
                  <a:pt x="104" y="92"/>
                  <a:pt x="102" y="90"/>
                </a:cubicBezTo>
                <a:cubicBezTo>
                  <a:pt x="53" y="41"/>
                  <a:pt x="53" y="41"/>
                  <a:pt x="53" y="41"/>
                </a:cubicBezTo>
                <a:cubicBezTo>
                  <a:pt x="49" y="43"/>
                  <a:pt x="43" y="43"/>
                  <a:pt x="40" y="39"/>
                </a:cubicBezTo>
                <a:cubicBezTo>
                  <a:pt x="37" y="36"/>
                  <a:pt x="36" y="31"/>
                  <a:pt x="39" y="27"/>
                </a:cubicBezTo>
                <a:cubicBezTo>
                  <a:pt x="33" y="21"/>
                  <a:pt x="33" y="21"/>
                  <a:pt x="33" y="21"/>
                </a:cubicBezTo>
                <a:cubicBezTo>
                  <a:pt x="31" y="19"/>
                  <a:pt x="31" y="16"/>
                  <a:pt x="33" y="15"/>
                </a:cubicBezTo>
                <a:cubicBezTo>
                  <a:pt x="34" y="13"/>
                  <a:pt x="37" y="13"/>
                  <a:pt x="38" y="15"/>
                </a:cubicBezTo>
                <a:cubicBezTo>
                  <a:pt x="46" y="22"/>
                  <a:pt x="46" y="22"/>
                  <a:pt x="46" y="22"/>
                </a:cubicBezTo>
                <a:cubicBezTo>
                  <a:pt x="49" y="22"/>
                  <a:pt x="52" y="23"/>
                  <a:pt x="54" y="25"/>
                </a:cubicBezTo>
                <a:cubicBezTo>
                  <a:pt x="57" y="27"/>
                  <a:pt x="57" y="31"/>
                  <a:pt x="57" y="34"/>
                </a:cubicBezTo>
                <a:cubicBezTo>
                  <a:pt x="108" y="85"/>
                  <a:pt x="108" y="85"/>
                  <a:pt x="108" y="85"/>
                </a:cubicBezTo>
                <a:cubicBezTo>
                  <a:pt x="110" y="86"/>
                  <a:pt x="110" y="89"/>
                  <a:pt x="108" y="90"/>
                </a:cubicBezTo>
                <a:close/>
                <a:moveTo>
                  <a:pt x="44" y="26"/>
                </a:moveTo>
                <a:cubicBezTo>
                  <a:pt x="42" y="29"/>
                  <a:pt x="42" y="33"/>
                  <a:pt x="44" y="35"/>
                </a:cubicBezTo>
                <a:cubicBezTo>
                  <a:pt x="47" y="38"/>
                  <a:pt x="50" y="38"/>
                  <a:pt x="53" y="35"/>
                </a:cubicBezTo>
                <a:cubicBezTo>
                  <a:pt x="55" y="33"/>
                  <a:pt x="55" y="29"/>
                  <a:pt x="53" y="26"/>
                </a:cubicBezTo>
                <a:cubicBezTo>
                  <a:pt x="50" y="24"/>
                  <a:pt x="47" y="24"/>
                  <a:pt x="44" y="2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2" name="Freeform 43">
            <a:extLst>
              <a:ext uri="{FF2B5EF4-FFF2-40B4-BE49-F238E27FC236}">
                <a16:creationId xmlns:a16="http://schemas.microsoft.com/office/drawing/2014/main" id="{ACF098BD-AE4C-4D0D-B2FD-7B0E861DD815}"/>
              </a:ext>
            </a:extLst>
          </p:cNvPr>
          <p:cNvSpPr>
            <a:spLocks/>
          </p:cNvSpPr>
          <p:nvPr/>
        </p:nvSpPr>
        <p:spPr bwMode="auto">
          <a:xfrm>
            <a:off x="9827741" y="4603376"/>
            <a:ext cx="462205" cy="423472"/>
          </a:xfrm>
          <a:custGeom>
            <a:avLst/>
            <a:gdLst>
              <a:gd name="T0" fmla="*/ 8 w 135"/>
              <a:gd name="T1" fmla="*/ 37 h 124"/>
              <a:gd name="T2" fmla="*/ 28 w 135"/>
              <a:gd name="T3" fmla="*/ 58 h 124"/>
              <a:gd name="T4" fmla="*/ 83 w 135"/>
              <a:gd name="T5" fmla="*/ 113 h 124"/>
              <a:gd name="T6" fmla="*/ 124 w 135"/>
              <a:gd name="T7" fmla="*/ 113 h 124"/>
              <a:gd name="T8" fmla="*/ 124 w 135"/>
              <a:gd name="T9" fmla="*/ 72 h 124"/>
              <a:gd name="T10" fmla="*/ 86 w 135"/>
              <a:gd name="T11" fmla="*/ 34 h 124"/>
              <a:gd name="T12" fmla="*/ 69 w 135"/>
              <a:gd name="T13" fmla="*/ 17 h 124"/>
              <a:gd name="T14" fmla="*/ 66 w 135"/>
              <a:gd name="T15" fmla="*/ 14 h 124"/>
              <a:gd name="T16" fmla="*/ 60 w 135"/>
              <a:gd name="T17" fmla="*/ 14 h 124"/>
              <a:gd name="T18" fmla="*/ 60 w 135"/>
              <a:gd name="T19" fmla="*/ 20 h 124"/>
              <a:gd name="T20" fmla="*/ 118 w 135"/>
              <a:gd name="T21" fmla="*/ 78 h 124"/>
              <a:gd name="T22" fmla="*/ 118 w 135"/>
              <a:gd name="T23" fmla="*/ 107 h 124"/>
              <a:gd name="T24" fmla="*/ 89 w 135"/>
              <a:gd name="T25" fmla="*/ 107 h 124"/>
              <a:gd name="T26" fmla="*/ 57 w 135"/>
              <a:gd name="T27" fmla="*/ 75 h 124"/>
              <a:gd name="T28" fmla="*/ 58 w 135"/>
              <a:gd name="T29" fmla="*/ 75 h 124"/>
              <a:gd name="T30" fmla="*/ 54 w 135"/>
              <a:gd name="T31" fmla="*/ 72 h 124"/>
              <a:gd name="T32" fmla="*/ 34 w 135"/>
              <a:gd name="T33" fmla="*/ 52 h 124"/>
              <a:gd name="T34" fmla="*/ 13 w 135"/>
              <a:gd name="T35" fmla="*/ 31 h 124"/>
              <a:gd name="T36" fmla="*/ 13 w 135"/>
              <a:gd name="T37" fmla="*/ 14 h 124"/>
              <a:gd name="T38" fmla="*/ 31 w 135"/>
              <a:gd name="T39" fmla="*/ 14 h 124"/>
              <a:gd name="T40" fmla="*/ 55 w 135"/>
              <a:gd name="T41" fmla="*/ 38 h 124"/>
              <a:gd name="T42" fmla="*/ 89 w 135"/>
              <a:gd name="T43" fmla="*/ 72 h 124"/>
              <a:gd name="T44" fmla="*/ 89 w 135"/>
              <a:gd name="T45" fmla="*/ 78 h 124"/>
              <a:gd name="T46" fmla="*/ 83 w 135"/>
              <a:gd name="T47" fmla="*/ 78 h 124"/>
              <a:gd name="T48" fmla="*/ 60 w 135"/>
              <a:gd name="T49" fmla="*/ 55 h 124"/>
              <a:gd name="T50" fmla="*/ 49 w 135"/>
              <a:gd name="T51" fmla="*/ 44 h 124"/>
              <a:gd name="T52" fmla="*/ 43 w 135"/>
              <a:gd name="T53" fmla="*/ 37 h 124"/>
              <a:gd name="T54" fmla="*/ 37 w 135"/>
              <a:gd name="T55" fmla="*/ 37 h 124"/>
              <a:gd name="T56" fmla="*/ 37 w 135"/>
              <a:gd name="T57" fmla="*/ 43 h 124"/>
              <a:gd name="T58" fmla="*/ 77 w 135"/>
              <a:gd name="T59" fmla="*/ 84 h 124"/>
              <a:gd name="T60" fmla="*/ 95 w 135"/>
              <a:gd name="T61" fmla="*/ 84 h 124"/>
              <a:gd name="T62" fmla="*/ 95 w 135"/>
              <a:gd name="T63" fmla="*/ 66 h 124"/>
              <a:gd name="T64" fmla="*/ 37 w 135"/>
              <a:gd name="T65" fmla="*/ 8 h 124"/>
              <a:gd name="T66" fmla="*/ 8 w 135"/>
              <a:gd name="T67" fmla="*/ 8 h 124"/>
              <a:gd name="T68" fmla="*/ 8 w 135"/>
              <a:gd name="T69" fmla="*/ 3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124">
                <a:moveTo>
                  <a:pt x="8" y="37"/>
                </a:moveTo>
                <a:cubicBezTo>
                  <a:pt x="28" y="58"/>
                  <a:pt x="28" y="58"/>
                  <a:pt x="28" y="58"/>
                </a:cubicBezTo>
                <a:cubicBezTo>
                  <a:pt x="83" y="113"/>
                  <a:pt x="83" y="113"/>
                  <a:pt x="83" y="113"/>
                </a:cubicBezTo>
                <a:cubicBezTo>
                  <a:pt x="95" y="124"/>
                  <a:pt x="113" y="124"/>
                  <a:pt x="124" y="113"/>
                </a:cubicBezTo>
                <a:cubicBezTo>
                  <a:pt x="135" y="102"/>
                  <a:pt x="135" y="83"/>
                  <a:pt x="124" y="72"/>
                </a:cubicBezTo>
                <a:cubicBezTo>
                  <a:pt x="86" y="34"/>
                  <a:pt x="86" y="34"/>
                  <a:pt x="86" y="34"/>
                </a:cubicBezTo>
                <a:cubicBezTo>
                  <a:pt x="69" y="17"/>
                  <a:pt x="69" y="17"/>
                  <a:pt x="69" y="17"/>
                </a:cubicBezTo>
                <a:cubicBezTo>
                  <a:pt x="66" y="14"/>
                  <a:pt x="66" y="14"/>
                  <a:pt x="66" y="14"/>
                </a:cubicBezTo>
                <a:cubicBezTo>
                  <a:pt x="64" y="12"/>
                  <a:pt x="62" y="12"/>
                  <a:pt x="60" y="14"/>
                </a:cubicBezTo>
                <a:cubicBezTo>
                  <a:pt x="58" y="15"/>
                  <a:pt x="58" y="18"/>
                  <a:pt x="60" y="20"/>
                </a:cubicBezTo>
                <a:cubicBezTo>
                  <a:pt x="118" y="78"/>
                  <a:pt x="118" y="78"/>
                  <a:pt x="118" y="78"/>
                </a:cubicBezTo>
                <a:cubicBezTo>
                  <a:pt x="126" y="86"/>
                  <a:pt x="126" y="99"/>
                  <a:pt x="118" y="107"/>
                </a:cubicBezTo>
                <a:cubicBezTo>
                  <a:pt x="110" y="115"/>
                  <a:pt x="97" y="115"/>
                  <a:pt x="89" y="107"/>
                </a:cubicBezTo>
                <a:cubicBezTo>
                  <a:pt x="57" y="75"/>
                  <a:pt x="57" y="75"/>
                  <a:pt x="57" y="75"/>
                </a:cubicBezTo>
                <a:cubicBezTo>
                  <a:pt x="57" y="75"/>
                  <a:pt x="58" y="75"/>
                  <a:pt x="58" y="75"/>
                </a:cubicBezTo>
                <a:cubicBezTo>
                  <a:pt x="57" y="74"/>
                  <a:pt x="55" y="73"/>
                  <a:pt x="54" y="72"/>
                </a:cubicBezTo>
                <a:cubicBezTo>
                  <a:pt x="34" y="52"/>
                  <a:pt x="34" y="52"/>
                  <a:pt x="34" y="52"/>
                </a:cubicBezTo>
                <a:cubicBezTo>
                  <a:pt x="13" y="31"/>
                  <a:pt x="13" y="31"/>
                  <a:pt x="13" y="31"/>
                </a:cubicBezTo>
                <a:cubicBezTo>
                  <a:pt x="9" y="27"/>
                  <a:pt x="9" y="19"/>
                  <a:pt x="13" y="14"/>
                </a:cubicBezTo>
                <a:cubicBezTo>
                  <a:pt x="18" y="9"/>
                  <a:pt x="26" y="9"/>
                  <a:pt x="31" y="14"/>
                </a:cubicBezTo>
                <a:cubicBezTo>
                  <a:pt x="55" y="38"/>
                  <a:pt x="55" y="38"/>
                  <a:pt x="55" y="38"/>
                </a:cubicBezTo>
                <a:cubicBezTo>
                  <a:pt x="89" y="72"/>
                  <a:pt x="89" y="72"/>
                  <a:pt x="89" y="72"/>
                </a:cubicBezTo>
                <a:cubicBezTo>
                  <a:pt x="91" y="74"/>
                  <a:pt x="91" y="76"/>
                  <a:pt x="89" y="78"/>
                </a:cubicBezTo>
                <a:cubicBezTo>
                  <a:pt x="87" y="80"/>
                  <a:pt x="85" y="80"/>
                  <a:pt x="83" y="78"/>
                </a:cubicBezTo>
                <a:cubicBezTo>
                  <a:pt x="60" y="55"/>
                  <a:pt x="60" y="55"/>
                  <a:pt x="60" y="55"/>
                </a:cubicBezTo>
                <a:cubicBezTo>
                  <a:pt x="49" y="44"/>
                  <a:pt x="49" y="44"/>
                  <a:pt x="49" y="44"/>
                </a:cubicBezTo>
                <a:cubicBezTo>
                  <a:pt x="43" y="37"/>
                  <a:pt x="43" y="37"/>
                  <a:pt x="43" y="37"/>
                </a:cubicBezTo>
                <a:cubicBezTo>
                  <a:pt x="41" y="36"/>
                  <a:pt x="38" y="36"/>
                  <a:pt x="37" y="37"/>
                </a:cubicBezTo>
                <a:cubicBezTo>
                  <a:pt x="35" y="39"/>
                  <a:pt x="35" y="41"/>
                  <a:pt x="37" y="43"/>
                </a:cubicBezTo>
                <a:cubicBezTo>
                  <a:pt x="77" y="84"/>
                  <a:pt x="77" y="84"/>
                  <a:pt x="77" y="84"/>
                </a:cubicBezTo>
                <a:cubicBezTo>
                  <a:pt x="82" y="89"/>
                  <a:pt x="90" y="89"/>
                  <a:pt x="95" y="84"/>
                </a:cubicBezTo>
                <a:cubicBezTo>
                  <a:pt x="100" y="79"/>
                  <a:pt x="100" y="71"/>
                  <a:pt x="95" y="66"/>
                </a:cubicBezTo>
                <a:cubicBezTo>
                  <a:pt x="37" y="8"/>
                  <a:pt x="37" y="8"/>
                  <a:pt x="37" y="8"/>
                </a:cubicBezTo>
                <a:cubicBezTo>
                  <a:pt x="29" y="0"/>
                  <a:pt x="16" y="0"/>
                  <a:pt x="8" y="8"/>
                </a:cubicBezTo>
                <a:cubicBezTo>
                  <a:pt x="0" y="16"/>
                  <a:pt x="0" y="29"/>
                  <a:pt x="8" y="37"/>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3" name="Freeform 44">
            <a:extLst>
              <a:ext uri="{FF2B5EF4-FFF2-40B4-BE49-F238E27FC236}">
                <a16:creationId xmlns:a16="http://schemas.microsoft.com/office/drawing/2014/main" id="{81CD1312-FFF6-4302-A3EF-16C2255345C7}"/>
              </a:ext>
            </a:extLst>
          </p:cNvPr>
          <p:cNvSpPr>
            <a:spLocks noEditPoints="1"/>
          </p:cNvSpPr>
          <p:nvPr/>
        </p:nvSpPr>
        <p:spPr bwMode="auto">
          <a:xfrm>
            <a:off x="10969052" y="4582718"/>
            <a:ext cx="413144" cy="413144"/>
          </a:xfrm>
          <a:custGeom>
            <a:avLst/>
            <a:gdLst>
              <a:gd name="T0" fmla="*/ 62 w 121"/>
              <a:gd name="T1" fmla="*/ 33 h 121"/>
              <a:gd name="T2" fmla="*/ 50 w 121"/>
              <a:gd name="T3" fmla="*/ 20 h 121"/>
              <a:gd name="T4" fmla="*/ 38 w 121"/>
              <a:gd name="T5" fmla="*/ 37 h 121"/>
              <a:gd name="T6" fmla="*/ 21 w 121"/>
              <a:gd name="T7" fmla="*/ 49 h 121"/>
              <a:gd name="T8" fmla="*/ 34 w 121"/>
              <a:gd name="T9" fmla="*/ 62 h 121"/>
              <a:gd name="T10" fmla="*/ 53 w 121"/>
              <a:gd name="T11" fmla="*/ 52 h 121"/>
              <a:gd name="T12" fmla="*/ 62 w 121"/>
              <a:gd name="T13" fmla="*/ 33 h 121"/>
              <a:gd name="T14" fmla="*/ 89 w 121"/>
              <a:gd name="T15" fmla="*/ 48 h 121"/>
              <a:gd name="T16" fmla="*/ 68 w 121"/>
              <a:gd name="T17" fmla="*/ 38 h 121"/>
              <a:gd name="T18" fmla="*/ 67 w 121"/>
              <a:gd name="T19" fmla="*/ 38 h 121"/>
              <a:gd name="T20" fmla="*/ 58 w 121"/>
              <a:gd name="T21" fmla="*/ 58 h 121"/>
              <a:gd name="T22" fmla="*/ 39 w 121"/>
              <a:gd name="T23" fmla="*/ 67 h 121"/>
              <a:gd name="T24" fmla="*/ 38 w 121"/>
              <a:gd name="T25" fmla="*/ 67 h 121"/>
              <a:gd name="T26" fmla="*/ 49 w 121"/>
              <a:gd name="T27" fmla="*/ 89 h 121"/>
              <a:gd name="T28" fmla="*/ 76 w 121"/>
              <a:gd name="T29" fmla="*/ 75 h 121"/>
              <a:gd name="T30" fmla="*/ 89 w 121"/>
              <a:gd name="T31" fmla="*/ 48 h 121"/>
              <a:gd name="T32" fmla="*/ 44 w 121"/>
              <a:gd name="T33" fmla="*/ 18 h 121"/>
              <a:gd name="T34" fmla="*/ 44 w 121"/>
              <a:gd name="T35" fmla="*/ 18 h 121"/>
              <a:gd name="T36" fmla="*/ 45 w 121"/>
              <a:gd name="T37" fmla="*/ 8 h 121"/>
              <a:gd name="T38" fmla="*/ 40 w 121"/>
              <a:gd name="T39" fmla="*/ 3 h 121"/>
              <a:gd name="T40" fmla="*/ 16 w 121"/>
              <a:gd name="T41" fmla="*/ 15 h 121"/>
              <a:gd name="T42" fmla="*/ 4 w 121"/>
              <a:gd name="T43" fmla="*/ 40 h 121"/>
              <a:gd name="T44" fmla="*/ 8 w 121"/>
              <a:gd name="T45" fmla="*/ 45 h 121"/>
              <a:gd name="T46" fmla="*/ 18 w 121"/>
              <a:gd name="T47" fmla="*/ 44 h 121"/>
              <a:gd name="T48" fmla="*/ 18 w 121"/>
              <a:gd name="T49" fmla="*/ 44 h 121"/>
              <a:gd name="T50" fmla="*/ 33 w 121"/>
              <a:gd name="T51" fmla="*/ 33 h 121"/>
              <a:gd name="T52" fmla="*/ 44 w 121"/>
              <a:gd name="T53" fmla="*/ 18 h 121"/>
              <a:gd name="T54" fmla="*/ 86 w 121"/>
              <a:gd name="T55" fmla="*/ 74 h 121"/>
              <a:gd name="T56" fmla="*/ 81 w 121"/>
              <a:gd name="T57" fmla="*/ 80 h 121"/>
              <a:gd name="T58" fmla="*/ 75 w 121"/>
              <a:gd name="T59" fmla="*/ 85 h 121"/>
              <a:gd name="T60" fmla="*/ 119 w 121"/>
              <a:gd name="T61" fmla="*/ 121 h 121"/>
              <a:gd name="T62" fmla="*/ 121 w 121"/>
              <a:gd name="T63" fmla="*/ 119 h 121"/>
              <a:gd name="T64" fmla="*/ 86 w 121"/>
              <a:gd name="T65" fmla="*/ 7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21">
                <a:moveTo>
                  <a:pt x="62" y="33"/>
                </a:moveTo>
                <a:cubicBezTo>
                  <a:pt x="50" y="20"/>
                  <a:pt x="50" y="20"/>
                  <a:pt x="50" y="20"/>
                </a:cubicBezTo>
                <a:cubicBezTo>
                  <a:pt x="48" y="25"/>
                  <a:pt x="44" y="31"/>
                  <a:pt x="38" y="37"/>
                </a:cubicBezTo>
                <a:cubicBezTo>
                  <a:pt x="32" y="43"/>
                  <a:pt x="26" y="47"/>
                  <a:pt x="21" y="49"/>
                </a:cubicBezTo>
                <a:cubicBezTo>
                  <a:pt x="34" y="62"/>
                  <a:pt x="34" y="62"/>
                  <a:pt x="34" y="62"/>
                </a:cubicBezTo>
                <a:cubicBezTo>
                  <a:pt x="37" y="64"/>
                  <a:pt x="45" y="60"/>
                  <a:pt x="53" y="52"/>
                </a:cubicBezTo>
                <a:cubicBezTo>
                  <a:pt x="61" y="44"/>
                  <a:pt x="65" y="36"/>
                  <a:pt x="62" y="33"/>
                </a:cubicBezTo>
                <a:close/>
                <a:moveTo>
                  <a:pt x="89" y="48"/>
                </a:moveTo>
                <a:cubicBezTo>
                  <a:pt x="84" y="43"/>
                  <a:pt x="76" y="40"/>
                  <a:pt x="68" y="38"/>
                </a:cubicBezTo>
                <a:cubicBezTo>
                  <a:pt x="67" y="38"/>
                  <a:pt x="67" y="38"/>
                  <a:pt x="67" y="38"/>
                </a:cubicBezTo>
                <a:cubicBezTo>
                  <a:pt x="70" y="41"/>
                  <a:pt x="66" y="50"/>
                  <a:pt x="58" y="58"/>
                </a:cubicBezTo>
                <a:cubicBezTo>
                  <a:pt x="50" y="66"/>
                  <a:pt x="42" y="70"/>
                  <a:pt x="39" y="67"/>
                </a:cubicBezTo>
                <a:cubicBezTo>
                  <a:pt x="39" y="67"/>
                  <a:pt x="39" y="67"/>
                  <a:pt x="38" y="67"/>
                </a:cubicBezTo>
                <a:cubicBezTo>
                  <a:pt x="40" y="76"/>
                  <a:pt x="43" y="84"/>
                  <a:pt x="49" y="89"/>
                </a:cubicBezTo>
                <a:cubicBezTo>
                  <a:pt x="52" y="93"/>
                  <a:pt x="64" y="86"/>
                  <a:pt x="76" y="75"/>
                </a:cubicBezTo>
                <a:cubicBezTo>
                  <a:pt x="87" y="64"/>
                  <a:pt x="93" y="52"/>
                  <a:pt x="89" y="48"/>
                </a:cubicBezTo>
                <a:close/>
                <a:moveTo>
                  <a:pt x="44" y="18"/>
                </a:moveTo>
                <a:cubicBezTo>
                  <a:pt x="44" y="18"/>
                  <a:pt x="44" y="18"/>
                  <a:pt x="44" y="18"/>
                </a:cubicBezTo>
                <a:cubicBezTo>
                  <a:pt x="46" y="13"/>
                  <a:pt x="47" y="10"/>
                  <a:pt x="45" y="8"/>
                </a:cubicBezTo>
                <a:cubicBezTo>
                  <a:pt x="40" y="3"/>
                  <a:pt x="40" y="3"/>
                  <a:pt x="40" y="3"/>
                </a:cubicBezTo>
                <a:cubicBezTo>
                  <a:pt x="37" y="0"/>
                  <a:pt x="26" y="5"/>
                  <a:pt x="16" y="15"/>
                </a:cubicBezTo>
                <a:cubicBezTo>
                  <a:pt x="6" y="25"/>
                  <a:pt x="0" y="36"/>
                  <a:pt x="4" y="40"/>
                </a:cubicBezTo>
                <a:cubicBezTo>
                  <a:pt x="8" y="45"/>
                  <a:pt x="8" y="45"/>
                  <a:pt x="8" y="45"/>
                </a:cubicBezTo>
                <a:cubicBezTo>
                  <a:pt x="10" y="46"/>
                  <a:pt x="14" y="46"/>
                  <a:pt x="18" y="44"/>
                </a:cubicBezTo>
                <a:cubicBezTo>
                  <a:pt x="18" y="44"/>
                  <a:pt x="18" y="44"/>
                  <a:pt x="18" y="44"/>
                </a:cubicBezTo>
                <a:cubicBezTo>
                  <a:pt x="23" y="42"/>
                  <a:pt x="28" y="38"/>
                  <a:pt x="33" y="33"/>
                </a:cubicBezTo>
                <a:cubicBezTo>
                  <a:pt x="38" y="28"/>
                  <a:pt x="42" y="22"/>
                  <a:pt x="44" y="18"/>
                </a:cubicBezTo>
                <a:close/>
                <a:moveTo>
                  <a:pt x="86" y="74"/>
                </a:moveTo>
                <a:cubicBezTo>
                  <a:pt x="84" y="76"/>
                  <a:pt x="82" y="78"/>
                  <a:pt x="81" y="80"/>
                </a:cubicBezTo>
                <a:cubicBezTo>
                  <a:pt x="79" y="82"/>
                  <a:pt x="77" y="84"/>
                  <a:pt x="75" y="85"/>
                </a:cubicBezTo>
                <a:cubicBezTo>
                  <a:pt x="119" y="121"/>
                  <a:pt x="119" y="121"/>
                  <a:pt x="119" y="121"/>
                </a:cubicBezTo>
                <a:cubicBezTo>
                  <a:pt x="121" y="119"/>
                  <a:pt x="121" y="119"/>
                  <a:pt x="121" y="119"/>
                </a:cubicBezTo>
                <a:lnTo>
                  <a:pt x="86" y="74"/>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4" name="Freeform 45">
            <a:extLst>
              <a:ext uri="{FF2B5EF4-FFF2-40B4-BE49-F238E27FC236}">
                <a16:creationId xmlns:a16="http://schemas.microsoft.com/office/drawing/2014/main" id="{FFFF36F4-F7F4-4BB9-A0B2-CF67CEF9BA1F}"/>
              </a:ext>
            </a:extLst>
          </p:cNvPr>
          <p:cNvSpPr>
            <a:spLocks noEditPoints="1"/>
          </p:cNvSpPr>
          <p:nvPr/>
        </p:nvSpPr>
        <p:spPr bwMode="auto">
          <a:xfrm>
            <a:off x="844442" y="5742103"/>
            <a:ext cx="446713" cy="392486"/>
          </a:xfrm>
          <a:custGeom>
            <a:avLst/>
            <a:gdLst>
              <a:gd name="T0" fmla="*/ 119 w 131"/>
              <a:gd name="T1" fmla="*/ 0 h 115"/>
              <a:gd name="T2" fmla="*/ 12 w 131"/>
              <a:gd name="T3" fmla="*/ 0 h 115"/>
              <a:gd name="T4" fmla="*/ 0 w 131"/>
              <a:gd name="T5" fmla="*/ 13 h 115"/>
              <a:gd name="T6" fmla="*/ 0 w 131"/>
              <a:gd name="T7" fmla="*/ 78 h 115"/>
              <a:gd name="T8" fmla="*/ 12 w 131"/>
              <a:gd name="T9" fmla="*/ 91 h 115"/>
              <a:gd name="T10" fmla="*/ 45 w 131"/>
              <a:gd name="T11" fmla="*/ 91 h 115"/>
              <a:gd name="T12" fmla="*/ 45 w 131"/>
              <a:gd name="T13" fmla="*/ 103 h 115"/>
              <a:gd name="T14" fmla="*/ 35 w 131"/>
              <a:gd name="T15" fmla="*/ 103 h 115"/>
              <a:gd name="T16" fmla="*/ 12 w 131"/>
              <a:gd name="T17" fmla="*/ 115 h 115"/>
              <a:gd name="T18" fmla="*/ 119 w 131"/>
              <a:gd name="T19" fmla="*/ 115 h 115"/>
              <a:gd name="T20" fmla="*/ 96 w 131"/>
              <a:gd name="T21" fmla="*/ 103 h 115"/>
              <a:gd name="T22" fmla="*/ 86 w 131"/>
              <a:gd name="T23" fmla="*/ 103 h 115"/>
              <a:gd name="T24" fmla="*/ 86 w 131"/>
              <a:gd name="T25" fmla="*/ 91 h 115"/>
              <a:gd name="T26" fmla="*/ 119 w 131"/>
              <a:gd name="T27" fmla="*/ 91 h 115"/>
              <a:gd name="T28" fmla="*/ 131 w 131"/>
              <a:gd name="T29" fmla="*/ 78 h 115"/>
              <a:gd name="T30" fmla="*/ 131 w 131"/>
              <a:gd name="T31" fmla="*/ 13 h 115"/>
              <a:gd name="T32" fmla="*/ 119 w 131"/>
              <a:gd name="T33" fmla="*/ 0 h 115"/>
              <a:gd name="T34" fmla="*/ 123 w 131"/>
              <a:gd name="T35" fmla="*/ 78 h 115"/>
              <a:gd name="T36" fmla="*/ 119 w 131"/>
              <a:gd name="T37" fmla="*/ 82 h 115"/>
              <a:gd name="T38" fmla="*/ 12 w 131"/>
              <a:gd name="T39" fmla="*/ 82 h 115"/>
              <a:gd name="T40" fmla="*/ 8 w 131"/>
              <a:gd name="T41" fmla="*/ 78 h 115"/>
              <a:gd name="T42" fmla="*/ 8 w 131"/>
              <a:gd name="T43" fmla="*/ 13 h 115"/>
              <a:gd name="T44" fmla="*/ 12 w 131"/>
              <a:gd name="T45" fmla="*/ 8 h 115"/>
              <a:gd name="T46" fmla="*/ 119 w 131"/>
              <a:gd name="T47" fmla="*/ 8 h 115"/>
              <a:gd name="T48" fmla="*/ 123 w 131"/>
              <a:gd name="T49" fmla="*/ 13 h 115"/>
              <a:gd name="T50" fmla="*/ 123 w 131"/>
              <a:gd name="T51" fmla="*/ 7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115">
                <a:moveTo>
                  <a:pt x="119" y="0"/>
                </a:moveTo>
                <a:cubicBezTo>
                  <a:pt x="12" y="0"/>
                  <a:pt x="12" y="0"/>
                  <a:pt x="12" y="0"/>
                </a:cubicBezTo>
                <a:cubicBezTo>
                  <a:pt x="5" y="0"/>
                  <a:pt x="0" y="6"/>
                  <a:pt x="0" y="13"/>
                </a:cubicBezTo>
                <a:cubicBezTo>
                  <a:pt x="0" y="78"/>
                  <a:pt x="0" y="78"/>
                  <a:pt x="0" y="78"/>
                </a:cubicBezTo>
                <a:cubicBezTo>
                  <a:pt x="0" y="85"/>
                  <a:pt x="5" y="91"/>
                  <a:pt x="12" y="91"/>
                </a:cubicBezTo>
                <a:cubicBezTo>
                  <a:pt x="45" y="91"/>
                  <a:pt x="45" y="91"/>
                  <a:pt x="45" y="91"/>
                </a:cubicBezTo>
                <a:cubicBezTo>
                  <a:pt x="45" y="103"/>
                  <a:pt x="45" y="103"/>
                  <a:pt x="45" y="103"/>
                </a:cubicBezTo>
                <a:cubicBezTo>
                  <a:pt x="35" y="103"/>
                  <a:pt x="35" y="103"/>
                  <a:pt x="35" y="103"/>
                </a:cubicBezTo>
                <a:cubicBezTo>
                  <a:pt x="12" y="115"/>
                  <a:pt x="12" y="115"/>
                  <a:pt x="12" y="115"/>
                </a:cubicBezTo>
                <a:cubicBezTo>
                  <a:pt x="119" y="115"/>
                  <a:pt x="119" y="115"/>
                  <a:pt x="119" y="115"/>
                </a:cubicBezTo>
                <a:cubicBezTo>
                  <a:pt x="96" y="103"/>
                  <a:pt x="96" y="103"/>
                  <a:pt x="96" y="103"/>
                </a:cubicBezTo>
                <a:cubicBezTo>
                  <a:pt x="86" y="103"/>
                  <a:pt x="86" y="103"/>
                  <a:pt x="86" y="103"/>
                </a:cubicBezTo>
                <a:cubicBezTo>
                  <a:pt x="86" y="91"/>
                  <a:pt x="86" y="91"/>
                  <a:pt x="86" y="91"/>
                </a:cubicBezTo>
                <a:cubicBezTo>
                  <a:pt x="119" y="91"/>
                  <a:pt x="119" y="91"/>
                  <a:pt x="119" y="91"/>
                </a:cubicBezTo>
                <a:cubicBezTo>
                  <a:pt x="126" y="91"/>
                  <a:pt x="131" y="85"/>
                  <a:pt x="131" y="78"/>
                </a:cubicBezTo>
                <a:cubicBezTo>
                  <a:pt x="131" y="13"/>
                  <a:pt x="131" y="13"/>
                  <a:pt x="131" y="13"/>
                </a:cubicBezTo>
                <a:cubicBezTo>
                  <a:pt x="131" y="6"/>
                  <a:pt x="126" y="0"/>
                  <a:pt x="119" y="0"/>
                </a:cubicBezTo>
                <a:close/>
                <a:moveTo>
                  <a:pt x="123" y="78"/>
                </a:moveTo>
                <a:cubicBezTo>
                  <a:pt x="123" y="81"/>
                  <a:pt x="121" y="82"/>
                  <a:pt x="119" y="82"/>
                </a:cubicBezTo>
                <a:cubicBezTo>
                  <a:pt x="12" y="82"/>
                  <a:pt x="12" y="82"/>
                  <a:pt x="12" y="82"/>
                </a:cubicBezTo>
                <a:cubicBezTo>
                  <a:pt x="10" y="82"/>
                  <a:pt x="8" y="81"/>
                  <a:pt x="8" y="78"/>
                </a:cubicBezTo>
                <a:cubicBezTo>
                  <a:pt x="8" y="13"/>
                  <a:pt x="8" y="13"/>
                  <a:pt x="8" y="13"/>
                </a:cubicBezTo>
                <a:cubicBezTo>
                  <a:pt x="8" y="10"/>
                  <a:pt x="10" y="8"/>
                  <a:pt x="12" y="8"/>
                </a:cubicBezTo>
                <a:cubicBezTo>
                  <a:pt x="119" y="8"/>
                  <a:pt x="119" y="8"/>
                  <a:pt x="119" y="8"/>
                </a:cubicBezTo>
                <a:cubicBezTo>
                  <a:pt x="121" y="8"/>
                  <a:pt x="123" y="10"/>
                  <a:pt x="123" y="13"/>
                </a:cubicBezTo>
                <a:lnTo>
                  <a:pt x="123" y="7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5" name="Freeform 46">
            <a:extLst>
              <a:ext uri="{FF2B5EF4-FFF2-40B4-BE49-F238E27FC236}">
                <a16:creationId xmlns:a16="http://schemas.microsoft.com/office/drawing/2014/main" id="{E129C858-D591-4B8C-8968-6DBFE54AE2DF}"/>
              </a:ext>
            </a:extLst>
          </p:cNvPr>
          <p:cNvSpPr>
            <a:spLocks noEditPoints="1"/>
          </p:cNvSpPr>
          <p:nvPr/>
        </p:nvSpPr>
        <p:spPr bwMode="auto">
          <a:xfrm>
            <a:off x="1908288" y="5742103"/>
            <a:ext cx="565491" cy="364084"/>
          </a:xfrm>
          <a:custGeom>
            <a:avLst/>
            <a:gdLst>
              <a:gd name="T0" fmla="*/ 142 w 165"/>
              <a:gd name="T1" fmla="*/ 91 h 107"/>
              <a:gd name="T2" fmla="*/ 136 w 165"/>
              <a:gd name="T3" fmla="*/ 91 h 107"/>
              <a:gd name="T4" fmla="*/ 148 w 165"/>
              <a:gd name="T5" fmla="*/ 78 h 107"/>
              <a:gd name="T6" fmla="*/ 148 w 165"/>
              <a:gd name="T7" fmla="*/ 13 h 107"/>
              <a:gd name="T8" fmla="*/ 136 w 165"/>
              <a:gd name="T9" fmla="*/ 0 h 107"/>
              <a:gd name="T10" fmla="*/ 29 w 165"/>
              <a:gd name="T11" fmla="*/ 0 h 107"/>
              <a:gd name="T12" fmla="*/ 17 w 165"/>
              <a:gd name="T13" fmla="*/ 13 h 107"/>
              <a:gd name="T14" fmla="*/ 17 w 165"/>
              <a:gd name="T15" fmla="*/ 78 h 107"/>
              <a:gd name="T16" fmla="*/ 29 w 165"/>
              <a:gd name="T17" fmla="*/ 91 h 107"/>
              <a:gd name="T18" fmla="*/ 23 w 165"/>
              <a:gd name="T19" fmla="*/ 91 h 107"/>
              <a:gd name="T20" fmla="*/ 0 w 165"/>
              <a:gd name="T21" fmla="*/ 95 h 107"/>
              <a:gd name="T22" fmla="*/ 0 w 165"/>
              <a:gd name="T23" fmla="*/ 95 h 107"/>
              <a:gd name="T24" fmla="*/ 0 w 165"/>
              <a:gd name="T25" fmla="*/ 103 h 107"/>
              <a:gd name="T26" fmla="*/ 5 w 165"/>
              <a:gd name="T27" fmla="*/ 107 h 107"/>
              <a:gd name="T28" fmla="*/ 161 w 165"/>
              <a:gd name="T29" fmla="*/ 107 h 107"/>
              <a:gd name="T30" fmla="*/ 165 w 165"/>
              <a:gd name="T31" fmla="*/ 103 h 107"/>
              <a:gd name="T32" fmla="*/ 165 w 165"/>
              <a:gd name="T33" fmla="*/ 95 h 107"/>
              <a:gd name="T34" fmla="*/ 165 w 165"/>
              <a:gd name="T35" fmla="*/ 95 h 107"/>
              <a:gd name="T36" fmla="*/ 142 w 165"/>
              <a:gd name="T37" fmla="*/ 91 h 107"/>
              <a:gd name="T38" fmla="*/ 25 w 165"/>
              <a:gd name="T39" fmla="*/ 78 h 107"/>
              <a:gd name="T40" fmla="*/ 25 w 165"/>
              <a:gd name="T41" fmla="*/ 13 h 107"/>
              <a:gd name="T42" fmla="*/ 29 w 165"/>
              <a:gd name="T43" fmla="*/ 8 h 107"/>
              <a:gd name="T44" fmla="*/ 136 w 165"/>
              <a:gd name="T45" fmla="*/ 8 h 107"/>
              <a:gd name="T46" fmla="*/ 140 w 165"/>
              <a:gd name="T47" fmla="*/ 13 h 107"/>
              <a:gd name="T48" fmla="*/ 140 w 165"/>
              <a:gd name="T49" fmla="*/ 78 h 107"/>
              <a:gd name="T50" fmla="*/ 136 w 165"/>
              <a:gd name="T51" fmla="*/ 82 h 107"/>
              <a:gd name="T52" fmla="*/ 29 w 165"/>
              <a:gd name="T53" fmla="*/ 82 h 107"/>
              <a:gd name="T54" fmla="*/ 25 w 165"/>
              <a:gd name="T55" fmla="*/ 7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5" h="107">
                <a:moveTo>
                  <a:pt x="142" y="91"/>
                </a:moveTo>
                <a:cubicBezTo>
                  <a:pt x="136" y="91"/>
                  <a:pt x="136" y="91"/>
                  <a:pt x="136" y="91"/>
                </a:cubicBezTo>
                <a:cubicBezTo>
                  <a:pt x="143" y="91"/>
                  <a:pt x="148" y="85"/>
                  <a:pt x="148" y="78"/>
                </a:cubicBezTo>
                <a:cubicBezTo>
                  <a:pt x="148" y="13"/>
                  <a:pt x="148" y="13"/>
                  <a:pt x="148" y="13"/>
                </a:cubicBezTo>
                <a:cubicBezTo>
                  <a:pt x="148" y="6"/>
                  <a:pt x="143" y="0"/>
                  <a:pt x="136" y="0"/>
                </a:cubicBezTo>
                <a:cubicBezTo>
                  <a:pt x="29" y="0"/>
                  <a:pt x="29" y="0"/>
                  <a:pt x="29" y="0"/>
                </a:cubicBezTo>
                <a:cubicBezTo>
                  <a:pt x="22" y="0"/>
                  <a:pt x="17" y="6"/>
                  <a:pt x="17" y="13"/>
                </a:cubicBezTo>
                <a:cubicBezTo>
                  <a:pt x="17" y="78"/>
                  <a:pt x="17" y="78"/>
                  <a:pt x="17" y="78"/>
                </a:cubicBezTo>
                <a:cubicBezTo>
                  <a:pt x="17" y="85"/>
                  <a:pt x="22" y="91"/>
                  <a:pt x="29" y="91"/>
                </a:cubicBezTo>
                <a:cubicBezTo>
                  <a:pt x="23" y="91"/>
                  <a:pt x="23" y="91"/>
                  <a:pt x="23" y="91"/>
                </a:cubicBezTo>
                <a:cubicBezTo>
                  <a:pt x="0" y="95"/>
                  <a:pt x="0" y="95"/>
                  <a:pt x="0" y="95"/>
                </a:cubicBezTo>
                <a:cubicBezTo>
                  <a:pt x="0" y="95"/>
                  <a:pt x="0" y="95"/>
                  <a:pt x="0" y="95"/>
                </a:cubicBezTo>
                <a:cubicBezTo>
                  <a:pt x="0" y="103"/>
                  <a:pt x="0" y="103"/>
                  <a:pt x="0" y="103"/>
                </a:cubicBezTo>
                <a:cubicBezTo>
                  <a:pt x="0" y="105"/>
                  <a:pt x="2" y="107"/>
                  <a:pt x="5" y="107"/>
                </a:cubicBezTo>
                <a:cubicBezTo>
                  <a:pt x="161" y="107"/>
                  <a:pt x="161" y="107"/>
                  <a:pt x="161" y="107"/>
                </a:cubicBezTo>
                <a:cubicBezTo>
                  <a:pt x="163" y="107"/>
                  <a:pt x="165" y="105"/>
                  <a:pt x="165" y="103"/>
                </a:cubicBezTo>
                <a:cubicBezTo>
                  <a:pt x="165" y="95"/>
                  <a:pt x="165" y="95"/>
                  <a:pt x="165" y="95"/>
                </a:cubicBezTo>
                <a:cubicBezTo>
                  <a:pt x="165" y="95"/>
                  <a:pt x="165" y="95"/>
                  <a:pt x="165" y="95"/>
                </a:cubicBezTo>
                <a:lnTo>
                  <a:pt x="142" y="91"/>
                </a:lnTo>
                <a:close/>
                <a:moveTo>
                  <a:pt x="25" y="78"/>
                </a:moveTo>
                <a:cubicBezTo>
                  <a:pt x="25" y="13"/>
                  <a:pt x="25" y="13"/>
                  <a:pt x="25" y="13"/>
                </a:cubicBezTo>
                <a:cubicBezTo>
                  <a:pt x="25" y="10"/>
                  <a:pt x="27" y="8"/>
                  <a:pt x="29" y="8"/>
                </a:cubicBezTo>
                <a:cubicBezTo>
                  <a:pt x="136" y="8"/>
                  <a:pt x="136" y="8"/>
                  <a:pt x="136" y="8"/>
                </a:cubicBezTo>
                <a:cubicBezTo>
                  <a:pt x="138" y="8"/>
                  <a:pt x="140" y="10"/>
                  <a:pt x="140" y="13"/>
                </a:cubicBezTo>
                <a:cubicBezTo>
                  <a:pt x="140" y="78"/>
                  <a:pt x="140" y="78"/>
                  <a:pt x="140" y="78"/>
                </a:cubicBezTo>
                <a:cubicBezTo>
                  <a:pt x="140" y="81"/>
                  <a:pt x="138" y="82"/>
                  <a:pt x="136" y="82"/>
                </a:cubicBezTo>
                <a:cubicBezTo>
                  <a:pt x="29" y="82"/>
                  <a:pt x="29" y="82"/>
                  <a:pt x="29" y="82"/>
                </a:cubicBezTo>
                <a:cubicBezTo>
                  <a:pt x="27" y="82"/>
                  <a:pt x="25" y="81"/>
                  <a:pt x="25" y="7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6" name="Freeform 47">
            <a:extLst>
              <a:ext uri="{FF2B5EF4-FFF2-40B4-BE49-F238E27FC236}">
                <a16:creationId xmlns:a16="http://schemas.microsoft.com/office/drawing/2014/main" id="{CE7D69CE-543C-4A5F-BBEF-65C533CB02B9}"/>
              </a:ext>
            </a:extLst>
          </p:cNvPr>
          <p:cNvSpPr>
            <a:spLocks noEditPoints="1"/>
          </p:cNvSpPr>
          <p:nvPr/>
        </p:nvSpPr>
        <p:spPr bwMode="auto">
          <a:xfrm>
            <a:off x="3065090" y="5814403"/>
            <a:ext cx="503520" cy="265962"/>
          </a:xfrm>
          <a:custGeom>
            <a:avLst/>
            <a:gdLst>
              <a:gd name="T0" fmla="*/ 115 w 148"/>
              <a:gd name="T1" fmla="*/ 70 h 78"/>
              <a:gd name="T2" fmla="*/ 123 w 148"/>
              <a:gd name="T3" fmla="*/ 78 h 78"/>
              <a:gd name="T4" fmla="*/ 131 w 148"/>
              <a:gd name="T5" fmla="*/ 70 h 78"/>
              <a:gd name="T6" fmla="*/ 131 w 148"/>
              <a:gd name="T7" fmla="*/ 66 h 78"/>
              <a:gd name="T8" fmla="*/ 115 w 148"/>
              <a:gd name="T9" fmla="*/ 66 h 78"/>
              <a:gd name="T10" fmla="*/ 115 w 148"/>
              <a:gd name="T11" fmla="*/ 70 h 78"/>
              <a:gd name="T12" fmla="*/ 16 w 148"/>
              <a:gd name="T13" fmla="*/ 70 h 78"/>
              <a:gd name="T14" fmla="*/ 24 w 148"/>
              <a:gd name="T15" fmla="*/ 78 h 78"/>
              <a:gd name="T16" fmla="*/ 33 w 148"/>
              <a:gd name="T17" fmla="*/ 70 h 78"/>
              <a:gd name="T18" fmla="*/ 33 w 148"/>
              <a:gd name="T19" fmla="*/ 66 h 78"/>
              <a:gd name="T20" fmla="*/ 16 w 148"/>
              <a:gd name="T21" fmla="*/ 66 h 78"/>
              <a:gd name="T22" fmla="*/ 16 w 148"/>
              <a:gd name="T23" fmla="*/ 70 h 78"/>
              <a:gd name="T24" fmla="*/ 115 w 148"/>
              <a:gd name="T25" fmla="*/ 16 h 78"/>
              <a:gd name="T26" fmla="*/ 103 w 148"/>
              <a:gd name="T27" fmla="*/ 29 h 78"/>
              <a:gd name="T28" fmla="*/ 115 w 148"/>
              <a:gd name="T29" fmla="*/ 41 h 78"/>
              <a:gd name="T30" fmla="*/ 127 w 148"/>
              <a:gd name="T31" fmla="*/ 29 h 78"/>
              <a:gd name="T32" fmla="*/ 115 w 148"/>
              <a:gd name="T33" fmla="*/ 16 h 78"/>
              <a:gd name="T34" fmla="*/ 136 w 148"/>
              <a:gd name="T35" fmla="*/ 0 h 78"/>
              <a:gd name="T36" fmla="*/ 12 w 148"/>
              <a:gd name="T37" fmla="*/ 0 h 78"/>
              <a:gd name="T38" fmla="*/ 0 w 148"/>
              <a:gd name="T39" fmla="*/ 12 h 78"/>
              <a:gd name="T40" fmla="*/ 0 w 148"/>
              <a:gd name="T41" fmla="*/ 45 h 78"/>
              <a:gd name="T42" fmla="*/ 12 w 148"/>
              <a:gd name="T43" fmla="*/ 57 h 78"/>
              <a:gd name="T44" fmla="*/ 136 w 148"/>
              <a:gd name="T45" fmla="*/ 57 h 78"/>
              <a:gd name="T46" fmla="*/ 148 w 148"/>
              <a:gd name="T47" fmla="*/ 45 h 78"/>
              <a:gd name="T48" fmla="*/ 148 w 148"/>
              <a:gd name="T49" fmla="*/ 12 h 78"/>
              <a:gd name="T50" fmla="*/ 136 w 148"/>
              <a:gd name="T51" fmla="*/ 0 h 78"/>
              <a:gd name="T52" fmla="*/ 57 w 148"/>
              <a:gd name="T53" fmla="*/ 49 h 78"/>
              <a:gd name="T54" fmla="*/ 16 w 148"/>
              <a:gd name="T55" fmla="*/ 49 h 78"/>
              <a:gd name="T56" fmla="*/ 12 w 148"/>
              <a:gd name="T57" fmla="*/ 45 h 78"/>
              <a:gd name="T58" fmla="*/ 16 w 148"/>
              <a:gd name="T59" fmla="*/ 41 h 78"/>
              <a:gd name="T60" fmla="*/ 57 w 148"/>
              <a:gd name="T61" fmla="*/ 41 h 78"/>
              <a:gd name="T62" fmla="*/ 61 w 148"/>
              <a:gd name="T63" fmla="*/ 45 h 78"/>
              <a:gd name="T64" fmla="*/ 57 w 148"/>
              <a:gd name="T65" fmla="*/ 49 h 78"/>
              <a:gd name="T66" fmla="*/ 57 w 148"/>
              <a:gd name="T67" fmla="*/ 33 h 78"/>
              <a:gd name="T68" fmla="*/ 16 w 148"/>
              <a:gd name="T69" fmla="*/ 33 h 78"/>
              <a:gd name="T70" fmla="*/ 12 w 148"/>
              <a:gd name="T71" fmla="*/ 29 h 78"/>
              <a:gd name="T72" fmla="*/ 16 w 148"/>
              <a:gd name="T73" fmla="*/ 24 h 78"/>
              <a:gd name="T74" fmla="*/ 57 w 148"/>
              <a:gd name="T75" fmla="*/ 24 h 78"/>
              <a:gd name="T76" fmla="*/ 61 w 148"/>
              <a:gd name="T77" fmla="*/ 29 h 78"/>
              <a:gd name="T78" fmla="*/ 57 w 148"/>
              <a:gd name="T79" fmla="*/ 33 h 78"/>
              <a:gd name="T80" fmla="*/ 57 w 148"/>
              <a:gd name="T81" fmla="*/ 16 h 78"/>
              <a:gd name="T82" fmla="*/ 16 w 148"/>
              <a:gd name="T83" fmla="*/ 16 h 78"/>
              <a:gd name="T84" fmla="*/ 12 w 148"/>
              <a:gd name="T85" fmla="*/ 12 h 78"/>
              <a:gd name="T86" fmla="*/ 16 w 148"/>
              <a:gd name="T87" fmla="*/ 8 h 78"/>
              <a:gd name="T88" fmla="*/ 57 w 148"/>
              <a:gd name="T89" fmla="*/ 8 h 78"/>
              <a:gd name="T90" fmla="*/ 61 w 148"/>
              <a:gd name="T91" fmla="*/ 12 h 78"/>
              <a:gd name="T92" fmla="*/ 57 w 148"/>
              <a:gd name="T93" fmla="*/ 16 h 78"/>
              <a:gd name="T94" fmla="*/ 115 w 148"/>
              <a:gd name="T95" fmla="*/ 49 h 78"/>
              <a:gd name="T96" fmla="*/ 94 w 148"/>
              <a:gd name="T97" fmla="*/ 29 h 78"/>
              <a:gd name="T98" fmla="*/ 115 w 148"/>
              <a:gd name="T99" fmla="*/ 8 h 78"/>
              <a:gd name="T100" fmla="*/ 136 w 148"/>
              <a:gd name="T101" fmla="*/ 29 h 78"/>
              <a:gd name="T102" fmla="*/ 115 w 148"/>
              <a:gd name="T103" fmla="*/ 4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78">
                <a:moveTo>
                  <a:pt x="115" y="70"/>
                </a:moveTo>
                <a:cubicBezTo>
                  <a:pt x="115" y="74"/>
                  <a:pt x="119" y="78"/>
                  <a:pt x="123" y="78"/>
                </a:cubicBezTo>
                <a:cubicBezTo>
                  <a:pt x="128" y="78"/>
                  <a:pt x="131" y="74"/>
                  <a:pt x="131" y="70"/>
                </a:cubicBezTo>
                <a:cubicBezTo>
                  <a:pt x="131" y="66"/>
                  <a:pt x="131" y="66"/>
                  <a:pt x="131" y="66"/>
                </a:cubicBezTo>
                <a:cubicBezTo>
                  <a:pt x="115" y="66"/>
                  <a:pt x="115" y="66"/>
                  <a:pt x="115" y="66"/>
                </a:cubicBezTo>
                <a:lnTo>
                  <a:pt x="115" y="70"/>
                </a:lnTo>
                <a:close/>
                <a:moveTo>
                  <a:pt x="16" y="70"/>
                </a:moveTo>
                <a:cubicBezTo>
                  <a:pt x="16" y="74"/>
                  <a:pt x="20" y="78"/>
                  <a:pt x="24" y="78"/>
                </a:cubicBezTo>
                <a:cubicBezTo>
                  <a:pt x="29" y="78"/>
                  <a:pt x="33" y="74"/>
                  <a:pt x="33" y="70"/>
                </a:cubicBezTo>
                <a:cubicBezTo>
                  <a:pt x="33" y="66"/>
                  <a:pt x="33" y="66"/>
                  <a:pt x="33" y="66"/>
                </a:cubicBezTo>
                <a:cubicBezTo>
                  <a:pt x="16" y="66"/>
                  <a:pt x="16" y="66"/>
                  <a:pt x="16" y="66"/>
                </a:cubicBezTo>
                <a:lnTo>
                  <a:pt x="16" y="70"/>
                </a:lnTo>
                <a:close/>
                <a:moveTo>
                  <a:pt x="115" y="16"/>
                </a:moveTo>
                <a:cubicBezTo>
                  <a:pt x="108" y="16"/>
                  <a:pt x="103" y="22"/>
                  <a:pt x="103" y="29"/>
                </a:cubicBezTo>
                <a:cubicBezTo>
                  <a:pt x="103" y="35"/>
                  <a:pt x="108" y="41"/>
                  <a:pt x="115" y="41"/>
                </a:cubicBezTo>
                <a:cubicBezTo>
                  <a:pt x="122" y="41"/>
                  <a:pt x="127" y="35"/>
                  <a:pt x="127" y="29"/>
                </a:cubicBezTo>
                <a:cubicBezTo>
                  <a:pt x="127" y="22"/>
                  <a:pt x="122" y="16"/>
                  <a:pt x="115" y="16"/>
                </a:cubicBezTo>
                <a:close/>
                <a:moveTo>
                  <a:pt x="136" y="0"/>
                </a:moveTo>
                <a:cubicBezTo>
                  <a:pt x="12" y="0"/>
                  <a:pt x="12" y="0"/>
                  <a:pt x="12" y="0"/>
                </a:cubicBezTo>
                <a:cubicBezTo>
                  <a:pt x="5" y="0"/>
                  <a:pt x="0" y="5"/>
                  <a:pt x="0" y="12"/>
                </a:cubicBezTo>
                <a:cubicBezTo>
                  <a:pt x="0" y="45"/>
                  <a:pt x="0" y="45"/>
                  <a:pt x="0" y="45"/>
                </a:cubicBezTo>
                <a:cubicBezTo>
                  <a:pt x="0" y="52"/>
                  <a:pt x="5" y="57"/>
                  <a:pt x="12" y="57"/>
                </a:cubicBezTo>
                <a:cubicBezTo>
                  <a:pt x="136" y="57"/>
                  <a:pt x="136" y="57"/>
                  <a:pt x="136" y="57"/>
                </a:cubicBezTo>
                <a:cubicBezTo>
                  <a:pt x="142" y="57"/>
                  <a:pt x="148" y="52"/>
                  <a:pt x="148" y="45"/>
                </a:cubicBezTo>
                <a:cubicBezTo>
                  <a:pt x="148" y="12"/>
                  <a:pt x="148" y="12"/>
                  <a:pt x="148" y="12"/>
                </a:cubicBezTo>
                <a:cubicBezTo>
                  <a:pt x="148" y="5"/>
                  <a:pt x="142" y="0"/>
                  <a:pt x="136" y="0"/>
                </a:cubicBezTo>
                <a:close/>
                <a:moveTo>
                  <a:pt x="57" y="49"/>
                </a:moveTo>
                <a:cubicBezTo>
                  <a:pt x="16" y="49"/>
                  <a:pt x="16" y="49"/>
                  <a:pt x="16" y="49"/>
                </a:cubicBezTo>
                <a:cubicBezTo>
                  <a:pt x="14" y="49"/>
                  <a:pt x="12" y="47"/>
                  <a:pt x="12" y="45"/>
                </a:cubicBezTo>
                <a:cubicBezTo>
                  <a:pt x="12" y="43"/>
                  <a:pt x="14" y="41"/>
                  <a:pt x="16" y="41"/>
                </a:cubicBezTo>
                <a:cubicBezTo>
                  <a:pt x="57" y="41"/>
                  <a:pt x="57" y="41"/>
                  <a:pt x="57" y="41"/>
                </a:cubicBezTo>
                <a:cubicBezTo>
                  <a:pt x="60" y="41"/>
                  <a:pt x="61" y="43"/>
                  <a:pt x="61" y="45"/>
                </a:cubicBezTo>
                <a:cubicBezTo>
                  <a:pt x="61" y="47"/>
                  <a:pt x="60" y="49"/>
                  <a:pt x="57" y="49"/>
                </a:cubicBezTo>
                <a:close/>
                <a:moveTo>
                  <a:pt x="57" y="33"/>
                </a:moveTo>
                <a:cubicBezTo>
                  <a:pt x="16" y="33"/>
                  <a:pt x="16" y="33"/>
                  <a:pt x="16" y="33"/>
                </a:cubicBezTo>
                <a:cubicBezTo>
                  <a:pt x="14" y="33"/>
                  <a:pt x="12" y="31"/>
                  <a:pt x="12" y="29"/>
                </a:cubicBezTo>
                <a:cubicBezTo>
                  <a:pt x="12" y="26"/>
                  <a:pt x="14" y="24"/>
                  <a:pt x="16" y="24"/>
                </a:cubicBezTo>
                <a:cubicBezTo>
                  <a:pt x="57" y="24"/>
                  <a:pt x="57" y="24"/>
                  <a:pt x="57" y="24"/>
                </a:cubicBezTo>
                <a:cubicBezTo>
                  <a:pt x="60" y="24"/>
                  <a:pt x="61" y="26"/>
                  <a:pt x="61" y="29"/>
                </a:cubicBezTo>
                <a:cubicBezTo>
                  <a:pt x="61" y="31"/>
                  <a:pt x="60" y="33"/>
                  <a:pt x="57" y="33"/>
                </a:cubicBezTo>
                <a:close/>
                <a:moveTo>
                  <a:pt x="57" y="16"/>
                </a:moveTo>
                <a:cubicBezTo>
                  <a:pt x="16" y="16"/>
                  <a:pt x="16" y="16"/>
                  <a:pt x="16" y="16"/>
                </a:cubicBezTo>
                <a:cubicBezTo>
                  <a:pt x="14" y="16"/>
                  <a:pt x="12" y="14"/>
                  <a:pt x="12" y="12"/>
                </a:cubicBezTo>
                <a:cubicBezTo>
                  <a:pt x="12" y="10"/>
                  <a:pt x="14" y="8"/>
                  <a:pt x="16" y="8"/>
                </a:cubicBezTo>
                <a:cubicBezTo>
                  <a:pt x="57" y="8"/>
                  <a:pt x="57" y="8"/>
                  <a:pt x="57" y="8"/>
                </a:cubicBezTo>
                <a:cubicBezTo>
                  <a:pt x="60" y="8"/>
                  <a:pt x="61" y="10"/>
                  <a:pt x="61" y="12"/>
                </a:cubicBezTo>
                <a:cubicBezTo>
                  <a:pt x="61" y="14"/>
                  <a:pt x="60" y="16"/>
                  <a:pt x="57" y="16"/>
                </a:cubicBezTo>
                <a:close/>
                <a:moveTo>
                  <a:pt x="115" y="49"/>
                </a:moveTo>
                <a:cubicBezTo>
                  <a:pt x="104" y="49"/>
                  <a:pt x="94" y="40"/>
                  <a:pt x="94" y="29"/>
                </a:cubicBezTo>
                <a:cubicBezTo>
                  <a:pt x="94" y="17"/>
                  <a:pt x="104" y="8"/>
                  <a:pt x="115" y="8"/>
                </a:cubicBezTo>
                <a:cubicBezTo>
                  <a:pt x="126" y="8"/>
                  <a:pt x="136" y="17"/>
                  <a:pt x="136" y="29"/>
                </a:cubicBezTo>
                <a:cubicBezTo>
                  <a:pt x="136" y="40"/>
                  <a:pt x="126" y="49"/>
                  <a:pt x="115" y="49"/>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7" name="Freeform 48">
            <a:extLst>
              <a:ext uri="{FF2B5EF4-FFF2-40B4-BE49-F238E27FC236}">
                <a16:creationId xmlns:a16="http://schemas.microsoft.com/office/drawing/2014/main" id="{4B9CF602-E15B-4A45-A68E-0A6CA2526311}"/>
              </a:ext>
            </a:extLst>
          </p:cNvPr>
          <p:cNvSpPr>
            <a:spLocks noEditPoints="1"/>
          </p:cNvSpPr>
          <p:nvPr/>
        </p:nvSpPr>
        <p:spPr bwMode="auto">
          <a:xfrm>
            <a:off x="4175415" y="5798910"/>
            <a:ext cx="573237" cy="196243"/>
          </a:xfrm>
          <a:custGeom>
            <a:avLst/>
            <a:gdLst>
              <a:gd name="T0" fmla="*/ 163 w 168"/>
              <a:gd name="T1" fmla="*/ 16 h 57"/>
              <a:gd name="T2" fmla="*/ 168 w 168"/>
              <a:gd name="T3" fmla="*/ 10 h 57"/>
              <a:gd name="T4" fmla="*/ 166 w 168"/>
              <a:gd name="T5" fmla="*/ 2 h 57"/>
              <a:gd name="T6" fmla="*/ 155 w 168"/>
              <a:gd name="T7" fmla="*/ 1 h 57"/>
              <a:gd name="T8" fmla="*/ 157 w 168"/>
              <a:gd name="T9" fmla="*/ 7 h 57"/>
              <a:gd name="T10" fmla="*/ 161 w 168"/>
              <a:gd name="T11" fmla="*/ 4 h 57"/>
              <a:gd name="T12" fmla="*/ 164 w 168"/>
              <a:gd name="T13" fmla="*/ 7 h 57"/>
              <a:gd name="T14" fmla="*/ 159 w 168"/>
              <a:gd name="T15" fmla="*/ 14 h 57"/>
              <a:gd name="T16" fmla="*/ 152 w 168"/>
              <a:gd name="T17" fmla="*/ 24 h 57"/>
              <a:gd name="T18" fmla="*/ 168 w 168"/>
              <a:gd name="T19" fmla="*/ 20 h 57"/>
              <a:gd name="T20" fmla="*/ 160 w 168"/>
              <a:gd name="T21" fmla="*/ 19 h 57"/>
              <a:gd name="T22" fmla="*/ 29 w 168"/>
              <a:gd name="T23" fmla="*/ 57 h 57"/>
              <a:gd name="T24" fmla="*/ 8 w 168"/>
              <a:gd name="T25" fmla="*/ 49 h 57"/>
              <a:gd name="T26" fmla="*/ 20 w 168"/>
              <a:gd name="T27" fmla="*/ 37 h 57"/>
              <a:gd name="T28" fmla="*/ 8 w 168"/>
              <a:gd name="T29" fmla="*/ 28 h 57"/>
              <a:gd name="T30" fmla="*/ 29 w 168"/>
              <a:gd name="T31" fmla="*/ 20 h 57"/>
              <a:gd name="T32" fmla="*/ 0 w 168"/>
              <a:gd name="T33" fmla="*/ 12 h 57"/>
              <a:gd name="T34" fmla="*/ 33 w 168"/>
              <a:gd name="T35" fmla="*/ 33 h 57"/>
              <a:gd name="T36" fmla="*/ 62 w 168"/>
              <a:gd name="T37" fmla="*/ 28 h 57"/>
              <a:gd name="T38" fmla="*/ 33 w 168"/>
              <a:gd name="T39" fmla="*/ 33 h 57"/>
              <a:gd name="T40" fmla="*/ 62 w 168"/>
              <a:gd name="T41" fmla="*/ 41 h 57"/>
              <a:gd name="T42" fmla="*/ 33 w 168"/>
              <a:gd name="T43" fmla="*/ 37 h 57"/>
              <a:gd name="T44" fmla="*/ 94 w 168"/>
              <a:gd name="T45" fmla="*/ 29 h 57"/>
              <a:gd name="T46" fmla="*/ 78 w 168"/>
              <a:gd name="T47" fmla="*/ 24 h 57"/>
              <a:gd name="T48" fmla="*/ 70 w 168"/>
              <a:gd name="T49" fmla="*/ 57 h 57"/>
              <a:gd name="T50" fmla="*/ 78 w 168"/>
              <a:gd name="T51" fmla="*/ 41 h 57"/>
              <a:gd name="T52" fmla="*/ 86 w 168"/>
              <a:gd name="T53" fmla="*/ 31 h 57"/>
              <a:gd name="T54" fmla="*/ 86 w 168"/>
              <a:gd name="T55" fmla="*/ 57 h 57"/>
              <a:gd name="T56" fmla="*/ 94 w 168"/>
              <a:gd name="T57" fmla="*/ 33 h 57"/>
              <a:gd name="T58" fmla="*/ 103 w 168"/>
              <a:gd name="T59" fmla="*/ 57 h 57"/>
              <a:gd name="T60" fmla="*/ 111 w 168"/>
              <a:gd name="T61" fmla="*/ 37 h 57"/>
              <a:gd name="T62" fmla="*/ 94 w 168"/>
              <a:gd name="T63" fmla="*/ 29 h 57"/>
              <a:gd name="T64" fmla="*/ 136 w 168"/>
              <a:gd name="T65" fmla="*/ 50 h 57"/>
              <a:gd name="T66" fmla="*/ 129 w 168"/>
              <a:gd name="T67" fmla="*/ 38 h 57"/>
              <a:gd name="T68" fmla="*/ 136 w 168"/>
              <a:gd name="T69" fmla="*/ 28 h 57"/>
              <a:gd name="T70" fmla="*/ 142 w 168"/>
              <a:gd name="T71" fmla="*/ 33 h 57"/>
              <a:gd name="T72" fmla="*/ 146 w 168"/>
              <a:gd name="T73" fmla="*/ 23 h 57"/>
              <a:gd name="T74" fmla="*/ 124 w 168"/>
              <a:gd name="T75" fmla="*/ 25 h 57"/>
              <a:gd name="T76" fmla="*/ 124 w 168"/>
              <a:gd name="T77" fmla="*/ 52 h 57"/>
              <a:gd name="T78" fmla="*/ 147 w 168"/>
              <a:gd name="T79" fmla="*/ 54 h 57"/>
              <a:gd name="T80" fmla="*/ 143 w 168"/>
              <a:gd name="T81" fmla="*/ 4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57">
                <a:moveTo>
                  <a:pt x="160" y="19"/>
                </a:moveTo>
                <a:cubicBezTo>
                  <a:pt x="161" y="18"/>
                  <a:pt x="161" y="17"/>
                  <a:pt x="163" y="16"/>
                </a:cubicBezTo>
                <a:cubicBezTo>
                  <a:pt x="164" y="15"/>
                  <a:pt x="165" y="14"/>
                  <a:pt x="166" y="13"/>
                </a:cubicBezTo>
                <a:cubicBezTo>
                  <a:pt x="167" y="12"/>
                  <a:pt x="168" y="11"/>
                  <a:pt x="168" y="10"/>
                </a:cubicBezTo>
                <a:cubicBezTo>
                  <a:pt x="168" y="9"/>
                  <a:pt x="168" y="8"/>
                  <a:pt x="168" y="7"/>
                </a:cubicBezTo>
                <a:cubicBezTo>
                  <a:pt x="168" y="5"/>
                  <a:pt x="168" y="3"/>
                  <a:pt x="166" y="2"/>
                </a:cubicBezTo>
                <a:cubicBezTo>
                  <a:pt x="165" y="0"/>
                  <a:pt x="163" y="0"/>
                  <a:pt x="161" y="0"/>
                </a:cubicBezTo>
                <a:cubicBezTo>
                  <a:pt x="159" y="0"/>
                  <a:pt x="157" y="0"/>
                  <a:pt x="155" y="1"/>
                </a:cubicBezTo>
                <a:cubicBezTo>
                  <a:pt x="154" y="3"/>
                  <a:pt x="153" y="4"/>
                  <a:pt x="153" y="7"/>
                </a:cubicBezTo>
                <a:cubicBezTo>
                  <a:pt x="157" y="7"/>
                  <a:pt x="157" y="7"/>
                  <a:pt x="157" y="7"/>
                </a:cubicBezTo>
                <a:cubicBezTo>
                  <a:pt x="157" y="6"/>
                  <a:pt x="158" y="5"/>
                  <a:pt x="158" y="4"/>
                </a:cubicBezTo>
                <a:cubicBezTo>
                  <a:pt x="159" y="4"/>
                  <a:pt x="160" y="4"/>
                  <a:pt x="161" y="4"/>
                </a:cubicBezTo>
                <a:cubicBezTo>
                  <a:pt x="162" y="4"/>
                  <a:pt x="162" y="4"/>
                  <a:pt x="163" y="4"/>
                </a:cubicBezTo>
                <a:cubicBezTo>
                  <a:pt x="164" y="5"/>
                  <a:pt x="164" y="6"/>
                  <a:pt x="164" y="7"/>
                </a:cubicBezTo>
                <a:cubicBezTo>
                  <a:pt x="164" y="8"/>
                  <a:pt x="163" y="9"/>
                  <a:pt x="163" y="10"/>
                </a:cubicBezTo>
                <a:cubicBezTo>
                  <a:pt x="162" y="10"/>
                  <a:pt x="161" y="12"/>
                  <a:pt x="159" y="14"/>
                </a:cubicBezTo>
                <a:cubicBezTo>
                  <a:pt x="156" y="16"/>
                  <a:pt x="155" y="18"/>
                  <a:pt x="154" y="20"/>
                </a:cubicBezTo>
                <a:cubicBezTo>
                  <a:pt x="153" y="21"/>
                  <a:pt x="152" y="23"/>
                  <a:pt x="152" y="24"/>
                </a:cubicBezTo>
                <a:cubicBezTo>
                  <a:pt x="168" y="24"/>
                  <a:pt x="168" y="24"/>
                  <a:pt x="168" y="24"/>
                </a:cubicBezTo>
                <a:cubicBezTo>
                  <a:pt x="168" y="20"/>
                  <a:pt x="168" y="20"/>
                  <a:pt x="168" y="20"/>
                </a:cubicBezTo>
                <a:cubicBezTo>
                  <a:pt x="159" y="20"/>
                  <a:pt x="159" y="20"/>
                  <a:pt x="159" y="20"/>
                </a:cubicBezTo>
                <a:cubicBezTo>
                  <a:pt x="159" y="20"/>
                  <a:pt x="160" y="19"/>
                  <a:pt x="160" y="19"/>
                </a:cubicBezTo>
                <a:close/>
                <a:moveTo>
                  <a:pt x="0" y="57"/>
                </a:moveTo>
                <a:cubicBezTo>
                  <a:pt x="29" y="57"/>
                  <a:pt x="29" y="57"/>
                  <a:pt x="29" y="57"/>
                </a:cubicBezTo>
                <a:cubicBezTo>
                  <a:pt x="29" y="49"/>
                  <a:pt x="29" y="49"/>
                  <a:pt x="29" y="49"/>
                </a:cubicBezTo>
                <a:cubicBezTo>
                  <a:pt x="8" y="49"/>
                  <a:pt x="8" y="49"/>
                  <a:pt x="8" y="49"/>
                </a:cubicBezTo>
                <a:cubicBezTo>
                  <a:pt x="8" y="37"/>
                  <a:pt x="8" y="37"/>
                  <a:pt x="8" y="37"/>
                </a:cubicBezTo>
                <a:cubicBezTo>
                  <a:pt x="20" y="37"/>
                  <a:pt x="20" y="37"/>
                  <a:pt x="20" y="37"/>
                </a:cubicBezTo>
                <a:cubicBezTo>
                  <a:pt x="20" y="28"/>
                  <a:pt x="20" y="28"/>
                  <a:pt x="20" y="28"/>
                </a:cubicBezTo>
                <a:cubicBezTo>
                  <a:pt x="8" y="28"/>
                  <a:pt x="8" y="28"/>
                  <a:pt x="8" y="28"/>
                </a:cubicBezTo>
                <a:cubicBezTo>
                  <a:pt x="8" y="20"/>
                  <a:pt x="8" y="20"/>
                  <a:pt x="8" y="20"/>
                </a:cubicBezTo>
                <a:cubicBezTo>
                  <a:pt x="29" y="20"/>
                  <a:pt x="29" y="20"/>
                  <a:pt x="29" y="20"/>
                </a:cubicBezTo>
                <a:cubicBezTo>
                  <a:pt x="29" y="12"/>
                  <a:pt x="29" y="12"/>
                  <a:pt x="29" y="12"/>
                </a:cubicBezTo>
                <a:cubicBezTo>
                  <a:pt x="0" y="12"/>
                  <a:pt x="0" y="12"/>
                  <a:pt x="0" y="12"/>
                </a:cubicBezTo>
                <a:lnTo>
                  <a:pt x="0" y="57"/>
                </a:lnTo>
                <a:close/>
                <a:moveTo>
                  <a:pt x="33" y="33"/>
                </a:moveTo>
                <a:cubicBezTo>
                  <a:pt x="62" y="33"/>
                  <a:pt x="62" y="33"/>
                  <a:pt x="62" y="33"/>
                </a:cubicBezTo>
                <a:cubicBezTo>
                  <a:pt x="62" y="28"/>
                  <a:pt x="62" y="28"/>
                  <a:pt x="62" y="28"/>
                </a:cubicBezTo>
                <a:cubicBezTo>
                  <a:pt x="33" y="28"/>
                  <a:pt x="33" y="28"/>
                  <a:pt x="33" y="28"/>
                </a:cubicBezTo>
                <a:lnTo>
                  <a:pt x="33" y="33"/>
                </a:lnTo>
                <a:close/>
                <a:moveTo>
                  <a:pt x="33" y="41"/>
                </a:moveTo>
                <a:cubicBezTo>
                  <a:pt x="62" y="41"/>
                  <a:pt x="62" y="41"/>
                  <a:pt x="62" y="41"/>
                </a:cubicBezTo>
                <a:cubicBezTo>
                  <a:pt x="62" y="37"/>
                  <a:pt x="62" y="37"/>
                  <a:pt x="62" y="37"/>
                </a:cubicBezTo>
                <a:cubicBezTo>
                  <a:pt x="33" y="37"/>
                  <a:pt x="33" y="37"/>
                  <a:pt x="33" y="37"/>
                </a:cubicBezTo>
                <a:lnTo>
                  <a:pt x="33" y="41"/>
                </a:lnTo>
                <a:close/>
                <a:moveTo>
                  <a:pt x="94" y="29"/>
                </a:moveTo>
                <a:cubicBezTo>
                  <a:pt x="90" y="16"/>
                  <a:pt x="78" y="24"/>
                  <a:pt x="78" y="28"/>
                </a:cubicBezTo>
                <a:cubicBezTo>
                  <a:pt x="78" y="24"/>
                  <a:pt x="78" y="24"/>
                  <a:pt x="78" y="24"/>
                </a:cubicBezTo>
                <a:cubicBezTo>
                  <a:pt x="70" y="24"/>
                  <a:pt x="70" y="24"/>
                  <a:pt x="70" y="24"/>
                </a:cubicBezTo>
                <a:cubicBezTo>
                  <a:pt x="70" y="57"/>
                  <a:pt x="70" y="57"/>
                  <a:pt x="70" y="57"/>
                </a:cubicBezTo>
                <a:cubicBezTo>
                  <a:pt x="78" y="57"/>
                  <a:pt x="78" y="57"/>
                  <a:pt x="78" y="57"/>
                </a:cubicBezTo>
                <a:cubicBezTo>
                  <a:pt x="78" y="41"/>
                  <a:pt x="78" y="41"/>
                  <a:pt x="78" y="41"/>
                </a:cubicBezTo>
                <a:cubicBezTo>
                  <a:pt x="78" y="38"/>
                  <a:pt x="78" y="33"/>
                  <a:pt x="78" y="33"/>
                </a:cubicBezTo>
                <a:cubicBezTo>
                  <a:pt x="78" y="33"/>
                  <a:pt x="81" y="27"/>
                  <a:pt x="86" y="31"/>
                </a:cubicBezTo>
                <a:cubicBezTo>
                  <a:pt x="86" y="31"/>
                  <a:pt x="86" y="32"/>
                  <a:pt x="86" y="41"/>
                </a:cubicBezTo>
                <a:cubicBezTo>
                  <a:pt x="86" y="57"/>
                  <a:pt x="86" y="57"/>
                  <a:pt x="86" y="57"/>
                </a:cubicBezTo>
                <a:cubicBezTo>
                  <a:pt x="94" y="57"/>
                  <a:pt x="94" y="57"/>
                  <a:pt x="94" y="57"/>
                </a:cubicBezTo>
                <a:cubicBezTo>
                  <a:pt x="94" y="33"/>
                  <a:pt x="94" y="33"/>
                  <a:pt x="94" y="33"/>
                </a:cubicBezTo>
                <a:cubicBezTo>
                  <a:pt x="96" y="29"/>
                  <a:pt x="103" y="27"/>
                  <a:pt x="103" y="34"/>
                </a:cubicBezTo>
                <a:cubicBezTo>
                  <a:pt x="103" y="57"/>
                  <a:pt x="103" y="57"/>
                  <a:pt x="103" y="57"/>
                </a:cubicBezTo>
                <a:cubicBezTo>
                  <a:pt x="111" y="57"/>
                  <a:pt x="111" y="57"/>
                  <a:pt x="111" y="57"/>
                </a:cubicBezTo>
                <a:cubicBezTo>
                  <a:pt x="111" y="37"/>
                  <a:pt x="111" y="37"/>
                  <a:pt x="111" y="37"/>
                </a:cubicBezTo>
                <a:cubicBezTo>
                  <a:pt x="111" y="34"/>
                  <a:pt x="111" y="29"/>
                  <a:pt x="111" y="29"/>
                </a:cubicBezTo>
                <a:cubicBezTo>
                  <a:pt x="111" y="29"/>
                  <a:pt x="107" y="16"/>
                  <a:pt x="94" y="29"/>
                </a:cubicBezTo>
                <a:close/>
                <a:moveTo>
                  <a:pt x="141" y="48"/>
                </a:moveTo>
                <a:cubicBezTo>
                  <a:pt x="139" y="49"/>
                  <a:pt x="138" y="50"/>
                  <a:pt x="136" y="50"/>
                </a:cubicBezTo>
                <a:cubicBezTo>
                  <a:pt x="134" y="50"/>
                  <a:pt x="132" y="49"/>
                  <a:pt x="131" y="47"/>
                </a:cubicBezTo>
                <a:cubicBezTo>
                  <a:pt x="129" y="45"/>
                  <a:pt x="129" y="42"/>
                  <a:pt x="129" y="38"/>
                </a:cubicBezTo>
                <a:cubicBezTo>
                  <a:pt x="129" y="34"/>
                  <a:pt x="129" y="32"/>
                  <a:pt x="131" y="30"/>
                </a:cubicBezTo>
                <a:cubicBezTo>
                  <a:pt x="132" y="28"/>
                  <a:pt x="134" y="28"/>
                  <a:pt x="136" y="28"/>
                </a:cubicBezTo>
                <a:cubicBezTo>
                  <a:pt x="138" y="28"/>
                  <a:pt x="139" y="28"/>
                  <a:pt x="140" y="29"/>
                </a:cubicBezTo>
                <a:cubicBezTo>
                  <a:pt x="141" y="30"/>
                  <a:pt x="142" y="31"/>
                  <a:pt x="142" y="33"/>
                </a:cubicBezTo>
                <a:cubicBezTo>
                  <a:pt x="152" y="32"/>
                  <a:pt x="152" y="32"/>
                  <a:pt x="152" y="32"/>
                </a:cubicBezTo>
                <a:cubicBezTo>
                  <a:pt x="150" y="28"/>
                  <a:pt x="149" y="25"/>
                  <a:pt x="146" y="23"/>
                </a:cubicBezTo>
                <a:cubicBezTo>
                  <a:pt x="144" y="21"/>
                  <a:pt x="140" y="20"/>
                  <a:pt x="136" y="20"/>
                </a:cubicBezTo>
                <a:cubicBezTo>
                  <a:pt x="131" y="20"/>
                  <a:pt x="127" y="22"/>
                  <a:pt x="124" y="25"/>
                </a:cubicBezTo>
                <a:cubicBezTo>
                  <a:pt x="121" y="28"/>
                  <a:pt x="119" y="33"/>
                  <a:pt x="119" y="39"/>
                </a:cubicBezTo>
                <a:cubicBezTo>
                  <a:pt x="119" y="45"/>
                  <a:pt x="121" y="49"/>
                  <a:pt x="124" y="52"/>
                </a:cubicBezTo>
                <a:cubicBezTo>
                  <a:pt x="127" y="56"/>
                  <a:pt x="131" y="57"/>
                  <a:pt x="136" y="57"/>
                </a:cubicBezTo>
                <a:cubicBezTo>
                  <a:pt x="140" y="57"/>
                  <a:pt x="144" y="56"/>
                  <a:pt x="147" y="54"/>
                </a:cubicBezTo>
                <a:cubicBezTo>
                  <a:pt x="149" y="52"/>
                  <a:pt x="151" y="49"/>
                  <a:pt x="152" y="44"/>
                </a:cubicBezTo>
                <a:cubicBezTo>
                  <a:pt x="143" y="43"/>
                  <a:pt x="143" y="43"/>
                  <a:pt x="143" y="43"/>
                </a:cubicBezTo>
                <a:cubicBezTo>
                  <a:pt x="142" y="45"/>
                  <a:pt x="142" y="47"/>
                  <a:pt x="141" y="4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8" name="Freeform 49">
            <a:extLst>
              <a:ext uri="{FF2B5EF4-FFF2-40B4-BE49-F238E27FC236}">
                <a16:creationId xmlns:a16="http://schemas.microsoft.com/office/drawing/2014/main" id="{C5114CA2-6812-4F5C-B4A9-EF415F410BC5}"/>
              </a:ext>
            </a:extLst>
          </p:cNvPr>
          <p:cNvSpPr>
            <a:spLocks/>
          </p:cNvSpPr>
          <p:nvPr/>
        </p:nvSpPr>
        <p:spPr bwMode="auto">
          <a:xfrm>
            <a:off x="5339965" y="5698207"/>
            <a:ext cx="379576" cy="454459"/>
          </a:xfrm>
          <a:custGeom>
            <a:avLst/>
            <a:gdLst>
              <a:gd name="T0" fmla="*/ 107 w 111"/>
              <a:gd name="T1" fmla="*/ 44 h 133"/>
              <a:gd name="T2" fmla="*/ 101 w 111"/>
              <a:gd name="T3" fmla="*/ 34 h 133"/>
              <a:gd name="T4" fmla="*/ 98 w 111"/>
              <a:gd name="T5" fmla="*/ 31 h 133"/>
              <a:gd name="T6" fmla="*/ 96 w 111"/>
              <a:gd name="T7" fmla="*/ 29 h 133"/>
              <a:gd name="T8" fmla="*/ 90 w 111"/>
              <a:gd name="T9" fmla="*/ 24 h 133"/>
              <a:gd name="T10" fmla="*/ 0 w 111"/>
              <a:gd name="T11" fmla="*/ 20 h 133"/>
              <a:gd name="T12" fmla="*/ 39 w 111"/>
              <a:gd name="T13" fmla="*/ 82 h 133"/>
              <a:gd name="T14" fmla="*/ 42 w 111"/>
              <a:gd name="T15" fmla="*/ 86 h 133"/>
              <a:gd name="T16" fmla="*/ 43 w 111"/>
              <a:gd name="T17" fmla="*/ 88 h 133"/>
              <a:gd name="T18" fmla="*/ 45 w 111"/>
              <a:gd name="T19" fmla="*/ 89 h 133"/>
              <a:gd name="T20" fmla="*/ 51 w 111"/>
              <a:gd name="T21" fmla="*/ 94 h 133"/>
              <a:gd name="T22" fmla="*/ 65 w 111"/>
              <a:gd name="T23" fmla="*/ 99 h 133"/>
              <a:gd name="T24" fmla="*/ 93 w 111"/>
              <a:gd name="T25" fmla="*/ 103 h 133"/>
              <a:gd name="T26" fmla="*/ 80 w 111"/>
              <a:gd name="T27" fmla="*/ 72 h 133"/>
              <a:gd name="T28" fmla="*/ 43 w 111"/>
              <a:gd name="T29" fmla="*/ 34 h 133"/>
              <a:gd name="T30" fmla="*/ 101 w 111"/>
              <a:gd name="T31" fmla="*/ 108 h 133"/>
              <a:gd name="T32" fmla="*/ 101 w 111"/>
              <a:gd name="T33" fmla="*/ 108 h 133"/>
              <a:gd name="T34" fmla="*/ 100 w 111"/>
              <a:gd name="T35" fmla="*/ 131 h 133"/>
              <a:gd name="T36" fmla="*/ 102 w 111"/>
              <a:gd name="T37" fmla="*/ 132 h 133"/>
              <a:gd name="T38" fmla="*/ 105 w 111"/>
              <a:gd name="T39" fmla="*/ 132 h 133"/>
              <a:gd name="T40" fmla="*/ 107 w 111"/>
              <a:gd name="T41" fmla="*/ 132 h 133"/>
              <a:gd name="T42" fmla="*/ 109 w 111"/>
              <a:gd name="T43" fmla="*/ 131 h 133"/>
              <a:gd name="T44" fmla="*/ 103 w 111"/>
              <a:gd name="T45" fmla="*/ 97 h 133"/>
              <a:gd name="T46" fmla="*/ 111 w 111"/>
              <a:gd name="T47" fmla="*/ 64 h 133"/>
              <a:gd name="T48" fmla="*/ 107 w 111"/>
              <a:gd name="T49"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3">
                <a:moveTo>
                  <a:pt x="107" y="44"/>
                </a:moveTo>
                <a:cubicBezTo>
                  <a:pt x="106" y="40"/>
                  <a:pt x="104" y="37"/>
                  <a:pt x="101" y="34"/>
                </a:cubicBezTo>
                <a:cubicBezTo>
                  <a:pt x="100" y="33"/>
                  <a:pt x="99" y="32"/>
                  <a:pt x="98" y="31"/>
                </a:cubicBezTo>
                <a:cubicBezTo>
                  <a:pt x="98" y="30"/>
                  <a:pt x="97" y="29"/>
                  <a:pt x="96" y="29"/>
                </a:cubicBezTo>
                <a:cubicBezTo>
                  <a:pt x="94" y="27"/>
                  <a:pt x="92" y="26"/>
                  <a:pt x="90" y="24"/>
                </a:cubicBezTo>
                <a:cubicBezTo>
                  <a:pt x="49" y="0"/>
                  <a:pt x="28" y="25"/>
                  <a:pt x="0" y="20"/>
                </a:cubicBezTo>
                <a:cubicBezTo>
                  <a:pt x="26" y="31"/>
                  <a:pt x="19" y="58"/>
                  <a:pt x="39" y="82"/>
                </a:cubicBezTo>
                <a:cubicBezTo>
                  <a:pt x="40" y="83"/>
                  <a:pt x="41" y="85"/>
                  <a:pt x="42" y="86"/>
                </a:cubicBezTo>
                <a:cubicBezTo>
                  <a:pt x="42" y="87"/>
                  <a:pt x="43" y="87"/>
                  <a:pt x="43" y="88"/>
                </a:cubicBezTo>
                <a:cubicBezTo>
                  <a:pt x="44" y="88"/>
                  <a:pt x="44" y="89"/>
                  <a:pt x="45" y="89"/>
                </a:cubicBezTo>
                <a:cubicBezTo>
                  <a:pt x="47" y="91"/>
                  <a:pt x="49" y="93"/>
                  <a:pt x="51" y="94"/>
                </a:cubicBezTo>
                <a:cubicBezTo>
                  <a:pt x="55" y="97"/>
                  <a:pt x="60" y="98"/>
                  <a:pt x="65" y="99"/>
                </a:cubicBezTo>
                <a:cubicBezTo>
                  <a:pt x="75" y="101"/>
                  <a:pt x="85" y="101"/>
                  <a:pt x="93" y="103"/>
                </a:cubicBezTo>
                <a:cubicBezTo>
                  <a:pt x="92" y="98"/>
                  <a:pt x="90" y="87"/>
                  <a:pt x="80" y="72"/>
                </a:cubicBezTo>
                <a:cubicBezTo>
                  <a:pt x="54" y="37"/>
                  <a:pt x="54" y="46"/>
                  <a:pt x="43" y="34"/>
                </a:cubicBezTo>
                <a:cubicBezTo>
                  <a:pt x="66" y="38"/>
                  <a:pt x="101" y="89"/>
                  <a:pt x="101" y="108"/>
                </a:cubicBezTo>
                <a:cubicBezTo>
                  <a:pt x="101" y="108"/>
                  <a:pt x="101" y="108"/>
                  <a:pt x="101" y="108"/>
                </a:cubicBezTo>
                <a:cubicBezTo>
                  <a:pt x="103" y="120"/>
                  <a:pt x="100" y="131"/>
                  <a:pt x="100" y="131"/>
                </a:cubicBezTo>
                <a:cubicBezTo>
                  <a:pt x="100" y="131"/>
                  <a:pt x="101" y="132"/>
                  <a:pt x="102" y="132"/>
                </a:cubicBezTo>
                <a:cubicBezTo>
                  <a:pt x="103" y="132"/>
                  <a:pt x="104" y="133"/>
                  <a:pt x="105" y="132"/>
                </a:cubicBezTo>
                <a:cubicBezTo>
                  <a:pt x="106" y="132"/>
                  <a:pt x="106" y="132"/>
                  <a:pt x="107" y="132"/>
                </a:cubicBezTo>
                <a:cubicBezTo>
                  <a:pt x="108" y="132"/>
                  <a:pt x="108" y="131"/>
                  <a:pt x="109" y="131"/>
                </a:cubicBezTo>
                <a:cubicBezTo>
                  <a:pt x="111" y="124"/>
                  <a:pt x="108" y="108"/>
                  <a:pt x="103" y="97"/>
                </a:cubicBezTo>
                <a:cubicBezTo>
                  <a:pt x="106" y="88"/>
                  <a:pt x="111" y="77"/>
                  <a:pt x="111" y="64"/>
                </a:cubicBezTo>
                <a:cubicBezTo>
                  <a:pt x="111" y="57"/>
                  <a:pt x="110" y="51"/>
                  <a:pt x="107" y="4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99" name="Freeform 50">
            <a:extLst>
              <a:ext uri="{FF2B5EF4-FFF2-40B4-BE49-F238E27FC236}">
                <a16:creationId xmlns:a16="http://schemas.microsoft.com/office/drawing/2014/main" id="{109CBED7-138D-4787-A7D1-4EAD5AEF5BE0}"/>
              </a:ext>
            </a:extLst>
          </p:cNvPr>
          <p:cNvSpPr>
            <a:spLocks/>
          </p:cNvSpPr>
          <p:nvPr/>
        </p:nvSpPr>
        <p:spPr bwMode="auto">
          <a:xfrm>
            <a:off x="6429633" y="5700789"/>
            <a:ext cx="495773" cy="475115"/>
          </a:xfrm>
          <a:custGeom>
            <a:avLst/>
            <a:gdLst>
              <a:gd name="T0" fmla="*/ 24 w 145"/>
              <a:gd name="T1" fmla="*/ 31 h 139"/>
              <a:gd name="T2" fmla="*/ 42 w 145"/>
              <a:gd name="T3" fmla="*/ 33 h 139"/>
              <a:gd name="T4" fmla="*/ 33 w 145"/>
              <a:gd name="T5" fmla="*/ 40 h 139"/>
              <a:gd name="T6" fmla="*/ 66 w 145"/>
              <a:gd name="T7" fmla="*/ 74 h 139"/>
              <a:gd name="T8" fmla="*/ 66 w 145"/>
              <a:gd name="T9" fmla="*/ 74 h 139"/>
              <a:gd name="T10" fmla="*/ 93 w 145"/>
              <a:gd name="T11" fmla="*/ 82 h 139"/>
              <a:gd name="T12" fmla="*/ 83 w 145"/>
              <a:gd name="T13" fmla="*/ 89 h 139"/>
              <a:gd name="T14" fmla="*/ 116 w 145"/>
              <a:gd name="T15" fmla="*/ 105 h 139"/>
              <a:gd name="T16" fmla="*/ 131 w 145"/>
              <a:gd name="T17" fmla="*/ 126 h 139"/>
              <a:gd name="T18" fmla="*/ 145 w 145"/>
              <a:gd name="T19" fmla="*/ 139 h 139"/>
              <a:gd name="T20" fmla="*/ 127 w 145"/>
              <a:gd name="T21" fmla="*/ 109 h 139"/>
              <a:gd name="T22" fmla="*/ 127 w 145"/>
              <a:gd name="T23" fmla="*/ 109 h 139"/>
              <a:gd name="T24" fmla="*/ 38 w 145"/>
              <a:gd name="T25" fmla="*/ 19 h 139"/>
              <a:gd name="T26" fmla="*/ 37 w 145"/>
              <a:gd name="T27" fmla="*/ 16 h 139"/>
              <a:gd name="T28" fmla="*/ 127 w 145"/>
              <a:gd name="T29" fmla="*/ 97 h 139"/>
              <a:gd name="T30" fmla="*/ 100 w 145"/>
              <a:gd name="T31" fmla="*/ 40 h 139"/>
              <a:gd name="T32" fmla="*/ 100 w 145"/>
              <a:gd name="T33" fmla="*/ 40 h 139"/>
              <a:gd name="T34" fmla="*/ 107 w 145"/>
              <a:gd name="T35" fmla="*/ 57 h 139"/>
              <a:gd name="T36" fmla="*/ 77 w 145"/>
              <a:gd name="T37" fmla="*/ 22 h 139"/>
              <a:gd name="T38" fmla="*/ 5 w 145"/>
              <a:gd name="T39" fmla="*/ 1 h 139"/>
              <a:gd name="T40" fmla="*/ 1 w 145"/>
              <a:gd name="T41" fmla="*/ 1 h 139"/>
              <a:gd name="T42" fmla="*/ 0 w 145"/>
              <a:gd name="T43" fmla="*/ 2 h 139"/>
              <a:gd name="T44" fmla="*/ 0 w 145"/>
              <a:gd name="T45" fmla="*/ 3 h 139"/>
              <a:gd name="T46" fmla="*/ 0 w 145"/>
              <a:gd name="T47" fmla="*/ 3 h 139"/>
              <a:gd name="T48" fmla="*/ 3 w 145"/>
              <a:gd name="T49" fmla="*/ 10 h 139"/>
              <a:gd name="T50" fmla="*/ 24 w 145"/>
              <a:gd name="T51" fmla="*/ 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5" h="139">
                <a:moveTo>
                  <a:pt x="24" y="31"/>
                </a:moveTo>
                <a:cubicBezTo>
                  <a:pt x="30" y="33"/>
                  <a:pt x="36" y="33"/>
                  <a:pt x="42" y="33"/>
                </a:cubicBezTo>
                <a:cubicBezTo>
                  <a:pt x="48" y="34"/>
                  <a:pt x="42" y="36"/>
                  <a:pt x="33" y="40"/>
                </a:cubicBezTo>
                <a:cubicBezTo>
                  <a:pt x="46" y="52"/>
                  <a:pt x="59" y="66"/>
                  <a:pt x="66" y="74"/>
                </a:cubicBezTo>
                <a:cubicBezTo>
                  <a:pt x="66" y="74"/>
                  <a:pt x="66" y="74"/>
                  <a:pt x="66" y="74"/>
                </a:cubicBezTo>
                <a:cubicBezTo>
                  <a:pt x="76" y="77"/>
                  <a:pt x="86" y="80"/>
                  <a:pt x="93" y="82"/>
                </a:cubicBezTo>
                <a:cubicBezTo>
                  <a:pt x="95" y="84"/>
                  <a:pt x="90" y="87"/>
                  <a:pt x="83" y="89"/>
                </a:cubicBezTo>
                <a:cubicBezTo>
                  <a:pt x="94" y="100"/>
                  <a:pt x="105" y="107"/>
                  <a:pt x="116" y="105"/>
                </a:cubicBezTo>
                <a:cubicBezTo>
                  <a:pt x="123" y="115"/>
                  <a:pt x="128" y="124"/>
                  <a:pt x="131" y="126"/>
                </a:cubicBezTo>
                <a:cubicBezTo>
                  <a:pt x="138" y="134"/>
                  <a:pt x="145" y="139"/>
                  <a:pt x="145" y="139"/>
                </a:cubicBezTo>
                <a:cubicBezTo>
                  <a:pt x="139" y="129"/>
                  <a:pt x="134" y="119"/>
                  <a:pt x="127" y="109"/>
                </a:cubicBezTo>
                <a:cubicBezTo>
                  <a:pt x="127" y="109"/>
                  <a:pt x="127" y="109"/>
                  <a:pt x="127" y="109"/>
                </a:cubicBezTo>
                <a:cubicBezTo>
                  <a:pt x="132" y="104"/>
                  <a:pt x="52" y="20"/>
                  <a:pt x="38" y="19"/>
                </a:cubicBezTo>
                <a:cubicBezTo>
                  <a:pt x="28" y="13"/>
                  <a:pt x="37" y="16"/>
                  <a:pt x="37" y="16"/>
                </a:cubicBezTo>
                <a:cubicBezTo>
                  <a:pt x="72" y="37"/>
                  <a:pt x="102" y="64"/>
                  <a:pt x="127" y="97"/>
                </a:cubicBezTo>
                <a:cubicBezTo>
                  <a:pt x="133" y="84"/>
                  <a:pt x="119" y="59"/>
                  <a:pt x="100" y="40"/>
                </a:cubicBezTo>
                <a:cubicBezTo>
                  <a:pt x="100" y="40"/>
                  <a:pt x="100" y="40"/>
                  <a:pt x="100" y="40"/>
                </a:cubicBezTo>
                <a:cubicBezTo>
                  <a:pt x="104" y="46"/>
                  <a:pt x="106" y="52"/>
                  <a:pt x="107" y="57"/>
                </a:cubicBezTo>
                <a:cubicBezTo>
                  <a:pt x="101" y="55"/>
                  <a:pt x="94" y="38"/>
                  <a:pt x="77" y="22"/>
                </a:cubicBezTo>
                <a:cubicBezTo>
                  <a:pt x="53" y="7"/>
                  <a:pt x="23" y="0"/>
                  <a:pt x="5" y="1"/>
                </a:cubicBezTo>
                <a:cubicBezTo>
                  <a:pt x="3" y="1"/>
                  <a:pt x="2" y="1"/>
                  <a:pt x="1" y="1"/>
                </a:cubicBezTo>
                <a:cubicBezTo>
                  <a:pt x="1" y="2"/>
                  <a:pt x="0" y="2"/>
                  <a:pt x="0" y="2"/>
                </a:cubicBezTo>
                <a:cubicBezTo>
                  <a:pt x="0" y="2"/>
                  <a:pt x="0" y="3"/>
                  <a:pt x="0" y="3"/>
                </a:cubicBezTo>
                <a:cubicBezTo>
                  <a:pt x="0" y="3"/>
                  <a:pt x="0" y="3"/>
                  <a:pt x="0" y="3"/>
                </a:cubicBezTo>
                <a:cubicBezTo>
                  <a:pt x="0" y="5"/>
                  <a:pt x="1" y="7"/>
                  <a:pt x="3" y="10"/>
                </a:cubicBezTo>
                <a:cubicBezTo>
                  <a:pt x="7" y="16"/>
                  <a:pt x="15" y="23"/>
                  <a:pt x="24" y="3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0" name="Freeform 51">
            <a:extLst>
              <a:ext uri="{FF2B5EF4-FFF2-40B4-BE49-F238E27FC236}">
                <a16:creationId xmlns:a16="http://schemas.microsoft.com/office/drawing/2014/main" id="{683560A9-2F11-4DA1-8719-3CE51CDD6DF1}"/>
              </a:ext>
            </a:extLst>
          </p:cNvPr>
          <p:cNvSpPr>
            <a:spLocks noEditPoints="1"/>
          </p:cNvSpPr>
          <p:nvPr/>
        </p:nvSpPr>
        <p:spPr bwMode="auto">
          <a:xfrm>
            <a:off x="7570943" y="5700789"/>
            <a:ext cx="446713" cy="423472"/>
          </a:xfrm>
          <a:custGeom>
            <a:avLst/>
            <a:gdLst>
              <a:gd name="T0" fmla="*/ 130 w 131"/>
              <a:gd name="T1" fmla="*/ 117 h 124"/>
              <a:gd name="T2" fmla="*/ 127 w 131"/>
              <a:gd name="T3" fmla="*/ 114 h 124"/>
              <a:gd name="T4" fmla="*/ 120 w 131"/>
              <a:gd name="T5" fmla="*/ 92 h 124"/>
              <a:gd name="T6" fmla="*/ 112 w 131"/>
              <a:gd name="T7" fmla="*/ 105 h 124"/>
              <a:gd name="T8" fmla="*/ 99 w 131"/>
              <a:gd name="T9" fmla="*/ 112 h 124"/>
              <a:gd name="T10" fmla="*/ 121 w 131"/>
              <a:gd name="T11" fmla="*/ 120 h 124"/>
              <a:gd name="T12" fmla="*/ 124 w 131"/>
              <a:gd name="T13" fmla="*/ 123 h 124"/>
              <a:gd name="T14" fmla="*/ 130 w 131"/>
              <a:gd name="T15" fmla="*/ 123 h 124"/>
              <a:gd name="T16" fmla="*/ 130 w 131"/>
              <a:gd name="T17" fmla="*/ 117 h 124"/>
              <a:gd name="T18" fmla="*/ 14 w 131"/>
              <a:gd name="T19" fmla="*/ 41 h 124"/>
              <a:gd name="T20" fmla="*/ 19 w 131"/>
              <a:gd name="T21" fmla="*/ 35 h 124"/>
              <a:gd name="T22" fmla="*/ 20 w 131"/>
              <a:gd name="T23" fmla="*/ 36 h 124"/>
              <a:gd name="T24" fmla="*/ 20 w 131"/>
              <a:gd name="T25" fmla="*/ 36 h 124"/>
              <a:gd name="T26" fmla="*/ 37 w 131"/>
              <a:gd name="T27" fmla="*/ 30 h 124"/>
              <a:gd name="T28" fmla="*/ 43 w 131"/>
              <a:gd name="T29" fmla="*/ 12 h 124"/>
              <a:gd name="T30" fmla="*/ 43 w 131"/>
              <a:gd name="T31" fmla="*/ 12 h 124"/>
              <a:gd name="T32" fmla="*/ 44 w 131"/>
              <a:gd name="T33" fmla="*/ 14 h 124"/>
              <a:gd name="T34" fmla="*/ 34 w 131"/>
              <a:gd name="T35" fmla="*/ 3 h 124"/>
              <a:gd name="T36" fmla="*/ 16 w 131"/>
              <a:gd name="T37" fmla="*/ 9 h 124"/>
              <a:gd name="T38" fmla="*/ 11 w 131"/>
              <a:gd name="T39" fmla="*/ 27 h 124"/>
              <a:gd name="T40" fmla="*/ 3 w 131"/>
              <a:gd name="T41" fmla="*/ 34 h 124"/>
              <a:gd name="T42" fmla="*/ 3 w 131"/>
              <a:gd name="T43" fmla="*/ 35 h 124"/>
              <a:gd name="T44" fmla="*/ 2 w 131"/>
              <a:gd name="T45" fmla="*/ 35 h 124"/>
              <a:gd name="T46" fmla="*/ 3 w 131"/>
              <a:gd name="T47" fmla="*/ 43 h 124"/>
              <a:gd name="T48" fmla="*/ 53 w 131"/>
              <a:gd name="T49" fmla="*/ 92 h 124"/>
              <a:gd name="T50" fmla="*/ 60 w 131"/>
              <a:gd name="T51" fmla="*/ 94 h 124"/>
              <a:gd name="T52" fmla="*/ 59 w 131"/>
              <a:gd name="T53" fmla="*/ 86 h 124"/>
              <a:gd name="T54" fmla="*/ 14 w 131"/>
              <a:gd name="T55" fmla="*/ 41 h 124"/>
              <a:gd name="T56" fmla="*/ 112 w 131"/>
              <a:gd name="T57" fmla="*/ 82 h 124"/>
              <a:gd name="T58" fmla="*/ 48 w 131"/>
              <a:gd name="T59" fmla="*/ 18 h 124"/>
              <a:gd name="T60" fmla="*/ 43 w 131"/>
              <a:gd name="T61" fmla="*/ 35 h 124"/>
              <a:gd name="T62" fmla="*/ 25 w 131"/>
              <a:gd name="T63" fmla="*/ 41 h 124"/>
              <a:gd name="T64" fmla="*/ 89 w 131"/>
              <a:gd name="T65" fmla="*/ 105 h 124"/>
              <a:gd name="T66" fmla="*/ 107 w 131"/>
              <a:gd name="T67" fmla="*/ 100 h 124"/>
              <a:gd name="T68" fmla="*/ 112 w 131"/>
              <a:gd name="T69" fmla="*/ 8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1" h="124">
                <a:moveTo>
                  <a:pt x="130" y="117"/>
                </a:moveTo>
                <a:cubicBezTo>
                  <a:pt x="127" y="114"/>
                  <a:pt x="127" y="114"/>
                  <a:pt x="127" y="114"/>
                </a:cubicBezTo>
                <a:cubicBezTo>
                  <a:pt x="120" y="92"/>
                  <a:pt x="120" y="92"/>
                  <a:pt x="120" y="92"/>
                </a:cubicBezTo>
                <a:cubicBezTo>
                  <a:pt x="120" y="96"/>
                  <a:pt x="117" y="101"/>
                  <a:pt x="112" y="105"/>
                </a:cubicBezTo>
                <a:cubicBezTo>
                  <a:pt x="108" y="110"/>
                  <a:pt x="103" y="112"/>
                  <a:pt x="99" y="112"/>
                </a:cubicBezTo>
                <a:cubicBezTo>
                  <a:pt x="121" y="120"/>
                  <a:pt x="121" y="120"/>
                  <a:pt x="121" y="120"/>
                </a:cubicBezTo>
                <a:cubicBezTo>
                  <a:pt x="124" y="123"/>
                  <a:pt x="124" y="123"/>
                  <a:pt x="124" y="123"/>
                </a:cubicBezTo>
                <a:cubicBezTo>
                  <a:pt x="126" y="124"/>
                  <a:pt x="128" y="124"/>
                  <a:pt x="130" y="123"/>
                </a:cubicBezTo>
                <a:cubicBezTo>
                  <a:pt x="131" y="121"/>
                  <a:pt x="131" y="119"/>
                  <a:pt x="130" y="117"/>
                </a:cubicBezTo>
                <a:close/>
                <a:moveTo>
                  <a:pt x="14" y="41"/>
                </a:moveTo>
                <a:cubicBezTo>
                  <a:pt x="19" y="35"/>
                  <a:pt x="19" y="35"/>
                  <a:pt x="19" y="35"/>
                </a:cubicBezTo>
                <a:cubicBezTo>
                  <a:pt x="20" y="36"/>
                  <a:pt x="20" y="36"/>
                  <a:pt x="20" y="36"/>
                </a:cubicBezTo>
                <a:cubicBezTo>
                  <a:pt x="20" y="36"/>
                  <a:pt x="20" y="36"/>
                  <a:pt x="20" y="36"/>
                </a:cubicBezTo>
                <a:cubicBezTo>
                  <a:pt x="23" y="39"/>
                  <a:pt x="30" y="36"/>
                  <a:pt x="37" y="30"/>
                </a:cubicBezTo>
                <a:cubicBezTo>
                  <a:pt x="43" y="23"/>
                  <a:pt x="46" y="16"/>
                  <a:pt x="43" y="12"/>
                </a:cubicBezTo>
                <a:cubicBezTo>
                  <a:pt x="43" y="12"/>
                  <a:pt x="43" y="12"/>
                  <a:pt x="43" y="12"/>
                </a:cubicBezTo>
                <a:cubicBezTo>
                  <a:pt x="44" y="14"/>
                  <a:pt x="44" y="14"/>
                  <a:pt x="44" y="14"/>
                </a:cubicBezTo>
                <a:cubicBezTo>
                  <a:pt x="34" y="3"/>
                  <a:pt x="34" y="3"/>
                  <a:pt x="34" y="3"/>
                </a:cubicBezTo>
                <a:cubicBezTo>
                  <a:pt x="31" y="0"/>
                  <a:pt x="23" y="3"/>
                  <a:pt x="16" y="9"/>
                </a:cubicBezTo>
                <a:cubicBezTo>
                  <a:pt x="10" y="16"/>
                  <a:pt x="7" y="24"/>
                  <a:pt x="11" y="27"/>
                </a:cubicBezTo>
                <a:cubicBezTo>
                  <a:pt x="3" y="34"/>
                  <a:pt x="3" y="34"/>
                  <a:pt x="3" y="34"/>
                </a:cubicBezTo>
                <a:cubicBezTo>
                  <a:pt x="3" y="34"/>
                  <a:pt x="3" y="35"/>
                  <a:pt x="3" y="35"/>
                </a:cubicBezTo>
                <a:cubicBezTo>
                  <a:pt x="3" y="35"/>
                  <a:pt x="2" y="35"/>
                  <a:pt x="2" y="35"/>
                </a:cubicBezTo>
                <a:cubicBezTo>
                  <a:pt x="0" y="37"/>
                  <a:pt x="1" y="40"/>
                  <a:pt x="3" y="43"/>
                </a:cubicBezTo>
                <a:cubicBezTo>
                  <a:pt x="53" y="92"/>
                  <a:pt x="53" y="92"/>
                  <a:pt x="53" y="92"/>
                </a:cubicBezTo>
                <a:cubicBezTo>
                  <a:pt x="55" y="95"/>
                  <a:pt x="58" y="95"/>
                  <a:pt x="60" y="94"/>
                </a:cubicBezTo>
                <a:cubicBezTo>
                  <a:pt x="62" y="92"/>
                  <a:pt x="61" y="89"/>
                  <a:pt x="59" y="86"/>
                </a:cubicBezTo>
                <a:lnTo>
                  <a:pt x="14" y="41"/>
                </a:lnTo>
                <a:close/>
                <a:moveTo>
                  <a:pt x="112" y="82"/>
                </a:moveTo>
                <a:cubicBezTo>
                  <a:pt x="48" y="18"/>
                  <a:pt x="48" y="18"/>
                  <a:pt x="48" y="18"/>
                </a:cubicBezTo>
                <a:cubicBezTo>
                  <a:pt x="52" y="21"/>
                  <a:pt x="49" y="29"/>
                  <a:pt x="43" y="35"/>
                </a:cubicBezTo>
                <a:cubicBezTo>
                  <a:pt x="36" y="42"/>
                  <a:pt x="28" y="45"/>
                  <a:pt x="25" y="41"/>
                </a:cubicBezTo>
                <a:cubicBezTo>
                  <a:pt x="89" y="105"/>
                  <a:pt x="89" y="105"/>
                  <a:pt x="89" y="105"/>
                </a:cubicBezTo>
                <a:cubicBezTo>
                  <a:pt x="92" y="109"/>
                  <a:pt x="100" y="106"/>
                  <a:pt x="107" y="100"/>
                </a:cubicBezTo>
                <a:cubicBezTo>
                  <a:pt x="113" y="93"/>
                  <a:pt x="116" y="85"/>
                  <a:pt x="112" y="8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1" name="Freeform 52">
            <a:extLst>
              <a:ext uri="{FF2B5EF4-FFF2-40B4-BE49-F238E27FC236}">
                <a16:creationId xmlns:a16="http://schemas.microsoft.com/office/drawing/2014/main" id="{8051217A-5C54-4132-88F3-5E7903484B0D}"/>
              </a:ext>
            </a:extLst>
          </p:cNvPr>
          <p:cNvSpPr>
            <a:spLocks noEditPoints="1"/>
          </p:cNvSpPr>
          <p:nvPr/>
        </p:nvSpPr>
        <p:spPr bwMode="auto">
          <a:xfrm>
            <a:off x="8707088" y="5690460"/>
            <a:ext cx="431220" cy="433801"/>
          </a:xfrm>
          <a:custGeom>
            <a:avLst/>
            <a:gdLst>
              <a:gd name="T0" fmla="*/ 119 w 126"/>
              <a:gd name="T1" fmla="*/ 109 h 127"/>
              <a:gd name="T2" fmla="*/ 115 w 126"/>
              <a:gd name="T3" fmla="*/ 116 h 127"/>
              <a:gd name="T4" fmla="*/ 109 w 126"/>
              <a:gd name="T5" fmla="*/ 120 h 127"/>
              <a:gd name="T6" fmla="*/ 126 w 126"/>
              <a:gd name="T7" fmla="*/ 127 h 127"/>
              <a:gd name="T8" fmla="*/ 119 w 126"/>
              <a:gd name="T9" fmla="*/ 109 h 127"/>
              <a:gd name="T10" fmla="*/ 116 w 126"/>
              <a:gd name="T11" fmla="*/ 101 h 127"/>
              <a:gd name="T12" fmla="*/ 111 w 126"/>
              <a:gd name="T13" fmla="*/ 89 h 127"/>
              <a:gd name="T14" fmla="*/ 103 w 126"/>
              <a:gd name="T15" fmla="*/ 104 h 127"/>
              <a:gd name="T16" fmla="*/ 97 w 126"/>
              <a:gd name="T17" fmla="*/ 109 h 127"/>
              <a:gd name="T18" fmla="*/ 97 w 126"/>
              <a:gd name="T19" fmla="*/ 109 h 127"/>
              <a:gd name="T20" fmla="*/ 97 w 126"/>
              <a:gd name="T21" fmla="*/ 109 h 127"/>
              <a:gd name="T22" fmla="*/ 88 w 126"/>
              <a:gd name="T23" fmla="*/ 112 h 127"/>
              <a:gd name="T24" fmla="*/ 101 w 126"/>
              <a:gd name="T25" fmla="*/ 117 h 127"/>
              <a:gd name="T26" fmla="*/ 112 w 126"/>
              <a:gd name="T27" fmla="*/ 113 h 127"/>
              <a:gd name="T28" fmla="*/ 116 w 126"/>
              <a:gd name="T29" fmla="*/ 101 h 127"/>
              <a:gd name="T30" fmla="*/ 105 w 126"/>
              <a:gd name="T31" fmla="*/ 94 h 127"/>
              <a:gd name="T32" fmla="*/ 105 w 126"/>
              <a:gd name="T33" fmla="*/ 83 h 127"/>
              <a:gd name="T34" fmla="*/ 41 w 126"/>
              <a:gd name="T35" fmla="*/ 19 h 127"/>
              <a:gd name="T36" fmla="*/ 41 w 126"/>
              <a:gd name="T37" fmla="*/ 30 h 127"/>
              <a:gd name="T38" fmla="*/ 105 w 126"/>
              <a:gd name="T39" fmla="*/ 94 h 127"/>
              <a:gd name="T40" fmla="*/ 30 w 126"/>
              <a:gd name="T41" fmla="*/ 30 h 127"/>
              <a:gd name="T42" fmla="*/ 36 w 126"/>
              <a:gd name="T43" fmla="*/ 13 h 127"/>
              <a:gd name="T44" fmla="*/ 36 w 126"/>
              <a:gd name="T45" fmla="*/ 13 h 127"/>
              <a:gd name="T46" fmla="*/ 27 w 126"/>
              <a:gd name="T47" fmla="*/ 4 h 127"/>
              <a:gd name="T48" fmla="*/ 9 w 126"/>
              <a:gd name="T49" fmla="*/ 9 h 127"/>
              <a:gd name="T50" fmla="*/ 4 w 126"/>
              <a:gd name="T51" fmla="*/ 27 h 127"/>
              <a:gd name="T52" fmla="*/ 13 w 126"/>
              <a:gd name="T53" fmla="*/ 36 h 127"/>
              <a:gd name="T54" fmla="*/ 13 w 126"/>
              <a:gd name="T55" fmla="*/ 36 h 127"/>
              <a:gd name="T56" fmla="*/ 30 w 126"/>
              <a:gd name="T57" fmla="*/ 30 h 127"/>
              <a:gd name="T58" fmla="*/ 32 w 126"/>
              <a:gd name="T59" fmla="*/ 39 h 127"/>
              <a:gd name="T60" fmla="*/ 96 w 126"/>
              <a:gd name="T61" fmla="*/ 103 h 127"/>
              <a:gd name="T62" fmla="*/ 100 w 126"/>
              <a:gd name="T63" fmla="*/ 101 h 127"/>
              <a:gd name="T64" fmla="*/ 102 w 126"/>
              <a:gd name="T65" fmla="*/ 97 h 127"/>
              <a:gd name="T66" fmla="*/ 38 w 126"/>
              <a:gd name="T67" fmla="*/ 33 h 127"/>
              <a:gd name="T68" fmla="*/ 36 w 126"/>
              <a:gd name="T69" fmla="*/ 37 h 127"/>
              <a:gd name="T70" fmla="*/ 32 w 126"/>
              <a:gd name="T71" fmla="*/ 39 h 127"/>
              <a:gd name="T72" fmla="*/ 29 w 126"/>
              <a:gd name="T73" fmla="*/ 42 h 127"/>
              <a:gd name="T74" fmla="*/ 18 w 126"/>
              <a:gd name="T75" fmla="*/ 43 h 127"/>
              <a:gd name="T76" fmla="*/ 82 w 126"/>
              <a:gd name="T77" fmla="*/ 107 h 127"/>
              <a:gd name="T78" fmla="*/ 93 w 126"/>
              <a:gd name="T79" fmla="*/ 106 h 127"/>
              <a:gd name="T80" fmla="*/ 29 w 126"/>
              <a:gd name="T81" fmla="*/ 4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27">
                <a:moveTo>
                  <a:pt x="119" y="109"/>
                </a:moveTo>
                <a:cubicBezTo>
                  <a:pt x="119" y="111"/>
                  <a:pt x="118" y="114"/>
                  <a:pt x="115" y="116"/>
                </a:cubicBezTo>
                <a:cubicBezTo>
                  <a:pt x="113" y="118"/>
                  <a:pt x="111" y="120"/>
                  <a:pt x="109" y="120"/>
                </a:cubicBezTo>
                <a:cubicBezTo>
                  <a:pt x="126" y="127"/>
                  <a:pt x="126" y="127"/>
                  <a:pt x="126" y="127"/>
                </a:cubicBezTo>
                <a:lnTo>
                  <a:pt x="119" y="109"/>
                </a:lnTo>
                <a:close/>
                <a:moveTo>
                  <a:pt x="116" y="101"/>
                </a:moveTo>
                <a:cubicBezTo>
                  <a:pt x="111" y="89"/>
                  <a:pt x="111" y="89"/>
                  <a:pt x="111" y="89"/>
                </a:cubicBezTo>
                <a:cubicBezTo>
                  <a:pt x="111" y="93"/>
                  <a:pt x="108" y="99"/>
                  <a:pt x="103" y="104"/>
                </a:cubicBezTo>
                <a:cubicBezTo>
                  <a:pt x="101" y="106"/>
                  <a:pt x="99" y="108"/>
                  <a:pt x="97" y="109"/>
                </a:cubicBezTo>
                <a:cubicBezTo>
                  <a:pt x="97" y="109"/>
                  <a:pt x="97" y="109"/>
                  <a:pt x="97" y="109"/>
                </a:cubicBezTo>
                <a:cubicBezTo>
                  <a:pt x="97" y="109"/>
                  <a:pt x="97" y="109"/>
                  <a:pt x="97" y="109"/>
                </a:cubicBezTo>
                <a:cubicBezTo>
                  <a:pt x="94" y="111"/>
                  <a:pt x="91" y="112"/>
                  <a:pt x="88" y="112"/>
                </a:cubicBezTo>
                <a:cubicBezTo>
                  <a:pt x="101" y="117"/>
                  <a:pt x="101" y="117"/>
                  <a:pt x="101" y="117"/>
                </a:cubicBezTo>
                <a:cubicBezTo>
                  <a:pt x="104" y="117"/>
                  <a:pt x="110" y="116"/>
                  <a:pt x="112" y="113"/>
                </a:cubicBezTo>
                <a:cubicBezTo>
                  <a:pt x="115" y="110"/>
                  <a:pt x="116" y="104"/>
                  <a:pt x="116" y="101"/>
                </a:cubicBezTo>
                <a:close/>
                <a:moveTo>
                  <a:pt x="105" y="94"/>
                </a:moveTo>
                <a:cubicBezTo>
                  <a:pt x="107" y="90"/>
                  <a:pt x="108" y="85"/>
                  <a:pt x="105" y="83"/>
                </a:cubicBezTo>
                <a:cubicBezTo>
                  <a:pt x="41" y="19"/>
                  <a:pt x="41" y="19"/>
                  <a:pt x="41" y="19"/>
                </a:cubicBezTo>
                <a:cubicBezTo>
                  <a:pt x="44" y="21"/>
                  <a:pt x="43" y="26"/>
                  <a:pt x="41" y="30"/>
                </a:cubicBezTo>
                <a:lnTo>
                  <a:pt x="105" y="94"/>
                </a:lnTo>
                <a:close/>
                <a:moveTo>
                  <a:pt x="30" y="30"/>
                </a:moveTo>
                <a:cubicBezTo>
                  <a:pt x="36" y="24"/>
                  <a:pt x="39" y="16"/>
                  <a:pt x="36" y="13"/>
                </a:cubicBezTo>
                <a:cubicBezTo>
                  <a:pt x="36" y="13"/>
                  <a:pt x="36" y="13"/>
                  <a:pt x="36" y="13"/>
                </a:cubicBezTo>
                <a:cubicBezTo>
                  <a:pt x="27" y="4"/>
                  <a:pt x="27" y="4"/>
                  <a:pt x="27" y="4"/>
                </a:cubicBezTo>
                <a:cubicBezTo>
                  <a:pt x="24" y="0"/>
                  <a:pt x="16" y="3"/>
                  <a:pt x="9" y="9"/>
                </a:cubicBezTo>
                <a:cubicBezTo>
                  <a:pt x="3" y="16"/>
                  <a:pt x="0" y="24"/>
                  <a:pt x="4" y="27"/>
                </a:cubicBezTo>
                <a:cubicBezTo>
                  <a:pt x="13" y="36"/>
                  <a:pt x="13" y="36"/>
                  <a:pt x="13" y="36"/>
                </a:cubicBezTo>
                <a:cubicBezTo>
                  <a:pt x="13" y="36"/>
                  <a:pt x="13" y="36"/>
                  <a:pt x="13" y="36"/>
                </a:cubicBezTo>
                <a:cubicBezTo>
                  <a:pt x="16" y="39"/>
                  <a:pt x="24" y="36"/>
                  <a:pt x="30" y="30"/>
                </a:cubicBezTo>
                <a:close/>
                <a:moveTo>
                  <a:pt x="32" y="39"/>
                </a:moveTo>
                <a:cubicBezTo>
                  <a:pt x="96" y="103"/>
                  <a:pt x="96" y="103"/>
                  <a:pt x="96" y="103"/>
                </a:cubicBezTo>
                <a:cubicBezTo>
                  <a:pt x="97" y="102"/>
                  <a:pt x="99" y="102"/>
                  <a:pt x="100" y="101"/>
                </a:cubicBezTo>
                <a:cubicBezTo>
                  <a:pt x="101" y="100"/>
                  <a:pt x="101" y="99"/>
                  <a:pt x="102" y="97"/>
                </a:cubicBezTo>
                <a:cubicBezTo>
                  <a:pt x="38" y="33"/>
                  <a:pt x="38" y="33"/>
                  <a:pt x="38" y="33"/>
                </a:cubicBezTo>
                <a:cubicBezTo>
                  <a:pt x="37" y="35"/>
                  <a:pt x="37" y="36"/>
                  <a:pt x="36" y="37"/>
                </a:cubicBezTo>
                <a:cubicBezTo>
                  <a:pt x="35" y="38"/>
                  <a:pt x="33" y="38"/>
                  <a:pt x="32" y="39"/>
                </a:cubicBezTo>
                <a:close/>
                <a:moveTo>
                  <a:pt x="29" y="42"/>
                </a:moveTo>
                <a:cubicBezTo>
                  <a:pt x="24" y="44"/>
                  <a:pt x="20" y="45"/>
                  <a:pt x="18" y="43"/>
                </a:cubicBezTo>
                <a:cubicBezTo>
                  <a:pt x="82" y="107"/>
                  <a:pt x="82" y="107"/>
                  <a:pt x="82" y="107"/>
                </a:cubicBezTo>
                <a:cubicBezTo>
                  <a:pt x="84" y="109"/>
                  <a:pt x="88" y="108"/>
                  <a:pt x="93" y="106"/>
                </a:cubicBezTo>
                <a:lnTo>
                  <a:pt x="29" y="4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2" name="Freeform 53">
            <a:extLst>
              <a:ext uri="{FF2B5EF4-FFF2-40B4-BE49-F238E27FC236}">
                <a16:creationId xmlns:a16="http://schemas.microsoft.com/office/drawing/2014/main" id="{34C6A0BF-CD07-4452-AEF2-C0EA8F417FEF}"/>
              </a:ext>
            </a:extLst>
          </p:cNvPr>
          <p:cNvSpPr>
            <a:spLocks noEditPoints="1"/>
          </p:cNvSpPr>
          <p:nvPr/>
        </p:nvSpPr>
        <p:spPr bwMode="auto">
          <a:xfrm>
            <a:off x="9848399" y="5703371"/>
            <a:ext cx="397651" cy="462205"/>
          </a:xfrm>
          <a:custGeom>
            <a:avLst/>
            <a:gdLst>
              <a:gd name="T0" fmla="*/ 99 w 116"/>
              <a:gd name="T1" fmla="*/ 94 h 135"/>
              <a:gd name="T2" fmla="*/ 93 w 116"/>
              <a:gd name="T3" fmla="*/ 82 h 135"/>
              <a:gd name="T4" fmla="*/ 93 w 116"/>
              <a:gd name="T5" fmla="*/ 82 h 135"/>
              <a:gd name="T6" fmla="*/ 85 w 116"/>
              <a:gd name="T7" fmla="*/ 84 h 135"/>
              <a:gd name="T8" fmla="*/ 82 w 116"/>
              <a:gd name="T9" fmla="*/ 93 h 135"/>
              <a:gd name="T10" fmla="*/ 82 w 116"/>
              <a:gd name="T11" fmla="*/ 93 h 135"/>
              <a:gd name="T12" fmla="*/ 94 w 116"/>
              <a:gd name="T13" fmla="*/ 99 h 135"/>
              <a:gd name="T14" fmla="*/ 96 w 116"/>
              <a:gd name="T15" fmla="*/ 96 h 135"/>
              <a:gd name="T16" fmla="*/ 99 w 116"/>
              <a:gd name="T17" fmla="*/ 94 h 135"/>
              <a:gd name="T18" fmla="*/ 89 w 116"/>
              <a:gd name="T19" fmla="*/ 78 h 135"/>
              <a:gd name="T20" fmla="*/ 15 w 116"/>
              <a:gd name="T21" fmla="*/ 3 h 135"/>
              <a:gd name="T22" fmla="*/ 3 w 116"/>
              <a:gd name="T23" fmla="*/ 3 h 135"/>
              <a:gd name="T24" fmla="*/ 3 w 116"/>
              <a:gd name="T25" fmla="*/ 15 h 135"/>
              <a:gd name="T26" fmla="*/ 77 w 116"/>
              <a:gd name="T27" fmla="*/ 89 h 135"/>
              <a:gd name="T28" fmla="*/ 89 w 116"/>
              <a:gd name="T29" fmla="*/ 78 h 135"/>
              <a:gd name="T30" fmla="*/ 109 w 116"/>
              <a:gd name="T31" fmla="*/ 100 h 135"/>
              <a:gd name="T32" fmla="*/ 98 w 116"/>
              <a:gd name="T33" fmla="*/ 112 h 135"/>
              <a:gd name="T34" fmla="*/ 104 w 116"/>
              <a:gd name="T35" fmla="*/ 135 h 135"/>
              <a:gd name="T36" fmla="*/ 115 w 116"/>
              <a:gd name="T37" fmla="*/ 115 h 135"/>
              <a:gd name="T38" fmla="*/ 109 w 116"/>
              <a:gd name="T39" fmla="*/ 10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 h="135">
                <a:moveTo>
                  <a:pt x="99" y="94"/>
                </a:moveTo>
                <a:cubicBezTo>
                  <a:pt x="97" y="89"/>
                  <a:pt x="96" y="83"/>
                  <a:pt x="93" y="82"/>
                </a:cubicBezTo>
                <a:cubicBezTo>
                  <a:pt x="93" y="82"/>
                  <a:pt x="93" y="82"/>
                  <a:pt x="93" y="82"/>
                </a:cubicBezTo>
                <a:cubicBezTo>
                  <a:pt x="92" y="80"/>
                  <a:pt x="88" y="81"/>
                  <a:pt x="85" y="84"/>
                </a:cubicBezTo>
                <a:cubicBezTo>
                  <a:pt x="81" y="88"/>
                  <a:pt x="80" y="92"/>
                  <a:pt x="82" y="93"/>
                </a:cubicBezTo>
                <a:cubicBezTo>
                  <a:pt x="82" y="93"/>
                  <a:pt x="82" y="93"/>
                  <a:pt x="82" y="93"/>
                </a:cubicBezTo>
                <a:cubicBezTo>
                  <a:pt x="83" y="96"/>
                  <a:pt x="89" y="97"/>
                  <a:pt x="94" y="99"/>
                </a:cubicBezTo>
                <a:cubicBezTo>
                  <a:pt x="95" y="98"/>
                  <a:pt x="95" y="97"/>
                  <a:pt x="96" y="96"/>
                </a:cubicBezTo>
                <a:cubicBezTo>
                  <a:pt x="97" y="95"/>
                  <a:pt x="98" y="95"/>
                  <a:pt x="99" y="94"/>
                </a:cubicBezTo>
                <a:close/>
                <a:moveTo>
                  <a:pt x="89" y="78"/>
                </a:moveTo>
                <a:cubicBezTo>
                  <a:pt x="67" y="50"/>
                  <a:pt x="42" y="24"/>
                  <a:pt x="15" y="3"/>
                </a:cubicBezTo>
                <a:cubicBezTo>
                  <a:pt x="12" y="1"/>
                  <a:pt x="6" y="0"/>
                  <a:pt x="3" y="3"/>
                </a:cubicBezTo>
                <a:cubicBezTo>
                  <a:pt x="0" y="6"/>
                  <a:pt x="1" y="12"/>
                  <a:pt x="3" y="15"/>
                </a:cubicBezTo>
                <a:cubicBezTo>
                  <a:pt x="24" y="42"/>
                  <a:pt x="50" y="68"/>
                  <a:pt x="77" y="89"/>
                </a:cubicBezTo>
                <a:cubicBezTo>
                  <a:pt x="74" y="84"/>
                  <a:pt x="84" y="75"/>
                  <a:pt x="89" y="78"/>
                </a:cubicBezTo>
                <a:close/>
                <a:moveTo>
                  <a:pt x="109" y="100"/>
                </a:moveTo>
                <a:cubicBezTo>
                  <a:pt x="100" y="91"/>
                  <a:pt x="93" y="105"/>
                  <a:pt x="98" y="112"/>
                </a:cubicBezTo>
                <a:cubicBezTo>
                  <a:pt x="107" y="124"/>
                  <a:pt x="104" y="135"/>
                  <a:pt x="104" y="135"/>
                </a:cubicBezTo>
                <a:cubicBezTo>
                  <a:pt x="104" y="135"/>
                  <a:pt x="116" y="126"/>
                  <a:pt x="115" y="115"/>
                </a:cubicBezTo>
                <a:cubicBezTo>
                  <a:pt x="115" y="107"/>
                  <a:pt x="112" y="103"/>
                  <a:pt x="109" y="10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03" name="Freeform 54">
            <a:extLst>
              <a:ext uri="{FF2B5EF4-FFF2-40B4-BE49-F238E27FC236}">
                <a16:creationId xmlns:a16="http://schemas.microsoft.com/office/drawing/2014/main" id="{5894DF6F-2D47-4E3D-AB93-1A248ADC0807}"/>
              </a:ext>
            </a:extLst>
          </p:cNvPr>
          <p:cNvSpPr>
            <a:spLocks noEditPoints="1"/>
          </p:cNvSpPr>
          <p:nvPr/>
        </p:nvSpPr>
        <p:spPr bwMode="auto">
          <a:xfrm>
            <a:off x="10958723" y="5687879"/>
            <a:ext cx="459623" cy="433801"/>
          </a:xfrm>
          <a:custGeom>
            <a:avLst/>
            <a:gdLst>
              <a:gd name="T0" fmla="*/ 122 w 134"/>
              <a:gd name="T1" fmla="*/ 46 h 127"/>
              <a:gd name="T2" fmla="*/ 62 w 134"/>
              <a:gd name="T3" fmla="*/ 11 h 127"/>
              <a:gd name="T4" fmla="*/ 6 w 134"/>
              <a:gd name="T5" fmla="*/ 83 h 127"/>
              <a:gd name="T6" fmla="*/ 86 w 134"/>
              <a:gd name="T7" fmla="*/ 116 h 127"/>
              <a:gd name="T8" fmla="*/ 110 w 134"/>
              <a:gd name="T9" fmla="*/ 83 h 127"/>
              <a:gd name="T10" fmla="*/ 122 w 134"/>
              <a:gd name="T11" fmla="*/ 46 h 127"/>
              <a:gd name="T12" fmla="*/ 31 w 134"/>
              <a:gd name="T13" fmla="*/ 88 h 127"/>
              <a:gd name="T14" fmla="*/ 22 w 134"/>
              <a:gd name="T15" fmla="*/ 93 h 127"/>
              <a:gd name="T16" fmla="*/ 17 w 134"/>
              <a:gd name="T17" fmla="*/ 84 h 127"/>
              <a:gd name="T18" fmla="*/ 26 w 134"/>
              <a:gd name="T19" fmla="*/ 79 h 127"/>
              <a:gd name="T20" fmla="*/ 31 w 134"/>
              <a:gd name="T21" fmla="*/ 88 h 127"/>
              <a:gd name="T22" fmla="*/ 36 w 134"/>
              <a:gd name="T23" fmla="*/ 62 h 127"/>
              <a:gd name="T24" fmla="*/ 26 w 134"/>
              <a:gd name="T25" fmla="*/ 68 h 127"/>
              <a:gd name="T26" fmla="*/ 21 w 134"/>
              <a:gd name="T27" fmla="*/ 58 h 127"/>
              <a:gd name="T28" fmla="*/ 30 w 134"/>
              <a:gd name="T29" fmla="*/ 52 h 127"/>
              <a:gd name="T30" fmla="*/ 36 w 134"/>
              <a:gd name="T31" fmla="*/ 62 h 127"/>
              <a:gd name="T32" fmla="*/ 54 w 134"/>
              <a:gd name="T33" fmla="*/ 42 h 127"/>
              <a:gd name="T34" fmla="*/ 43 w 134"/>
              <a:gd name="T35" fmla="*/ 49 h 127"/>
              <a:gd name="T36" fmla="*/ 37 w 134"/>
              <a:gd name="T37" fmla="*/ 38 h 127"/>
              <a:gd name="T38" fmla="*/ 47 w 134"/>
              <a:gd name="T39" fmla="*/ 31 h 127"/>
              <a:gd name="T40" fmla="*/ 54 w 134"/>
              <a:gd name="T41" fmla="*/ 42 h 127"/>
              <a:gd name="T42" fmla="*/ 62 w 134"/>
              <a:gd name="T43" fmla="*/ 28 h 127"/>
              <a:gd name="T44" fmla="*/ 72 w 134"/>
              <a:gd name="T45" fmla="*/ 21 h 127"/>
              <a:gd name="T46" fmla="*/ 78 w 134"/>
              <a:gd name="T47" fmla="*/ 32 h 127"/>
              <a:gd name="T48" fmla="*/ 68 w 134"/>
              <a:gd name="T49" fmla="*/ 38 h 127"/>
              <a:gd name="T50" fmla="*/ 62 w 134"/>
              <a:gd name="T51" fmla="*/ 28 h 127"/>
              <a:gd name="T52" fmla="*/ 91 w 134"/>
              <a:gd name="T53" fmla="*/ 94 h 127"/>
              <a:gd name="T54" fmla="*/ 72 w 134"/>
              <a:gd name="T55" fmla="*/ 106 h 127"/>
              <a:gd name="T56" fmla="*/ 61 w 134"/>
              <a:gd name="T57" fmla="*/ 86 h 127"/>
              <a:gd name="T58" fmla="*/ 80 w 134"/>
              <a:gd name="T59" fmla="*/ 75 h 127"/>
              <a:gd name="T60" fmla="*/ 91 w 134"/>
              <a:gd name="T61" fmla="*/ 94 h 127"/>
              <a:gd name="T62" fmla="*/ 104 w 134"/>
              <a:gd name="T63" fmla="*/ 37 h 127"/>
              <a:gd name="T64" fmla="*/ 94 w 134"/>
              <a:gd name="T65" fmla="*/ 44 h 127"/>
              <a:gd name="T66" fmla="*/ 88 w 134"/>
              <a:gd name="T67" fmla="*/ 32 h 127"/>
              <a:gd name="T68" fmla="*/ 98 w 134"/>
              <a:gd name="T69" fmla="*/ 26 h 127"/>
              <a:gd name="T70" fmla="*/ 104 w 134"/>
              <a:gd name="T71" fmla="*/ 3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4" h="127">
                <a:moveTo>
                  <a:pt x="122" y="46"/>
                </a:moveTo>
                <a:cubicBezTo>
                  <a:pt x="134" y="18"/>
                  <a:pt x="100" y="0"/>
                  <a:pt x="62" y="11"/>
                </a:cubicBezTo>
                <a:cubicBezTo>
                  <a:pt x="25" y="21"/>
                  <a:pt x="0" y="53"/>
                  <a:pt x="6" y="83"/>
                </a:cubicBezTo>
                <a:cubicBezTo>
                  <a:pt x="13" y="112"/>
                  <a:pt x="49" y="127"/>
                  <a:pt x="86" y="116"/>
                </a:cubicBezTo>
                <a:cubicBezTo>
                  <a:pt x="112" y="109"/>
                  <a:pt x="124" y="99"/>
                  <a:pt x="110" y="83"/>
                </a:cubicBezTo>
                <a:cubicBezTo>
                  <a:pt x="92" y="64"/>
                  <a:pt x="115" y="63"/>
                  <a:pt x="122" y="46"/>
                </a:cubicBezTo>
                <a:close/>
                <a:moveTo>
                  <a:pt x="31" y="88"/>
                </a:moveTo>
                <a:cubicBezTo>
                  <a:pt x="30" y="92"/>
                  <a:pt x="26" y="95"/>
                  <a:pt x="22" y="93"/>
                </a:cubicBezTo>
                <a:cubicBezTo>
                  <a:pt x="18" y="92"/>
                  <a:pt x="15" y="88"/>
                  <a:pt x="17" y="84"/>
                </a:cubicBezTo>
                <a:cubicBezTo>
                  <a:pt x="18" y="80"/>
                  <a:pt x="22" y="77"/>
                  <a:pt x="26" y="79"/>
                </a:cubicBezTo>
                <a:cubicBezTo>
                  <a:pt x="29" y="80"/>
                  <a:pt x="32" y="84"/>
                  <a:pt x="31" y="88"/>
                </a:cubicBezTo>
                <a:close/>
                <a:moveTo>
                  <a:pt x="36" y="62"/>
                </a:moveTo>
                <a:cubicBezTo>
                  <a:pt x="35" y="66"/>
                  <a:pt x="31" y="69"/>
                  <a:pt x="26" y="68"/>
                </a:cubicBezTo>
                <a:cubicBezTo>
                  <a:pt x="22" y="67"/>
                  <a:pt x="20" y="62"/>
                  <a:pt x="21" y="58"/>
                </a:cubicBezTo>
                <a:cubicBezTo>
                  <a:pt x="22" y="54"/>
                  <a:pt x="26" y="51"/>
                  <a:pt x="30" y="52"/>
                </a:cubicBezTo>
                <a:cubicBezTo>
                  <a:pt x="35" y="53"/>
                  <a:pt x="37" y="58"/>
                  <a:pt x="36" y="62"/>
                </a:cubicBezTo>
                <a:close/>
                <a:moveTo>
                  <a:pt x="54" y="42"/>
                </a:moveTo>
                <a:cubicBezTo>
                  <a:pt x="52" y="47"/>
                  <a:pt x="48" y="50"/>
                  <a:pt x="43" y="49"/>
                </a:cubicBezTo>
                <a:cubicBezTo>
                  <a:pt x="38" y="47"/>
                  <a:pt x="36" y="42"/>
                  <a:pt x="37" y="38"/>
                </a:cubicBezTo>
                <a:cubicBezTo>
                  <a:pt x="38" y="33"/>
                  <a:pt x="43" y="30"/>
                  <a:pt x="47" y="31"/>
                </a:cubicBezTo>
                <a:cubicBezTo>
                  <a:pt x="52" y="33"/>
                  <a:pt x="55" y="38"/>
                  <a:pt x="54" y="42"/>
                </a:cubicBezTo>
                <a:close/>
                <a:moveTo>
                  <a:pt x="62" y="28"/>
                </a:moveTo>
                <a:cubicBezTo>
                  <a:pt x="63" y="23"/>
                  <a:pt x="68" y="20"/>
                  <a:pt x="72" y="21"/>
                </a:cubicBezTo>
                <a:cubicBezTo>
                  <a:pt x="77" y="23"/>
                  <a:pt x="79" y="27"/>
                  <a:pt x="78" y="32"/>
                </a:cubicBezTo>
                <a:cubicBezTo>
                  <a:pt x="77" y="37"/>
                  <a:pt x="72" y="40"/>
                  <a:pt x="68" y="38"/>
                </a:cubicBezTo>
                <a:cubicBezTo>
                  <a:pt x="63" y="37"/>
                  <a:pt x="61" y="32"/>
                  <a:pt x="62" y="28"/>
                </a:cubicBezTo>
                <a:close/>
                <a:moveTo>
                  <a:pt x="91" y="94"/>
                </a:moveTo>
                <a:cubicBezTo>
                  <a:pt x="89" y="103"/>
                  <a:pt x="80" y="108"/>
                  <a:pt x="72" y="106"/>
                </a:cubicBezTo>
                <a:cubicBezTo>
                  <a:pt x="64" y="103"/>
                  <a:pt x="59" y="95"/>
                  <a:pt x="61" y="86"/>
                </a:cubicBezTo>
                <a:cubicBezTo>
                  <a:pt x="64" y="77"/>
                  <a:pt x="72" y="72"/>
                  <a:pt x="80" y="75"/>
                </a:cubicBezTo>
                <a:cubicBezTo>
                  <a:pt x="88" y="77"/>
                  <a:pt x="93" y="86"/>
                  <a:pt x="91" y="94"/>
                </a:cubicBezTo>
                <a:close/>
                <a:moveTo>
                  <a:pt x="104" y="37"/>
                </a:moveTo>
                <a:cubicBezTo>
                  <a:pt x="103" y="42"/>
                  <a:pt x="98" y="45"/>
                  <a:pt x="94" y="44"/>
                </a:cubicBezTo>
                <a:cubicBezTo>
                  <a:pt x="89" y="42"/>
                  <a:pt x="86" y="37"/>
                  <a:pt x="88" y="32"/>
                </a:cubicBezTo>
                <a:cubicBezTo>
                  <a:pt x="89" y="28"/>
                  <a:pt x="94" y="25"/>
                  <a:pt x="98" y="26"/>
                </a:cubicBezTo>
                <a:cubicBezTo>
                  <a:pt x="103" y="27"/>
                  <a:pt x="106" y="32"/>
                  <a:pt x="104" y="37"/>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Tree>
    <p:extLst>
      <p:ext uri="{BB962C8B-B14F-4D97-AF65-F5344CB8AC3E}">
        <p14:creationId xmlns:p14="http://schemas.microsoft.com/office/powerpoint/2010/main" val="129457001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1E77732-2DF1-4FE8-9B46-5BE60CC2571F}"/>
              </a:ext>
            </a:extLst>
          </p:cNvPr>
          <p:cNvSpPr>
            <a:spLocks noGrp="1"/>
          </p:cNvSpPr>
          <p:nvPr>
            <p:ph type="title"/>
          </p:nvPr>
        </p:nvSpPr>
        <p:spPr/>
        <p:txBody>
          <a:bodyPr/>
          <a:lstStyle/>
          <a:p>
            <a:r>
              <a:rPr lang="zh-CN" altLang="en-US" dirty="0">
                <a:latin typeface="+mn-lt"/>
                <a:ea typeface="+mn-ea"/>
                <a:cs typeface="+mn-ea"/>
                <a:sym typeface="+mn-lt"/>
              </a:rPr>
              <a:t>样机分享</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1118849A-2E57-4BED-8A07-BD06258A01BA}"/>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84</a:t>
            </a:fld>
            <a:endParaRPr lang="en-US" dirty="0">
              <a:solidFill>
                <a:srgbClr val="000000">
                  <a:tint val="75000"/>
                </a:srgbClr>
              </a:solidFill>
              <a:cs typeface="+mn-ea"/>
              <a:sym typeface="+mn-lt"/>
            </a:endParaRPr>
          </a:p>
        </p:txBody>
      </p:sp>
      <p:grpSp>
        <p:nvGrpSpPr>
          <p:cNvPr id="4" name="组合 3">
            <a:extLst>
              <a:ext uri="{FF2B5EF4-FFF2-40B4-BE49-F238E27FC236}">
                <a16:creationId xmlns:a16="http://schemas.microsoft.com/office/drawing/2014/main" id="{3B684DBE-D36A-467F-A0FE-B434C17D28C9}"/>
              </a:ext>
            </a:extLst>
          </p:cNvPr>
          <p:cNvGrpSpPr/>
          <p:nvPr/>
        </p:nvGrpSpPr>
        <p:grpSpPr>
          <a:xfrm>
            <a:off x="584552" y="2090479"/>
            <a:ext cx="4490744" cy="3147851"/>
            <a:chOff x="532879" y="2470664"/>
            <a:chExt cx="3326296" cy="2331615"/>
          </a:xfrm>
        </p:grpSpPr>
        <p:pic>
          <p:nvPicPr>
            <p:cNvPr id="7" name="图片 6">
              <a:extLst>
                <a:ext uri="{FF2B5EF4-FFF2-40B4-BE49-F238E27FC236}">
                  <a16:creationId xmlns:a16="http://schemas.microsoft.com/office/drawing/2014/main" id="{1B9C0190-9E9B-4361-98E9-7BD2E26BBB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879" y="2470664"/>
              <a:ext cx="1492123" cy="876087"/>
            </a:xfrm>
            <a:prstGeom prst="rect">
              <a:avLst/>
            </a:prstGeom>
          </p:spPr>
        </p:pic>
        <p:pic>
          <p:nvPicPr>
            <p:cNvPr id="8" name="图片 7">
              <a:extLst>
                <a:ext uri="{FF2B5EF4-FFF2-40B4-BE49-F238E27FC236}">
                  <a16:creationId xmlns:a16="http://schemas.microsoft.com/office/drawing/2014/main" id="{1B06B2C1-733F-434B-81DC-425E0130CF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7872" y="2470664"/>
              <a:ext cx="1461303" cy="876087"/>
            </a:xfrm>
            <a:prstGeom prst="rect">
              <a:avLst/>
            </a:prstGeom>
          </p:spPr>
        </p:pic>
        <p:pic>
          <p:nvPicPr>
            <p:cNvPr id="15" name="图片 14">
              <a:extLst>
                <a:ext uri="{FF2B5EF4-FFF2-40B4-BE49-F238E27FC236}">
                  <a16:creationId xmlns:a16="http://schemas.microsoft.com/office/drawing/2014/main" id="{2541BA2C-B381-4F41-B4B6-18D8770DBB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851" y="3780099"/>
              <a:ext cx="1212181" cy="1022180"/>
            </a:xfrm>
            <a:prstGeom prst="rect">
              <a:avLst/>
            </a:prstGeom>
          </p:spPr>
        </p:pic>
        <p:pic>
          <p:nvPicPr>
            <p:cNvPr id="19" name="图片 18">
              <a:extLst>
                <a:ext uri="{FF2B5EF4-FFF2-40B4-BE49-F238E27FC236}">
                  <a16:creationId xmlns:a16="http://schemas.microsoft.com/office/drawing/2014/main" id="{2941062A-385B-4331-93F5-3FB3561277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89114" y="3780099"/>
              <a:ext cx="1278820" cy="1022180"/>
            </a:xfrm>
            <a:prstGeom prst="rect">
              <a:avLst/>
            </a:prstGeom>
          </p:spPr>
        </p:pic>
      </p:grpSp>
      <p:grpSp>
        <p:nvGrpSpPr>
          <p:cNvPr id="42" name="组合 41">
            <a:extLst>
              <a:ext uri="{FF2B5EF4-FFF2-40B4-BE49-F238E27FC236}">
                <a16:creationId xmlns:a16="http://schemas.microsoft.com/office/drawing/2014/main" id="{A784D035-42DB-4E42-AC51-CB0DF95FEABD}"/>
              </a:ext>
            </a:extLst>
          </p:cNvPr>
          <p:cNvGrpSpPr/>
          <p:nvPr/>
        </p:nvGrpSpPr>
        <p:grpSpPr>
          <a:xfrm>
            <a:off x="5579717" y="1231208"/>
            <a:ext cx="2062052" cy="4866393"/>
            <a:chOff x="2634639" y="1205103"/>
            <a:chExt cx="2062052" cy="4866393"/>
          </a:xfrm>
        </p:grpSpPr>
        <p:pic>
          <p:nvPicPr>
            <p:cNvPr id="26" name="图片 25">
              <a:extLst>
                <a:ext uri="{FF2B5EF4-FFF2-40B4-BE49-F238E27FC236}">
                  <a16:creationId xmlns:a16="http://schemas.microsoft.com/office/drawing/2014/main" id="{28FE2A3C-9683-41A7-ABD0-6BA12FEB25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46454" y="4462439"/>
              <a:ext cx="821285" cy="1609057"/>
            </a:xfrm>
            <a:prstGeom prst="rect">
              <a:avLst/>
            </a:prstGeom>
          </p:spPr>
        </p:pic>
        <p:pic>
          <p:nvPicPr>
            <p:cNvPr id="27" name="图片 26">
              <a:extLst>
                <a:ext uri="{FF2B5EF4-FFF2-40B4-BE49-F238E27FC236}">
                  <a16:creationId xmlns:a16="http://schemas.microsoft.com/office/drawing/2014/main" id="{B6E9935B-BCC2-4369-B279-24222D15FB6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60958" y="1205103"/>
              <a:ext cx="792277" cy="1547739"/>
            </a:xfrm>
            <a:prstGeom prst="rect">
              <a:avLst/>
            </a:prstGeom>
          </p:spPr>
        </p:pic>
        <p:pic>
          <p:nvPicPr>
            <p:cNvPr id="28" name="图片 27">
              <a:extLst>
                <a:ext uri="{FF2B5EF4-FFF2-40B4-BE49-F238E27FC236}">
                  <a16:creationId xmlns:a16="http://schemas.microsoft.com/office/drawing/2014/main" id="{561E4BCE-5D6C-4F05-A172-F21FC08192B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96275" y="1205103"/>
              <a:ext cx="792277" cy="1547739"/>
            </a:xfrm>
            <a:prstGeom prst="rect">
              <a:avLst/>
            </a:prstGeom>
          </p:spPr>
        </p:pic>
        <p:pic>
          <p:nvPicPr>
            <p:cNvPr id="29" name="图片 28">
              <a:extLst>
                <a:ext uri="{FF2B5EF4-FFF2-40B4-BE49-F238E27FC236}">
                  <a16:creationId xmlns:a16="http://schemas.microsoft.com/office/drawing/2014/main" id="{2B0500C8-C6CC-4EC3-8B35-E732484F547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34639" y="2819050"/>
              <a:ext cx="844914" cy="1547809"/>
            </a:xfrm>
            <a:prstGeom prst="rect">
              <a:avLst/>
            </a:prstGeom>
          </p:spPr>
        </p:pic>
        <p:pic>
          <p:nvPicPr>
            <p:cNvPr id="30" name="图片 29">
              <a:extLst>
                <a:ext uri="{FF2B5EF4-FFF2-40B4-BE49-F238E27FC236}">
                  <a16:creationId xmlns:a16="http://schemas.microsoft.com/office/drawing/2014/main" id="{88F8565B-F098-4D1F-8A0E-4E69CDEAD63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88135" y="2788427"/>
              <a:ext cx="808556" cy="1609057"/>
            </a:xfrm>
            <a:prstGeom prst="rect">
              <a:avLst/>
            </a:prstGeom>
          </p:spPr>
        </p:pic>
        <p:pic>
          <p:nvPicPr>
            <p:cNvPr id="31" name="图片 30">
              <a:extLst>
                <a:ext uri="{FF2B5EF4-FFF2-40B4-BE49-F238E27FC236}">
                  <a16:creationId xmlns:a16="http://schemas.microsoft.com/office/drawing/2014/main" id="{8AF5481C-1428-4061-B910-4A80A4A42DF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909832" y="4462439"/>
              <a:ext cx="765164" cy="1578150"/>
            </a:xfrm>
            <a:prstGeom prst="rect">
              <a:avLst/>
            </a:prstGeom>
          </p:spPr>
        </p:pic>
      </p:grpSp>
      <p:grpSp>
        <p:nvGrpSpPr>
          <p:cNvPr id="41" name="组合 40">
            <a:extLst>
              <a:ext uri="{FF2B5EF4-FFF2-40B4-BE49-F238E27FC236}">
                <a16:creationId xmlns:a16="http://schemas.microsoft.com/office/drawing/2014/main" id="{9B7AE833-9AFA-4A6A-A069-053E9CFE337D}"/>
              </a:ext>
            </a:extLst>
          </p:cNvPr>
          <p:cNvGrpSpPr/>
          <p:nvPr/>
        </p:nvGrpSpPr>
        <p:grpSpPr>
          <a:xfrm>
            <a:off x="8146191" y="1279675"/>
            <a:ext cx="3461257" cy="4769458"/>
            <a:chOff x="5304921" y="1487493"/>
            <a:chExt cx="3143972" cy="4332253"/>
          </a:xfrm>
        </p:grpSpPr>
        <p:pic>
          <p:nvPicPr>
            <p:cNvPr id="33" name="图片 32">
              <a:extLst>
                <a:ext uri="{FF2B5EF4-FFF2-40B4-BE49-F238E27FC236}">
                  <a16:creationId xmlns:a16="http://schemas.microsoft.com/office/drawing/2014/main" id="{54E7FF0F-D7DE-4251-8167-6E70C795E95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304921" y="1487493"/>
              <a:ext cx="1476684" cy="2074995"/>
            </a:xfrm>
            <a:prstGeom prst="rect">
              <a:avLst/>
            </a:prstGeom>
          </p:spPr>
        </p:pic>
        <p:pic>
          <p:nvPicPr>
            <p:cNvPr id="34" name="图片 33">
              <a:extLst>
                <a:ext uri="{FF2B5EF4-FFF2-40B4-BE49-F238E27FC236}">
                  <a16:creationId xmlns:a16="http://schemas.microsoft.com/office/drawing/2014/main" id="{586E5B2A-E247-4EE6-8F20-718E58ABC4A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27228" y="3744751"/>
              <a:ext cx="1476684" cy="2074995"/>
            </a:xfrm>
            <a:prstGeom prst="rect">
              <a:avLst/>
            </a:prstGeom>
          </p:spPr>
        </p:pic>
        <p:pic>
          <p:nvPicPr>
            <p:cNvPr id="35" name="图片 34">
              <a:extLst>
                <a:ext uri="{FF2B5EF4-FFF2-40B4-BE49-F238E27FC236}">
                  <a16:creationId xmlns:a16="http://schemas.microsoft.com/office/drawing/2014/main" id="{97F7F822-859A-4501-964D-B0B704554F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43254" y="1487493"/>
              <a:ext cx="1494491" cy="2074995"/>
            </a:xfrm>
            <a:prstGeom prst="rect">
              <a:avLst/>
            </a:prstGeom>
          </p:spPr>
        </p:pic>
        <p:pic>
          <p:nvPicPr>
            <p:cNvPr id="40" name="图片 39">
              <a:extLst>
                <a:ext uri="{FF2B5EF4-FFF2-40B4-BE49-F238E27FC236}">
                  <a16:creationId xmlns:a16="http://schemas.microsoft.com/office/drawing/2014/main" id="{E2AA6B72-A956-4DD6-9C71-6DE2566F515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968827" y="3744751"/>
              <a:ext cx="1480066" cy="2074995"/>
            </a:xfrm>
            <a:prstGeom prst="rect">
              <a:avLst/>
            </a:prstGeom>
          </p:spPr>
        </p:pic>
      </p:grpSp>
    </p:spTree>
    <p:extLst>
      <p:ext uri="{BB962C8B-B14F-4D97-AF65-F5344CB8AC3E}">
        <p14:creationId xmlns:p14="http://schemas.microsoft.com/office/powerpoint/2010/main" val="16096320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0687441-ACDF-4707-BDE9-8EC94E4679D8}"/>
              </a:ext>
            </a:extLst>
          </p:cNvPr>
          <p:cNvSpPr>
            <a:spLocks noGrp="1"/>
          </p:cNvSpPr>
          <p:nvPr>
            <p:ph type="title"/>
          </p:nvPr>
        </p:nvSpPr>
        <p:spPr/>
        <p:txBody>
          <a:bodyPr/>
          <a:lstStyle/>
          <a:p>
            <a:r>
              <a:rPr lang="zh-CN" altLang="en-US" dirty="0">
                <a:latin typeface="+mn-lt"/>
                <a:ea typeface="+mn-ea"/>
                <a:cs typeface="+mn-ea"/>
                <a:sym typeface="+mn-lt"/>
              </a:rPr>
              <a:t>资源类网站推荐（图标）</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467CF01C-F79A-4F8A-91DE-CA2EE87EB493}"/>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85</a:t>
            </a:fld>
            <a:endParaRPr lang="en-US" dirty="0">
              <a:solidFill>
                <a:srgbClr val="000000">
                  <a:tint val="75000"/>
                </a:srgbClr>
              </a:solidFill>
              <a:cs typeface="+mn-ea"/>
              <a:sym typeface="+mn-lt"/>
            </a:endParaRPr>
          </a:p>
        </p:txBody>
      </p:sp>
      <p:pic>
        <p:nvPicPr>
          <p:cNvPr id="12" name="图片 11">
            <a:extLst>
              <a:ext uri="{FF2B5EF4-FFF2-40B4-BE49-F238E27FC236}">
                <a16:creationId xmlns:a16="http://schemas.microsoft.com/office/drawing/2014/main" id="{2936B348-5E35-415E-BACF-C5BDC6A46F2F}"/>
              </a:ext>
            </a:extLst>
          </p:cNvPr>
          <p:cNvPicPr preferRelativeResize="0">
            <a:picLocks/>
          </p:cNvPicPr>
          <p:nvPr/>
        </p:nvPicPr>
        <p:blipFill rotWithShape="1">
          <a:blip r:embed="rId2" cstate="screen">
            <a:extLst>
              <a:ext uri="{28A0092B-C50C-407E-A947-70E740481C1C}">
                <a14:useLocalDpi xmlns:a14="http://schemas.microsoft.com/office/drawing/2010/main"/>
              </a:ext>
            </a:extLst>
          </a:blip>
          <a:srcRect/>
          <a:stretch/>
        </p:blipFill>
        <p:spPr>
          <a:xfrm>
            <a:off x="4017562" y="1302681"/>
            <a:ext cx="7695013" cy="2216022"/>
          </a:xfrm>
          <a:prstGeom prst="rect">
            <a:avLst/>
          </a:prstGeom>
        </p:spPr>
      </p:pic>
      <p:pic>
        <p:nvPicPr>
          <p:cNvPr id="27" name="图片 26">
            <a:extLst>
              <a:ext uri="{FF2B5EF4-FFF2-40B4-BE49-F238E27FC236}">
                <a16:creationId xmlns:a16="http://schemas.microsoft.com/office/drawing/2014/main" id="{C195DA34-2786-480F-8F53-654FEE356762}"/>
              </a:ext>
            </a:extLst>
          </p:cNvPr>
          <p:cNvPicPr preferRelativeResize="0">
            <a:picLocks/>
          </p:cNvPicPr>
          <p:nvPr/>
        </p:nvPicPr>
        <p:blipFill rotWithShape="1">
          <a:blip r:embed="rId3" cstate="screen">
            <a:extLst>
              <a:ext uri="{28A0092B-C50C-407E-A947-70E740481C1C}">
                <a14:useLocalDpi xmlns:a14="http://schemas.microsoft.com/office/drawing/2010/main"/>
              </a:ext>
            </a:extLst>
          </a:blip>
          <a:srcRect/>
          <a:stretch/>
        </p:blipFill>
        <p:spPr>
          <a:xfrm>
            <a:off x="4017562" y="3817281"/>
            <a:ext cx="7695013" cy="2216022"/>
          </a:xfrm>
          <a:prstGeom prst="rect">
            <a:avLst/>
          </a:prstGeom>
        </p:spPr>
      </p:pic>
      <p:grpSp>
        <p:nvGrpSpPr>
          <p:cNvPr id="25" name="组合 24">
            <a:extLst>
              <a:ext uri="{FF2B5EF4-FFF2-40B4-BE49-F238E27FC236}">
                <a16:creationId xmlns:a16="http://schemas.microsoft.com/office/drawing/2014/main" id="{43461795-FD1F-447D-BCEE-DAD3B02A1626}"/>
              </a:ext>
            </a:extLst>
          </p:cNvPr>
          <p:cNvGrpSpPr/>
          <p:nvPr/>
        </p:nvGrpSpPr>
        <p:grpSpPr>
          <a:xfrm>
            <a:off x="3294264" y="1641764"/>
            <a:ext cx="1537856" cy="1537856"/>
            <a:chOff x="3294264" y="1641764"/>
            <a:chExt cx="1537856" cy="1537856"/>
          </a:xfrm>
        </p:grpSpPr>
        <p:sp>
          <p:nvSpPr>
            <p:cNvPr id="7" name="椭圆 6">
              <a:extLst>
                <a:ext uri="{FF2B5EF4-FFF2-40B4-BE49-F238E27FC236}">
                  <a16:creationId xmlns:a16="http://schemas.microsoft.com/office/drawing/2014/main" id="{749B8355-54E5-447D-929D-A4489F016EEA}"/>
                </a:ext>
              </a:extLst>
            </p:cNvPr>
            <p:cNvSpPr/>
            <p:nvPr/>
          </p:nvSpPr>
          <p:spPr>
            <a:xfrm>
              <a:off x="3294264" y="1641764"/>
              <a:ext cx="1537856" cy="1537856"/>
            </a:xfrm>
            <a:prstGeom prst="ellipse">
              <a:avLst/>
            </a:prstGeom>
            <a:solidFill>
              <a:srgbClr val="FFFFFF"/>
            </a:solidFill>
            <a:ln w="7620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pic>
          <p:nvPicPr>
            <p:cNvPr id="16" name="图片 15">
              <a:extLst>
                <a:ext uri="{FF2B5EF4-FFF2-40B4-BE49-F238E27FC236}">
                  <a16:creationId xmlns:a16="http://schemas.microsoft.com/office/drawing/2014/main" id="{0D5147DB-DE25-48C7-8B2A-6E94E480A91C}"/>
                </a:ext>
              </a:extLst>
            </p:cNvPr>
            <p:cNvPicPr>
              <a:picLocks noChangeAspect="1"/>
            </p:cNvPicPr>
            <p:nvPr/>
          </p:nvPicPr>
          <p:blipFill rotWithShape="1">
            <a:blip r:embed="rId4"/>
            <a:srcRect l="4631" t="5092" r="8965" b="5092"/>
            <a:stretch/>
          </p:blipFill>
          <p:spPr>
            <a:xfrm>
              <a:off x="3416008" y="1750781"/>
              <a:ext cx="1319822" cy="1319822"/>
            </a:xfrm>
            <a:prstGeom prst="ellipse">
              <a:avLst/>
            </a:prstGeom>
            <a:solidFill>
              <a:srgbClr val="FFFFFF"/>
            </a:solidFill>
            <a:ln w="76200" cap="flat" cmpd="sng" algn="ctr">
              <a:solidFill>
                <a:schemeClr val="bg1"/>
              </a:solidFill>
              <a:prstDash val="solid"/>
              <a:miter lim="800000"/>
              <a:headEnd type="none" w="med" len="med"/>
              <a:tailEnd type="none" w="med" len="med"/>
            </a:ln>
            <a:effectLst/>
          </p:spPr>
        </p:pic>
      </p:grpSp>
      <p:grpSp>
        <p:nvGrpSpPr>
          <p:cNvPr id="21" name="组合 20">
            <a:extLst>
              <a:ext uri="{FF2B5EF4-FFF2-40B4-BE49-F238E27FC236}">
                <a16:creationId xmlns:a16="http://schemas.microsoft.com/office/drawing/2014/main" id="{AAD59593-683A-4CAC-B6DC-19629FE5A784}"/>
              </a:ext>
            </a:extLst>
          </p:cNvPr>
          <p:cNvGrpSpPr/>
          <p:nvPr/>
        </p:nvGrpSpPr>
        <p:grpSpPr>
          <a:xfrm>
            <a:off x="525858" y="1888139"/>
            <a:ext cx="2791933" cy="1045106"/>
            <a:chOff x="335589" y="2152150"/>
            <a:chExt cx="2946512" cy="1045106"/>
          </a:xfrm>
        </p:grpSpPr>
        <p:sp>
          <p:nvSpPr>
            <p:cNvPr id="13" name="文本框 12">
              <a:extLst>
                <a:ext uri="{FF2B5EF4-FFF2-40B4-BE49-F238E27FC236}">
                  <a16:creationId xmlns:a16="http://schemas.microsoft.com/office/drawing/2014/main" id="{00E05977-C67C-40DD-9FD0-4F3373CC9ECF}"/>
                </a:ext>
              </a:extLst>
            </p:cNvPr>
            <p:cNvSpPr txBox="1"/>
            <p:nvPr/>
          </p:nvSpPr>
          <p:spPr>
            <a:xfrm>
              <a:off x="335589" y="2152150"/>
              <a:ext cx="2946512" cy="646331"/>
            </a:xfrm>
            <a:prstGeom prst="rect">
              <a:avLst/>
            </a:prstGeom>
            <a:noFill/>
          </p:spPr>
          <p:txBody>
            <a:bodyPr wrap="none" rtlCol="0" anchor="ctr" anchorCtr="0">
              <a:noAutofit/>
            </a:bodyPr>
            <a:lstStyle/>
            <a:p>
              <a:pPr algn="ctr"/>
              <a:r>
                <a:rPr lang="en-US" altLang="zh-CN" sz="3600" b="1" dirty="0">
                  <a:solidFill>
                    <a:schemeClr val="accent1"/>
                  </a:solidFill>
                  <a:cs typeface="+mn-ea"/>
                  <a:sym typeface="+mn-lt"/>
                </a:rPr>
                <a:t>ICONFONT</a:t>
              </a:r>
              <a:endParaRPr lang="en-US" sz="3600" b="1" dirty="0">
                <a:solidFill>
                  <a:schemeClr val="accent1"/>
                </a:solidFill>
                <a:cs typeface="+mn-ea"/>
                <a:sym typeface="+mn-lt"/>
              </a:endParaRPr>
            </a:p>
          </p:txBody>
        </p:sp>
        <p:sp>
          <p:nvSpPr>
            <p:cNvPr id="15" name="矩形 14">
              <a:extLst>
                <a:ext uri="{FF2B5EF4-FFF2-40B4-BE49-F238E27FC236}">
                  <a16:creationId xmlns:a16="http://schemas.microsoft.com/office/drawing/2014/main" id="{BA5BD796-109B-4910-8C80-DCD1EC08939A}"/>
                </a:ext>
              </a:extLst>
            </p:cNvPr>
            <p:cNvSpPr/>
            <p:nvPr/>
          </p:nvSpPr>
          <p:spPr>
            <a:xfrm>
              <a:off x="335589" y="2858702"/>
              <a:ext cx="2946512" cy="338554"/>
            </a:xfrm>
            <a:prstGeom prst="rect">
              <a:avLst/>
            </a:prstGeom>
          </p:spPr>
          <p:txBody>
            <a:bodyPr wrap="none" anchor="ctr" anchorCtr="0">
              <a:noAutofit/>
            </a:bodyPr>
            <a:lstStyle/>
            <a:p>
              <a:pPr algn="ctr"/>
              <a:r>
                <a:rPr lang="en-US" altLang="zh-CN" sz="1600" u="sng" dirty="0">
                  <a:solidFill>
                    <a:schemeClr val="tx1">
                      <a:lumMod val="75000"/>
                      <a:lumOff val="25000"/>
                    </a:schemeClr>
                  </a:solidFill>
                  <a:cs typeface="+mn-ea"/>
                  <a:sym typeface="+mn-lt"/>
                </a:rPr>
                <a:t>https://www.iconfont.cn/</a:t>
              </a:r>
              <a:endParaRPr lang="en-US" sz="1600" u="sng" dirty="0">
                <a:solidFill>
                  <a:schemeClr val="tx1">
                    <a:lumMod val="75000"/>
                    <a:lumOff val="25000"/>
                  </a:schemeClr>
                </a:solidFill>
                <a:cs typeface="+mn-ea"/>
                <a:sym typeface="+mn-lt"/>
              </a:endParaRPr>
            </a:p>
          </p:txBody>
        </p:sp>
      </p:grpSp>
      <p:sp>
        <p:nvSpPr>
          <p:cNvPr id="17" name="文本框 16">
            <a:extLst>
              <a:ext uri="{FF2B5EF4-FFF2-40B4-BE49-F238E27FC236}">
                <a16:creationId xmlns:a16="http://schemas.microsoft.com/office/drawing/2014/main" id="{35EDF929-0D06-4C4E-955D-1E3364CE9841}"/>
              </a:ext>
            </a:extLst>
          </p:cNvPr>
          <p:cNvSpPr txBox="1"/>
          <p:nvPr/>
        </p:nvSpPr>
        <p:spPr>
          <a:xfrm>
            <a:off x="525858" y="4403086"/>
            <a:ext cx="2791933" cy="646331"/>
          </a:xfrm>
          <a:prstGeom prst="rect">
            <a:avLst/>
          </a:prstGeom>
          <a:noFill/>
        </p:spPr>
        <p:txBody>
          <a:bodyPr wrap="none" rtlCol="0" anchor="ctr" anchorCtr="0">
            <a:noAutofit/>
          </a:bodyPr>
          <a:lstStyle/>
          <a:p>
            <a:pPr algn="ctr"/>
            <a:r>
              <a:rPr lang="en-US" altLang="zh-CN" sz="3600" b="1" dirty="0">
                <a:solidFill>
                  <a:schemeClr val="accent1"/>
                </a:solidFill>
                <a:cs typeface="+mn-ea"/>
                <a:sym typeface="+mn-lt"/>
              </a:rPr>
              <a:t>FLATICON</a:t>
            </a:r>
            <a:endParaRPr lang="en-US" sz="3600" b="1" dirty="0">
              <a:solidFill>
                <a:schemeClr val="accent1"/>
              </a:solidFill>
              <a:cs typeface="+mn-ea"/>
              <a:sym typeface="+mn-lt"/>
            </a:endParaRPr>
          </a:p>
        </p:txBody>
      </p:sp>
      <p:sp>
        <p:nvSpPr>
          <p:cNvPr id="19" name="矩形 18">
            <a:extLst>
              <a:ext uri="{FF2B5EF4-FFF2-40B4-BE49-F238E27FC236}">
                <a16:creationId xmlns:a16="http://schemas.microsoft.com/office/drawing/2014/main" id="{52B5D4C7-F733-4872-9075-9A77F435C9D4}"/>
              </a:ext>
            </a:extLst>
          </p:cNvPr>
          <p:cNvSpPr/>
          <p:nvPr/>
        </p:nvSpPr>
        <p:spPr>
          <a:xfrm>
            <a:off x="525858" y="5108945"/>
            <a:ext cx="2791933" cy="338554"/>
          </a:xfrm>
          <a:prstGeom prst="rect">
            <a:avLst/>
          </a:prstGeom>
        </p:spPr>
        <p:txBody>
          <a:bodyPr wrap="none" anchor="ctr" anchorCtr="0">
            <a:noAutofit/>
          </a:bodyPr>
          <a:lstStyle/>
          <a:p>
            <a:pPr algn="ctr"/>
            <a:r>
              <a:rPr lang="en-US" altLang="zh-CN" sz="1600" u="sng" dirty="0">
                <a:solidFill>
                  <a:schemeClr val="tx1">
                    <a:lumMod val="75000"/>
                    <a:lumOff val="25000"/>
                  </a:schemeClr>
                </a:solidFill>
                <a:cs typeface="+mn-ea"/>
                <a:sym typeface="+mn-lt"/>
              </a:rPr>
              <a:t>https://www.flaticon.com/</a:t>
            </a:r>
            <a:endParaRPr lang="en-US" sz="1600" u="sng" dirty="0">
              <a:solidFill>
                <a:schemeClr val="tx1">
                  <a:lumMod val="75000"/>
                  <a:lumOff val="25000"/>
                </a:schemeClr>
              </a:solidFill>
              <a:cs typeface="+mn-ea"/>
              <a:sym typeface="+mn-lt"/>
            </a:endParaRPr>
          </a:p>
        </p:txBody>
      </p:sp>
      <p:cxnSp>
        <p:nvCxnSpPr>
          <p:cNvPr id="20" name="直接连接符 19">
            <a:extLst>
              <a:ext uri="{FF2B5EF4-FFF2-40B4-BE49-F238E27FC236}">
                <a16:creationId xmlns:a16="http://schemas.microsoft.com/office/drawing/2014/main" id="{D5337553-4AE0-4C68-A832-74E9BA3DAA07}"/>
              </a:ext>
            </a:extLst>
          </p:cNvPr>
          <p:cNvCxnSpPr/>
          <p:nvPr/>
        </p:nvCxnSpPr>
        <p:spPr>
          <a:xfrm>
            <a:off x="525858" y="3667992"/>
            <a:ext cx="2791933"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组合 28">
            <a:extLst>
              <a:ext uri="{FF2B5EF4-FFF2-40B4-BE49-F238E27FC236}">
                <a16:creationId xmlns:a16="http://schemas.microsoft.com/office/drawing/2014/main" id="{F953A00A-AF0E-4E40-8653-D31BC15F325A}"/>
              </a:ext>
            </a:extLst>
          </p:cNvPr>
          <p:cNvGrpSpPr/>
          <p:nvPr/>
        </p:nvGrpSpPr>
        <p:grpSpPr>
          <a:xfrm>
            <a:off x="3294264" y="4156364"/>
            <a:ext cx="1537856" cy="1537856"/>
            <a:chOff x="3294264" y="4156364"/>
            <a:chExt cx="1537856" cy="1537856"/>
          </a:xfrm>
        </p:grpSpPr>
        <p:sp>
          <p:nvSpPr>
            <p:cNvPr id="10" name="椭圆 9">
              <a:extLst>
                <a:ext uri="{FF2B5EF4-FFF2-40B4-BE49-F238E27FC236}">
                  <a16:creationId xmlns:a16="http://schemas.microsoft.com/office/drawing/2014/main" id="{11516163-9442-4A15-AD0A-AC5F52B86F9B}"/>
                </a:ext>
              </a:extLst>
            </p:cNvPr>
            <p:cNvSpPr/>
            <p:nvPr/>
          </p:nvSpPr>
          <p:spPr>
            <a:xfrm>
              <a:off x="3294264" y="4156364"/>
              <a:ext cx="1537856" cy="1537856"/>
            </a:xfrm>
            <a:prstGeom prst="ellipse">
              <a:avLst/>
            </a:prstGeom>
            <a:solidFill>
              <a:srgbClr val="FFFFFF"/>
            </a:solidFill>
            <a:ln w="7620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pic>
          <p:nvPicPr>
            <p:cNvPr id="28" name="图片 27">
              <a:extLst>
                <a:ext uri="{FF2B5EF4-FFF2-40B4-BE49-F238E27FC236}">
                  <a16:creationId xmlns:a16="http://schemas.microsoft.com/office/drawing/2014/main" id="{FC797F17-0253-40AF-927F-8ACD86285D83}"/>
                </a:ext>
              </a:extLst>
            </p:cNvPr>
            <p:cNvPicPr>
              <a:picLocks noChangeAspect="1"/>
            </p:cNvPicPr>
            <p:nvPr/>
          </p:nvPicPr>
          <p:blipFill rotWithShape="1">
            <a:blip r:embed="rId5"/>
            <a:srcRect l="5769" t="-8491" r="5769" b="8491"/>
            <a:stretch/>
          </p:blipFill>
          <p:spPr>
            <a:xfrm>
              <a:off x="3427959" y="4290060"/>
              <a:ext cx="1270468" cy="1270466"/>
            </a:xfrm>
            <a:prstGeom prst="ellipse">
              <a:avLst/>
            </a:prstGeom>
            <a:solidFill>
              <a:srgbClr val="0B2239"/>
            </a:solidFill>
          </p:spPr>
        </p:pic>
      </p:grpSp>
    </p:spTree>
    <p:extLst>
      <p:ext uri="{BB962C8B-B14F-4D97-AF65-F5344CB8AC3E}">
        <p14:creationId xmlns:p14="http://schemas.microsoft.com/office/powerpoint/2010/main" val="140175083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0687441-ACDF-4707-BDE9-8EC94E4679D8}"/>
              </a:ext>
            </a:extLst>
          </p:cNvPr>
          <p:cNvSpPr>
            <a:spLocks noGrp="1"/>
          </p:cNvSpPr>
          <p:nvPr>
            <p:ph type="title"/>
          </p:nvPr>
        </p:nvSpPr>
        <p:spPr/>
        <p:txBody>
          <a:bodyPr/>
          <a:lstStyle/>
          <a:p>
            <a:r>
              <a:rPr lang="zh-CN" altLang="en-US" dirty="0">
                <a:latin typeface="+mn-lt"/>
                <a:ea typeface="+mn-ea"/>
                <a:cs typeface="+mn-ea"/>
                <a:sym typeface="+mn-lt"/>
              </a:rPr>
              <a:t>资源类网站推荐（图片）</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467CF01C-F79A-4F8A-91DE-CA2EE87EB493}"/>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86</a:t>
            </a:fld>
            <a:endParaRPr lang="en-US" dirty="0">
              <a:solidFill>
                <a:srgbClr val="000000">
                  <a:tint val="75000"/>
                </a:srgbClr>
              </a:solidFill>
              <a:cs typeface="+mn-ea"/>
              <a:sym typeface="+mn-lt"/>
            </a:endParaRPr>
          </a:p>
        </p:txBody>
      </p:sp>
      <p:pic>
        <p:nvPicPr>
          <p:cNvPr id="4" name="图片 3">
            <a:extLst>
              <a:ext uri="{FF2B5EF4-FFF2-40B4-BE49-F238E27FC236}">
                <a16:creationId xmlns:a16="http://schemas.microsoft.com/office/drawing/2014/main" id="{6C741D66-A0D7-4DB3-BAA1-71AF7A57CCF7}"/>
              </a:ext>
            </a:extLst>
          </p:cNvPr>
          <p:cNvPicPr preferRelativeResize="0">
            <a:picLocks/>
          </p:cNvPicPr>
          <p:nvPr/>
        </p:nvPicPr>
        <p:blipFill rotWithShape="1">
          <a:blip r:embed="rId2" cstate="screen">
            <a:extLst>
              <a:ext uri="{28A0092B-C50C-407E-A947-70E740481C1C}">
                <a14:useLocalDpi xmlns:a14="http://schemas.microsoft.com/office/drawing/2010/main"/>
              </a:ext>
            </a:extLst>
          </a:blip>
          <a:srcRect t="-1164"/>
          <a:stretch/>
        </p:blipFill>
        <p:spPr>
          <a:xfrm>
            <a:off x="4017562" y="1302681"/>
            <a:ext cx="7695013" cy="2216022"/>
          </a:xfrm>
          <a:prstGeom prst="rect">
            <a:avLst/>
          </a:prstGeom>
        </p:spPr>
      </p:pic>
      <p:pic>
        <p:nvPicPr>
          <p:cNvPr id="5" name="图片 4">
            <a:extLst>
              <a:ext uri="{FF2B5EF4-FFF2-40B4-BE49-F238E27FC236}">
                <a16:creationId xmlns:a16="http://schemas.microsoft.com/office/drawing/2014/main" id="{C831A553-BDDE-498A-A63A-01D58D2620E2}"/>
              </a:ext>
            </a:extLst>
          </p:cNvPr>
          <p:cNvPicPr preferRelativeResize="0">
            <a:picLocks/>
          </p:cNvPicPr>
          <p:nvPr/>
        </p:nvPicPr>
        <p:blipFill rotWithShape="1">
          <a:blip r:embed="rId3" cstate="screen">
            <a:extLst>
              <a:ext uri="{28A0092B-C50C-407E-A947-70E740481C1C}">
                <a14:useLocalDpi xmlns:a14="http://schemas.microsoft.com/office/drawing/2010/main"/>
              </a:ext>
            </a:extLst>
          </a:blip>
          <a:srcRect t="-356"/>
          <a:stretch/>
        </p:blipFill>
        <p:spPr>
          <a:xfrm>
            <a:off x="4017562" y="3817281"/>
            <a:ext cx="7695013" cy="2216022"/>
          </a:xfrm>
          <a:prstGeom prst="rect">
            <a:avLst/>
          </a:prstGeom>
        </p:spPr>
      </p:pic>
      <p:grpSp>
        <p:nvGrpSpPr>
          <p:cNvPr id="6" name="组合 5">
            <a:extLst>
              <a:ext uri="{FF2B5EF4-FFF2-40B4-BE49-F238E27FC236}">
                <a16:creationId xmlns:a16="http://schemas.microsoft.com/office/drawing/2014/main" id="{F3F15CCE-9377-4A74-98A2-7CADC14B3605}"/>
              </a:ext>
            </a:extLst>
          </p:cNvPr>
          <p:cNvGrpSpPr/>
          <p:nvPr/>
        </p:nvGrpSpPr>
        <p:grpSpPr>
          <a:xfrm>
            <a:off x="3294264" y="1641764"/>
            <a:ext cx="1537856" cy="1537856"/>
            <a:chOff x="3095106" y="1442606"/>
            <a:chExt cx="1936172" cy="1936172"/>
          </a:xfrm>
          <a:effectLst>
            <a:outerShdw blurRad="50800" dist="38100" dir="2700000" algn="tl" rotWithShape="0">
              <a:prstClr val="black">
                <a:alpha val="40000"/>
              </a:prstClr>
            </a:outerShdw>
          </a:effectLst>
        </p:grpSpPr>
        <p:sp>
          <p:nvSpPr>
            <p:cNvPr id="7" name="椭圆 6">
              <a:extLst>
                <a:ext uri="{FF2B5EF4-FFF2-40B4-BE49-F238E27FC236}">
                  <a16:creationId xmlns:a16="http://schemas.microsoft.com/office/drawing/2014/main" id="{749B8355-54E5-447D-929D-A4489F016EEA}"/>
                </a:ext>
              </a:extLst>
            </p:cNvPr>
            <p:cNvSpPr/>
            <p:nvPr/>
          </p:nvSpPr>
          <p:spPr>
            <a:xfrm>
              <a:off x="3095106" y="1442606"/>
              <a:ext cx="1936172" cy="1936172"/>
            </a:xfrm>
            <a:prstGeom prst="ellipse">
              <a:avLst/>
            </a:prstGeom>
            <a:solidFill>
              <a:srgbClr val="FFFFFF"/>
            </a:solidFill>
            <a:ln w="7620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pic>
          <p:nvPicPr>
            <p:cNvPr id="8" name="图片 7">
              <a:extLst>
                <a:ext uri="{FF2B5EF4-FFF2-40B4-BE49-F238E27FC236}">
                  <a16:creationId xmlns:a16="http://schemas.microsoft.com/office/drawing/2014/main" id="{48C4F2FA-4523-44F8-80C4-606CA2E177F3}"/>
                </a:ext>
              </a:extLst>
            </p:cNvPr>
            <p:cNvPicPr>
              <a:picLocks noChangeAspect="1"/>
            </p:cNvPicPr>
            <p:nvPr/>
          </p:nvPicPr>
          <p:blipFill rotWithShape="1">
            <a:blip r:embed="rId4">
              <a:extLst>
                <a:ext uri="{28A0092B-C50C-407E-A947-70E740481C1C}">
                  <a14:useLocalDpi xmlns:a14="http://schemas.microsoft.com/office/drawing/2010/main" val="0"/>
                </a:ext>
              </a:extLst>
            </a:blip>
            <a:srcRect r="75906" b="-152"/>
            <a:stretch/>
          </p:blipFill>
          <p:spPr>
            <a:xfrm>
              <a:off x="3235979" y="1614129"/>
              <a:ext cx="1654426" cy="1593128"/>
            </a:xfrm>
            <a:prstGeom prst="rect">
              <a:avLst/>
            </a:prstGeom>
            <a:ln w="76200">
              <a:noFill/>
            </a:ln>
            <a:extLst>
              <a:ext uri="{91240B29-F687-4F45-9708-019B960494DF}">
                <a14:hiddenLine xmlns:a14="http://schemas.microsoft.com/office/drawing/2010/main" w="76200">
                  <a:solidFill>
                    <a:schemeClr val="bg1"/>
                  </a:solidFill>
                </a14:hiddenLine>
              </a:ext>
            </a:extLst>
          </p:spPr>
        </p:pic>
      </p:grpSp>
      <p:grpSp>
        <p:nvGrpSpPr>
          <p:cNvPr id="9" name="组合 8">
            <a:extLst>
              <a:ext uri="{FF2B5EF4-FFF2-40B4-BE49-F238E27FC236}">
                <a16:creationId xmlns:a16="http://schemas.microsoft.com/office/drawing/2014/main" id="{5972660D-8CD6-4642-9B82-089D88FB6C58}"/>
              </a:ext>
            </a:extLst>
          </p:cNvPr>
          <p:cNvGrpSpPr/>
          <p:nvPr/>
        </p:nvGrpSpPr>
        <p:grpSpPr>
          <a:xfrm>
            <a:off x="3294264" y="4156364"/>
            <a:ext cx="1537856" cy="1537856"/>
            <a:chOff x="3095106" y="3957206"/>
            <a:chExt cx="1936172" cy="1936172"/>
          </a:xfrm>
          <a:effectLst>
            <a:outerShdw blurRad="50800" dist="38100" dir="2700000" algn="tl" rotWithShape="0">
              <a:prstClr val="black">
                <a:alpha val="40000"/>
              </a:prstClr>
            </a:outerShdw>
          </a:effectLst>
        </p:grpSpPr>
        <p:sp>
          <p:nvSpPr>
            <p:cNvPr id="10" name="椭圆 9">
              <a:extLst>
                <a:ext uri="{FF2B5EF4-FFF2-40B4-BE49-F238E27FC236}">
                  <a16:creationId xmlns:a16="http://schemas.microsoft.com/office/drawing/2014/main" id="{11516163-9442-4A15-AD0A-AC5F52B86F9B}"/>
                </a:ext>
              </a:extLst>
            </p:cNvPr>
            <p:cNvSpPr/>
            <p:nvPr/>
          </p:nvSpPr>
          <p:spPr>
            <a:xfrm>
              <a:off x="3095106" y="3957206"/>
              <a:ext cx="1936172" cy="1936172"/>
            </a:xfrm>
            <a:prstGeom prst="ellipse">
              <a:avLst/>
            </a:prstGeom>
            <a:solidFill>
              <a:srgbClr val="FFFFFF"/>
            </a:solidFill>
            <a:ln w="7620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pic>
          <p:nvPicPr>
            <p:cNvPr id="11" name="图形 10">
              <a:extLst>
                <a:ext uri="{FF2B5EF4-FFF2-40B4-BE49-F238E27FC236}">
                  <a16:creationId xmlns:a16="http://schemas.microsoft.com/office/drawing/2014/main" id="{D4C692A7-5316-4223-AD98-7661FCDDFD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47108" y="4309209"/>
              <a:ext cx="1232168" cy="1232166"/>
            </a:xfrm>
            <a:prstGeom prst="rect">
              <a:avLst/>
            </a:prstGeom>
          </p:spPr>
        </p:pic>
      </p:grpSp>
      <p:grpSp>
        <p:nvGrpSpPr>
          <p:cNvPr id="22" name="组合 21">
            <a:extLst>
              <a:ext uri="{FF2B5EF4-FFF2-40B4-BE49-F238E27FC236}">
                <a16:creationId xmlns:a16="http://schemas.microsoft.com/office/drawing/2014/main" id="{EB8AC9C2-A8FF-4FF6-954A-94606C79E53E}"/>
              </a:ext>
            </a:extLst>
          </p:cNvPr>
          <p:cNvGrpSpPr/>
          <p:nvPr/>
        </p:nvGrpSpPr>
        <p:grpSpPr>
          <a:xfrm>
            <a:off x="515938" y="1691866"/>
            <a:ext cx="2643952" cy="1437652"/>
            <a:chOff x="335589" y="1759604"/>
            <a:chExt cx="2946512" cy="1437652"/>
          </a:xfrm>
        </p:grpSpPr>
        <p:sp>
          <p:nvSpPr>
            <p:cNvPr id="13" name="文本框 12">
              <a:extLst>
                <a:ext uri="{FF2B5EF4-FFF2-40B4-BE49-F238E27FC236}">
                  <a16:creationId xmlns:a16="http://schemas.microsoft.com/office/drawing/2014/main" id="{00E05977-C67C-40DD-9FD0-4F3373CC9ECF}"/>
                </a:ext>
              </a:extLst>
            </p:cNvPr>
            <p:cNvSpPr txBox="1"/>
            <p:nvPr/>
          </p:nvSpPr>
          <p:spPr>
            <a:xfrm>
              <a:off x="335589" y="1759604"/>
              <a:ext cx="2946512" cy="646331"/>
            </a:xfrm>
            <a:prstGeom prst="rect">
              <a:avLst/>
            </a:prstGeom>
            <a:noFill/>
          </p:spPr>
          <p:txBody>
            <a:bodyPr wrap="none" rtlCol="0" anchor="ctr" anchorCtr="0">
              <a:noAutofit/>
            </a:bodyPr>
            <a:lstStyle/>
            <a:p>
              <a:pPr algn="ctr"/>
              <a:r>
                <a:rPr lang="zh-CN" altLang="en-US" sz="3600" b="1" dirty="0">
                  <a:solidFill>
                    <a:schemeClr val="accent1"/>
                  </a:solidFill>
                  <a:cs typeface="+mn-ea"/>
                  <a:sym typeface="+mn-lt"/>
                </a:rPr>
                <a:t>摄图网</a:t>
              </a:r>
              <a:endParaRPr lang="en-US" sz="3600" b="1" dirty="0">
                <a:solidFill>
                  <a:schemeClr val="accent1"/>
                </a:solidFill>
                <a:cs typeface="+mn-ea"/>
                <a:sym typeface="+mn-lt"/>
              </a:endParaRPr>
            </a:p>
          </p:txBody>
        </p:sp>
        <p:sp>
          <p:nvSpPr>
            <p:cNvPr id="14" name="文本框 13">
              <a:extLst>
                <a:ext uri="{FF2B5EF4-FFF2-40B4-BE49-F238E27FC236}">
                  <a16:creationId xmlns:a16="http://schemas.microsoft.com/office/drawing/2014/main" id="{8A63740F-9D64-466E-B981-C3D34154F657}"/>
                </a:ext>
              </a:extLst>
            </p:cNvPr>
            <p:cNvSpPr txBox="1"/>
            <p:nvPr/>
          </p:nvSpPr>
          <p:spPr>
            <a:xfrm>
              <a:off x="335589" y="2349137"/>
              <a:ext cx="2946512" cy="400110"/>
            </a:xfrm>
            <a:prstGeom prst="rect">
              <a:avLst/>
            </a:prstGeom>
            <a:noFill/>
          </p:spPr>
          <p:txBody>
            <a:bodyPr wrap="none" rtlCol="0" anchor="ctr" anchorCtr="0">
              <a:noAutofit/>
            </a:bodyPr>
            <a:lstStyle/>
            <a:p>
              <a:pPr algn="ctr"/>
              <a:r>
                <a:rPr lang="zh-CN" altLang="en-US" sz="2000" dirty="0">
                  <a:solidFill>
                    <a:schemeClr val="tx1">
                      <a:lumMod val="75000"/>
                      <a:lumOff val="25000"/>
                    </a:schemeClr>
                  </a:solidFill>
                  <a:cs typeface="+mn-ea"/>
                  <a:sym typeface="+mn-lt"/>
                </a:rPr>
                <a:t>（需要付费下载）</a:t>
              </a:r>
              <a:endParaRPr lang="en-US" sz="2000" dirty="0">
                <a:solidFill>
                  <a:schemeClr val="tx1">
                    <a:lumMod val="75000"/>
                    <a:lumOff val="25000"/>
                  </a:schemeClr>
                </a:solidFill>
                <a:cs typeface="+mn-ea"/>
                <a:sym typeface="+mn-lt"/>
              </a:endParaRPr>
            </a:p>
          </p:txBody>
        </p:sp>
        <p:sp>
          <p:nvSpPr>
            <p:cNvPr id="15" name="矩形 14">
              <a:extLst>
                <a:ext uri="{FF2B5EF4-FFF2-40B4-BE49-F238E27FC236}">
                  <a16:creationId xmlns:a16="http://schemas.microsoft.com/office/drawing/2014/main" id="{BA5BD796-109B-4910-8C80-DCD1EC08939A}"/>
                </a:ext>
              </a:extLst>
            </p:cNvPr>
            <p:cNvSpPr/>
            <p:nvPr/>
          </p:nvSpPr>
          <p:spPr>
            <a:xfrm>
              <a:off x="335589" y="2858702"/>
              <a:ext cx="2946512" cy="338554"/>
            </a:xfrm>
            <a:prstGeom prst="rect">
              <a:avLst/>
            </a:prstGeom>
          </p:spPr>
          <p:txBody>
            <a:bodyPr wrap="none" anchor="ctr" anchorCtr="0">
              <a:noAutofit/>
            </a:bodyPr>
            <a:lstStyle/>
            <a:p>
              <a:pPr algn="ctr"/>
              <a:r>
                <a:rPr lang="en-US" altLang="zh-CN" sz="1600" dirty="0">
                  <a:solidFill>
                    <a:schemeClr val="tx1">
                      <a:lumMod val="75000"/>
                      <a:lumOff val="25000"/>
                    </a:schemeClr>
                  </a:solidFill>
                  <a:cs typeface="+mn-ea"/>
                  <a:sym typeface="+mn-lt"/>
                  <a:hlinkClick r:id="rId7">
                    <a:extLst>
                      <a:ext uri="{A12FA001-AC4F-418D-AE19-62706E023703}">
                        <ahyp:hlinkClr xmlns:ahyp="http://schemas.microsoft.com/office/drawing/2018/hyperlinkcolor" val="tx"/>
                      </a:ext>
                    </a:extLst>
                  </a:hlinkClick>
                </a:rPr>
                <a:t>http://699pic.com/</a:t>
              </a:r>
              <a:endParaRPr lang="en-US" sz="1600" dirty="0">
                <a:solidFill>
                  <a:schemeClr val="tx1">
                    <a:lumMod val="75000"/>
                    <a:lumOff val="25000"/>
                  </a:schemeClr>
                </a:solidFill>
                <a:cs typeface="+mn-ea"/>
                <a:sym typeface="+mn-lt"/>
              </a:endParaRPr>
            </a:p>
          </p:txBody>
        </p:sp>
      </p:grpSp>
      <p:grpSp>
        <p:nvGrpSpPr>
          <p:cNvPr id="21" name="组合 20">
            <a:extLst>
              <a:ext uri="{FF2B5EF4-FFF2-40B4-BE49-F238E27FC236}">
                <a16:creationId xmlns:a16="http://schemas.microsoft.com/office/drawing/2014/main" id="{515ECE93-0A87-4DF1-B2B8-F18E014286A5}"/>
              </a:ext>
            </a:extLst>
          </p:cNvPr>
          <p:cNvGrpSpPr/>
          <p:nvPr/>
        </p:nvGrpSpPr>
        <p:grpSpPr>
          <a:xfrm>
            <a:off x="515938" y="4262693"/>
            <a:ext cx="2643952" cy="1325199"/>
            <a:chOff x="335589" y="4330430"/>
            <a:chExt cx="2946512" cy="1325199"/>
          </a:xfrm>
        </p:grpSpPr>
        <p:sp>
          <p:nvSpPr>
            <p:cNvPr id="17" name="文本框 16">
              <a:extLst>
                <a:ext uri="{FF2B5EF4-FFF2-40B4-BE49-F238E27FC236}">
                  <a16:creationId xmlns:a16="http://schemas.microsoft.com/office/drawing/2014/main" id="{35EDF929-0D06-4C4E-955D-1E3364CE9841}"/>
                </a:ext>
              </a:extLst>
            </p:cNvPr>
            <p:cNvSpPr txBox="1"/>
            <p:nvPr/>
          </p:nvSpPr>
          <p:spPr>
            <a:xfrm>
              <a:off x="335589" y="4330430"/>
              <a:ext cx="2946512" cy="646331"/>
            </a:xfrm>
            <a:prstGeom prst="rect">
              <a:avLst/>
            </a:prstGeom>
            <a:noFill/>
          </p:spPr>
          <p:txBody>
            <a:bodyPr wrap="none" rtlCol="0" anchor="ctr" anchorCtr="0">
              <a:noAutofit/>
            </a:bodyPr>
            <a:lstStyle/>
            <a:p>
              <a:pPr algn="ctr"/>
              <a:r>
                <a:rPr lang="en-US" altLang="zh-CN" sz="3600" b="1" dirty="0">
                  <a:solidFill>
                    <a:schemeClr val="accent1"/>
                  </a:solidFill>
                  <a:cs typeface="+mn-ea"/>
                  <a:sym typeface="+mn-lt"/>
                </a:rPr>
                <a:t>PEXEL</a:t>
              </a:r>
              <a:endParaRPr lang="en-US" sz="3600" b="1" dirty="0">
                <a:solidFill>
                  <a:schemeClr val="accent1"/>
                </a:solidFill>
                <a:cs typeface="+mn-ea"/>
                <a:sym typeface="+mn-lt"/>
              </a:endParaRPr>
            </a:p>
          </p:txBody>
        </p:sp>
        <p:sp>
          <p:nvSpPr>
            <p:cNvPr id="18" name="文本框 17">
              <a:extLst>
                <a:ext uri="{FF2B5EF4-FFF2-40B4-BE49-F238E27FC236}">
                  <a16:creationId xmlns:a16="http://schemas.microsoft.com/office/drawing/2014/main" id="{DF586F8F-0DC3-475D-BD1C-4C36749B16B4}"/>
                </a:ext>
              </a:extLst>
            </p:cNvPr>
            <p:cNvSpPr txBox="1"/>
            <p:nvPr/>
          </p:nvSpPr>
          <p:spPr>
            <a:xfrm>
              <a:off x="335589" y="4863736"/>
              <a:ext cx="2946512" cy="400110"/>
            </a:xfrm>
            <a:prstGeom prst="rect">
              <a:avLst/>
            </a:prstGeom>
            <a:noFill/>
          </p:spPr>
          <p:txBody>
            <a:bodyPr wrap="none" rtlCol="0" anchor="ctr" anchorCtr="0">
              <a:noAutofit/>
            </a:bodyPr>
            <a:lstStyle/>
            <a:p>
              <a:pPr algn="ctr"/>
              <a:r>
                <a:rPr lang="zh-CN" altLang="en-US" sz="2000" dirty="0">
                  <a:solidFill>
                    <a:schemeClr val="tx1">
                      <a:lumMod val="75000"/>
                      <a:lumOff val="25000"/>
                    </a:schemeClr>
                  </a:solidFill>
                  <a:cs typeface="+mn-ea"/>
                  <a:sym typeface="+mn-lt"/>
                </a:rPr>
                <a:t>（免费可商用）</a:t>
              </a:r>
              <a:endParaRPr lang="en-US" sz="2000" dirty="0">
                <a:solidFill>
                  <a:schemeClr val="tx1">
                    <a:lumMod val="75000"/>
                    <a:lumOff val="25000"/>
                  </a:schemeClr>
                </a:solidFill>
                <a:cs typeface="+mn-ea"/>
                <a:sym typeface="+mn-lt"/>
              </a:endParaRPr>
            </a:p>
          </p:txBody>
        </p:sp>
        <p:sp>
          <p:nvSpPr>
            <p:cNvPr id="19" name="矩形 18">
              <a:extLst>
                <a:ext uri="{FF2B5EF4-FFF2-40B4-BE49-F238E27FC236}">
                  <a16:creationId xmlns:a16="http://schemas.microsoft.com/office/drawing/2014/main" id="{52B5D4C7-F733-4872-9075-9A77F435C9D4}"/>
                </a:ext>
              </a:extLst>
            </p:cNvPr>
            <p:cNvSpPr/>
            <p:nvPr/>
          </p:nvSpPr>
          <p:spPr>
            <a:xfrm>
              <a:off x="335589" y="5317075"/>
              <a:ext cx="2946512" cy="338554"/>
            </a:xfrm>
            <a:prstGeom prst="rect">
              <a:avLst/>
            </a:prstGeom>
          </p:spPr>
          <p:txBody>
            <a:bodyPr wrap="none" anchor="ctr" anchorCtr="0">
              <a:noAutofit/>
            </a:bodyPr>
            <a:lstStyle/>
            <a:p>
              <a:pPr algn="ctr"/>
              <a:r>
                <a:rPr lang="en-US" altLang="zh-CN" sz="1600" dirty="0">
                  <a:solidFill>
                    <a:schemeClr val="tx1">
                      <a:lumMod val="75000"/>
                      <a:lumOff val="25000"/>
                    </a:schemeClr>
                  </a:solidFill>
                  <a:cs typeface="+mn-ea"/>
                  <a:sym typeface="+mn-lt"/>
                  <a:hlinkClick r:id="rId8">
                    <a:extLst>
                      <a:ext uri="{A12FA001-AC4F-418D-AE19-62706E023703}">
                        <ahyp:hlinkClr xmlns:ahyp="http://schemas.microsoft.com/office/drawing/2018/hyperlinkcolor" val="tx"/>
                      </a:ext>
                    </a:extLst>
                  </a:hlinkClick>
                </a:rPr>
                <a:t>https://www.pexels.com/zh-cn/</a:t>
              </a:r>
              <a:endParaRPr lang="en-US" sz="1600" dirty="0">
                <a:solidFill>
                  <a:schemeClr val="tx1">
                    <a:lumMod val="75000"/>
                    <a:lumOff val="25000"/>
                  </a:schemeClr>
                </a:solidFill>
                <a:cs typeface="+mn-ea"/>
                <a:sym typeface="+mn-lt"/>
              </a:endParaRPr>
            </a:p>
          </p:txBody>
        </p:sp>
      </p:grpSp>
      <p:cxnSp>
        <p:nvCxnSpPr>
          <p:cNvPr id="20" name="直接连接符 19">
            <a:extLst>
              <a:ext uri="{FF2B5EF4-FFF2-40B4-BE49-F238E27FC236}">
                <a16:creationId xmlns:a16="http://schemas.microsoft.com/office/drawing/2014/main" id="{D5337553-4AE0-4C68-A832-74E9BA3DAA07}"/>
              </a:ext>
            </a:extLst>
          </p:cNvPr>
          <p:cNvCxnSpPr/>
          <p:nvPr/>
        </p:nvCxnSpPr>
        <p:spPr>
          <a:xfrm>
            <a:off x="515938" y="3696106"/>
            <a:ext cx="2643952"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487926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31B4A76-571F-4CAE-9175-B8F5CBD06BFF}"/>
              </a:ext>
            </a:extLst>
          </p:cNvPr>
          <p:cNvSpPr>
            <a:spLocks noGrp="1"/>
          </p:cNvSpPr>
          <p:nvPr>
            <p:ph type="title"/>
          </p:nvPr>
        </p:nvSpPr>
        <p:spPr/>
        <p:txBody>
          <a:bodyPr/>
          <a:lstStyle/>
          <a:p>
            <a:r>
              <a:rPr lang="en-US" dirty="0">
                <a:latin typeface="+mn-lt"/>
                <a:ea typeface="+mn-ea"/>
                <a:cs typeface="+mn-ea"/>
                <a:sym typeface="+mn-lt"/>
              </a:rPr>
              <a:t>PPT</a:t>
            </a:r>
            <a:r>
              <a:rPr lang="zh-CN" altLang="en-US" dirty="0">
                <a:latin typeface="+mn-lt"/>
                <a:ea typeface="+mn-ea"/>
                <a:cs typeface="+mn-ea"/>
                <a:sym typeface="+mn-lt"/>
              </a:rPr>
              <a:t>插件推荐：</a:t>
            </a:r>
            <a:r>
              <a:rPr lang="en-US" altLang="zh-CN" dirty="0" err="1">
                <a:latin typeface="+mn-lt"/>
                <a:ea typeface="+mn-ea"/>
                <a:cs typeface="+mn-ea"/>
                <a:sym typeface="+mn-lt"/>
              </a:rPr>
              <a:t>iSlide</a:t>
            </a:r>
            <a:endParaRPr lang="en-US" dirty="0">
              <a:latin typeface="+mn-lt"/>
              <a:ea typeface="+mn-ea"/>
              <a:cs typeface="+mn-ea"/>
              <a:sym typeface="+mn-lt"/>
            </a:endParaRPr>
          </a:p>
        </p:txBody>
      </p:sp>
      <p:sp>
        <p:nvSpPr>
          <p:cNvPr id="3" name="灯片编号占位符 2">
            <a:extLst>
              <a:ext uri="{FF2B5EF4-FFF2-40B4-BE49-F238E27FC236}">
                <a16:creationId xmlns:a16="http://schemas.microsoft.com/office/drawing/2014/main" id="{ADDBFB1F-096F-413D-A100-7677E757FFD1}"/>
              </a:ext>
            </a:extLst>
          </p:cNvPr>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87</a:t>
            </a:fld>
            <a:endParaRPr lang="en-US" dirty="0">
              <a:solidFill>
                <a:srgbClr val="000000">
                  <a:tint val="75000"/>
                </a:srgbClr>
              </a:solidFill>
              <a:cs typeface="+mn-ea"/>
              <a:sym typeface="+mn-lt"/>
            </a:endParaRPr>
          </a:p>
        </p:txBody>
      </p:sp>
      <p:pic>
        <p:nvPicPr>
          <p:cNvPr id="4" name="图片 3">
            <a:extLst>
              <a:ext uri="{FF2B5EF4-FFF2-40B4-BE49-F238E27FC236}">
                <a16:creationId xmlns:a16="http://schemas.microsoft.com/office/drawing/2014/main" id="{4E7EFA28-A341-4956-864D-9692C511ED7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17562" y="2175499"/>
            <a:ext cx="7695013" cy="3032453"/>
          </a:xfrm>
          <a:prstGeom prst="rect">
            <a:avLst/>
          </a:prstGeom>
          <a:ln>
            <a:solidFill>
              <a:schemeClr val="bg1">
                <a:lumMod val="85000"/>
              </a:schemeClr>
            </a:solidFill>
          </a:ln>
        </p:spPr>
      </p:pic>
      <p:grpSp>
        <p:nvGrpSpPr>
          <p:cNvPr id="14" name="组合 13">
            <a:extLst>
              <a:ext uri="{FF2B5EF4-FFF2-40B4-BE49-F238E27FC236}">
                <a16:creationId xmlns:a16="http://schemas.microsoft.com/office/drawing/2014/main" id="{B7A28E84-581D-454E-9619-F036CBDDB643}"/>
              </a:ext>
            </a:extLst>
          </p:cNvPr>
          <p:cNvGrpSpPr/>
          <p:nvPr/>
        </p:nvGrpSpPr>
        <p:grpSpPr>
          <a:xfrm>
            <a:off x="3294264" y="2922798"/>
            <a:ext cx="1537856" cy="1537856"/>
            <a:chOff x="3294264" y="2922798"/>
            <a:chExt cx="1537856" cy="1537856"/>
          </a:xfrm>
        </p:grpSpPr>
        <p:sp>
          <p:nvSpPr>
            <p:cNvPr id="7" name="椭圆 6">
              <a:extLst>
                <a:ext uri="{FF2B5EF4-FFF2-40B4-BE49-F238E27FC236}">
                  <a16:creationId xmlns:a16="http://schemas.microsoft.com/office/drawing/2014/main" id="{C7DB61B8-196E-4AEF-9419-A03C87C6A3CE}"/>
                </a:ext>
              </a:extLst>
            </p:cNvPr>
            <p:cNvSpPr/>
            <p:nvPr/>
          </p:nvSpPr>
          <p:spPr>
            <a:xfrm>
              <a:off x="3294264" y="2922798"/>
              <a:ext cx="1537856" cy="1537856"/>
            </a:xfrm>
            <a:prstGeom prst="ellipse">
              <a:avLst/>
            </a:prstGeom>
            <a:solidFill>
              <a:srgbClr val="FFFFFF"/>
            </a:solidFill>
            <a:ln w="7620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pic>
          <p:nvPicPr>
            <p:cNvPr id="10" name="图片 9">
              <a:extLst>
                <a:ext uri="{FF2B5EF4-FFF2-40B4-BE49-F238E27FC236}">
                  <a16:creationId xmlns:a16="http://schemas.microsoft.com/office/drawing/2014/main" id="{EBC3F9A9-41C7-4539-809B-005B94FE06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6008" y="3031815"/>
              <a:ext cx="1319822" cy="1319822"/>
            </a:xfrm>
            <a:prstGeom prst="rect">
              <a:avLst/>
            </a:prstGeom>
          </p:spPr>
        </p:pic>
      </p:grpSp>
      <p:grpSp>
        <p:nvGrpSpPr>
          <p:cNvPr id="11" name="组合 10">
            <a:extLst>
              <a:ext uri="{FF2B5EF4-FFF2-40B4-BE49-F238E27FC236}">
                <a16:creationId xmlns:a16="http://schemas.microsoft.com/office/drawing/2014/main" id="{F437A3C4-11BA-4BB0-9DB7-3C265DAFAD22}"/>
              </a:ext>
            </a:extLst>
          </p:cNvPr>
          <p:cNvGrpSpPr/>
          <p:nvPr/>
        </p:nvGrpSpPr>
        <p:grpSpPr>
          <a:xfrm>
            <a:off x="515937" y="3215932"/>
            <a:ext cx="2424033" cy="951588"/>
            <a:chOff x="335589" y="2245668"/>
            <a:chExt cx="2946512" cy="951588"/>
          </a:xfrm>
        </p:grpSpPr>
        <p:sp>
          <p:nvSpPr>
            <p:cNvPr id="12" name="文本框 11">
              <a:extLst>
                <a:ext uri="{FF2B5EF4-FFF2-40B4-BE49-F238E27FC236}">
                  <a16:creationId xmlns:a16="http://schemas.microsoft.com/office/drawing/2014/main" id="{53EEBEF4-49B1-49CC-9673-281586986D0B}"/>
                </a:ext>
              </a:extLst>
            </p:cNvPr>
            <p:cNvSpPr txBox="1"/>
            <p:nvPr/>
          </p:nvSpPr>
          <p:spPr>
            <a:xfrm>
              <a:off x="335589" y="2245668"/>
              <a:ext cx="2946512" cy="646331"/>
            </a:xfrm>
            <a:prstGeom prst="rect">
              <a:avLst/>
            </a:prstGeom>
            <a:noFill/>
          </p:spPr>
          <p:txBody>
            <a:bodyPr wrap="none" rtlCol="0" anchor="ctr" anchorCtr="0">
              <a:noAutofit/>
            </a:bodyPr>
            <a:lstStyle/>
            <a:p>
              <a:pPr algn="ctr"/>
              <a:r>
                <a:rPr lang="en-US" altLang="zh-CN" sz="3600" b="1" dirty="0" err="1">
                  <a:solidFill>
                    <a:schemeClr val="accent1"/>
                  </a:solidFill>
                  <a:cs typeface="+mn-ea"/>
                  <a:sym typeface="+mn-lt"/>
                </a:rPr>
                <a:t>iSlide</a:t>
              </a:r>
              <a:endParaRPr lang="en-US" sz="3600" b="1" dirty="0">
                <a:solidFill>
                  <a:schemeClr val="accent1"/>
                </a:solidFill>
                <a:cs typeface="+mn-ea"/>
                <a:sym typeface="+mn-lt"/>
              </a:endParaRPr>
            </a:p>
          </p:txBody>
        </p:sp>
        <p:sp>
          <p:nvSpPr>
            <p:cNvPr id="13" name="矩形 12">
              <a:extLst>
                <a:ext uri="{FF2B5EF4-FFF2-40B4-BE49-F238E27FC236}">
                  <a16:creationId xmlns:a16="http://schemas.microsoft.com/office/drawing/2014/main" id="{5EABD1B0-107D-491E-8ADF-BB02D408692C}"/>
                </a:ext>
              </a:extLst>
            </p:cNvPr>
            <p:cNvSpPr/>
            <p:nvPr/>
          </p:nvSpPr>
          <p:spPr>
            <a:xfrm>
              <a:off x="335589" y="2858702"/>
              <a:ext cx="2946512" cy="338554"/>
            </a:xfrm>
            <a:prstGeom prst="rect">
              <a:avLst/>
            </a:prstGeom>
          </p:spPr>
          <p:txBody>
            <a:bodyPr wrap="none" anchor="ctr" anchorCtr="0">
              <a:noAutofit/>
            </a:bodyPr>
            <a:lstStyle/>
            <a:p>
              <a:pPr algn="ctr"/>
              <a:r>
                <a:rPr lang="en-US" altLang="zh-CN" sz="1600" u="sng" dirty="0">
                  <a:solidFill>
                    <a:schemeClr val="tx1">
                      <a:lumMod val="75000"/>
                      <a:lumOff val="25000"/>
                    </a:schemeClr>
                  </a:solidFill>
                  <a:cs typeface="+mn-ea"/>
                  <a:sym typeface="+mn-lt"/>
                </a:rPr>
                <a:t>https://www.iSlide.cc/</a:t>
              </a:r>
              <a:endParaRPr lang="en-US" sz="1600" u="sng" dirty="0">
                <a:solidFill>
                  <a:schemeClr val="tx1">
                    <a:lumMod val="75000"/>
                    <a:lumOff val="25000"/>
                  </a:schemeClr>
                </a:solidFill>
                <a:cs typeface="+mn-ea"/>
                <a:sym typeface="+mn-lt"/>
              </a:endParaRPr>
            </a:p>
          </p:txBody>
        </p:sp>
      </p:grpSp>
    </p:spTree>
    <p:extLst>
      <p:ext uri="{BB962C8B-B14F-4D97-AF65-F5344CB8AC3E}">
        <p14:creationId xmlns:p14="http://schemas.microsoft.com/office/powerpoint/2010/main" val="242021442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标题 23">
            <a:extLst>
              <a:ext uri="{FF2B5EF4-FFF2-40B4-BE49-F238E27FC236}">
                <a16:creationId xmlns:a16="http://schemas.microsoft.com/office/drawing/2014/main" id="{F311B179-BD6E-4B12-90B0-31749FE50098}"/>
              </a:ext>
            </a:extLst>
          </p:cNvPr>
          <p:cNvSpPr>
            <a:spLocks noGrp="1"/>
          </p:cNvSpPr>
          <p:nvPr>
            <p:ph type="title"/>
          </p:nvPr>
        </p:nvSpPr>
        <p:spPr/>
        <p:txBody>
          <a:bodyPr/>
          <a:lstStyle/>
          <a:p>
            <a:r>
              <a:rPr lang="zh-CN" altLang="en-US" dirty="0">
                <a:latin typeface="+mn-lt"/>
                <a:ea typeface="+mn-ea"/>
                <a:cs typeface="+mn-ea"/>
                <a:sym typeface="+mn-lt"/>
              </a:rPr>
              <a:t>作者个人介绍</a:t>
            </a:r>
            <a:endParaRPr lang="en-US" dirty="0">
              <a:latin typeface="+mn-lt"/>
              <a:ea typeface="+mn-ea"/>
              <a:cs typeface="+mn-ea"/>
              <a:sym typeface="+mn-lt"/>
            </a:endParaRPr>
          </a:p>
        </p:txBody>
      </p:sp>
      <p:pic>
        <p:nvPicPr>
          <p:cNvPr id="4" name="图片 3">
            <a:extLst>
              <a:ext uri="{FF2B5EF4-FFF2-40B4-BE49-F238E27FC236}">
                <a16:creationId xmlns:a16="http://schemas.microsoft.com/office/drawing/2014/main" id="{D3E1B070-B6E1-4AF0-A75B-5CDE18B6604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0002" y="1406181"/>
            <a:ext cx="1213230" cy="1214608"/>
          </a:xfrm>
          <a:prstGeom prst="ellipse">
            <a:avLst/>
          </a:prstGeom>
          <a:solidFill>
            <a:srgbClr val="FFFFFF"/>
          </a:solidFill>
          <a:ln w="38100">
            <a:solidFill>
              <a:schemeClr val="bg1"/>
            </a:solidFill>
          </a:ln>
          <a:effectLst>
            <a:outerShdw blurRad="139700" dist="38100" dir="2700000" algn="tl" rotWithShape="0">
              <a:schemeClr val="accent1">
                <a:alpha val="24000"/>
              </a:schemeClr>
            </a:outerShdw>
          </a:effectLst>
        </p:spPr>
      </p:pic>
      <p:grpSp>
        <p:nvGrpSpPr>
          <p:cNvPr id="23" name="组合 22">
            <a:extLst>
              <a:ext uri="{FF2B5EF4-FFF2-40B4-BE49-F238E27FC236}">
                <a16:creationId xmlns:a16="http://schemas.microsoft.com/office/drawing/2014/main" id="{C681F107-0463-4650-840B-F977EB455AA3}"/>
              </a:ext>
            </a:extLst>
          </p:cNvPr>
          <p:cNvGrpSpPr/>
          <p:nvPr/>
        </p:nvGrpSpPr>
        <p:grpSpPr>
          <a:xfrm>
            <a:off x="518809" y="3034144"/>
            <a:ext cx="2105753" cy="2629519"/>
            <a:chOff x="1517073" y="2743200"/>
            <a:chExt cx="2047009" cy="2556164"/>
          </a:xfrm>
        </p:grpSpPr>
        <p:sp>
          <p:nvSpPr>
            <p:cNvPr id="18" name="矩形 17">
              <a:extLst>
                <a:ext uri="{FF2B5EF4-FFF2-40B4-BE49-F238E27FC236}">
                  <a16:creationId xmlns:a16="http://schemas.microsoft.com/office/drawing/2014/main" id="{21356F9A-EB71-45E7-AC63-0295098D81EB}"/>
                </a:ext>
              </a:extLst>
            </p:cNvPr>
            <p:cNvSpPr/>
            <p:nvPr/>
          </p:nvSpPr>
          <p:spPr>
            <a:xfrm>
              <a:off x="1517073" y="2743200"/>
              <a:ext cx="2047009" cy="2556164"/>
            </a:xfrm>
            <a:prstGeom prst="rect">
              <a:avLst/>
            </a:prstGeom>
            <a:solidFill>
              <a:srgbClr val="FFFFFF"/>
            </a:solidFill>
            <a:ln>
              <a:noFill/>
            </a:ln>
            <a:effectLst>
              <a:outerShdw blurRad="139700" dist="38100" dir="2700000" algn="tl"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spc="300">
                <a:solidFill>
                  <a:schemeClr val="tx1">
                    <a:lumMod val="75000"/>
                    <a:lumOff val="25000"/>
                  </a:schemeClr>
                </a:solidFill>
                <a:cs typeface="+mn-ea"/>
                <a:sym typeface="+mn-lt"/>
              </a:endParaRPr>
            </a:p>
          </p:txBody>
        </p:sp>
        <p:pic>
          <p:nvPicPr>
            <p:cNvPr id="8" name="图片 7">
              <a:extLst>
                <a:ext uri="{FF2B5EF4-FFF2-40B4-BE49-F238E27FC236}">
                  <a16:creationId xmlns:a16="http://schemas.microsoft.com/office/drawing/2014/main" id="{45BA6691-E3FD-4EE9-9C64-7A9FB95059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84775" y="2839021"/>
              <a:ext cx="1882512" cy="1900050"/>
            </a:xfrm>
            <a:prstGeom prst="rect">
              <a:avLst/>
            </a:prstGeom>
          </p:spPr>
        </p:pic>
        <p:sp>
          <p:nvSpPr>
            <p:cNvPr id="11" name="文本框 10">
              <a:extLst>
                <a:ext uri="{FF2B5EF4-FFF2-40B4-BE49-F238E27FC236}">
                  <a16:creationId xmlns:a16="http://schemas.microsoft.com/office/drawing/2014/main" id="{E92D1E63-7409-47C4-992D-CF2487E4AEFD}"/>
                </a:ext>
              </a:extLst>
            </p:cNvPr>
            <p:cNvSpPr txBox="1"/>
            <p:nvPr/>
          </p:nvSpPr>
          <p:spPr>
            <a:xfrm>
              <a:off x="2289172" y="4867960"/>
              <a:ext cx="473719" cy="239352"/>
            </a:xfrm>
            <a:prstGeom prst="rect">
              <a:avLst/>
            </a:prstGeom>
            <a:noFill/>
          </p:spPr>
          <p:txBody>
            <a:bodyPr wrap="none" lIns="0" tIns="0" rIns="0" bIns="0" rtlCol="0" anchor="ctr">
              <a:spAutoFit/>
            </a:bodyPr>
            <a:lstStyle/>
            <a:p>
              <a:pPr algn="ctr"/>
              <a:r>
                <a:rPr lang="zh-CN" altLang="en-US" sz="1600" b="1" spc="300" dirty="0">
                  <a:solidFill>
                    <a:schemeClr val="tx1">
                      <a:lumMod val="75000"/>
                      <a:lumOff val="25000"/>
                    </a:schemeClr>
                  </a:solidFill>
                  <a:cs typeface="+mn-ea"/>
                  <a:sym typeface="+mn-lt"/>
                </a:rPr>
                <a:t>微信</a:t>
              </a:r>
              <a:endParaRPr lang="en-US" sz="1600" b="1" spc="300" dirty="0">
                <a:solidFill>
                  <a:schemeClr val="tx1">
                    <a:lumMod val="75000"/>
                    <a:lumOff val="25000"/>
                  </a:schemeClr>
                </a:solidFill>
                <a:cs typeface="+mn-ea"/>
                <a:sym typeface="+mn-lt"/>
              </a:endParaRPr>
            </a:p>
          </p:txBody>
        </p:sp>
      </p:grpSp>
      <p:grpSp>
        <p:nvGrpSpPr>
          <p:cNvPr id="22" name="组合 21">
            <a:extLst>
              <a:ext uri="{FF2B5EF4-FFF2-40B4-BE49-F238E27FC236}">
                <a16:creationId xmlns:a16="http://schemas.microsoft.com/office/drawing/2014/main" id="{15A6437F-0689-4922-BCD5-05FCF29900AD}"/>
              </a:ext>
            </a:extLst>
          </p:cNvPr>
          <p:cNvGrpSpPr/>
          <p:nvPr/>
        </p:nvGrpSpPr>
        <p:grpSpPr>
          <a:xfrm>
            <a:off x="3153168" y="3034144"/>
            <a:ext cx="2105753" cy="2629519"/>
            <a:chOff x="4871795" y="2743200"/>
            <a:chExt cx="2047009" cy="2556164"/>
          </a:xfrm>
        </p:grpSpPr>
        <p:sp>
          <p:nvSpPr>
            <p:cNvPr id="19" name="矩形 18">
              <a:extLst>
                <a:ext uri="{FF2B5EF4-FFF2-40B4-BE49-F238E27FC236}">
                  <a16:creationId xmlns:a16="http://schemas.microsoft.com/office/drawing/2014/main" id="{C1E7796B-4F2A-4455-B61C-25002CADF99E}"/>
                </a:ext>
              </a:extLst>
            </p:cNvPr>
            <p:cNvSpPr/>
            <p:nvPr/>
          </p:nvSpPr>
          <p:spPr>
            <a:xfrm>
              <a:off x="4871795" y="2743200"/>
              <a:ext cx="2047009" cy="2556164"/>
            </a:xfrm>
            <a:prstGeom prst="rect">
              <a:avLst/>
            </a:prstGeom>
            <a:solidFill>
              <a:srgbClr val="FFFFFF"/>
            </a:solidFill>
            <a:ln>
              <a:noFill/>
            </a:ln>
            <a:effectLst>
              <a:outerShdw blurRad="139700" dist="38100" dir="2700000" algn="tl"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spc="300">
                <a:solidFill>
                  <a:schemeClr val="tx1">
                    <a:lumMod val="75000"/>
                    <a:lumOff val="25000"/>
                  </a:schemeClr>
                </a:solidFill>
                <a:cs typeface="+mn-ea"/>
                <a:sym typeface="+mn-lt"/>
              </a:endParaRPr>
            </a:p>
          </p:txBody>
        </p:sp>
        <p:pic>
          <p:nvPicPr>
            <p:cNvPr id="6" name="图片 5">
              <a:extLst>
                <a:ext uri="{FF2B5EF4-FFF2-40B4-BE49-F238E27FC236}">
                  <a16:creationId xmlns:a16="http://schemas.microsoft.com/office/drawing/2014/main" id="{7E1154A8-D6E5-462E-A7BA-5801A9B2BA7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948261" y="2839020"/>
              <a:ext cx="1894076" cy="1900052"/>
            </a:xfrm>
            <a:prstGeom prst="rect">
              <a:avLst/>
            </a:prstGeom>
          </p:spPr>
        </p:pic>
        <p:sp>
          <p:nvSpPr>
            <p:cNvPr id="12" name="文本框 11">
              <a:extLst>
                <a:ext uri="{FF2B5EF4-FFF2-40B4-BE49-F238E27FC236}">
                  <a16:creationId xmlns:a16="http://schemas.microsoft.com/office/drawing/2014/main" id="{E80E4D12-B4D1-4780-859A-68EA69C510FF}"/>
                </a:ext>
              </a:extLst>
            </p:cNvPr>
            <p:cNvSpPr txBox="1"/>
            <p:nvPr/>
          </p:nvSpPr>
          <p:spPr>
            <a:xfrm>
              <a:off x="5540011" y="4867960"/>
              <a:ext cx="710578" cy="239352"/>
            </a:xfrm>
            <a:prstGeom prst="rect">
              <a:avLst/>
            </a:prstGeom>
            <a:noFill/>
          </p:spPr>
          <p:txBody>
            <a:bodyPr wrap="none" lIns="0" tIns="0" rIns="0" bIns="0" rtlCol="0" anchor="ctr">
              <a:spAutoFit/>
            </a:bodyPr>
            <a:lstStyle/>
            <a:p>
              <a:pPr algn="ctr"/>
              <a:r>
                <a:rPr lang="zh-CN" altLang="en-US" sz="1600" b="1" spc="300" dirty="0">
                  <a:solidFill>
                    <a:schemeClr val="tx1">
                      <a:lumMod val="75000"/>
                      <a:lumOff val="25000"/>
                    </a:schemeClr>
                  </a:solidFill>
                  <a:cs typeface="+mn-ea"/>
                  <a:sym typeface="+mn-lt"/>
                </a:rPr>
                <a:t>公众号</a:t>
              </a:r>
              <a:endParaRPr lang="en-US" sz="1600" b="1" spc="300" dirty="0">
                <a:solidFill>
                  <a:schemeClr val="tx1">
                    <a:lumMod val="75000"/>
                    <a:lumOff val="25000"/>
                  </a:schemeClr>
                </a:solidFill>
                <a:cs typeface="+mn-ea"/>
                <a:sym typeface="+mn-lt"/>
              </a:endParaRPr>
            </a:p>
          </p:txBody>
        </p:sp>
      </p:grpSp>
      <p:grpSp>
        <p:nvGrpSpPr>
          <p:cNvPr id="21" name="组合 20">
            <a:extLst>
              <a:ext uri="{FF2B5EF4-FFF2-40B4-BE49-F238E27FC236}">
                <a16:creationId xmlns:a16="http://schemas.microsoft.com/office/drawing/2014/main" id="{D93D1185-AA75-4A3C-9BF5-A8E8CD0D6AEC}"/>
              </a:ext>
            </a:extLst>
          </p:cNvPr>
          <p:cNvGrpSpPr/>
          <p:nvPr/>
        </p:nvGrpSpPr>
        <p:grpSpPr>
          <a:xfrm>
            <a:off x="5787528" y="3034144"/>
            <a:ext cx="2105753" cy="2629519"/>
            <a:chOff x="7062745" y="2743200"/>
            <a:chExt cx="2047009" cy="2556164"/>
          </a:xfrm>
        </p:grpSpPr>
        <p:sp>
          <p:nvSpPr>
            <p:cNvPr id="20" name="矩形 19">
              <a:extLst>
                <a:ext uri="{FF2B5EF4-FFF2-40B4-BE49-F238E27FC236}">
                  <a16:creationId xmlns:a16="http://schemas.microsoft.com/office/drawing/2014/main" id="{686B3B83-55D2-47C0-A70E-19B91C8166E1}"/>
                </a:ext>
              </a:extLst>
            </p:cNvPr>
            <p:cNvSpPr/>
            <p:nvPr/>
          </p:nvSpPr>
          <p:spPr>
            <a:xfrm>
              <a:off x="7062745" y="2743200"/>
              <a:ext cx="2047009" cy="2556164"/>
            </a:xfrm>
            <a:prstGeom prst="rect">
              <a:avLst/>
            </a:prstGeom>
            <a:solidFill>
              <a:srgbClr val="FFFFFF"/>
            </a:solidFill>
            <a:ln>
              <a:noFill/>
            </a:ln>
            <a:effectLst>
              <a:outerShdw blurRad="139700" dist="38100" dir="2700000" algn="tl" rotWithShape="0">
                <a:schemeClr val="accent1">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spc="300">
                <a:solidFill>
                  <a:schemeClr val="tx1">
                    <a:lumMod val="75000"/>
                    <a:lumOff val="25000"/>
                  </a:schemeClr>
                </a:solidFill>
                <a:cs typeface="+mn-ea"/>
                <a:sym typeface="+mn-lt"/>
              </a:endParaRPr>
            </a:p>
          </p:txBody>
        </p:sp>
        <p:pic>
          <p:nvPicPr>
            <p:cNvPr id="10" name="图片 9">
              <a:extLst>
                <a:ext uri="{FF2B5EF4-FFF2-40B4-BE49-F238E27FC236}">
                  <a16:creationId xmlns:a16="http://schemas.microsoft.com/office/drawing/2014/main" id="{689EC6B0-18A6-42BA-A560-BC0688037DD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142800" y="2839021"/>
              <a:ext cx="1886900" cy="1900050"/>
            </a:xfrm>
            <a:prstGeom prst="rect">
              <a:avLst/>
            </a:prstGeom>
          </p:spPr>
        </p:pic>
        <p:sp>
          <p:nvSpPr>
            <p:cNvPr id="13" name="文本框 12">
              <a:extLst>
                <a:ext uri="{FF2B5EF4-FFF2-40B4-BE49-F238E27FC236}">
                  <a16:creationId xmlns:a16="http://schemas.microsoft.com/office/drawing/2014/main" id="{59B6228C-F043-41CB-9DFA-2F0CFA86F882}"/>
                </a:ext>
              </a:extLst>
            </p:cNvPr>
            <p:cNvSpPr txBox="1"/>
            <p:nvPr/>
          </p:nvSpPr>
          <p:spPr>
            <a:xfrm>
              <a:off x="7730961" y="4867960"/>
              <a:ext cx="710578" cy="239352"/>
            </a:xfrm>
            <a:prstGeom prst="rect">
              <a:avLst/>
            </a:prstGeom>
            <a:noFill/>
          </p:spPr>
          <p:txBody>
            <a:bodyPr wrap="none" lIns="0" tIns="0" rIns="0" bIns="0" rtlCol="0" anchor="ctr">
              <a:spAutoFit/>
            </a:bodyPr>
            <a:lstStyle/>
            <a:p>
              <a:pPr algn="ctr"/>
              <a:r>
                <a:rPr lang="zh-CN" altLang="en-US" sz="1600" b="1" spc="300" dirty="0">
                  <a:solidFill>
                    <a:schemeClr val="tx1">
                      <a:lumMod val="75000"/>
                      <a:lumOff val="25000"/>
                    </a:schemeClr>
                  </a:solidFill>
                  <a:cs typeface="+mn-ea"/>
                  <a:sym typeface="+mn-lt"/>
                </a:rPr>
                <a:t>视频号</a:t>
              </a:r>
              <a:endParaRPr lang="en-US" sz="1600" b="1" spc="300" dirty="0">
                <a:solidFill>
                  <a:schemeClr val="tx1">
                    <a:lumMod val="75000"/>
                    <a:lumOff val="25000"/>
                  </a:schemeClr>
                </a:solidFill>
                <a:cs typeface="+mn-ea"/>
                <a:sym typeface="+mn-lt"/>
              </a:endParaRPr>
            </a:p>
          </p:txBody>
        </p:sp>
      </p:grpSp>
      <p:sp>
        <p:nvSpPr>
          <p:cNvPr id="14" name="文本框 13">
            <a:extLst>
              <a:ext uri="{FF2B5EF4-FFF2-40B4-BE49-F238E27FC236}">
                <a16:creationId xmlns:a16="http://schemas.microsoft.com/office/drawing/2014/main" id="{749A8F24-54C5-4FAF-8220-01BB2BB1ECD6}"/>
              </a:ext>
            </a:extLst>
          </p:cNvPr>
          <p:cNvSpPr txBox="1"/>
          <p:nvPr/>
        </p:nvSpPr>
        <p:spPr>
          <a:xfrm>
            <a:off x="2022222" y="2126669"/>
            <a:ext cx="3833748" cy="276999"/>
          </a:xfrm>
          <a:prstGeom prst="rect">
            <a:avLst/>
          </a:prstGeom>
          <a:noFill/>
        </p:spPr>
        <p:txBody>
          <a:bodyPr wrap="square" lIns="0" tIns="0" rIns="0" bIns="0" rtlCol="0" anchor="ctr">
            <a:spAutoFit/>
          </a:bodyPr>
          <a:lstStyle/>
          <a:p>
            <a:pPr algn="dist"/>
            <a:r>
              <a:rPr lang="zh-CN" altLang="en-US" dirty="0">
                <a:solidFill>
                  <a:schemeClr val="tx1">
                    <a:lumMod val="75000"/>
                    <a:lumOff val="25000"/>
                  </a:schemeClr>
                </a:solidFill>
                <a:cs typeface="+mn-ea"/>
                <a:sym typeface="+mn-lt"/>
              </a:rPr>
              <a:t>不会摄影的机械工程师不是好设计师</a:t>
            </a:r>
            <a:endParaRPr lang="en-US" dirty="0">
              <a:solidFill>
                <a:schemeClr val="tx1">
                  <a:lumMod val="75000"/>
                  <a:lumOff val="25000"/>
                </a:schemeClr>
              </a:solidFill>
              <a:cs typeface="+mn-ea"/>
              <a:sym typeface="+mn-lt"/>
            </a:endParaRPr>
          </a:p>
        </p:txBody>
      </p:sp>
      <p:sp>
        <p:nvSpPr>
          <p:cNvPr id="15" name="文本框 14">
            <a:extLst>
              <a:ext uri="{FF2B5EF4-FFF2-40B4-BE49-F238E27FC236}">
                <a16:creationId xmlns:a16="http://schemas.microsoft.com/office/drawing/2014/main" id="{E0704D0C-EB18-42C9-81C3-84C1984E71AE}"/>
              </a:ext>
            </a:extLst>
          </p:cNvPr>
          <p:cNvSpPr txBox="1"/>
          <p:nvPr/>
        </p:nvSpPr>
        <p:spPr>
          <a:xfrm>
            <a:off x="2022222" y="1654475"/>
            <a:ext cx="3856825" cy="369332"/>
          </a:xfrm>
          <a:prstGeom prst="rect">
            <a:avLst/>
          </a:prstGeom>
          <a:noFill/>
        </p:spPr>
        <p:txBody>
          <a:bodyPr wrap="none" lIns="0" tIns="0" rIns="0" bIns="0" rtlCol="0" anchor="ctr">
            <a:spAutoFit/>
          </a:bodyPr>
          <a:lstStyle/>
          <a:p>
            <a:pPr algn="l"/>
            <a:r>
              <a:rPr lang="zh-CN" altLang="en-US" sz="2400" b="1" dirty="0">
                <a:solidFill>
                  <a:schemeClr val="accent1"/>
                </a:solidFill>
                <a:cs typeface="+mn-ea"/>
                <a:sym typeface="+mn-lt"/>
              </a:rPr>
              <a:t>林利蒙  </a:t>
            </a:r>
            <a:r>
              <a:rPr lang="en-US" altLang="zh-CN" sz="2400" b="1" dirty="0">
                <a:solidFill>
                  <a:schemeClr val="accent1"/>
                </a:solidFill>
                <a:cs typeface="+mn-ea"/>
                <a:sym typeface="+mn-lt"/>
              </a:rPr>
              <a:t>|  </a:t>
            </a:r>
            <a:r>
              <a:rPr lang="zh-CN" altLang="en-US" sz="1600" dirty="0">
                <a:solidFill>
                  <a:schemeClr val="accent1"/>
                </a:solidFill>
                <a:cs typeface="+mn-ea"/>
                <a:sym typeface="+mn-lt"/>
              </a:rPr>
              <a:t>上海大学</a:t>
            </a:r>
            <a:r>
              <a:rPr lang="en-US" altLang="zh-CN" sz="1600" dirty="0">
                <a:solidFill>
                  <a:schemeClr val="accent1"/>
                </a:solidFill>
                <a:cs typeface="+mn-ea"/>
                <a:sym typeface="+mn-lt"/>
              </a:rPr>
              <a:t>2016</a:t>
            </a:r>
            <a:r>
              <a:rPr lang="zh-CN" altLang="en-US" sz="1600" dirty="0">
                <a:solidFill>
                  <a:schemeClr val="accent1"/>
                </a:solidFill>
                <a:cs typeface="+mn-ea"/>
                <a:sym typeface="+mn-lt"/>
              </a:rPr>
              <a:t>级硕士研究生</a:t>
            </a:r>
            <a:endParaRPr lang="en-US" sz="2400" dirty="0">
              <a:solidFill>
                <a:schemeClr val="accent1"/>
              </a:solidFill>
              <a:cs typeface="+mn-ea"/>
              <a:sym typeface="+mn-lt"/>
            </a:endParaRPr>
          </a:p>
        </p:txBody>
      </p:sp>
      <p:cxnSp>
        <p:nvCxnSpPr>
          <p:cNvPr id="28" name="直接连接符 27">
            <a:extLst>
              <a:ext uri="{FF2B5EF4-FFF2-40B4-BE49-F238E27FC236}">
                <a16:creationId xmlns:a16="http://schemas.microsoft.com/office/drawing/2014/main" id="{D9245EA6-927A-4EAF-8590-C874653DDD98}"/>
              </a:ext>
            </a:extLst>
          </p:cNvPr>
          <p:cNvCxnSpPr>
            <a:cxnSpLocks/>
          </p:cNvCxnSpPr>
          <p:nvPr/>
        </p:nvCxnSpPr>
        <p:spPr>
          <a:xfrm>
            <a:off x="1700105" y="2576945"/>
            <a:ext cx="6193176" cy="0"/>
          </a:xfrm>
          <a:prstGeom prst="line">
            <a:avLst/>
          </a:prstGeom>
          <a:ln>
            <a:solidFill>
              <a:schemeClr val="bg1">
                <a:lumMod val="50000"/>
              </a:schemeClr>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31" name="文本框 30">
            <a:extLst>
              <a:ext uri="{FF2B5EF4-FFF2-40B4-BE49-F238E27FC236}">
                <a16:creationId xmlns:a16="http://schemas.microsoft.com/office/drawing/2014/main" id="{E035DB6C-ABB7-4CC2-A782-97EDF1C5E566}"/>
              </a:ext>
            </a:extLst>
          </p:cNvPr>
          <p:cNvSpPr txBox="1"/>
          <p:nvPr/>
        </p:nvSpPr>
        <p:spPr>
          <a:xfrm>
            <a:off x="8395856" y="3034144"/>
            <a:ext cx="3316719" cy="2629519"/>
          </a:xfrm>
          <a:prstGeom prst="rect">
            <a:avLst/>
          </a:prstGeom>
          <a:noFill/>
        </p:spPr>
        <p:txBody>
          <a:bodyPr wrap="square" lIns="0" tIns="0" rIns="0" bIns="0" rtlCol="0" anchor="ctr">
            <a:noAutofit/>
          </a:bodyPr>
          <a:lstStyle/>
          <a:p>
            <a:pPr algn="l"/>
            <a:r>
              <a:rPr lang="en-US" altLang="zh-CN" sz="1600" spc="300" dirty="0">
                <a:solidFill>
                  <a:schemeClr val="tx1">
                    <a:lumMod val="75000"/>
                    <a:lumOff val="25000"/>
                  </a:schemeClr>
                </a:solidFill>
                <a:cs typeface="+mn-ea"/>
                <a:sym typeface="+mn-lt"/>
              </a:rPr>
              <a:t>2012</a:t>
            </a:r>
            <a:r>
              <a:rPr lang="zh-CN" altLang="en-US" sz="1600" spc="300" dirty="0">
                <a:solidFill>
                  <a:schemeClr val="tx1">
                    <a:lumMod val="75000"/>
                    <a:lumOff val="25000"/>
                  </a:schemeClr>
                </a:solidFill>
                <a:cs typeface="+mn-ea"/>
                <a:sym typeface="+mn-lt"/>
              </a:rPr>
              <a:t>年</a:t>
            </a:r>
            <a:r>
              <a:rPr lang="en-US" altLang="zh-CN" sz="1600" spc="300" dirty="0">
                <a:solidFill>
                  <a:schemeClr val="tx1">
                    <a:lumMod val="75000"/>
                    <a:lumOff val="25000"/>
                  </a:schemeClr>
                </a:solidFill>
                <a:cs typeface="+mn-ea"/>
                <a:sym typeface="+mn-lt"/>
              </a:rPr>
              <a:t>9</a:t>
            </a:r>
            <a:r>
              <a:rPr lang="zh-CN" altLang="en-US" sz="1600" spc="300" dirty="0">
                <a:solidFill>
                  <a:schemeClr val="tx1">
                    <a:lumMod val="75000"/>
                    <a:lumOff val="25000"/>
                  </a:schemeClr>
                </a:solidFill>
                <a:cs typeface="+mn-ea"/>
                <a:sym typeface="+mn-lt"/>
              </a:rPr>
              <a:t>月</a:t>
            </a:r>
            <a:r>
              <a:rPr lang="en-US" altLang="zh-CN" sz="1600" spc="300" dirty="0">
                <a:solidFill>
                  <a:schemeClr val="tx1">
                    <a:lumMod val="75000"/>
                    <a:lumOff val="25000"/>
                  </a:schemeClr>
                </a:solidFill>
                <a:cs typeface="+mn-ea"/>
                <a:sym typeface="+mn-lt"/>
              </a:rPr>
              <a:t>—2019</a:t>
            </a:r>
            <a:r>
              <a:rPr lang="zh-CN" altLang="en-US" sz="1600" spc="300" dirty="0">
                <a:solidFill>
                  <a:schemeClr val="tx1">
                    <a:lumMod val="75000"/>
                    <a:lumOff val="25000"/>
                  </a:schemeClr>
                </a:solidFill>
                <a:cs typeface="+mn-ea"/>
                <a:sym typeface="+mn-lt"/>
              </a:rPr>
              <a:t>年</a:t>
            </a:r>
            <a:r>
              <a:rPr lang="en-US" altLang="zh-CN" sz="1600" spc="300" dirty="0">
                <a:solidFill>
                  <a:schemeClr val="tx1">
                    <a:lumMod val="75000"/>
                    <a:lumOff val="25000"/>
                  </a:schemeClr>
                </a:solidFill>
                <a:cs typeface="+mn-ea"/>
                <a:sym typeface="+mn-lt"/>
              </a:rPr>
              <a:t>6</a:t>
            </a:r>
            <a:r>
              <a:rPr lang="zh-CN" altLang="en-US" sz="1600" spc="300" dirty="0">
                <a:solidFill>
                  <a:schemeClr val="tx1">
                    <a:lumMod val="75000"/>
                    <a:lumOff val="25000"/>
                  </a:schemeClr>
                </a:solidFill>
                <a:cs typeface="+mn-ea"/>
                <a:sym typeface="+mn-lt"/>
              </a:rPr>
              <a:t>月</a:t>
            </a:r>
            <a:endParaRPr lang="en-US" altLang="zh-CN" sz="1600" spc="300" dirty="0">
              <a:solidFill>
                <a:schemeClr val="tx1">
                  <a:lumMod val="75000"/>
                  <a:lumOff val="25000"/>
                </a:schemeClr>
              </a:solidFill>
              <a:cs typeface="+mn-ea"/>
              <a:sym typeface="+mn-lt"/>
            </a:endParaRPr>
          </a:p>
          <a:p>
            <a:pPr algn="l"/>
            <a:r>
              <a:rPr lang="zh-CN" altLang="en-US" sz="1600" spc="300" dirty="0">
                <a:solidFill>
                  <a:schemeClr val="tx1">
                    <a:lumMod val="75000"/>
                    <a:lumOff val="25000"/>
                  </a:schemeClr>
                </a:solidFill>
                <a:cs typeface="+mn-ea"/>
                <a:sym typeface="+mn-lt"/>
              </a:rPr>
              <a:t>不知不觉</a:t>
            </a:r>
            <a:endParaRPr lang="en-US" altLang="zh-CN" sz="1600" spc="300" dirty="0">
              <a:solidFill>
                <a:schemeClr val="tx1">
                  <a:lumMod val="75000"/>
                  <a:lumOff val="25000"/>
                </a:schemeClr>
              </a:solidFill>
              <a:cs typeface="+mn-ea"/>
              <a:sym typeface="+mn-lt"/>
            </a:endParaRPr>
          </a:p>
          <a:p>
            <a:pPr algn="l"/>
            <a:r>
              <a:rPr lang="zh-CN" altLang="en-US" sz="1600" spc="300" dirty="0">
                <a:solidFill>
                  <a:schemeClr val="tx1">
                    <a:lumMod val="75000"/>
                    <a:lumOff val="25000"/>
                  </a:schemeClr>
                </a:solidFill>
                <a:cs typeface="+mn-ea"/>
                <a:sym typeface="+mn-lt"/>
              </a:rPr>
              <a:t>已在上海大学</a:t>
            </a:r>
            <a:endParaRPr lang="en-US" altLang="zh-CN" sz="1600" spc="300" dirty="0">
              <a:solidFill>
                <a:schemeClr val="tx1">
                  <a:lumMod val="75000"/>
                  <a:lumOff val="25000"/>
                </a:schemeClr>
              </a:solidFill>
              <a:cs typeface="+mn-ea"/>
              <a:sym typeface="+mn-lt"/>
            </a:endParaRPr>
          </a:p>
          <a:p>
            <a:pPr algn="l"/>
            <a:r>
              <a:rPr lang="zh-CN" altLang="en-US" sz="1600" spc="300" dirty="0">
                <a:solidFill>
                  <a:schemeClr val="tx1">
                    <a:lumMod val="75000"/>
                    <a:lumOff val="25000"/>
                  </a:schemeClr>
                </a:solidFill>
                <a:cs typeface="+mn-ea"/>
                <a:sym typeface="+mn-lt"/>
              </a:rPr>
              <a:t>度过了七个春夏秋冬</a:t>
            </a:r>
            <a:endParaRPr lang="en-US" altLang="zh-CN" sz="1600" spc="300" dirty="0">
              <a:solidFill>
                <a:schemeClr val="tx1">
                  <a:lumMod val="75000"/>
                  <a:lumOff val="25000"/>
                </a:schemeClr>
              </a:solidFill>
              <a:cs typeface="+mn-ea"/>
              <a:sym typeface="+mn-lt"/>
            </a:endParaRPr>
          </a:p>
          <a:p>
            <a:pPr algn="l"/>
            <a:r>
              <a:rPr lang="zh-CN" altLang="en-US" sz="1600" spc="300" dirty="0">
                <a:solidFill>
                  <a:schemeClr val="tx1">
                    <a:lumMod val="75000"/>
                    <a:lumOff val="25000"/>
                  </a:schemeClr>
                </a:solidFill>
                <a:cs typeface="+mn-ea"/>
                <a:sym typeface="+mn-lt"/>
              </a:rPr>
              <a:t>好像一切都刚开始</a:t>
            </a:r>
            <a:endParaRPr lang="en-US" altLang="zh-CN" sz="1600" spc="300" dirty="0">
              <a:solidFill>
                <a:schemeClr val="tx1">
                  <a:lumMod val="75000"/>
                  <a:lumOff val="25000"/>
                </a:schemeClr>
              </a:solidFill>
              <a:cs typeface="+mn-ea"/>
              <a:sym typeface="+mn-lt"/>
            </a:endParaRPr>
          </a:p>
          <a:p>
            <a:pPr algn="l"/>
            <a:r>
              <a:rPr lang="zh-CN" altLang="en-US" sz="1600" spc="300" dirty="0">
                <a:solidFill>
                  <a:schemeClr val="tx1">
                    <a:lumMod val="75000"/>
                    <a:lumOff val="25000"/>
                  </a:schemeClr>
                </a:solidFill>
                <a:cs typeface="+mn-ea"/>
                <a:sym typeface="+mn-lt"/>
              </a:rPr>
              <a:t>却又悄然落下了帷幕</a:t>
            </a:r>
            <a:endParaRPr lang="en-US" altLang="zh-CN" sz="1600" spc="300" dirty="0">
              <a:solidFill>
                <a:schemeClr val="tx1">
                  <a:lumMod val="75000"/>
                  <a:lumOff val="25000"/>
                </a:schemeClr>
              </a:solidFill>
              <a:cs typeface="+mn-ea"/>
              <a:sym typeface="+mn-lt"/>
            </a:endParaRPr>
          </a:p>
          <a:p>
            <a:pPr algn="l"/>
            <a:r>
              <a:rPr lang="zh-CN" altLang="en-US" sz="1600" spc="300" dirty="0">
                <a:solidFill>
                  <a:schemeClr val="tx1">
                    <a:lumMod val="75000"/>
                    <a:lumOff val="25000"/>
                  </a:schemeClr>
                </a:solidFill>
                <a:cs typeface="+mn-ea"/>
                <a:sym typeface="+mn-lt"/>
              </a:rPr>
              <a:t>那些人和事仿佛还历历在目</a:t>
            </a:r>
            <a:endParaRPr lang="en-US" altLang="zh-CN" sz="1600" spc="300" dirty="0">
              <a:solidFill>
                <a:schemeClr val="tx1">
                  <a:lumMod val="75000"/>
                  <a:lumOff val="25000"/>
                </a:schemeClr>
              </a:solidFill>
              <a:cs typeface="+mn-ea"/>
              <a:sym typeface="+mn-lt"/>
            </a:endParaRPr>
          </a:p>
          <a:p>
            <a:pPr algn="l"/>
            <a:r>
              <a:rPr lang="zh-CN" altLang="en-US" sz="1600" spc="300" dirty="0">
                <a:solidFill>
                  <a:schemeClr val="tx1">
                    <a:lumMod val="75000"/>
                    <a:lumOff val="25000"/>
                  </a:schemeClr>
                </a:solidFill>
                <a:cs typeface="+mn-ea"/>
                <a:sym typeface="+mn-lt"/>
              </a:rPr>
              <a:t>不得已</a:t>
            </a:r>
            <a:endParaRPr lang="en-US" altLang="zh-CN" sz="1600" spc="300" dirty="0">
              <a:solidFill>
                <a:schemeClr val="tx1">
                  <a:lumMod val="75000"/>
                  <a:lumOff val="25000"/>
                </a:schemeClr>
              </a:solidFill>
              <a:cs typeface="+mn-ea"/>
              <a:sym typeface="+mn-lt"/>
            </a:endParaRPr>
          </a:p>
          <a:p>
            <a:pPr algn="l"/>
            <a:r>
              <a:rPr lang="zh-CN" altLang="en-US" sz="1600" spc="300" dirty="0">
                <a:solidFill>
                  <a:schemeClr val="tx1">
                    <a:lumMod val="75000"/>
                    <a:lumOff val="25000"/>
                  </a:schemeClr>
                </a:solidFill>
                <a:cs typeface="+mn-ea"/>
                <a:sym typeface="+mn-lt"/>
              </a:rPr>
              <a:t>只好道一句</a:t>
            </a:r>
            <a:endParaRPr lang="en-US" altLang="zh-CN" sz="1600" spc="300" dirty="0">
              <a:solidFill>
                <a:schemeClr val="tx1">
                  <a:lumMod val="75000"/>
                  <a:lumOff val="25000"/>
                </a:schemeClr>
              </a:solidFill>
              <a:cs typeface="+mn-ea"/>
              <a:sym typeface="+mn-lt"/>
            </a:endParaRPr>
          </a:p>
          <a:p>
            <a:pPr algn="l"/>
            <a:r>
              <a:rPr lang="zh-CN" altLang="en-US" sz="1600" spc="300" dirty="0">
                <a:solidFill>
                  <a:schemeClr val="tx1">
                    <a:lumMod val="75000"/>
                    <a:lumOff val="25000"/>
                  </a:schemeClr>
                </a:solidFill>
                <a:cs typeface="+mn-ea"/>
                <a:sym typeface="+mn-lt"/>
              </a:rPr>
              <a:t>珍重回见</a:t>
            </a:r>
            <a:endParaRPr lang="en-US" altLang="zh-CN" sz="1600" spc="300" dirty="0">
              <a:solidFill>
                <a:schemeClr val="tx1">
                  <a:lumMod val="75000"/>
                  <a:lumOff val="25000"/>
                </a:schemeClr>
              </a:solidFill>
              <a:cs typeface="+mn-ea"/>
              <a:sym typeface="+mn-lt"/>
            </a:endParaRPr>
          </a:p>
        </p:txBody>
      </p:sp>
      <p:sp>
        <p:nvSpPr>
          <p:cNvPr id="2" name="灯片编号占位符 1">
            <a:extLst>
              <a:ext uri="{FF2B5EF4-FFF2-40B4-BE49-F238E27FC236}">
                <a16:creationId xmlns:a16="http://schemas.microsoft.com/office/drawing/2014/main" id="{CDDE7845-111F-43AA-A8F0-FEC9410F4F09}"/>
              </a:ext>
            </a:extLst>
          </p:cNvPr>
          <p:cNvSpPr>
            <a:spLocks noGrp="1"/>
          </p:cNvSpPr>
          <p:nvPr>
            <p:ph type="sldNum" sz="quarter" idx="4"/>
          </p:nvPr>
        </p:nvSpPr>
        <p:spPr/>
        <p:txBody>
          <a:bodyPr lIns="0" rIns="0"/>
          <a:lstStyle/>
          <a:p>
            <a:pPr defTabSz="914400">
              <a:defRPr/>
            </a:pPr>
            <a:fld id="{A48020E0-1C4F-4D89-9FD1-EC2E5B71218B}" type="slidenum">
              <a:rPr lang="en-US" smtClean="0">
                <a:solidFill>
                  <a:srgbClr val="000000">
                    <a:tint val="75000"/>
                  </a:srgbClr>
                </a:solidFill>
                <a:cs typeface="+mn-ea"/>
                <a:sym typeface="+mn-lt"/>
              </a:rPr>
              <a:pPr defTabSz="914400">
                <a:defRPr/>
              </a:pPr>
              <a:t>88</a:t>
            </a:fld>
            <a:endParaRPr lang="en-US" dirty="0">
              <a:solidFill>
                <a:srgbClr val="000000">
                  <a:tint val="75000"/>
                </a:srgbClr>
              </a:solidFill>
              <a:cs typeface="+mn-ea"/>
              <a:sym typeface="+mn-lt"/>
            </a:endParaRPr>
          </a:p>
        </p:txBody>
      </p:sp>
      <p:grpSp>
        <p:nvGrpSpPr>
          <p:cNvPr id="25" name="组合 24">
            <a:extLst>
              <a:ext uri="{FF2B5EF4-FFF2-40B4-BE49-F238E27FC236}">
                <a16:creationId xmlns:a16="http://schemas.microsoft.com/office/drawing/2014/main" id="{175C1736-09C3-47D9-9A56-863EA674C7A5}"/>
              </a:ext>
            </a:extLst>
          </p:cNvPr>
          <p:cNvGrpSpPr/>
          <p:nvPr/>
        </p:nvGrpSpPr>
        <p:grpSpPr>
          <a:xfrm>
            <a:off x="0" y="-715587"/>
            <a:ext cx="676656" cy="602672"/>
            <a:chOff x="0" y="6950133"/>
            <a:chExt cx="676656" cy="602672"/>
          </a:xfrm>
        </p:grpSpPr>
        <p:sp>
          <p:nvSpPr>
            <p:cNvPr id="26" name="矩形 25">
              <a:extLst>
                <a:ext uri="{FF2B5EF4-FFF2-40B4-BE49-F238E27FC236}">
                  <a16:creationId xmlns:a16="http://schemas.microsoft.com/office/drawing/2014/main" id="{01951701-8EFA-448A-B40F-F2FB4B281AC5}"/>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27" name="组合 26">
              <a:extLst>
                <a:ext uri="{FF2B5EF4-FFF2-40B4-BE49-F238E27FC236}">
                  <a16:creationId xmlns:a16="http://schemas.microsoft.com/office/drawing/2014/main" id="{E842BF3B-2280-4B9E-A596-B4178EE3A63D}"/>
                </a:ext>
              </a:extLst>
            </p:cNvPr>
            <p:cNvGrpSpPr/>
            <p:nvPr/>
          </p:nvGrpSpPr>
          <p:grpSpPr>
            <a:xfrm>
              <a:off x="47544" y="7038552"/>
              <a:ext cx="581568" cy="425834"/>
              <a:chOff x="84575" y="6977592"/>
              <a:chExt cx="581568" cy="425834"/>
            </a:xfrm>
          </p:grpSpPr>
          <p:grpSp>
            <p:nvGrpSpPr>
              <p:cNvPr id="29" name="组合 28">
                <a:extLst>
                  <a:ext uri="{FF2B5EF4-FFF2-40B4-BE49-F238E27FC236}">
                    <a16:creationId xmlns:a16="http://schemas.microsoft.com/office/drawing/2014/main" id="{664CA30D-8F53-4267-B57B-BC355052C9D6}"/>
                  </a:ext>
                </a:extLst>
              </p:cNvPr>
              <p:cNvGrpSpPr/>
              <p:nvPr/>
            </p:nvGrpSpPr>
            <p:grpSpPr>
              <a:xfrm>
                <a:off x="84575" y="6979654"/>
                <a:ext cx="317380" cy="421711"/>
                <a:chOff x="14690033" y="2185397"/>
                <a:chExt cx="583830" cy="775754"/>
              </a:xfrm>
            </p:grpSpPr>
            <p:sp>
              <p:nvSpPr>
                <p:cNvPr id="32" name="iŝļíḑe">
                  <a:extLst>
                    <a:ext uri="{FF2B5EF4-FFF2-40B4-BE49-F238E27FC236}">
                      <a16:creationId xmlns:a16="http://schemas.microsoft.com/office/drawing/2014/main" id="{549763AA-4BCC-4B25-8397-C9ADC3AF0F33}"/>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şḷíḍé">
                  <a:extLst>
                    <a:ext uri="{FF2B5EF4-FFF2-40B4-BE49-F238E27FC236}">
                      <a16:creationId xmlns:a16="http://schemas.microsoft.com/office/drawing/2014/main" id="{E66FB4FC-D5F8-44D9-8683-1F019FDEB574}"/>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ïSľïḓe">
                  <a:extLst>
                    <a:ext uri="{FF2B5EF4-FFF2-40B4-BE49-F238E27FC236}">
                      <a16:creationId xmlns:a16="http://schemas.microsoft.com/office/drawing/2014/main" id="{778A4E26-19A0-4183-AA13-496108F86B89}"/>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sḻídê">
                  <a:extLst>
                    <a:ext uri="{FF2B5EF4-FFF2-40B4-BE49-F238E27FC236}">
                      <a16:creationId xmlns:a16="http://schemas.microsoft.com/office/drawing/2014/main" id="{B64B2C27-E5ED-4534-8075-EB7A2E06CB3D}"/>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îS1íḋè">
                  <a:extLst>
                    <a:ext uri="{FF2B5EF4-FFF2-40B4-BE49-F238E27FC236}">
                      <a16:creationId xmlns:a16="http://schemas.microsoft.com/office/drawing/2014/main" id="{F9694A54-EBD4-4B97-986F-AD02BC85AD68}"/>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íşļíde">
                  <a:extLst>
                    <a:ext uri="{FF2B5EF4-FFF2-40B4-BE49-F238E27FC236}">
                      <a16:creationId xmlns:a16="http://schemas.microsoft.com/office/drawing/2014/main" id="{A801FFE8-1D79-47AE-808D-F210C779A772}"/>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0" name="文本框 29">
                <a:extLst>
                  <a:ext uri="{FF2B5EF4-FFF2-40B4-BE49-F238E27FC236}">
                    <a16:creationId xmlns:a16="http://schemas.microsoft.com/office/drawing/2014/main" id="{B887446B-04F4-4752-8008-D31007F14752}"/>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8" name="矩形 37">
            <a:extLst>
              <a:ext uri="{FF2B5EF4-FFF2-40B4-BE49-F238E27FC236}">
                <a16:creationId xmlns:a16="http://schemas.microsoft.com/office/drawing/2014/main" id="{1ECBAD71-6865-473F-A7D5-2716B2BEA2E9}"/>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扫码关注微信公众号</a:t>
            </a:r>
            <a:r>
              <a:rPr lang="en-US" altLang="zh-CN" spc="100" dirty="0" err="1">
                <a:solidFill>
                  <a:schemeClr val="tx1">
                    <a:lumMod val="65000"/>
                    <a:lumOff val="35000"/>
                  </a:schemeClr>
                </a:solidFill>
              </a:rPr>
              <a:t>Slidecent</a:t>
            </a:r>
            <a:r>
              <a:rPr lang="zh-CN" altLang="en-US" spc="100" dirty="0">
                <a:solidFill>
                  <a:schemeClr val="tx1">
                    <a:lumMod val="65000"/>
                    <a:lumOff val="35000"/>
                  </a:schemeClr>
                </a:solidFill>
              </a:rPr>
              <a:t>有大量优质资源分享</a:t>
            </a:r>
            <a:endParaRPr lang="en-US" altLang="zh-CN" spc="100" dirty="0">
              <a:solidFill>
                <a:schemeClr val="tx1">
                  <a:lumMod val="65000"/>
                  <a:lumOff val="35000"/>
                </a:schemeClr>
              </a:solidFill>
            </a:endParaRPr>
          </a:p>
        </p:txBody>
      </p:sp>
    </p:spTree>
    <p:extLst>
      <p:ext uri="{BB962C8B-B14F-4D97-AF65-F5344CB8AC3E}">
        <p14:creationId xmlns:p14="http://schemas.microsoft.com/office/powerpoint/2010/main" val="193205756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a:extLst>
              <a:ext uri="{FF2B5EF4-FFF2-40B4-BE49-F238E27FC236}">
                <a16:creationId xmlns:a16="http://schemas.microsoft.com/office/drawing/2014/main" id="{A31E9576-9BB2-4207-8A09-490DA78BF6AF}"/>
              </a:ext>
            </a:extLst>
          </p:cNvPr>
          <p:cNvSpPr/>
          <p:nvPr/>
        </p:nvSpPr>
        <p:spPr>
          <a:xfrm>
            <a:off x="0" y="0"/>
            <a:ext cx="12192000" cy="6858000"/>
          </a:xfrm>
          <a:prstGeom prst="rect">
            <a:avLst/>
          </a:prstGeom>
          <a:solidFill>
            <a:srgbClr val="010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pic>
        <p:nvPicPr>
          <p:cNvPr id="4" name="图片 3">
            <a:extLst>
              <a:ext uri="{FF2B5EF4-FFF2-40B4-BE49-F238E27FC236}">
                <a16:creationId xmlns:a16="http://schemas.microsoft.com/office/drawing/2014/main" id="{779DD6F5-2722-4E18-8368-D1AA1BB9887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956" t="956" r="956" b="956"/>
          <a:stretch/>
        </p:blipFill>
        <p:spPr>
          <a:xfrm>
            <a:off x="5489385" y="2278776"/>
            <a:ext cx="1213230" cy="1213230"/>
          </a:xfrm>
          <a:prstGeom prst="ellipse">
            <a:avLst/>
          </a:prstGeom>
          <a:solidFill>
            <a:srgbClr val="010101"/>
          </a:solidFill>
          <a:ln w="3175">
            <a:noFill/>
          </a:ln>
          <a:effectLst/>
          <a:extLst>
            <a:ext uri="{91240B29-F687-4F45-9708-019B960494DF}">
              <a14:hiddenLine xmlns:a14="http://schemas.microsoft.com/office/drawing/2010/main" w="3175">
                <a:solidFill>
                  <a:schemeClr val="tx1">
                    <a:lumMod val="75000"/>
                    <a:lumOff val="25000"/>
                  </a:schemeClr>
                </a:solidFill>
              </a14:hiddenLine>
            </a:ext>
          </a:extLst>
        </p:spPr>
      </p:pic>
      <p:sp>
        <p:nvSpPr>
          <p:cNvPr id="17" name="文本框 16">
            <a:extLst>
              <a:ext uri="{FF2B5EF4-FFF2-40B4-BE49-F238E27FC236}">
                <a16:creationId xmlns:a16="http://schemas.microsoft.com/office/drawing/2014/main" id="{2CFE8953-C01E-4661-ACF3-3699C717B01D}"/>
              </a:ext>
            </a:extLst>
          </p:cNvPr>
          <p:cNvSpPr txBox="1"/>
          <p:nvPr/>
        </p:nvSpPr>
        <p:spPr>
          <a:xfrm>
            <a:off x="5230378" y="3792144"/>
            <a:ext cx="1731243" cy="184666"/>
          </a:xfrm>
          <a:prstGeom prst="rect">
            <a:avLst/>
          </a:prstGeom>
          <a:noFill/>
        </p:spPr>
        <p:txBody>
          <a:bodyPr wrap="none" lIns="0" tIns="0" rIns="0" bIns="0" rtlCol="0" anchor="ctr">
            <a:spAutoFit/>
          </a:bodyPr>
          <a:lstStyle/>
          <a:p>
            <a:pPr algn="ctr"/>
            <a:r>
              <a:rPr lang="zh-CN" altLang="en-US" sz="1200" b="1" spc="300" dirty="0">
                <a:solidFill>
                  <a:srgbClr val="FFFFFF"/>
                </a:solidFill>
                <a:cs typeface="+mn-ea"/>
                <a:sym typeface="+mn-lt"/>
              </a:rPr>
              <a:t>祝上大学子前程似锦</a:t>
            </a:r>
            <a:endParaRPr lang="en-US" sz="1200" b="1" spc="300" dirty="0">
              <a:solidFill>
                <a:srgbClr val="FFFFFF"/>
              </a:solidFill>
              <a:cs typeface="+mn-ea"/>
              <a:sym typeface="+mn-lt"/>
            </a:endParaRPr>
          </a:p>
        </p:txBody>
      </p:sp>
      <p:grpSp>
        <p:nvGrpSpPr>
          <p:cNvPr id="5" name="组合 4">
            <a:extLst>
              <a:ext uri="{FF2B5EF4-FFF2-40B4-BE49-F238E27FC236}">
                <a16:creationId xmlns:a16="http://schemas.microsoft.com/office/drawing/2014/main" id="{36CAE91F-1C50-4151-8907-ADF2A6201EDB}"/>
              </a:ext>
            </a:extLst>
          </p:cNvPr>
          <p:cNvGrpSpPr/>
          <p:nvPr/>
        </p:nvGrpSpPr>
        <p:grpSpPr>
          <a:xfrm>
            <a:off x="0" y="-715587"/>
            <a:ext cx="676656" cy="602672"/>
            <a:chOff x="0" y="6950133"/>
            <a:chExt cx="676656" cy="602672"/>
          </a:xfrm>
        </p:grpSpPr>
        <p:sp>
          <p:nvSpPr>
            <p:cNvPr id="6" name="矩形 5">
              <a:extLst>
                <a:ext uri="{FF2B5EF4-FFF2-40B4-BE49-F238E27FC236}">
                  <a16:creationId xmlns:a16="http://schemas.microsoft.com/office/drawing/2014/main" id="{C9AA312F-06B9-422A-B312-6F9ABDB4CC4D}"/>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7" name="组合 6">
              <a:extLst>
                <a:ext uri="{FF2B5EF4-FFF2-40B4-BE49-F238E27FC236}">
                  <a16:creationId xmlns:a16="http://schemas.microsoft.com/office/drawing/2014/main" id="{315F1B2A-07B0-4B71-AD94-FEB8ABFEFDC1}"/>
                </a:ext>
              </a:extLst>
            </p:cNvPr>
            <p:cNvGrpSpPr/>
            <p:nvPr/>
          </p:nvGrpSpPr>
          <p:grpSpPr>
            <a:xfrm>
              <a:off x="47544" y="7038552"/>
              <a:ext cx="581568" cy="425834"/>
              <a:chOff x="84575" y="6977592"/>
              <a:chExt cx="581568" cy="425834"/>
            </a:xfrm>
          </p:grpSpPr>
          <p:grpSp>
            <p:nvGrpSpPr>
              <p:cNvPr id="8" name="组合 7">
                <a:extLst>
                  <a:ext uri="{FF2B5EF4-FFF2-40B4-BE49-F238E27FC236}">
                    <a16:creationId xmlns:a16="http://schemas.microsoft.com/office/drawing/2014/main" id="{1B515A02-65A9-4B75-9417-699555F01A64}"/>
                  </a:ext>
                </a:extLst>
              </p:cNvPr>
              <p:cNvGrpSpPr/>
              <p:nvPr/>
            </p:nvGrpSpPr>
            <p:grpSpPr>
              <a:xfrm>
                <a:off x="84575" y="6979654"/>
                <a:ext cx="317380" cy="421711"/>
                <a:chOff x="14690033" y="2185397"/>
                <a:chExt cx="583830" cy="775754"/>
              </a:xfrm>
            </p:grpSpPr>
            <p:sp>
              <p:nvSpPr>
                <p:cNvPr id="10" name="iŝļíḑe">
                  <a:extLst>
                    <a:ext uri="{FF2B5EF4-FFF2-40B4-BE49-F238E27FC236}">
                      <a16:creationId xmlns:a16="http://schemas.microsoft.com/office/drawing/2014/main" id="{781C4920-EE9B-45A5-8DDD-4D0BBD5B4618}"/>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şḷíḍé">
                  <a:extLst>
                    <a:ext uri="{FF2B5EF4-FFF2-40B4-BE49-F238E27FC236}">
                      <a16:creationId xmlns:a16="http://schemas.microsoft.com/office/drawing/2014/main" id="{1EB04F48-C150-4E63-91DE-99752FB04F2C}"/>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Sľïḓe">
                  <a:extLst>
                    <a:ext uri="{FF2B5EF4-FFF2-40B4-BE49-F238E27FC236}">
                      <a16:creationId xmlns:a16="http://schemas.microsoft.com/office/drawing/2014/main" id="{3B2C5BF4-A323-4828-AC41-E89462DFC489}"/>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sḻídê">
                  <a:extLst>
                    <a:ext uri="{FF2B5EF4-FFF2-40B4-BE49-F238E27FC236}">
                      <a16:creationId xmlns:a16="http://schemas.microsoft.com/office/drawing/2014/main" id="{DF9ADCCD-6076-4D3D-BEFD-331040EDB2E6}"/>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S1íḋè">
                  <a:extLst>
                    <a:ext uri="{FF2B5EF4-FFF2-40B4-BE49-F238E27FC236}">
                      <a16:creationId xmlns:a16="http://schemas.microsoft.com/office/drawing/2014/main" id="{BDC65B5D-3965-4C54-B2B8-E2D98D7DC94F}"/>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íşļíde">
                  <a:extLst>
                    <a:ext uri="{FF2B5EF4-FFF2-40B4-BE49-F238E27FC236}">
                      <a16:creationId xmlns:a16="http://schemas.microsoft.com/office/drawing/2014/main" id="{004B1BFC-A9BB-48F8-879B-EEA4C615FFE3}"/>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 name="文本框 8">
                <a:extLst>
                  <a:ext uri="{FF2B5EF4-FFF2-40B4-BE49-F238E27FC236}">
                    <a16:creationId xmlns:a16="http://schemas.microsoft.com/office/drawing/2014/main" id="{04BE71BF-EC0C-4B4B-A783-613BAFE32865}"/>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8" name="矩形 17">
            <a:extLst>
              <a:ext uri="{FF2B5EF4-FFF2-40B4-BE49-F238E27FC236}">
                <a16:creationId xmlns:a16="http://schemas.microsoft.com/office/drawing/2014/main" id="{272B7CA5-EDE3-4EAC-9AE7-38949A1871D0}"/>
              </a:ext>
            </a:extLst>
          </p:cNvPr>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这份模板送给上大全体师生，希望你们会喜欢</a:t>
            </a:r>
            <a:endParaRPr lang="en-US" altLang="zh-CN" spc="100" dirty="0">
              <a:solidFill>
                <a:schemeClr val="tx1">
                  <a:lumMod val="65000"/>
                  <a:lumOff val="35000"/>
                </a:schemeClr>
              </a:solidFill>
            </a:endParaRPr>
          </a:p>
        </p:txBody>
      </p:sp>
    </p:spTree>
    <p:extLst>
      <p:ext uri="{BB962C8B-B14F-4D97-AF65-F5344CB8AC3E}">
        <p14:creationId xmlns:p14="http://schemas.microsoft.com/office/powerpoint/2010/main" val="2691836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4593C65-3475-4472-8281-B56E8FBF0FE9}"/>
              </a:ext>
            </a:extLst>
          </p:cNvPr>
          <p:cNvSpPr>
            <a:spLocks noGrp="1"/>
          </p:cNvSpPr>
          <p:nvPr>
            <p:ph type="ctrTitle"/>
          </p:nvPr>
        </p:nvSpPr>
        <p:spPr/>
        <p:txBody>
          <a:bodyPr/>
          <a:lstStyle/>
          <a:p>
            <a:r>
              <a:rPr lang="zh-CN" altLang="en-US" dirty="0">
                <a:cs typeface="+mn-ea"/>
                <a:sym typeface="+mn-lt"/>
              </a:rPr>
              <a:t>上海大学汇报答辩通用模板</a:t>
            </a:r>
            <a:endParaRPr lang="en-US" dirty="0">
              <a:cs typeface="+mn-ea"/>
              <a:sym typeface="+mn-lt"/>
            </a:endParaRPr>
          </a:p>
        </p:txBody>
      </p:sp>
      <p:sp>
        <p:nvSpPr>
          <p:cNvPr id="4" name="副标题 3">
            <a:extLst>
              <a:ext uri="{FF2B5EF4-FFF2-40B4-BE49-F238E27FC236}">
                <a16:creationId xmlns:a16="http://schemas.microsoft.com/office/drawing/2014/main" id="{758940FB-A2D6-4E22-8FE1-AAA5E5554B7F}"/>
              </a:ext>
            </a:extLst>
          </p:cNvPr>
          <p:cNvSpPr>
            <a:spLocks noGrp="1"/>
          </p:cNvSpPr>
          <p:nvPr>
            <p:ph type="subTitle" idx="1"/>
          </p:nvPr>
        </p:nvSpPr>
        <p:spPr/>
        <p:txBody>
          <a:bodyPr/>
          <a:lstStyle/>
          <a:p>
            <a:r>
              <a:rPr lang="en-US" altLang="zh-CN" dirty="0">
                <a:cs typeface="+mn-ea"/>
                <a:sym typeface="+mn-lt"/>
              </a:rPr>
              <a:t>GENERAL REPORTING TEMPLATE FOR SHANGHAI UNIVERSITY</a:t>
            </a:r>
          </a:p>
        </p:txBody>
      </p:sp>
      <p:sp>
        <p:nvSpPr>
          <p:cNvPr id="6" name="内容占位符 5">
            <a:extLst>
              <a:ext uri="{FF2B5EF4-FFF2-40B4-BE49-F238E27FC236}">
                <a16:creationId xmlns:a16="http://schemas.microsoft.com/office/drawing/2014/main" id="{AE6AA57B-71F9-420D-B22C-1BBD4DCED09C}"/>
              </a:ext>
            </a:extLst>
          </p:cNvPr>
          <p:cNvSpPr>
            <a:spLocks noGrp="1"/>
          </p:cNvSpPr>
          <p:nvPr>
            <p:ph sz="quarter" idx="12"/>
          </p:nvPr>
        </p:nvSpPr>
        <p:spPr/>
        <p:txBody>
          <a:bodyPr/>
          <a:lstStyle/>
          <a:p>
            <a:r>
              <a:rPr lang="zh-CN" altLang="en-US" dirty="0">
                <a:cs typeface="+mn-ea"/>
                <a:sym typeface="+mn-lt"/>
              </a:rPr>
              <a:t>答辩人：林利蒙</a:t>
            </a:r>
            <a:endParaRPr lang="en-US" altLang="zh-CN" dirty="0">
              <a:cs typeface="+mn-ea"/>
              <a:sym typeface="+mn-lt"/>
            </a:endParaRPr>
          </a:p>
        </p:txBody>
      </p:sp>
      <p:sp>
        <p:nvSpPr>
          <p:cNvPr id="5" name="内容占位符 4">
            <a:extLst>
              <a:ext uri="{FF2B5EF4-FFF2-40B4-BE49-F238E27FC236}">
                <a16:creationId xmlns:a16="http://schemas.microsoft.com/office/drawing/2014/main" id="{81AA7B2A-62DE-44EE-844E-D3BE6EB0D6D6}"/>
              </a:ext>
            </a:extLst>
          </p:cNvPr>
          <p:cNvSpPr>
            <a:spLocks noGrp="1"/>
          </p:cNvSpPr>
          <p:nvPr>
            <p:ph sz="quarter" idx="11"/>
          </p:nvPr>
        </p:nvSpPr>
        <p:spPr/>
        <p:txBody>
          <a:bodyPr/>
          <a:lstStyle/>
          <a:p>
            <a:r>
              <a:rPr lang="zh-CN" altLang="en-US" dirty="0">
                <a:cs typeface="+mn-ea"/>
                <a:sym typeface="+mn-lt"/>
              </a:rPr>
              <a:t>指导教师：林利蒙</a:t>
            </a:r>
            <a:endParaRPr lang="en-US" altLang="zh-CN" dirty="0">
              <a:cs typeface="+mn-ea"/>
              <a:sym typeface="+mn-lt"/>
            </a:endParaRPr>
          </a:p>
        </p:txBody>
      </p:sp>
      <p:grpSp>
        <p:nvGrpSpPr>
          <p:cNvPr id="7" name="组合 6">
            <a:extLst>
              <a:ext uri="{FF2B5EF4-FFF2-40B4-BE49-F238E27FC236}">
                <a16:creationId xmlns:a16="http://schemas.microsoft.com/office/drawing/2014/main" id="{724FC5AB-57C1-4FD3-9E4B-0982FA3C819C}"/>
              </a:ext>
            </a:extLst>
          </p:cNvPr>
          <p:cNvGrpSpPr/>
          <p:nvPr/>
        </p:nvGrpSpPr>
        <p:grpSpPr>
          <a:xfrm>
            <a:off x="0" y="6950133"/>
            <a:ext cx="676656" cy="602672"/>
            <a:chOff x="0" y="6950133"/>
            <a:chExt cx="676656" cy="602672"/>
          </a:xfrm>
        </p:grpSpPr>
        <p:sp>
          <p:nvSpPr>
            <p:cNvPr id="8" name="矩形 7">
              <a:extLst>
                <a:ext uri="{FF2B5EF4-FFF2-40B4-BE49-F238E27FC236}">
                  <a16:creationId xmlns:a16="http://schemas.microsoft.com/office/drawing/2014/main" id="{455BF3C7-5D11-4586-862E-A7F1A97687D9}"/>
                </a:ext>
              </a:extLst>
            </p:cNvPr>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prstTxWarp prst="textNoShape">
                <a:avLst/>
              </a:prstTxWarp>
              <a:noAutofit/>
            </a:bodyPr>
            <a:lstStyle/>
            <a:p>
              <a:endParaRPr lang="zh-CN" altLang="en-US" spc="100" dirty="0">
                <a:solidFill>
                  <a:schemeClr val="tx1">
                    <a:lumMod val="65000"/>
                    <a:lumOff val="35000"/>
                  </a:schemeClr>
                </a:solidFill>
              </a:endParaRPr>
            </a:p>
          </p:txBody>
        </p:sp>
        <p:grpSp>
          <p:nvGrpSpPr>
            <p:cNvPr id="9" name="组合 8">
              <a:extLst>
                <a:ext uri="{FF2B5EF4-FFF2-40B4-BE49-F238E27FC236}">
                  <a16:creationId xmlns:a16="http://schemas.microsoft.com/office/drawing/2014/main" id="{C194FB3E-072A-4A06-92CF-029340955218}"/>
                </a:ext>
              </a:extLst>
            </p:cNvPr>
            <p:cNvGrpSpPr/>
            <p:nvPr/>
          </p:nvGrpSpPr>
          <p:grpSpPr>
            <a:xfrm>
              <a:off x="47544" y="7038552"/>
              <a:ext cx="581568" cy="425834"/>
              <a:chOff x="84575" y="6977592"/>
              <a:chExt cx="581568" cy="425834"/>
            </a:xfrm>
          </p:grpSpPr>
          <p:grpSp>
            <p:nvGrpSpPr>
              <p:cNvPr id="10" name="组合 9">
                <a:extLst>
                  <a:ext uri="{FF2B5EF4-FFF2-40B4-BE49-F238E27FC236}">
                    <a16:creationId xmlns:a16="http://schemas.microsoft.com/office/drawing/2014/main" id="{CA40A678-D057-4B1B-99A7-8CB993D981C0}"/>
                  </a:ext>
                </a:extLst>
              </p:cNvPr>
              <p:cNvGrpSpPr/>
              <p:nvPr/>
            </p:nvGrpSpPr>
            <p:grpSpPr>
              <a:xfrm>
                <a:off x="84575" y="6979654"/>
                <a:ext cx="317380" cy="421711"/>
                <a:chOff x="14690033" y="2185397"/>
                <a:chExt cx="583830" cy="775754"/>
              </a:xfrm>
            </p:grpSpPr>
            <p:sp>
              <p:nvSpPr>
                <p:cNvPr id="12" name="iŝļíḑe">
                  <a:extLst>
                    <a:ext uri="{FF2B5EF4-FFF2-40B4-BE49-F238E27FC236}">
                      <a16:creationId xmlns:a16="http://schemas.microsoft.com/office/drawing/2014/main" id="{230C2642-562C-410B-89B9-60ED4FFE676F}"/>
                    </a:ext>
                  </a:extLst>
                </p:cNvPr>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şḷíḍé">
                  <a:extLst>
                    <a:ext uri="{FF2B5EF4-FFF2-40B4-BE49-F238E27FC236}">
                      <a16:creationId xmlns:a16="http://schemas.microsoft.com/office/drawing/2014/main" id="{FAADFF32-03E0-40BC-AB80-6C06B52F102A}"/>
                    </a:ext>
                  </a:extLst>
                </p:cNvPr>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Sľïḓe">
                  <a:extLst>
                    <a:ext uri="{FF2B5EF4-FFF2-40B4-BE49-F238E27FC236}">
                      <a16:creationId xmlns:a16="http://schemas.microsoft.com/office/drawing/2014/main" id="{3255E330-F9C2-443C-8BFC-F4C8D607B512}"/>
                    </a:ext>
                  </a:extLst>
                </p:cNvPr>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sḻídê">
                  <a:extLst>
                    <a:ext uri="{FF2B5EF4-FFF2-40B4-BE49-F238E27FC236}">
                      <a16:creationId xmlns:a16="http://schemas.microsoft.com/office/drawing/2014/main" id="{87AE7654-46A1-40D2-81F2-FF482D36AE8B}"/>
                    </a:ext>
                  </a:extLst>
                </p:cNvPr>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S1íḋè">
                  <a:extLst>
                    <a:ext uri="{FF2B5EF4-FFF2-40B4-BE49-F238E27FC236}">
                      <a16:creationId xmlns:a16="http://schemas.microsoft.com/office/drawing/2014/main" id="{6814D1F6-176C-4943-A2B4-C241D69E7942}"/>
                    </a:ext>
                  </a:extLst>
                </p:cNvPr>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şļíde">
                  <a:extLst>
                    <a:ext uri="{FF2B5EF4-FFF2-40B4-BE49-F238E27FC236}">
                      <a16:creationId xmlns:a16="http://schemas.microsoft.com/office/drawing/2014/main" id="{7209CDB9-2568-4FFD-BC09-9F3E6B1104C9}"/>
                    </a:ext>
                  </a:extLst>
                </p:cNvPr>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1" name="文本框 10">
                <a:extLst>
                  <a:ext uri="{FF2B5EF4-FFF2-40B4-BE49-F238E27FC236}">
                    <a16:creationId xmlns:a16="http://schemas.microsoft.com/office/drawing/2014/main" id="{47D58740-2F25-4DFA-AD87-3E4C53794441}"/>
                  </a:ext>
                </a:extLst>
              </p:cNvPr>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8" name="矩形 17">
            <a:extLst>
              <a:ext uri="{FF2B5EF4-FFF2-40B4-BE49-F238E27FC236}">
                <a16:creationId xmlns:a16="http://schemas.microsoft.com/office/drawing/2014/main" id="{2B5D71F3-84D7-46F0-A91E-0EF971B5DE1E}"/>
              </a:ext>
            </a:extLst>
          </p:cNvPr>
          <p:cNvSpPr/>
          <p:nvPr/>
        </p:nvSpPr>
        <p:spPr bwMode="auto">
          <a:xfrm>
            <a:off x="812015" y="6950133"/>
            <a:ext cx="3447981"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zh-CN" spc="100" dirty="0">
                <a:solidFill>
                  <a:schemeClr val="tx1">
                    <a:lumMod val="65000"/>
                    <a:lumOff val="35000"/>
                  </a:schemeClr>
                </a:solidFill>
              </a:rPr>
              <a:t>Ctrl + </a:t>
            </a:r>
            <a:r>
              <a:rPr lang="zh-CN" altLang="en-US" spc="100" dirty="0">
                <a:solidFill>
                  <a:schemeClr val="tx1">
                    <a:lumMod val="65000"/>
                    <a:lumOff val="35000"/>
                  </a:schemeClr>
                </a:solidFill>
              </a:rPr>
              <a:t>鼠标滚轮 </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放大缩小</a:t>
            </a:r>
          </a:p>
        </p:txBody>
      </p:sp>
      <p:sp>
        <p:nvSpPr>
          <p:cNvPr id="19" name="矩形 18">
            <a:extLst>
              <a:ext uri="{FF2B5EF4-FFF2-40B4-BE49-F238E27FC236}">
                <a16:creationId xmlns:a16="http://schemas.microsoft.com/office/drawing/2014/main" id="{18FAE485-7DAC-4528-89C3-F2872F7E42D7}"/>
              </a:ext>
            </a:extLst>
          </p:cNvPr>
          <p:cNvSpPr/>
          <p:nvPr/>
        </p:nvSpPr>
        <p:spPr bwMode="auto">
          <a:xfrm>
            <a:off x="4395355" y="6950133"/>
            <a:ext cx="7796644"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面类型</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48021529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bg>
      <p:bgPr>
        <a:blipFill>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651477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MasterSp="0">
  <p:cSld>
    <p:bg>
      <p:bgPr>
        <a:blipFill>
          <a:blip r:embed="rId3"/>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61663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p:cSld>
    <p:bg>
      <p:bgPr>
        <a:blipFill>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3215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10.xml><?xml version="1.0" encoding="utf-8"?>
<p:tagLst xmlns:a="http://schemas.openxmlformats.org/drawingml/2006/main" xmlns:r="http://schemas.openxmlformats.org/officeDocument/2006/relationships" xmlns:p="http://schemas.openxmlformats.org/presentationml/2006/main">
  <p:tag name="PA" val="v5.2.3"/>
</p:tagLst>
</file>

<file path=ppt/tags/tag11.xml><?xml version="1.0" encoding="utf-8"?>
<p:tagLst xmlns:a="http://schemas.openxmlformats.org/drawingml/2006/main" xmlns:r="http://schemas.openxmlformats.org/officeDocument/2006/relationships" xmlns:p="http://schemas.openxmlformats.org/presentationml/2006/main">
  <p:tag name="PA" val="v5.2.3"/>
</p:tagLst>
</file>

<file path=ppt/tags/tag12.xml><?xml version="1.0" encoding="utf-8"?>
<p:tagLst xmlns:a="http://schemas.openxmlformats.org/drawingml/2006/main" xmlns:r="http://schemas.openxmlformats.org/officeDocument/2006/relationships" xmlns:p="http://schemas.openxmlformats.org/presentationml/2006/main">
  <p:tag name="ISLIDE.DIAGRAM" val="#224394;"/>
</p:tagLst>
</file>

<file path=ppt/tags/tag13.xml><?xml version="1.0" encoding="utf-8"?>
<p:tagLst xmlns:a="http://schemas.openxmlformats.org/drawingml/2006/main" xmlns:r="http://schemas.openxmlformats.org/officeDocument/2006/relationships" xmlns:p="http://schemas.openxmlformats.org/presentationml/2006/main">
  <p:tag name="ISLIDE.DIAGRAM" val="#331838;"/>
</p:tagLst>
</file>

<file path=ppt/tags/tag14.xml><?xml version="1.0" encoding="utf-8"?>
<p:tagLst xmlns:a="http://schemas.openxmlformats.org/drawingml/2006/main" xmlns:r="http://schemas.openxmlformats.org/officeDocument/2006/relationships" xmlns:p="http://schemas.openxmlformats.org/presentationml/2006/main">
  <p:tag name="ISLIDE.DIAGRAM" val="#206415;"/>
</p:tagLst>
</file>

<file path=ppt/tags/tag15.xml><?xml version="1.0" encoding="utf-8"?>
<p:tagLst xmlns:a="http://schemas.openxmlformats.org/drawingml/2006/main" xmlns:r="http://schemas.openxmlformats.org/officeDocument/2006/relationships" xmlns:p="http://schemas.openxmlformats.org/presentationml/2006/main">
  <p:tag name="ISLIDE.DIAGRAM" val="#222088;"/>
</p:tagLst>
</file>

<file path=ppt/tags/tag16.xml><?xml version="1.0" encoding="utf-8"?>
<p:tagLst xmlns:a="http://schemas.openxmlformats.org/drawingml/2006/main" xmlns:r="http://schemas.openxmlformats.org/officeDocument/2006/relationships" xmlns:p="http://schemas.openxmlformats.org/presentationml/2006/main">
  <p:tag name="ISLIDE.DIAGRAM" val="#331884;"/>
</p:tagLst>
</file>

<file path=ppt/tags/tag17.xml><?xml version="1.0" encoding="utf-8"?>
<p:tagLst xmlns:a="http://schemas.openxmlformats.org/drawingml/2006/main" xmlns:r="http://schemas.openxmlformats.org/officeDocument/2006/relationships" xmlns:p="http://schemas.openxmlformats.org/presentationml/2006/main">
  <p:tag name="ISLIDE.DIAGRAM" val="#293131;"/>
</p:tagLst>
</file>

<file path=ppt/tags/tag18.xml><?xml version="1.0" encoding="utf-8"?>
<p:tagLst xmlns:a="http://schemas.openxmlformats.org/drawingml/2006/main" xmlns:r="http://schemas.openxmlformats.org/officeDocument/2006/relationships" xmlns:p="http://schemas.openxmlformats.org/presentationml/2006/main">
  <p:tag name="ISLIDE.DIAGRAM" val="#293146;"/>
</p:tagLst>
</file>

<file path=ppt/tags/tag19.xml><?xml version="1.0" encoding="utf-8"?>
<p:tagLst xmlns:a="http://schemas.openxmlformats.org/drawingml/2006/main" xmlns:r="http://schemas.openxmlformats.org/officeDocument/2006/relationships" xmlns:p="http://schemas.openxmlformats.org/presentationml/2006/main">
  <p:tag name="ISLIDE.DIAGRAM" val="#218678;"/>
</p:tagLst>
</file>

<file path=ppt/tags/tag2.xml><?xml version="1.0" encoding="utf-8"?>
<p:tagLst xmlns:a="http://schemas.openxmlformats.org/drawingml/2006/main" xmlns:r="http://schemas.openxmlformats.org/officeDocument/2006/relationships" xmlns:p="http://schemas.openxmlformats.org/presentationml/2006/main">
  <p:tag name="PA" val="v5.2.3"/>
</p:tagLst>
</file>

<file path=ppt/tags/tag20.xml><?xml version="1.0" encoding="utf-8"?>
<p:tagLst xmlns:a="http://schemas.openxmlformats.org/drawingml/2006/main" xmlns:r="http://schemas.openxmlformats.org/officeDocument/2006/relationships" xmlns:p="http://schemas.openxmlformats.org/presentationml/2006/main">
  <p:tag name="ISLIDE.VECTOR" val="#189951;"/>
</p:tagLst>
</file>

<file path=ppt/tags/tag3.xml><?xml version="1.0" encoding="utf-8"?>
<p:tagLst xmlns:a="http://schemas.openxmlformats.org/drawingml/2006/main" xmlns:r="http://schemas.openxmlformats.org/officeDocument/2006/relationships" xmlns:p="http://schemas.openxmlformats.org/presentationml/2006/main">
  <p:tag name="PA" val="v5.2.3"/>
</p:tagLst>
</file>

<file path=ppt/tags/tag4.xml><?xml version="1.0" encoding="utf-8"?>
<p:tagLst xmlns:a="http://schemas.openxmlformats.org/drawingml/2006/main" xmlns:r="http://schemas.openxmlformats.org/officeDocument/2006/relationships" xmlns:p="http://schemas.openxmlformats.org/presentationml/2006/main">
  <p:tag name="PA" val="v5.2.3"/>
</p:tagLst>
</file>

<file path=ppt/tags/tag5.xml><?xml version="1.0" encoding="utf-8"?>
<p:tagLst xmlns:a="http://schemas.openxmlformats.org/drawingml/2006/main" xmlns:r="http://schemas.openxmlformats.org/officeDocument/2006/relationships" xmlns:p="http://schemas.openxmlformats.org/presentationml/2006/main">
  <p:tag name="PA" val="v5.2.3"/>
</p:tagLst>
</file>

<file path=ppt/tags/tag6.xml><?xml version="1.0" encoding="utf-8"?>
<p:tagLst xmlns:a="http://schemas.openxmlformats.org/drawingml/2006/main" xmlns:r="http://schemas.openxmlformats.org/officeDocument/2006/relationships" xmlns:p="http://schemas.openxmlformats.org/presentationml/2006/main">
  <p:tag name="PA" val="v5.2.3"/>
</p:tagLst>
</file>

<file path=ppt/tags/tag7.xml><?xml version="1.0" encoding="utf-8"?>
<p:tagLst xmlns:a="http://schemas.openxmlformats.org/drawingml/2006/main" xmlns:r="http://schemas.openxmlformats.org/officeDocument/2006/relationships" xmlns:p="http://schemas.openxmlformats.org/presentationml/2006/main">
  <p:tag name="PA" val="v5.2.3"/>
</p:tagLst>
</file>

<file path=ppt/tags/tag8.xml><?xml version="1.0" encoding="utf-8"?>
<p:tagLst xmlns:a="http://schemas.openxmlformats.org/drawingml/2006/main" xmlns:r="http://schemas.openxmlformats.org/officeDocument/2006/relationships" xmlns:p="http://schemas.openxmlformats.org/presentationml/2006/main">
  <p:tag name="PA" val="v5.2.3"/>
</p:tagLst>
</file>

<file path=ppt/tags/tag9.xml><?xml version="1.0" encoding="utf-8"?>
<p:tagLst xmlns:a="http://schemas.openxmlformats.org/drawingml/2006/main" xmlns:r="http://schemas.openxmlformats.org/officeDocument/2006/relationships" xmlns:p="http://schemas.openxmlformats.org/presentationml/2006/main">
  <p:tag name="PA" val="v5.2.3"/>
</p:tagLst>
</file>

<file path=ppt/theme/theme1.xml><?xml version="1.0" encoding="utf-8"?>
<a:theme xmlns:a="http://schemas.openxmlformats.org/drawingml/2006/main" name="Office 主题​​">
  <a:themeElements>
    <a:clrScheme name="上海大学VI配色">
      <a:dk1>
        <a:srgbClr val="000000"/>
      </a:dk1>
      <a:lt1>
        <a:srgbClr val="FFFFFF"/>
      </a:lt1>
      <a:dk2>
        <a:srgbClr val="768395"/>
      </a:dk2>
      <a:lt2>
        <a:srgbClr val="F0F0F0"/>
      </a:lt2>
      <a:accent1>
        <a:srgbClr val="00447C"/>
      </a:accent1>
      <a:accent2>
        <a:srgbClr val="D18E03"/>
      </a:accent2>
      <a:accent3>
        <a:srgbClr val="AE0D16"/>
      </a:accent3>
      <a:accent4>
        <a:srgbClr val="800964"/>
      </a:accent4>
      <a:accent5>
        <a:srgbClr val="47872C"/>
      </a:accent5>
      <a:accent6>
        <a:srgbClr val="575757"/>
      </a:accent6>
      <a:hlink>
        <a:srgbClr val="00447C"/>
      </a:hlink>
      <a:folHlink>
        <a:srgbClr val="BFBFBF"/>
      </a:folHlink>
    </a:clrScheme>
    <a:fontScheme name="1dbhqoeo">
      <a:majorFont>
        <a:latin typeface="Arial"/>
        <a:ea typeface="阿里巴巴普惠体"/>
        <a:cs typeface=""/>
      </a:majorFont>
      <a:minorFont>
        <a:latin typeface="Arial"/>
        <a:ea typeface="阿里巴巴普惠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14400">
          <a:buSzPct val="25000"/>
          <a:defRPr b="1" dirty="0" smtClean="0">
            <a:solidFill>
              <a:schemeClr val="bg1"/>
            </a:solidFill>
            <a:cs typeface="+mn-ea"/>
            <a:sym typeface="+mn-lt"/>
          </a:defRPr>
        </a:defPPr>
      </a:lstStyle>
    </a:spDef>
    <a:txDef>
      <a:spPr>
        <a:noFill/>
      </a:spPr>
      <a:bodyPr wrap="none" lIns="72000" tIns="0" rIns="72000" bIns="0" rtlCol="0" anchor="t">
        <a:spAutoFit/>
      </a:bodyPr>
      <a:lstStyle>
        <a:defPPr algn="l">
          <a:lnSpc>
            <a:spcPct val="120000"/>
          </a:lnSpc>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260</TotalTime>
  <Words>5047</Words>
  <Application>Microsoft Office PowerPoint</Application>
  <PresentationFormat>宽屏</PresentationFormat>
  <Paragraphs>768</Paragraphs>
  <Slides>92</Slides>
  <Notes>3</Notes>
  <HiddenSlides>0</HiddenSlides>
  <MMClips>1</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92</vt:i4>
      </vt:variant>
    </vt:vector>
  </HeadingPairs>
  <TitlesOfParts>
    <vt:vector size="100" baseType="lpstr">
      <vt:lpstr>等线</vt:lpstr>
      <vt:lpstr>黑体</vt:lpstr>
      <vt:lpstr>STKaiti</vt:lpstr>
      <vt:lpstr>Microsoft YaHei</vt:lpstr>
      <vt:lpstr>Arial</vt:lpstr>
      <vt:lpstr>Impact</vt:lpstr>
      <vt:lpstr>Trebuchet MS</vt:lpstr>
      <vt:lpstr>Office 主题​​</vt:lpstr>
      <vt:lpstr>PowerPoint 演示文稿</vt:lpstr>
      <vt:lpstr>PowerPoint 演示文稿</vt:lpstr>
      <vt:lpstr>上海大学汇报答辩通用模板</vt:lpstr>
      <vt:lpstr>上海大学汇报答辩通用模板</vt:lpstr>
      <vt:lpstr>上海大学汇报答辩通用模板</vt:lpstr>
      <vt:lpstr>上海大学汇报答辩通用模板</vt:lpstr>
      <vt:lpstr>上海大学汇报答辩通用模板</vt:lpstr>
      <vt:lpstr>上海大学汇报答辩通用模板</vt:lpstr>
      <vt:lpstr>上海大学汇报答辩通用模板</vt:lpstr>
      <vt:lpstr>目录</vt:lpstr>
      <vt:lpstr>目录</vt:lpstr>
      <vt:lpstr>目录</vt:lpstr>
      <vt:lpstr>目录</vt:lpstr>
      <vt:lpstr>目录</vt:lpstr>
      <vt:lpstr>研究背景与现状</vt:lpstr>
      <vt:lpstr>研究背景与现状</vt:lpstr>
      <vt:lpstr>研究背景与现状</vt:lpstr>
      <vt:lpstr>研究背景与现状</vt:lpstr>
      <vt:lpstr>研究背景与现状</vt:lpstr>
      <vt:lpstr>模板使用序言</vt:lpstr>
      <vt:lpstr>课题研究背景（纯文字型）</vt:lpstr>
      <vt:lpstr>课题研究背景（纯文字型）</vt:lpstr>
      <vt:lpstr>课题研究背景（图文结合型）</vt:lpstr>
      <vt:lpstr>名词释义页</vt:lpstr>
      <vt:lpstr>发展历程页</vt:lpstr>
      <vt:lpstr>发展历程页</vt:lpstr>
      <vt:lpstr>调研成果页</vt:lpstr>
      <vt:lpstr>特点展示页</vt:lpstr>
      <vt:lpstr>特点展示页</vt:lpstr>
      <vt:lpstr>PowerPoint 演示文稿</vt:lpstr>
      <vt:lpstr>研究方法与思路</vt:lpstr>
      <vt:lpstr>研究对象页</vt:lpstr>
      <vt:lpstr>组织架构页</vt:lpstr>
      <vt:lpstr>团队分工页</vt:lpstr>
      <vt:lpstr>方案对比页</vt:lpstr>
      <vt:lpstr>优缺点分析页</vt:lpstr>
      <vt:lpstr>优缺点分析页</vt:lpstr>
      <vt:lpstr>关键技术与步骤</vt:lpstr>
      <vt:lpstr>技术架构展示页</vt:lpstr>
      <vt:lpstr>概念介绍页</vt:lpstr>
      <vt:lpstr>技术流程介绍</vt:lpstr>
      <vt:lpstr>技术分析页</vt:lpstr>
      <vt:lpstr>技术分析页</vt:lpstr>
      <vt:lpstr>成果展示页</vt:lpstr>
      <vt:lpstr>成果展示页</vt:lpstr>
      <vt:lpstr>结论分析与总结</vt:lpstr>
      <vt:lpstr>数据图表页（条形条）：表示各项的数量对比</vt:lpstr>
      <vt:lpstr>数据图表页（条形条）：表示各项的数量对比</vt:lpstr>
      <vt:lpstr>数据图表页（柱状图）：表示各项的数量对比</vt:lpstr>
      <vt:lpstr>数据图表页（饼图）：表示各部分间的占比</vt:lpstr>
      <vt:lpstr>数据图表页（折线图）：表示对象发展的趋势</vt:lpstr>
      <vt:lpstr>创意图表示例</vt:lpstr>
      <vt:lpstr>表格页</vt:lpstr>
      <vt:lpstr>总结介绍页</vt:lpstr>
      <vt:lpstr>未来展望</vt:lpstr>
      <vt:lpstr>特殊功能页面样式</vt:lpstr>
      <vt:lpstr>音频播放页</vt:lpstr>
      <vt:lpstr>参考文献页</vt:lpstr>
      <vt:lpstr>人物介绍页</vt:lpstr>
      <vt:lpstr>恳请各位老师批评指正</vt:lpstr>
      <vt:lpstr>恳请各位老师批评指正</vt:lpstr>
      <vt:lpstr>恳请各位老师批评指正</vt:lpstr>
      <vt:lpstr>思源  责任  青春  奉献</vt:lpstr>
      <vt:lpstr>PowerPoint 演示文稿</vt:lpstr>
      <vt:lpstr>后面是附录页呀</vt:lpstr>
      <vt:lpstr>PowerPoint 演示文稿</vt:lpstr>
      <vt:lpstr>PowerPoint 演示文稿</vt:lpstr>
      <vt:lpstr>一键换色，随心所欲</vt:lpstr>
      <vt:lpstr>快速更换版式，解锁多样排版</vt:lpstr>
      <vt:lpstr>图片占位符，一键替换图片</vt:lpstr>
      <vt:lpstr>配合iSlide，解锁200+页免费模板</vt:lpstr>
      <vt:lpstr>图片编辑技巧</vt:lpstr>
      <vt:lpstr>PowerPoint 演示文稿</vt:lpstr>
      <vt:lpstr>上海大学LOGO</vt:lpstr>
      <vt:lpstr>配色方案</vt:lpstr>
      <vt:lpstr>字体方案</vt:lpstr>
      <vt:lpstr>字体规范</vt:lpstr>
      <vt:lpstr>图片来源1：上海大学研究生联合会</vt:lpstr>
      <vt:lpstr>图片来源2：模板作者林利蒙</vt:lpstr>
      <vt:lpstr>PowerPoint 演示文稿</vt:lpstr>
      <vt:lpstr>学术类图标素材分享（彩色版）</vt:lpstr>
      <vt:lpstr>学术类图标素材分享（单色版）</vt:lpstr>
      <vt:lpstr>学术类图标素材分享（单色版）</vt:lpstr>
      <vt:lpstr>样机分享</vt:lpstr>
      <vt:lpstr>资源类网站推荐（图标）</vt:lpstr>
      <vt:lpstr>资源类网站推荐（图片）</vt:lpstr>
      <vt:lpstr>PPT插件推荐：iSlide</vt:lpstr>
      <vt:lpstr>作者个人介绍</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林利蒙</dc:creator>
  <cp:lastModifiedBy>林 利蒙</cp:lastModifiedBy>
  <cp:revision>2518</cp:revision>
  <dcterms:created xsi:type="dcterms:W3CDTF">2019-03-21T14:55:07Z</dcterms:created>
  <dcterms:modified xsi:type="dcterms:W3CDTF">2020-04-23T08:2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yunxl@microsoft.com</vt:lpwstr>
  </property>
  <property fmtid="{D5CDD505-2E9C-101B-9397-08002B2CF9AE}" pid="5" name="MSIP_Label_f42aa342-8706-4288-bd11-ebb85995028c_SetDate">
    <vt:lpwstr>2019-03-22T06:47:56.064431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f92b241c-97c8-498a-8cd3-16042464c891</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